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9" r:id="rId17"/>
  </p:sldMasterIdLst>
  <p:notesMasterIdLst>
    <p:notesMasterId r:id="rId21"/>
  </p:notesMasterIdLst>
  <p:handoutMasterIdLst>
    <p:handoutMasterId r:id="rId22"/>
  </p:handoutMasterIdLst>
  <p:sldIdLst>
    <p:sldId id="902" r:id="rId18"/>
    <p:sldId id="4765" r:id="rId19"/>
    <p:sldId id="4764" r:id="rId20"/>
  </p:sldIdLst>
  <p:sldSz cx="12198350" cy="6858000"/>
  <p:notesSz cx="6788150" cy="9923463"/>
  <p:custDataLst>
    <p:custData r:id="rId7"/>
    <p:tags r:id="rId2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shop Intro" id="{B2E2C570-26A5-4BCA-BD7B-400E105ABBA5}">
          <p14:sldIdLst>
            <p14:sldId id="902"/>
            <p14:sldId id="4765"/>
            <p14:sldId id="4764"/>
          </p14:sldIdLst>
        </p14:section>
      </p14:sectionLst>
    </p:ex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884" userDrawn="1">
          <p15:clr>
            <a:srgbClr val="A4A3A4"/>
          </p15:clr>
        </p15:guide>
        <p15:guide id="13" orient="horz" pos="663" userDrawn="1">
          <p15:clr>
            <a:srgbClr val="A4A3A4"/>
          </p15:clr>
        </p15:guide>
        <p15:guide id="14" orient="horz" pos="2455" userDrawn="1">
          <p15:clr>
            <a:srgbClr val="A4A3A4"/>
          </p15:clr>
        </p15:guide>
        <p15:guide id="15" orient="horz" pos="2364" userDrawn="1">
          <p15:clr>
            <a:srgbClr val="A4A3A4"/>
          </p15:clr>
        </p15:guide>
        <p15:guide id="16" orient="horz" pos="909">
          <p15:clr>
            <a:srgbClr val="A4A3A4"/>
          </p15:clr>
        </p15:guide>
        <p15:guide id="17" orient="horz" pos="2451">
          <p15:clr>
            <a:srgbClr val="A4A3A4"/>
          </p15:clr>
        </p15:guide>
        <p15:guide id="19" orient="horz" pos="1094" userDrawn="1">
          <p15:clr>
            <a:srgbClr val="A4A3A4"/>
          </p15:clr>
        </p15:guide>
        <p15:guide id="20" orient="horz" pos="3793" userDrawn="1">
          <p15:clr>
            <a:srgbClr val="A4A3A4"/>
          </p15:clr>
        </p15:guide>
        <p15:guide id="21" orient="horz" pos="3702" userDrawn="1">
          <p15:clr>
            <a:srgbClr val="A4A3A4"/>
          </p15:clr>
        </p15:guide>
        <p15:guide id="22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03" userDrawn="1">
          <p15:clr>
            <a:srgbClr val="A4A3A4"/>
          </p15:clr>
        </p15:guide>
        <p15:guide id="2" pos="2213" userDrawn="1">
          <p15:clr>
            <a:srgbClr val="A4A3A4"/>
          </p15:clr>
        </p15:guide>
        <p15:guide id="3" orient="horz" pos="3126" userDrawn="1">
          <p15:clr>
            <a:srgbClr val="A4A3A4"/>
          </p15:clr>
        </p15:guide>
        <p15:guide id="4" pos="2138" userDrawn="1">
          <p15:clr>
            <a:srgbClr val="A4A3A4"/>
          </p15:clr>
        </p15:guide>
        <p15:guide id="5" orient="horz" pos="2940" userDrawn="1">
          <p15:clr>
            <a:srgbClr val="A4A3A4"/>
          </p15:clr>
        </p15:guide>
        <p15:guide id="6" orient="horz" pos="477" userDrawn="1">
          <p15:clr>
            <a:srgbClr val="A4A3A4"/>
          </p15:clr>
        </p15:guide>
        <p15:guide id="7" orient="horz" pos="5775" userDrawn="1">
          <p15:clr>
            <a:srgbClr val="A4A3A4"/>
          </p15:clr>
        </p15:guide>
        <p15:guide id="8" orient="horz" pos="2800" userDrawn="1">
          <p15:clr>
            <a:srgbClr val="A4A3A4"/>
          </p15:clr>
        </p15:guide>
        <p15:guide id="9" pos="4114" userDrawn="1">
          <p15:clr>
            <a:srgbClr val="A4A3A4"/>
          </p15:clr>
        </p15:guide>
        <p15:guide id="10" pos="1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0C3D"/>
    <a:srgbClr val="13002D"/>
    <a:srgbClr val="DFE6ED"/>
    <a:srgbClr val="50BED7"/>
    <a:srgbClr val="FF9900"/>
    <a:srgbClr val="879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4" autoAdjust="0"/>
    <p:restoredTop sz="88442" autoAdjust="0"/>
  </p:normalViewPr>
  <p:slideViewPr>
    <p:cSldViewPr snapToGrid="0" snapToObjects="1" showGuides="1">
      <p:cViewPr varScale="1">
        <p:scale>
          <a:sx n="106" d="100"/>
          <a:sy n="106" d="100"/>
        </p:scale>
        <p:origin x="150" y="198"/>
      </p:cViewPr>
      <p:guideLst>
        <p:guide orient="horz" pos="210"/>
        <p:guide pos="395"/>
        <p:guide pos="3842"/>
        <p:guide pos="3933"/>
        <p:guide pos="7380"/>
        <p:guide pos="5566"/>
        <p:guide orient="horz" pos="3884"/>
        <p:guide orient="horz" pos="663"/>
        <p:guide orient="horz" pos="2455"/>
        <p:guide orient="horz" pos="2364"/>
        <p:guide orient="horz" pos="909"/>
        <p:guide orient="horz" pos="2451"/>
        <p:guide orient="horz" pos="1094"/>
        <p:guide orient="horz" pos="3793"/>
        <p:guide orient="horz" pos="3702"/>
        <p:guide orient="horz" pos="1049"/>
      </p:guideLst>
    </p:cSldViewPr>
  </p:slideViewPr>
  <p:outlineViewPr>
    <p:cViewPr>
      <p:scale>
        <a:sx n="33" d="100"/>
        <a:sy n="33" d="100"/>
      </p:scale>
      <p:origin x="0" y="-566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756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3738" y="84"/>
      </p:cViewPr>
      <p:guideLst>
        <p:guide orient="horz" pos="3303"/>
        <p:guide pos="2213"/>
        <p:guide orient="horz" pos="3126"/>
        <p:guide pos="2138"/>
        <p:guide orient="horz" pos="2940"/>
        <p:guide orient="horz" pos="477"/>
        <p:guide orient="horz" pos="5775"/>
        <p:guide orient="horz" pos="2800"/>
        <p:guide pos="4114"/>
        <p:guide pos="16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107188" cy="53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0963" y="1"/>
            <a:ext cx="3107187" cy="53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387809"/>
            <a:ext cx="3107188" cy="53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0963" y="9387809"/>
            <a:ext cx="3107187" cy="53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107188" cy="53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0963" y="1"/>
            <a:ext cx="3105670" cy="53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57238"/>
            <a:ext cx="6492875" cy="36512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7699" y="4676204"/>
            <a:ext cx="6272753" cy="4426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387808"/>
            <a:ext cx="3107188" cy="534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0963" y="9387808"/>
            <a:ext cx="3105670" cy="534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57238"/>
            <a:ext cx="6492875" cy="3651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Siemens</a:t>
            </a:r>
            <a:r>
              <a:rPr lang="de-DE" baseline="0" dirty="0"/>
              <a:t> Industrial Edge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de-DE" baseline="0" dirty="0" err="1"/>
              <a:t>new</a:t>
            </a:r>
            <a:r>
              <a:rPr lang="de-DE" baseline="0" dirty="0"/>
              <a:t> </a:t>
            </a:r>
            <a:r>
              <a:rPr lang="de-DE" baseline="0" dirty="0" err="1"/>
              <a:t>topic</a:t>
            </a:r>
            <a:r>
              <a:rPr lang="de-DE" baseline="0" dirty="0"/>
              <a:t> </a:t>
            </a:r>
            <a:r>
              <a:rPr lang="de-DE" baseline="0" dirty="0" err="1"/>
              <a:t>which</a:t>
            </a:r>
            <a:r>
              <a:rPr lang="de-DE" baseline="0" dirty="0"/>
              <a:t>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de-DE" baseline="0" dirty="0" err="1"/>
              <a:t>part</a:t>
            </a:r>
            <a:r>
              <a:rPr lang="de-DE" baseline="0" dirty="0"/>
              <a:t> </a:t>
            </a:r>
            <a:r>
              <a:rPr lang="de-DE" baseline="0" dirty="0" err="1"/>
              <a:t>of</a:t>
            </a:r>
            <a:r>
              <a:rPr lang="de-DE" baseline="0" dirty="0"/>
              <a:t> </a:t>
            </a:r>
            <a:r>
              <a:rPr lang="de-DE" baseline="0" dirty="0" err="1"/>
              <a:t>the</a:t>
            </a:r>
            <a:r>
              <a:rPr lang="de-DE" baseline="0" dirty="0"/>
              <a:t> Future </a:t>
            </a:r>
            <a:r>
              <a:rPr lang="de-DE" baseline="0" dirty="0" err="1"/>
              <a:t>of</a:t>
            </a:r>
            <a:r>
              <a:rPr lang="de-DE" baseline="0" dirty="0"/>
              <a:t> Automation Vision </a:t>
            </a:r>
            <a:r>
              <a:rPr lang="de-DE" baseline="0" dirty="0" err="1"/>
              <a:t>of</a:t>
            </a:r>
            <a:r>
              <a:rPr lang="de-DE" baseline="0" dirty="0"/>
              <a:t> Siemens DI-</a:t>
            </a:r>
            <a:r>
              <a:rPr lang="de-DE" baseline="0" dirty="0" err="1"/>
              <a:t>Divison</a:t>
            </a:r>
            <a:r>
              <a:rPr lang="de-DE" baseline="0" dirty="0"/>
              <a:t>. Future </a:t>
            </a:r>
            <a:r>
              <a:rPr lang="de-DE" baseline="0" dirty="0" err="1"/>
              <a:t>by</a:t>
            </a:r>
            <a:r>
              <a:rPr lang="de-DE" baseline="0" dirty="0"/>
              <a:t> </a:t>
            </a:r>
            <a:r>
              <a:rPr lang="de-DE" baseline="0" dirty="0" err="1"/>
              <a:t>means</a:t>
            </a:r>
            <a:r>
              <a:rPr lang="de-DE" baseline="0" dirty="0"/>
              <a:t> </a:t>
            </a:r>
            <a:r>
              <a:rPr lang="de-DE" baseline="0" dirty="0" err="1"/>
              <a:t>of</a:t>
            </a:r>
            <a:r>
              <a:rPr lang="de-DE" baseline="0" dirty="0"/>
              <a:t>: Ist not a </a:t>
            </a:r>
            <a:r>
              <a:rPr lang="de-DE" baseline="0" dirty="0" err="1"/>
              <a:t>released</a:t>
            </a:r>
            <a:r>
              <a:rPr lang="de-DE" baseline="0" dirty="0"/>
              <a:t> </a:t>
            </a:r>
            <a:r>
              <a:rPr lang="de-DE" baseline="0" dirty="0" err="1"/>
              <a:t>product</a:t>
            </a:r>
            <a:r>
              <a:rPr lang="de-DE" baseline="0" dirty="0"/>
              <a:t> </a:t>
            </a:r>
            <a:r>
              <a:rPr lang="de-DE" baseline="0" dirty="0" err="1"/>
              <a:t>yet</a:t>
            </a:r>
            <a:r>
              <a:rPr lang="de-DE" baseline="0" dirty="0"/>
              <a:t>, so </a:t>
            </a:r>
            <a:r>
              <a:rPr lang="de-DE" baseline="0" dirty="0" err="1"/>
              <a:t>its</a:t>
            </a:r>
            <a:r>
              <a:rPr lang="de-DE" baseline="0" dirty="0"/>
              <a:t> still </a:t>
            </a:r>
            <a:r>
              <a:rPr lang="de-DE" baseline="0" dirty="0" err="1"/>
              <a:t>under</a:t>
            </a:r>
            <a:r>
              <a:rPr lang="de-DE" baseline="0" dirty="0"/>
              <a:t> </a:t>
            </a:r>
            <a:r>
              <a:rPr lang="de-DE" baseline="0" dirty="0" err="1"/>
              <a:t>development</a:t>
            </a:r>
            <a:r>
              <a:rPr lang="de-DE" baseline="0" dirty="0"/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The </a:t>
            </a:r>
            <a:r>
              <a:rPr lang="de-DE" baseline="0" dirty="0" err="1"/>
              <a:t>product</a:t>
            </a:r>
            <a:r>
              <a:rPr lang="de-DE" baseline="0" dirty="0"/>
              <a:t> ist </a:t>
            </a:r>
            <a:r>
              <a:rPr lang="de-DE" baseline="0" dirty="0" err="1"/>
              <a:t>best</a:t>
            </a:r>
            <a:r>
              <a:rPr lang="de-DE" baseline="0" dirty="0"/>
              <a:t> </a:t>
            </a:r>
            <a:r>
              <a:rPr lang="de-DE" baseline="0" dirty="0" err="1"/>
              <a:t>described</a:t>
            </a:r>
            <a:r>
              <a:rPr lang="de-DE" baseline="0" dirty="0"/>
              <a:t> </a:t>
            </a:r>
            <a:r>
              <a:rPr lang="de-DE" baseline="0" dirty="0" err="1"/>
              <a:t>by</a:t>
            </a:r>
            <a:r>
              <a:rPr lang="de-DE" baseline="0" dirty="0"/>
              <a:t> </a:t>
            </a:r>
            <a:r>
              <a:rPr lang="de-DE" baseline="0" dirty="0" err="1"/>
              <a:t>closing</a:t>
            </a:r>
            <a:r>
              <a:rPr lang="de-DE" baseline="0" dirty="0"/>
              <a:t> </a:t>
            </a:r>
            <a:r>
              <a:rPr lang="de-DE" baseline="0" dirty="0" err="1"/>
              <a:t>the</a:t>
            </a:r>
            <a:r>
              <a:rPr lang="de-DE" baseline="0" dirty="0"/>
              <a:t> </a:t>
            </a:r>
            <a:r>
              <a:rPr lang="de-DE" baseline="0" dirty="0" err="1"/>
              <a:t>gap</a:t>
            </a:r>
            <a:r>
              <a:rPr lang="de-DE" baseline="0" dirty="0"/>
              <a:t> </a:t>
            </a:r>
            <a:r>
              <a:rPr lang="de-DE" baseline="0" dirty="0" err="1"/>
              <a:t>between</a:t>
            </a:r>
            <a:r>
              <a:rPr lang="de-DE" baseline="0" dirty="0"/>
              <a:t> </a:t>
            </a:r>
            <a:r>
              <a:rPr lang="de-DE" baseline="0" dirty="0" err="1"/>
              <a:t>field</a:t>
            </a:r>
            <a:r>
              <a:rPr lang="de-DE" baseline="0" dirty="0"/>
              <a:t> and </a:t>
            </a:r>
            <a:r>
              <a:rPr lang="de-DE" baseline="0" dirty="0" err="1"/>
              <a:t>cloud</a:t>
            </a:r>
            <a:r>
              <a:rPr lang="de-DE" baseline="0" dirty="0"/>
              <a:t>, </a:t>
            </a:r>
            <a:r>
              <a:rPr lang="de-DE" baseline="0" dirty="0" err="1"/>
              <a:t>which</a:t>
            </a:r>
            <a:r>
              <a:rPr lang="de-DE" baseline="0" dirty="0"/>
              <a:t>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de-DE" baseline="0" dirty="0" err="1"/>
              <a:t>displayed</a:t>
            </a:r>
            <a:r>
              <a:rPr lang="de-DE" baseline="0" dirty="0"/>
              <a:t> in </a:t>
            </a:r>
            <a:r>
              <a:rPr lang="de-DE" baseline="0" dirty="0" err="1"/>
              <a:t>this</a:t>
            </a:r>
            <a:r>
              <a:rPr lang="de-DE" baseline="0" dirty="0"/>
              <a:t> </a:t>
            </a:r>
            <a:r>
              <a:rPr lang="de-DE" baseline="0" dirty="0" err="1"/>
              <a:t>introduction</a:t>
            </a:r>
            <a:r>
              <a:rPr lang="de-DE" baseline="0" dirty="0"/>
              <a:t> </a:t>
            </a:r>
            <a:r>
              <a:rPr lang="de-DE" baseline="0" dirty="0" err="1"/>
              <a:t>video</a:t>
            </a:r>
            <a:endParaRPr lang="de-DE" baseline="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668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Wenn wir uns anschauen was in so einem Edge Device alles drin steckt:</a:t>
            </a:r>
          </a:p>
          <a:p>
            <a:pPr marL="297450" lvl="1" indent="-171450">
              <a:buFontTx/>
              <a:buChar char="-"/>
            </a:pPr>
            <a:r>
              <a:rPr lang="de-DE" dirty="0"/>
              <a:t>Haben wir in der Inkubationsphase eine </a:t>
            </a:r>
            <a:r>
              <a:rPr lang="de-DE" dirty="0" err="1"/>
              <a:t>Nanobox</a:t>
            </a:r>
            <a:r>
              <a:rPr lang="de-DE" dirty="0"/>
              <a:t>, mit dem SIMATIC Industrial OS Linux Betriebssystem und einer vorinstallieren Edge </a:t>
            </a:r>
            <a:r>
              <a:rPr lang="de-DE" dirty="0" err="1"/>
              <a:t>Runtime</a:t>
            </a:r>
            <a:r>
              <a:rPr lang="de-DE" dirty="0"/>
              <a:t>.</a:t>
            </a:r>
          </a:p>
          <a:p>
            <a:pPr marL="297450" lvl="1" indent="-171450">
              <a:buFontTx/>
              <a:buChar char="-"/>
            </a:pPr>
            <a:r>
              <a:rPr lang="de-DE" dirty="0"/>
              <a:t>Auf dem Edge Device können dann verschiedene </a:t>
            </a:r>
            <a:r>
              <a:rPr lang="de-DE" b="1" dirty="0"/>
              <a:t>System-Apps i</a:t>
            </a:r>
            <a:r>
              <a:rPr lang="de-DE" dirty="0"/>
              <a:t>nstalliert werden, welche </a:t>
            </a:r>
            <a:r>
              <a:rPr lang="de-DE" b="1" dirty="0"/>
              <a:t>von Siemens zur Verfügung </a:t>
            </a:r>
            <a:r>
              <a:rPr lang="de-DE" dirty="0"/>
              <a:t>gestellt werden, das ist einmal</a:t>
            </a:r>
            <a:br>
              <a:rPr lang="de-DE" dirty="0"/>
            </a:br>
            <a:r>
              <a:rPr lang="de-DE" dirty="0"/>
              <a:t>- Die </a:t>
            </a:r>
            <a:r>
              <a:rPr lang="de-DE" dirty="0" err="1"/>
              <a:t>Southbound</a:t>
            </a:r>
            <a:r>
              <a:rPr lang="de-DE" dirty="0"/>
              <a:t> Connectivity App, mit der können wir Daten über S7 und OPC UA lesen</a:t>
            </a:r>
          </a:p>
          <a:p>
            <a:pPr marL="423450" lvl="2" indent="-171450">
              <a:buFontTx/>
              <a:buChar char="-"/>
            </a:pPr>
            <a:r>
              <a:rPr lang="de-DE" dirty="0"/>
              <a:t>Die </a:t>
            </a:r>
            <a:r>
              <a:rPr lang="de-DE" dirty="0" err="1"/>
              <a:t>Databus</a:t>
            </a:r>
            <a:r>
              <a:rPr lang="de-DE" dirty="0"/>
              <a:t> App, auf die wie unsere Daten schreiben und wieder lesen können</a:t>
            </a:r>
          </a:p>
          <a:p>
            <a:pPr marL="423450" lvl="2" indent="-171450">
              <a:buFontTx/>
              <a:buChar char="-"/>
            </a:pPr>
            <a:r>
              <a:rPr lang="de-DE" dirty="0"/>
              <a:t>Dann gibt es den Visual Flow Creator, welcher nichts anderes ist als ein </a:t>
            </a:r>
            <a:r>
              <a:rPr lang="de-DE" b="1" dirty="0"/>
              <a:t>Systemgetestetes </a:t>
            </a:r>
            <a:r>
              <a:rPr lang="de-DE" b="1" dirty="0" err="1"/>
              <a:t>Node</a:t>
            </a:r>
            <a:r>
              <a:rPr lang="de-DE" b="1" dirty="0"/>
              <a:t>-Red</a:t>
            </a:r>
            <a:r>
              <a:rPr lang="de-DE" dirty="0"/>
              <a:t>. Darin können erste </a:t>
            </a:r>
            <a:r>
              <a:rPr lang="de-DE" b="1" dirty="0"/>
              <a:t>Datenverarbeitungen, Berechnungen </a:t>
            </a:r>
            <a:r>
              <a:rPr lang="de-DE" dirty="0"/>
              <a:t>vorgenommen werden oder auch Dashboards zur Visualisierung der Daten erstellt werden. Außerdem hat man die Möglichkeit Daten zurück auf den </a:t>
            </a:r>
            <a:r>
              <a:rPr lang="de-DE" dirty="0" err="1"/>
              <a:t>Databus</a:t>
            </a:r>
            <a:r>
              <a:rPr lang="de-DE" dirty="0"/>
              <a:t> zu schreiben.</a:t>
            </a:r>
          </a:p>
          <a:p>
            <a:pPr marL="423450" lvl="2" indent="-171450">
              <a:buFontTx/>
              <a:buChar char="-"/>
            </a:pPr>
            <a:r>
              <a:rPr lang="de-DE" dirty="0"/>
              <a:t>Und die nächste System App ist der Cloud Connector, mit dem wir Datenpunkte aus dem </a:t>
            </a:r>
            <a:r>
              <a:rPr lang="de-DE" dirty="0" err="1"/>
              <a:t>Databus</a:t>
            </a:r>
            <a:r>
              <a:rPr lang="de-DE" dirty="0"/>
              <a:t> direkt auf eine Cloud hochladen können (Sowohl </a:t>
            </a:r>
            <a:r>
              <a:rPr lang="de-DE" dirty="0" err="1"/>
              <a:t>Mindsphere</a:t>
            </a:r>
            <a:r>
              <a:rPr lang="de-DE" dirty="0"/>
              <a:t> als auch andere Clouds)</a:t>
            </a:r>
          </a:p>
          <a:p>
            <a:pPr marL="423450" lvl="2" indent="-171450">
              <a:buFontTx/>
              <a:buChar char="-"/>
            </a:pPr>
            <a:r>
              <a:rPr lang="de-DE" dirty="0"/>
              <a:t>Außerdem hat der Kunde die Möglichkeit seine eigenen Apps zu implementieren, </a:t>
            </a:r>
          </a:p>
          <a:p>
            <a:pPr marL="423450" lvl="2" indent="-171450">
              <a:buFontTx/>
              <a:buChar char="-"/>
            </a:pPr>
            <a:r>
              <a:rPr lang="de-DE" dirty="0"/>
              <a:t>oder später einmal diese auch über den </a:t>
            </a:r>
            <a:r>
              <a:rPr lang="de-DE" b="1" dirty="0"/>
              <a:t>Store</a:t>
            </a:r>
            <a:r>
              <a:rPr lang="de-DE" dirty="0"/>
              <a:t> zu installie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159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52000" lvl="2" indent="0">
              <a:buFontTx/>
              <a:buNone/>
            </a:pPr>
            <a:r>
              <a:rPr lang="de-DE" dirty="0" err="1"/>
              <a:t>Besid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apps</a:t>
            </a:r>
            <a:r>
              <a:rPr lang="de-DE" dirty="0"/>
              <a:t>: Customers </a:t>
            </a:r>
            <a:r>
              <a:rPr lang="de-DE" dirty="0" err="1"/>
              <a:t>can</a:t>
            </a:r>
            <a:r>
              <a:rPr lang="de-DE" dirty="0"/>
              <a:t> also </a:t>
            </a:r>
            <a:r>
              <a:rPr lang="de-DE" dirty="0" err="1"/>
              <a:t>install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own </a:t>
            </a:r>
            <a:r>
              <a:rPr lang="de-DE" dirty="0" err="1"/>
              <a:t>application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468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2.xml"/><Relationship Id="rId1" Type="http://schemas.openxmlformats.org/officeDocument/2006/relationships/vmlDrawing" Target="../drawings/vmlDrawing3.v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customXml" Target="../../customXml/item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customXml" Target="../../customXml/item4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customXml" Target="../../customXml/item1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customXml" Target="../../customXml/item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customXml" Target="../../customXml/item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customXml" Target="../../customXml/item8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customXml" Target="../../customXml/item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customXml" Target="../../customXml/item6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10" Type="http://schemas.openxmlformats.org/officeDocument/2006/relationships/image" Target="../media/image4.jpeg"/><Relationship Id="rId4" Type="http://schemas.openxmlformats.org/officeDocument/2006/relationships/tags" Target="../tags/tag122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customXml" Target="../../customXml/item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356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65095EE-30E2-4650-BDCE-074AE26C26C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9" name="Picture 3" descr="D:\syncplicity\z003dxrz\Edge in Hannover (Katrin Kunz)\40_Communication\Keyvisual Social Media\Siemens_Industrial_Edge_KV.jpg">
            <a:extLst>
              <a:ext uri="{FF2B5EF4-FFF2-40B4-BE49-F238E27FC236}">
                <a16:creationId xmlns:a16="http://schemas.microsoft.com/office/drawing/2014/main" id="{2936D352-46FD-48D0-B54C-C43F91D654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4139290"/>
            <a:ext cx="648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Unrestrictedity note</a:t>
            </a:r>
            <a:endParaRPr lang="en-US" noProof="0" dirty="0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835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3159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79931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</p:spTree>
    <p:custDataLst>
      <p:custData r:id="rId1"/>
      <p:tags r:id="rId2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3506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</p:spTree>
    <p:custDataLst>
      <p:custData r:id="rId2"/>
      <p:tags r:id="rId3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4"/>
            </p:custDataLst>
          </p:nvPr>
        </p:nvSpPr>
        <p:spPr>
          <a:xfrm>
            <a:off x="6243638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7063" y="1440000"/>
            <a:ext cx="5904000" cy="4752000"/>
          </a:xfrm>
          <a:solidFill>
            <a:srgbClr val="DFE6ED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</p:spTree>
    <p:custDataLst>
      <p:custData r:id="rId1"/>
      <p:tags r:id="rId2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Unrestrictedity note</a:t>
            </a:r>
            <a:endParaRPr lang="en-US" noProof="0" dirty="0"/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43038"/>
            <a:ext cx="360045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443038"/>
            <a:ext cx="3600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0" y="1443038"/>
            <a:ext cx="3600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</p:spTree>
    <p:custDataLst>
      <p:custData r:id="rId1"/>
      <p:tags r:id="rId2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627063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6243638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  <p:tags r:id="rId2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3038"/>
            <a:ext cx="4032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2592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3038"/>
            <a:ext cx="2736775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3038"/>
            <a:ext cx="2592387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2300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3038"/>
            <a:ext cx="4032000" cy="2300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FE6E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/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9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169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D27F681-4A1B-494E-B1B4-31007478F30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4400" b="1" i="0" u="none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61923C-9073-4185-A3E9-5EBDCB7E763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34" name="Rechteck 33" hidden="1"/>
          <p:cNvSpPr/>
          <p:nvPr userDrawn="1">
            <p:custDataLst>
              <p:tags r:id="rId4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>
              <a:solidFill>
                <a:srgbClr val="990000"/>
              </a:solidFill>
            </a:endParaRPr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" name="Titel 2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gray">
          <a:xfrm>
            <a:off x="626567" y="4538103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enter title</a:t>
            </a:r>
          </a:p>
        </p:txBody>
      </p:sp>
    </p:spTree>
    <p:extLst>
      <p:ext uri="{BB962C8B-B14F-4D97-AF65-F5344CB8AC3E}">
        <p14:creationId xmlns:p14="http://schemas.microsoft.com/office/powerpoint/2010/main" val="3785241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0" name="Gruppieren 79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56" name="cdtText Box 101 Id11">
            <a:extLst>
              <a:ext uri="{FF2B5EF4-FFF2-40B4-BE49-F238E27FC236}">
                <a16:creationId xmlns:a16="http://schemas.microsoft.com/office/drawing/2014/main" id="{FFC25492-1342-4AE8-8C59-CC6F587B331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B3E189B3-DDF2-4D5C-B22E-BC7F4F0C3321}"/>
              </a:ext>
            </a:extLst>
          </p:cNvPr>
          <p:cNvGrpSpPr/>
          <p:nvPr userDrawn="1"/>
        </p:nvGrpSpPr>
        <p:grpSpPr>
          <a:xfrm>
            <a:off x="43411" y="1427235"/>
            <a:ext cx="12635484" cy="6461672"/>
            <a:chOff x="43411" y="1427235"/>
            <a:chExt cx="12635484" cy="6461672"/>
          </a:xfrm>
        </p:grpSpPr>
        <p:grpSp>
          <p:nvGrpSpPr>
            <p:cNvPr id="58" name="Group 566">
              <a:extLst>
                <a:ext uri="{FF2B5EF4-FFF2-40B4-BE49-F238E27FC236}">
                  <a16:creationId xmlns:a16="http://schemas.microsoft.com/office/drawing/2014/main" id="{B2450B00-9C7C-4AB1-A0EB-2C1F4FC9C5D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6896250" y="2074849"/>
              <a:ext cx="5782645" cy="5526636"/>
              <a:chOff x="8480" y="-116"/>
              <a:chExt cx="4766" cy="4555"/>
            </a:xfrm>
            <a:solidFill>
              <a:srgbClr val="FFFFFF"/>
            </a:solidFill>
          </p:grpSpPr>
          <p:grpSp>
            <p:nvGrpSpPr>
              <p:cNvPr id="1499" name="Group 767">
                <a:extLst>
                  <a:ext uri="{FF2B5EF4-FFF2-40B4-BE49-F238E27FC236}">
                    <a16:creationId xmlns:a16="http://schemas.microsoft.com/office/drawing/2014/main" id="{179B5143-62A4-4D3D-BF03-87FBD3DBF5F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560" y="-116"/>
                <a:ext cx="4686" cy="4548"/>
                <a:chOff x="8560" y="-116"/>
                <a:chExt cx="4686" cy="4548"/>
              </a:xfrm>
              <a:grpFill/>
            </p:grpSpPr>
            <p:sp>
              <p:nvSpPr>
                <p:cNvPr id="1855" name="Freeform 567">
                  <a:extLst>
                    <a:ext uri="{FF2B5EF4-FFF2-40B4-BE49-F238E27FC236}">
                      <a16:creationId xmlns:a16="http://schemas.microsoft.com/office/drawing/2014/main" id="{F237616B-8075-4D4F-8D02-2C735EE367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27" y="-116"/>
                  <a:ext cx="626" cy="364"/>
                </a:xfrm>
                <a:custGeom>
                  <a:avLst/>
                  <a:gdLst>
                    <a:gd name="T0" fmla="*/ 132 w 265"/>
                    <a:gd name="T1" fmla="*/ 154 h 154"/>
                    <a:gd name="T2" fmla="*/ 131 w 265"/>
                    <a:gd name="T3" fmla="*/ 154 h 154"/>
                    <a:gd name="T4" fmla="*/ 1 w 265"/>
                    <a:gd name="T5" fmla="*/ 79 h 154"/>
                    <a:gd name="T6" fmla="*/ 0 w 265"/>
                    <a:gd name="T7" fmla="*/ 77 h 154"/>
                    <a:gd name="T8" fmla="*/ 1 w 265"/>
                    <a:gd name="T9" fmla="*/ 75 h 154"/>
                    <a:gd name="T10" fmla="*/ 131 w 265"/>
                    <a:gd name="T11" fmla="*/ 0 h 154"/>
                    <a:gd name="T12" fmla="*/ 133 w 265"/>
                    <a:gd name="T13" fmla="*/ 0 h 154"/>
                    <a:gd name="T14" fmla="*/ 264 w 265"/>
                    <a:gd name="T15" fmla="*/ 75 h 154"/>
                    <a:gd name="T16" fmla="*/ 265 w 265"/>
                    <a:gd name="T17" fmla="*/ 77 h 154"/>
                    <a:gd name="T18" fmla="*/ 264 w 265"/>
                    <a:gd name="T19" fmla="*/ 79 h 154"/>
                    <a:gd name="T20" fmla="*/ 133 w 265"/>
                    <a:gd name="T21" fmla="*/ 154 h 154"/>
                    <a:gd name="T22" fmla="*/ 132 w 265"/>
                    <a:gd name="T23" fmla="*/ 154 h 154"/>
                    <a:gd name="T24" fmla="*/ 6 w 265"/>
                    <a:gd name="T25" fmla="*/ 77 h 154"/>
                    <a:gd name="T26" fmla="*/ 132 w 265"/>
                    <a:gd name="T27" fmla="*/ 150 h 154"/>
                    <a:gd name="T28" fmla="*/ 259 w 265"/>
                    <a:gd name="T29" fmla="*/ 77 h 154"/>
                    <a:gd name="T30" fmla="*/ 132 w 265"/>
                    <a:gd name="T31" fmla="*/ 4 h 154"/>
                    <a:gd name="T32" fmla="*/ 6 w 265"/>
                    <a:gd name="T33" fmla="*/ 7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5" h="154">
                      <a:moveTo>
                        <a:pt x="132" y="154"/>
                      </a:moveTo>
                      <a:cubicBezTo>
                        <a:pt x="132" y="154"/>
                        <a:pt x="131" y="154"/>
                        <a:pt x="131" y="154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0" y="78"/>
                        <a:pt x="0" y="78"/>
                        <a:pt x="0" y="77"/>
                      </a:cubicBezTo>
                      <a:cubicBezTo>
                        <a:pt x="0" y="76"/>
                        <a:pt x="0" y="76"/>
                        <a:pt x="1" y="75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3" y="0"/>
                        <a:pt x="133" y="0"/>
                      </a:cubicBezTo>
                      <a:cubicBezTo>
                        <a:pt x="264" y="75"/>
                        <a:pt x="264" y="75"/>
                        <a:pt x="264" y="75"/>
                      </a:cubicBezTo>
                      <a:cubicBezTo>
                        <a:pt x="264" y="76"/>
                        <a:pt x="265" y="76"/>
                        <a:pt x="265" y="77"/>
                      </a:cubicBezTo>
                      <a:cubicBezTo>
                        <a:pt x="265" y="78"/>
                        <a:pt x="264" y="78"/>
                        <a:pt x="264" y="79"/>
                      </a:cubicBezTo>
                      <a:cubicBezTo>
                        <a:pt x="133" y="154"/>
                        <a:pt x="133" y="154"/>
                        <a:pt x="133" y="154"/>
                      </a:cubicBezTo>
                      <a:cubicBezTo>
                        <a:pt x="133" y="154"/>
                        <a:pt x="132" y="154"/>
                        <a:pt x="132" y="154"/>
                      </a:cubicBezTo>
                      <a:close/>
                      <a:moveTo>
                        <a:pt x="6" y="77"/>
                      </a:moveTo>
                      <a:cubicBezTo>
                        <a:pt x="132" y="150"/>
                        <a:pt x="132" y="150"/>
                        <a:pt x="132" y="150"/>
                      </a:cubicBezTo>
                      <a:cubicBezTo>
                        <a:pt x="259" y="77"/>
                        <a:pt x="259" y="77"/>
                        <a:pt x="259" y="77"/>
                      </a:cubicBezTo>
                      <a:cubicBezTo>
                        <a:pt x="132" y="4"/>
                        <a:pt x="132" y="4"/>
                        <a:pt x="132" y="4"/>
                      </a:cubicBezTo>
                      <a:lnTo>
                        <a:pt x="6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6" name="Freeform 568">
                  <a:extLst>
                    <a:ext uri="{FF2B5EF4-FFF2-40B4-BE49-F238E27FC236}">
                      <a16:creationId xmlns:a16="http://schemas.microsoft.com/office/drawing/2014/main" id="{F119A71F-09C6-4C54-869D-73519A88B5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35" y="-111"/>
                  <a:ext cx="609" cy="357"/>
                </a:xfrm>
                <a:custGeom>
                  <a:avLst/>
                  <a:gdLst>
                    <a:gd name="T0" fmla="*/ 129 w 258"/>
                    <a:gd name="T1" fmla="*/ 151 h 151"/>
                    <a:gd name="T2" fmla="*/ 128 w 258"/>
                    <a:gd name="T3" fmla="*/ 150 h 151"/>
                    <a:gd name="T4" fmla="*/ 1 w 258"/>
                    <a:gd name="T5" fmla="*/ 77 h 151"/>
                    <a:gd name="T6" fmla="*/ 0 w 258"/>
                    <a:gd name="T7" fmla="*/ 75 h 151"/>
                    <a:gd name="T8" fmla="*/ 1 w 258"/>
                    <a:gd name="T9" fmla="*/ 73 h 151"/>
                    <a:gd name="T10" fmla="*/ 128 w 258"/>
                    <a:gd name="T11" fmla="*/ 0 h 151"/>
                    <a:gd name="T12" fmla="*/ 130 w 258"/>
                    <a:gd name="T13" fmla="*/ 0 h 151"/>
                    <a:gd name="T14" fmla="*/ 257 w 258"/>
                    <a:gd name="T15" fmla="*/ 73 h 151"/>
                    <a:gd name="T16" fmla="*/ 258 w 258"/>
                    <a:gd name="T17" fmla="*/ 75 h 151"/>
                    <a:gd name="T18" fmla="*/ 257 w 258"/>
                    <a:gd name="T19" fmla="*/ 77 h 151"/>
                    <a:gd name="T20" fmla="*/ 130 w 258"/>
                    <a:gd name="T21" fmla="*/ 150 h 151"/>
                    <a:gd name="T22" fmla="*/ 129 w 258"/>
                    <a:gd name="T23" fmla="*/ 151 h 151"/>
                    <a:gd name="T24" fmla="*/ 6 w 258"/>
                    <a:gd name="T25" fmla="*/ 75 h 151"/>
                    <a:gd name="T26" fmla="*/ 129 w 258"/>
                    <a:gd name="T27" fmla="*/ 146 h 151"/>
                    <a:gd name="T28" fmla="*/ 252 w 258"/>
                    <a:gd name="T29" fmla="*/ 75 h 151"/>
                    <a:gd name="T30" fmla="*/ 129 w 258"/>
                    <a:gd name="T31" fmla="*/ 4 h 151"/>
                    <a:gd name="T32" fmla="*/ 6 w 258"/>
                    <a:gd name="T33" fmla="*/ 75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8" h="151">
                      <a:moveTo>
                        <a:pt x="129" y="151"/>
                      </a:moveTo>
                      <a:cubicBezTo>
                        <a:pt x="129" y="151"/>
                        <a:pt x="128" y="150"/>
                        <a:pt x="128" y="150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0" y="76"/>
                        <a:pt x="0" y="76"/>
                        <a:pt x="0" y="75"/>
                      </a:cubicBezTo>
                      <a:cubicBezTo>
                        <a:pt x="0" y="74"/>
                        <a:pt x="0" y="74"/>
                        <a:pt x="1" y="73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30" y="0"/>
                        <a:pt x="130" y="0"/>
                      </a:cubicBezTo>
                      <a:cubicBezTo>
                        <a:pt x="257" y="73"/>
                        <a:pt x="257" y="73"/>
                        <a:pt x="257" y="73"/>
                      </a:cubicBezTo>
                      <a:cubicBezTo>
                        <a:pt x="258" y="74"/>
                        <a:pt x="258" y="74"/>
                        <a:pt x="258" y="75"/>
                      </a:cubicBezTo>
                      <a:cubicBezTo>
                        <a:pt x="258" y="76"/>
                        <a:pt x="258" y="76"/>
                        <a:pt x="257" y="77"/>
                      </a:cubicBezTo>
                      <a:cubicBezTo>
                        <a:pt x="130" y="150"/>
                        <a:pt x="130" y="150"/>
                        <a:pt x="130" y="150"/>
                      </a:cubicBezTo>
                      <a:cubicBezTo>
                        <a:pt x="130" y="150"/>
                        <a:pt x="129" y="151"/>
                        <a:pt x="129" y="151"/>
                      </a:cubicBezTo>
                      <a:close/>
                      <a:moveTo>
                        <a:pt x="6" y="75"/>
                      </a:moveTo>
                      <a:cubicBezTo>
                        <a:pt x="129" y="146"/>
                        <a:pt x="129" y="146"/>
                        <a:pt x="129" y="146"/>
                      </a:cubicBezTo>
                      <a:cubicBezTo>
                        <a:pt x="252" y="75"/>
                        <a:pt x="252" y="75"/>
                        <a:pt x="252" y="75"/>
                      </a:cubicBezTo>
                      <a:cubicBezTo>
                        <a:pt x="129" y="4"/>
                        <a:pt x="129" y="4"/>
                        <a:pt x="129" y="4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7" name="Freeform 569">
                  <a:extLst>
                    <a:ext uri="{FF2B5EF4-FFF2-40B4-BE49-F238E27FC236}">
                      <a16:creationId xmlns:a16="http://schemas.microsoft.com/office/drawing/2014/main" id="{80FB77B0-2958-4777-87B0-7D7F88767C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9" y="-116"/>
                  <a:ext cx="626" cy="364"/>
                </a:xfrm>
                <a:custGeom>
                  <a:avLst/>
                  <a:gdLst>
                    <a:gd name="T0" fmla="*/ 133 w 265"/>
                    <a:gd name="T1" fmla="*/ 154 h 154"/>
                    <a:gd name="T2" fmla="*/ 132 w 265"/>
                    <a:gd name="T3" fmla="*/ 154 h 154"/>
                    <a:gd name="T4" fmla="*/ 1 w 265"/>
                    <a:gd name="T5" fmla="*/ 79 h 154"/>
                    <a:gd name="T6" fmla="*/ 0 w 265"/>
                    <a:gd name="T7" fmla="*/ 77 h 154"/>
                    <a:gd name="T8" fmla="*/ 1 w 265"/>
                    <a:gd name="T9" fmla="*/ 75 h 154"/>
                    <a:gd name="T10" fmla="*/ 132 w 265"/>
                    <a:gd name="T11" fmla="*/ 0 h 154"/>
                    <a:gd name="T12" fmla="*/ 134 w 265"/>
                    <a:gd name="T13" fmla="*/ 0 h 154"/>
                    <a:gd name="T14" fmla="*/ 264 w 265"/>
                    <a:gd name="T15" fmla="*/ 75 h 154"/>
                    <a:gd name="T16" fmla="*/ 265 w 265"/>
                    <a:gd name="T17" fmla="*/ 77 h 154"/>
                    <a:gd name="T18" fmla="*/ 264 w 265"/>
                    <a:gd name="T19" fmla="*/ 79 h 154"/>
                    <a:gd name="T20" fmla="*/ 134 w 265"/>
                    <a:gd name="T21" fmla="*/ 154 h 154"/>
                    <a:gd name="T22" fmla="*/ 133 w 265"/>
                    <a:gd name="T23" fmla="*/ 154 h 154"/>
                    <a:gd name="T24" fmla="*/ 6 w 265"/>
                    <a:gd name="T25" fmla="*/ 77 h 154"/>
                    <a:gd name="T26" fmla="*/ 133 w 265"/>
                    <a:gd name="T27" fmla="*/ 150 h 154"/>
                    <a:gd name="T28" fmla="*/ 259 w 265"/>
                    <a:gd name="T29" fmla="*/ 77 h 154"/>
                    <a:gd name="T30" fmla="*/ 133 w 265"/>
                    <a:gd name="T31" fmla="*/ 4 h 154"/>
                    <a:gd name="T32" fmla="*/ 6 w 265"/>
                    <a:gd name="T33" fmla="*/ 7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5" h="154">
                      <a:moveTo>
                        <a:pt x="133" y="154"/>
                      </a:moveTo>
                      <a:cubicBezTo>
                        <a:pt x="132" y="154"/>
                        <a:pt x="132" y="154"/>
                        <a:pt x="132" y="154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1" y="78"/>
                        <a:pt x="0" y="78"/>
                        <a:pt x="0" y="77"/>
                      </a:cubicBezTo>
                      <a:cubicBezTo>
                        <a:pt x="0" y="76"/>
                        <a:pt x="1" y="76"/>
                        <a:pt x="1" y="75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32" y="0"/>
                        <a:pt x="133" y="0"/>
                        <a:pt x="134" y="0"/>
                      </a:cubicBezTo>
                      <a:cubicBezTo>
                        <a:pt x="264" y="75"/>
                        <a:pt x="264" y="75"/>
                        <a:pt x="264" y="75"/>
                      </a:cubicBezTo>
                      <a:cubicBezTo>
                        <a:pt x="265" y="76"/>
                        <a:pt x="265" y="76"/>
                        <a:pt x="265" y="77"/>
                      </a:cubicBezTo>
                      <a:cubicBezTo>
                        <a:pt x="265" y="78"/>
                        <a:pt x="265" y="78"/>
                        <a:pt x="264" y="79"/>
                      </a:cubicBezTo>
                      <a:cubicBezTo>
                        <a:pt x="134" y="154"/>
                        <a:pt x="134" y="154"/>
                        <a:pt x="134" y="154"/>
                      </a:cubicBezTo>
                      <a:cubicBezTo>
                        <a:pt x="133" y="154"/>
                        <a:pt x="133" y="154"/>
                        <a:pt x="133" y="154"/>
                      </a:cubicBezTo>
                      <a:close/>
                      <a:moveTo>
                        <a:pt x="6" y="77"/>
                      </a:moveTo>
                      <a:cubicBezTo>
                        <a:pt x="133" y="150"/>
                        <a:pt x="133" y="150"/>
                        <a:pt x="133" y="150"/>
                      </a:cubicBezTo>
                      <a:cubicBezTo>
                        <a:pt x="259" y="77"/>
                        <a:pt x="259" y="77"/>
                        <a:pt x="259" y="77"/>
                      </a:cubicBezTo>
                      <a:cubicBezTo>
                        <a:pt x="133" y="4"/>
                        <a:pt x="133" y="4"/>
                        <a:pt x="133" y="4"/>
                      </a:cubicBezTo>
                      <a:lnTo>
                        <a:pt x="6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8" name="Freeform 570">
                  <a:extLst>
                    <a:ext uri="{FF2B5EF4-FFF2-40B4-BE49-F238E27FC236}">
                      <a16:creationId xmlns:a16="http://schemas.microsoft.com/office/drawing/2014/main" id="{697EACBE-F242-4E90-96F9-F173F821EB4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16" y="-111"/>
                  <a:ext cx="611" cy="357"/>
                </a:xfrm>
                <a:custGeom>
                  <a:avLst/>
                  <a:gdLst>
                    <a:gd name="T0" fmla="*/ 130 w 259"/>
                    <a:gd name="T1" fmla="*/ 151 h 151"/>
                    <a:gd name="T2" fmla="*/ 129 w 259"/>
                    <a:gd name="T3" fmla="*/ 150 h 151"/>
                    <a:gd name="T4" fmla="*/ 1 w 259"/>
                    <a:gd name="T5" fmla="*/ 77 h 151"/>
                    <a:gd name="T6" fmla="*/ 0 w 259"/>
                    <a:gd name="T7" fmla="*/ 75 h 151"/>
                    <a:gd name="T8" fmla="*/ 1 w 259"/>
                    <a:gd name="T9" fmla="*/ 73 h 151"/>
                    <a:gd name="T10" fmla="*/ 129 w 259"/>
                    <a:gd name="T11" fmla="*/ 0 h 151"/>
                    <a:gd name="T12" fmla="*/ 131 w 259"/>
                    <a:gd name="T13" fmla="*/ 0 h 151"/>
                    <a:gd name="T14" fmla="*/ 258 w 259"/>
                    <a:gd name="T15" fmla="*/ 73 h 151"/>
                    <a:gd name="T16" fmla="*/ 259 w 259"/>
                    <a:gd name="T17" fmla="*/ 75 h 151"/>
                    <a:gd name="T18" fmla="*/ 258 w 259"/>
                    <a:gd name="T19" fmla="*/ 77 h 151"/>
                    <a:gd name="T20" fmla="*/ 131 w 259"/>
                    <a:gd name="T21" fmla="*/ 150 h 151"/>
                    <a:gd name="T22" fmla="*/ 130 w 259"/>
                    <a:gd name="T23" fmla="*/ 151 h 151"/>
                    <a:gd name="T24" fmla="*/ 6 w 259"/>
                    <a:gd name="T25" fmla="*/ 75 h 151"/>
                    <a:gd name="T26" fmla="*/ 130 w 259"/>
                    <a:gd name="T27" fmla="*/ 146 h 151"/>
                    <a:gd name="T28" fmla="*/ 253 w 259"/>
                    <a:gd name="T29" fmla="*/ 75 h 151"/>
                    <a:gd name="T30" fmla="*/ 130 w 259"/>
                    <a:gd name="T31" fmla="*/ 4 h 151"/>
                    <a:gd name="T32" fmla="*/ 6 w 259"/>
                    <a:gd name="T33" fmla="*/ 75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" h="151">
                      <a:moveTo>
                        <a:pt x="130" y="151"/>
                      </a:moveTo>
                      <a:cubicBezTo>
                        <a:pt x="129" y="151"/>
                        <a:pt x="129" y="150"/>
                        <a:pt x="129" y="150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1" y="76"/>
                        <a:pt x="0" y="76"/>
                        <a:pt x="0" y="75"/>
                      </a:cubicBezTo>
                      <a:cubicBezTo>
                        <a:pt x="0" y="74"/>
                        <a:pt x="1" y="74"/>
                        <a:pt x="1" y="73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30" y="0"/>
                        <a:pt x="131" y="0"/>
                      </a:cubicBezTo>
                      <a:cubicBezTo>
                        <a:pt x="258" y="73"/>
                        <a:pt x="258" y="73"/>
                        <a:pt x="258" y="73"/>
                      </a:cubicBezTo>
                      <a:cubicBezTo>
                        <a:pt x="258" y="74"/>
                        <a:pt x="259" y="74"/>
                        <a:pt x="259" y="75"/>
                      </a:cubicBezTo>
                      <a:cubicBezTo>
                        <a:pt x="259" y="76"/>
                        <a:pt x="258" y="76"/>
                        <a:pt x="258" y="77"/>
                      </a:cubicBezTo>
                      <a:cubicBezTo>
                        <a:pt x="131" y="150"/>
                        <a:pt x="131" y="150"/>
                        <a:pt x="131" y="150"/>
                      </a:cubicBezTo>
                      <a:cubicBezTo>
                        <a:pt x="130" y="150"/>
                        <a:pt x="130" y="151"/>
                        <a:pt x="130" y="151"/>
                      </a:cubicBezTo>
                      <a:close/>
                      <a:moveTo>
                        <a:pt x="6" y="75"/>
                      </a:moveTo>
                      <a:cubicBezTo>
                        <a:pt x="130" y="146"/>
                        <a:pt x="130" y="146"/>
                        <a:pt x="130" y="146"/>
                      </a:cubicBezTo>
                      <a:cubicBezTo>
                        <a:pt x="253" y="75"/>
                        <a:pt x="253" y="75"/>
                        <a:pt x="253" y="75"/>
                      </a:cubicBezTo>
                      <a:cubicBezTo>
                        <a:pt x="130" y="4"/>
                        <a:pt x="130" y="4"/>
                        <a:pt x="130" y="4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9" name="Freeform 571">
                  <a:extLst>
                    <a:ext uri="{FF2B5EF4-FFF2-40B4-BE49-F238E27FC236}">
                      <a16:creationId xmlns:a16="http://schemas.microsoft.com/office/drawing/2014/main" id="{AA3F2FC0-503D-4209-A8B4-038408AC3A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97" y="411"/>
                  <a:ext cx="626" cy="366"/>
                </a:xfrm>
                <a:custGeom>
                  <a:avLst/>
                  <a:gdLst>
                    <a:gd name="T0" fmla="*/ 132 w 265"/>
                    <a:gd name="T1" fmla="*/ 155 h 155"/>
                    <a:gd name="T2" fmla="*/ 131 w 265"/>
                    <a:gd name="T3" fmla="*/ 154 h 155"/>
                    <a:gd name="T4" fmla="*/ 1 w 265"/>
                    <a:gd name="T5" fmla="*/ 79 h 155"/>
                    <a:gd name="T6" fmla="*/ 0 w 265"/>
                    <a:gd name="T7" fmla="*/ 77 h 155"/>
                    <a:gd name="T8" fmla="*/ 1 w 265"/>
                    <a:gd name="T9" fmla="*/ 76 h 155"/>
                    <a:gd name="T10" fmla="*/ 131 w 265"/>
                    <a:gd name="T11" fmla="*/ 0 h 155"/>
                    <a:gd name="T12" fmla="*/ 133 w 265"/>
                    <a:gd name="T13" fmla="*/ 0 h 155"/>
                    <a:gd name="T14" fmla="*/ 264 w 265"/>
                    <a:gd name="T15" fmla="*/ 76 h 155"/>
                    <a:gd name="T16" fmla="*/ 265 w 265"/>
                    <a:gd name="T17" fmla="*/ 77 h 155"/>
                    <a:gd name="T18" fmla="*/ 264 w 265"/>
                    <a:gd name="T19" fmla="*/ 79 h 155"/>
                    <a:gd name="T20" fmla="*/ 133 w 265"/>
                    <a:gd name="T21" fmla="*/ 154 h 155"/>
                    <a:gd name="T22" fmla="*/ 132 w 265"/>
                    <a:gd name="T23" fmla="*/ 155 h 155"/>
                    <a:gd name="T24" fmla="*/ 6 w 265"/>
                    <a:gd name="T25" fmla="*/ 77 h 155"/>
                    <a:gd name="T26" fmla="*/ 132 w 265"/>
                    <a:gd name="T27" fmla="*/ 150 h 155"/>
                    <a:gd name="T28" fmla="*/ 259 w 265"/>
                    <a:gd name="T29" fmla="*/ 77 h 155"/>
                    <a:gd name="T30" fmla="*/ 132 w 265"/>
                    <a:gd name="T31" fmla="*/ 4 h 155"/>
                    <a:gd name="T32" fmla="*/ 6 w 265"/>
                    <a:gd name="T33" fmla="*/ 77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5" h="155">
                      <a:moveTo>
                        <a:pt x="132" y="155"/>
                      </a:moveTo>
                      <a:cubicBezTo>
                        <a:pt x="132" y="155"/>
                        <a:pt x="131" y="155"/>
                        <a:pt x="131" y="154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0" y="79"/>
                        <a:pt x="0" y="78"/>
                        <a:pt x="0" y="77"/>
                      </a:cubicBezTo>
                      <a:cubicBezTo>
                        <a:pt x="0" y="77"/>
                        <a:pt x="0" y="76"/>
                        <a:pt x="1" y="76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2" y="0"/>
                        <a:pt x="133" y="0"/>
                      </a:cubicBezTo>
                      <a:cubicBezTo>
                        <a:pt x="264" y="76"/>
                        <a:pt x="264" y="76"/>
                        <a:pt x="264" y="76"/>
                      </a:cubicBezTo>
                      <a:cubicBezTo>
                        <a:pt x="264" y="76"/>
                        <a:pt x="265" y="77"/>
                        <a:pt x="265" y="77"/>
                      </a:cubicBezTo>
                      <a:cubicBezTo>
                        <a:pt x="265" y="78"/>
                        <a:pt x="264" y="79"/>
                        <a:pt x="264" y="79"/>
                      </a:cubicBezTo>
                      <a:cubicBezTo>
                        <a:pt x="133" y="154"/>
                        <a:pt x="133" y="154"/>
                        <a:pt x="133" y="154"/>
                      </a:cubicBezTo>
                      <a:cubicBezTo>
                        <a:pt x="133" y="155"/>
                        <a:pt x="132" y="155"/>
                        <a:pt x="132" y="155"/>
                      </a:cubicBezTo>
                      <a:close/>
                      <a:moveTo>
                        <a:pt x="6" y="77"/>
                      </a:moveTo>
                      <a:cubicBezTo>
                        <a:pt x="132" y="150"/>
                        <a:pt x="132" y="150"/>
                        <a:pt x="132" y="150"/>
                      </a:cubicBezTo>
                      <a:cubicBezTo>
                        <a:pt x="259" y="77"/>
                        <a:pt x="259" y="77"/>
                        <a:pt x="259" y="77"/>
                      </a:cubicBezTo>
                      <a:cubicBezTo>
                        <a:pt x="132" y="4"/>
                        <a:pt x="132" y="4"/>
                        <a:pt x="132" y="4"/>
                      </a:cubicBezTo>
                      <a:lnTo>
                        <a:pt x="6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0" name="Freeform 572">
                  <a:extLst>
                    <a:ext uri="{FF2B5EF4-FFF2-40B4-BE49-F238E27FC236}">
                      <a16:creationId xmlns:a16="http://schemas.microsoft.com/office/drawing/2014/main" id="{7BACF1F5-E716-4C37-8CB6-46295F3BF2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04" y="416"/>
                  <a:ext cx="609" cy="357"/>
                </a:xfrm>
                <a:custGeom>
                  <a:avLst/>
                  <a:gdLst>
                    <a:gd name="T0" fmla="*/ 129 w 258"/>
                    <a:gd name="T1" fmla="*/ 151 h 151"/>
                    <a:gd name="T2" fmla="*/ 128 w 258"/>
                    <a:gd name="T3" fmla="*/ 150 h 151"/>
                    <a:gd name="T4" fmla="*/ 1 w 258"/>
                    <a:gd name="T5" fmla="*/ 77 h 151"/>
                    <a:gd name="T6" fmla="*/ 0 w 258"/>
                    <a:gd name="T7" fmla="*/ 75 h 151"/>
                    <a:gd name="T8" fmla="*/ 1 w 258"/>
                    <a:gd name="T9" fmla="*/ 74 h 151"/>
                    <a:gd name="T10" fmla="*/ 128 w 258"/>
                    <a:gd name="T11" fmla="*/ 0 h 151"/>
                    <a:gd name="T12" fmla="*/ 130 w 258"/>
                    <a:gd name="T13" fmla="*/ 0 h 151"/>
                    <a:gd name="T14" fmla="*/ 257 w 258"/>
                    <a:gd name="T15" fmla="*/ 74 h 151"/>
                    <a:gd name="T16" fmla="*/ 258 w 258"/>
                    <a:gd name="T17" fmla="*/ 75 h 151"/>
                    <a:gd name="T18" fmla="*/ 257 w 258"/>
                    <a:gd name="T19" fmla="*/ 77 h 151"/>
                    <a:gd name="T20" fmla="*/ 130 w 258"/>
                    <a:gd name="T21" fmla="*/ 150 h 151"/>
                    <a:gd name="T22" fmla="*/ 129 w 258"/>
                    <a:gd name="T23" fmla="*/ 151 h 151"/>
                    <a:gd name="T24" fmla="*/ 6 w 258"/>
                    <a:gd name="T25" fmla="*/ 75 h 151"/>
                    <a:gd name="T26" fmla="*/ 129 w 258"/>
                    <a:gd name="T27" fmla="*/ 146 h 151"/>
                    <a:gd name="T28" fmla="*/ 252 w 258"/>
                    <a:gd name="T29" fmla="*/ 75 h 151"/>
                    <a:gd name="T30" fmla="*/ 129 w 258"/>
                    <a:gd name="T31" fmla="*/ 4 h 151"/>
                    <a:gd name="T32" fmla="*/ 6 w 258"/>
                    <a:gd name="T33" fmla="*/ 75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8" h="151">
                      <a:moveTo>
                        <a:pt x="129" y="151"/>
                      </a:moveTo>
                      <a:cubicBezTo>
                        <a:pt x="129" y="151"/>
                        <a:pt x="128" y="151"/>
                        <a:pt x="128" y="150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0" y="77"/>
                        <a:pt x="0" y="76"/>
                        <a:pt x="0" y="75"/>
                      </a:cubicBezTo>
                      <a:cubicBezTo>
                        <a:pt x="0" y="75"/>
                        <a:pt x="0" y="74"/>
                        <a:pt x="1" y="74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30" y="0"/>
                      </a:cubicBezTo>
                      <a:cubicBezTo>
                        <a:pt x="257" y="74"/>
                        <a:pt x="257" y="74"/>
                        <a:pt x="257" y="74"/>
                      </a:cubicBezTo>
                      <a:cubicBezTo>
                        <a:pt x="258" y="74"/>
                        <a:pt x="258" y="75"/>
                        <a:pt x="258" y="75"/>
                      </a:cubicBezTo>
                      <a:cubicBezTo>
                        <a:pt x="258" y="76"/>
                        <a:pt x="258" y="77"/>
                        <a:pt x="257" y="77"/>
                      </a:cubicBezTo>
                      <a:cubicBezTo>
                        <a:pt x="130" y="150"/>
                        <a:pt x="130" y="150"/>
                        <a:pt x="130" y="150"/>
                      </a:cubicBezTo>
                      <a:cubicBezTo>
                        <a:pt x="130" y="151"/>
                        <a:pt x="129" y="151"/>
                        <a:pt x="129" y="151"/>
                      </a:cubicBezTo>
                      <a:close/>
                      <a:moveTo>
                        <a:pt x="6" y="75"/>
                      </a:moveTo>
                      <a:cubicBezTo>
                        <a:pt x="129" y="146"/>
                        <a:pt x="129" y="146"/>
                        <a:pt x="129" y="146"/>
                      </a:cubicBezTo>
                      <a:cubicBezTo>
                        <a:pt x="252" y="75"/>
                        <a:pt x="252" y="75"/>
                        <a:pt x="252" y="75"/>
                      </a:cubicBezTo>
                      <a:cubicBezTo>
                        <a:pt x="129" y="4"/>
                        <a:pt x="129" y="4"/>
                        <a:pt x="129" y="4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1" name="Freeform 573">
                  <a:extLst>
                    <a:ext uri="{FF2B5EF4-FFF2-40B4-BE49-F238E27FC236}">
                      <a16:creationId xmlns:a16="http://schemas.microsoft.com/office/drawing/2014/main" id="{7154AB44-2968-477F-9978-56D4715D83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497" y="2152"/>
                  <a:ext cx="749" cy="437"/>
                </a:xfrm>
                <a:custGeom>
                  <a:avLst/>
                  <a:gdLst>
                    <a:gd name="T0" fmla="*/ 159 w 317"/>
                    <a:gd name="T1" fmla="*/ 185 h 185"/>
                    <a:gd name="T2" fmla="*/ 158 w 317"/>
                    <a:gd name="T3" fmla="*/ 185 h 185"/>
                    <a:gd name="T4" fmla="*/ 1 w 317"/>
                    <a:gd name="T5" fmla="*/ 94 h 185"/>
                    <a:gd name="T6" fmla="*/ 0 w 317"/>
                    <a:gd name="T7" fmla="*/ 93 h 185"/>
                    <a:gd name="T8" fmla="*/ 1 w 317"/>
                    <a:gd name="T9" fmla="*/ 91 h 185"/>
                    <a:gd name="T10" fmla="*/ 158 w 317"/>
                    <a:gd name="T11" fmla="*/ 1 h 185"/>
                    <a:gd name="T12" fmla="*/ 160 w 317"/>
                    <a:gd name="T13" fmla="*/ 1 h 185"/>
                    <a:gd name="T14" fmla="*/ 316 w 317"/>
                    <a:gd name="T15" fmla="*/ 91 h 185"/>
                    <a:gd name="T16" fmla="*/ 317 w 317"/>
                    <a:gd name="T17" fmla="*/ 93 h 185"/>
                    <a:gd name="T18" fmla="*/ 316 w 317"/>
                    <a:gd name="T19" fmla="*/ 94 h 185"/>
                    <a:gd name="T20" fmla="*/ 160 w 317"/>
                    <a:gd name="T21" fmla="*/ 185 h 185"/>
                    <a:gd name="T22" fmla="*/ 159 w 317"/>
                    <a:gd name="T23" fmla="*/ 185 h 185"/>
                    <a:gd name="T24" fmla="*/ 6 w 317"/>
                    <a:gd name="T25" fmla="*/ 93 h 185"/>
                    <a:gd name="T26" fmla="*/ 159 w 317"/>
                    <a:gd name="T27" fmla="*/ 181 h 185"/>
                    <a:gd name="T28" fmla="*/ 311 w 317"/>
                    <a:gd name="T29" fmla="*/ 93 h 185"/>
                    <a:gd name="T30" fmla="*/ 159 w 317"/>
                    <a:gd name="T31" fmla="*/ 5 h 185"/>
                    <a:gd name="T32" fmla="*/ 6 w 317"/>
                    <a:gd name="T33" fmla="*/ 9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7" h="185">
                      <a:moveTo>
                        <a:pt x="159" y="185"/>
                      </a:moveTo>
                      <a:cubicBezTo>
                        <a:pt x="158" y="185"/>
                        <a:pt x="158" y="185"/>
                        <a:pt x="158" y="185"/>
                      </a:cubicBezTo>
                      <a:cubicBezTo>
                        <a:pt x="1" y="94"/>
                        <a:pt x="1" y="94"/>
                        <a:pt x="1" y="94"/>
                      </a:cubicBezTo>
                      <a:cubicBezTo>
                        <a:pt x="1" y="94"/>
                        <a:pt x="0" y="93"/>
                        <a:pt x="0" y="93"/>
                      </a:cubicBezTo>
                      <a:cubicBezTo>
                        <a:pt x="0" y="92"/>
                        <a:pt x="1" y="91"/>
                        <a:pt x="1" y="91"/>
                      </a:cubicBezTo>
                      <a:cubicBezTo>
                        <a:pt x="158" y="1"/>
                        <a:pt x="158" y="1"/>
                        <a:pt x="158" y="1"/>
                      </a:cubicBezTo>
                      <a:cubicBezTo>
                        <a:pt x="158" y="0"/>
                        <a:pt x="159" y="0"/>
                        <a:pt x="160" y="1"/>
                      </a:cubicBezTo>
                      <a:cubicBezTo>
                        <a:pt x="316" y="91"/>
                        <a:pt x="316" y="91"/>
                        <a:pt x="316" y="91"/>
                      </a:cubicBezTo>
                      <a:cubicBezTo>
                        <a:pt x="317" y="91"/>
                        <a:pt x="317" y="92"/>
                        <a:pt x="317" y="93"/>
                      </a:cubicBezTo>
                      <a:cubicBezTo>
                        <a:pt x="317" y="93"/>
                        <a:pt x="317" y="94"/>
                        <a:pt x="316" y="94"/>
                      </a:cubicBezTo>
                      <a:cubicBezTo>
                        <a:pt x="160" y="185"/>
                        <a:pt x="160" y="185"/>
                        <a:pt x="160" y="185"/>
                      </a:cubicBezTo>
                      <a:cubicBezTo>
                        <a:pt x="159" y="185"/>
                        <a:pt x="159" y="185"/>
                        <a:pt x="159" y="185"/>
                      </a:cubicBezTo>
                      <a:close/>
                      <a:moveTo>
                        <a:pt x="6" y="93"/>
                      </a:moveTo>
                      <a:cubicBezTo>
                        <a:pt x="159" y="181"/>
                        <a:pt x="159" y="181"/>
                        <a:pt x="159" y="181"/>
                      </a:cubicBezTo>
                      <a:cubicBezTo>
                        <a:pt x="311" y="93"/>
                        <a:pt x="311" y="93"/>
                        <a:pt x="311" y="93"/>
                      </a:cubicBezTo>
                      <a:cubicBezTo>
                        <a:pt x="159" y="5"/>
                        <a:pt x="159" y="5"/>
                        <a:pt x="159" y="5"/>
                      </a:cubicBezTo>
                      <a:lnTo>
                        <a:pt x="6" y="9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2" name="Freeform 574">
                  <a:extLst>
                    <a:ext uri="{FF2B5EF4-FFF2-40B4-BE49-F238E27FC236}">
                      <a16:creationId xmlns:a16="http://schemas.microsoft.com/office/drawing/2014/main" id="{CD269498-8289-4ADF-9F6E-1C23A6B830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507" y="2157"/>
                  <a:ext cx="732" cy="428"/>
                </a:xfrm>
                <a:custGeom>
                  <a:avLst/>
                  <a:gdLst>
                    <a:gd name="T0" fmla="*/ 155 w 310"/>
                    <a:gd name="T1" fmla="*/ 181 h 181"/>
                    <a:gd name="T2" fmla="*/ 154 w 310"/>
                    <a:gd name="T3" fmla="*/ 181 h 181"/>
                    <a:gd name="T4" fmla="*/ 1 w 310"/>
                    <a:gd name="T5" fmla="*/ 92 h 181"/>
                    <a:gd name="T6" fmla="*/ 0 w 310"/>
                    <a:gd name="T7" fmla="*/ 91 h 181"/>
                    <a:gd name="T8" fmla="*/ 1 w 310"/>
                    <a:gd name="T9" fmla="*/ 89 h 181"/>
                    <a:gd name="T10" fmla="*/ 154 w 310"/>
                    <a:gd name="T11" fmla="*/ 0 h 181"/>
                    <a:gd name="T12" fmla="*/ 156 w 310"/>
                    <a:gd name="T13" fmla="*/ 0 h 181"/>
                    <a:gd name="T14" fmla="*/ 309 w 310"/>
                    <a:gd name="T15" fmla="*/ 89 h 181"/>
                    <a:gd name="T16" fmla="*/ 310 w 310"/>
                    <a:gd name="T17" fmla="*/ 91 h 181"/>
                    <a:gd name="T18" fmla="*/ 309 w 310"/>
                    <a:gd name="T19" fmla="*/ 92 h 181"/>
                    <a:gd name="T20" fmla="*/ 156 w 310"/>
                    <a:gd name="T21" fmla="*/ 181 h 181"/>
                    <a:gd name="T22" fmla="*/ 155 w 310"/>
                    <a:gd name="T23" fmla="*/ 181 h 181"/>
                    <a:gd name="T24" fmla="*/ 6 w 310"/>
                    <a:gd name="T25" fmla="*/ 91 h 181"/>
                    <a:gd name="T26" fmla="*/ 155 w 310"/>
                    <a:gd name="T27" fmla="*/ 177 h 181"/>
                    <a:gd name="T28" fmla="*/ 304 w 310"/>
                    <a:gd name="T29" fmla="*/ 91 h 181"/>
                    <a:gd name="T30" fmla="*/ 155 w 310"/>
                    <a:gd name="T31" fmla="*/ 4 h 181"/>
                    <a:gd name="T32" fmla="*/ 6 w 310"/>
                    <a:gd name="T33" fmla="*/ 9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0" h="181">
                      <a:moveTo>
                        <a:pt x="155" y="181"/>
                      </a:moveTo>
                      <a:cubicBezTo>
                        <a:pt x="154" y="181"/>
                        <a:pt x="154" y="181"/>
                        <a:pt x="154" y="181"/>
                      </a:cubicBez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2"/>
                        <a:pt x="0" y="91"/>
                        <a:pt x="0" y="91"/>
                      </a:cubicBezTo>
                      <a:cubicBezTo>
                        <a:pt x="0" y="90"/>
                        <a:pt x="0" y="89"/>
                        <a:pt x="1" y="89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54" y="0"/>
                        <a:pt x="155" y="0"/>
                        <a:pt x="156" y="0"/>
                      </a:cubicBezTo>
                      <a:cubicBezTo>
                        <a:pt x="309" y="89"/>
                        <a:pt x="309" y="89"/>
                        <a:pt x="309" y="89"/>
                      </a:cubicBezTo>
                      <a:cubicBezTo>
                        <a:pt x="309" y="89"/>
                        <a:pt x="310" y="90"/>
                        <a:pt x="310" y="91"/>
                      </a:cubicBezTo>
                      <a:cubicBezTo>
                        <a:pt x="310" y="91"/>
                        <a:pt x="309" y="92"/>
                        <a:pt x="309" y="92"/>
                      </a:cubicBezTo>
                      <a:cubicBezTo>
                        <a:pt x="156" y="181"/>
                        <a:pt x="156" y="181"/>
                        <a:pt x="156" y="181"/>
                      </a:cubicBezTo>
                      <a:cubicBezTo>
                        <a:pt x="155" y="181"/>
                        <a:pt x="155" y="181"/>
                        <a:pt x="155" y="181"/>
                      </a:cubicBezTo>
                      <a:close/>
                      <a:moveTo>
                        <a:pt x="6" y="91"/>
                      </a:moveTo>
                      <a:cubicBezTo>
                        <a:pt x="155" y="177"/>
                        <a:pt x="155" y="177"/>
                        <a:pt x="155" y="177"/>
                      </a:cubicBezTo>
                      <a:cubicBezTo>
                        <a:pt x="304" y="91"/>
                        <a:pt x="304" y="91"/>
                        <a:pt x="304" y="91"/>
                      </a:cubicBezTo>
                      <a:cubicBezTo>
                        <a:pt x="155" y="4"/>
                        <a:pt x="155" y="4"/>
                        <a:pt x="155" y="4"/>
                      </a:cubicBezTo>
                      <a:lnTo>
                        <a:pt x="6" y="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3" name="Freeform 575">
                  <a:extLst>
                    <a:ext uri="{FF2B5EF4-FFF2-40B4-BE49-F238E27FC236}">
                      <a16:creationId xmlns:a16="http://schemas.microsoft.com/office/drawing/2014/main" id="{E14428F2-C484-477A-AD3E-05450F5D91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85" y="1996"/>
                  <a:ext cx="189" cy="213"/>
                </a:xfrm>
                <a:custGeom>
                  <a:avLst/>
                  <a:gdLst>
                    <a:gd name="T0" fmla="*/ 2 w 80"/>
                    <a:gd name="T1" fmla="*/ 90 h 90"/>
                    <a:gd name="T2" fmla="*/ 1 w 80"/>
                    <a:gd name="T3" fmla="*/ 89 h 90"/>
                    <a:gd name="T4" fmla="*/ 0 w 80"/>
                    <a:gd name="T5" fmla="*/ 88 h 90"/>
                    <a:gd name="T6" fmla="*/ 0 w 80"/>
                    <a:gd name="T7" fmla="*/ 8 h 90"/>
                    <a:gd name="T8" fmla="*/ 1 w 80"/>
                    <a:gd name="T9" fmla="*/ 7 h 90"/>
                    <a:gd name="T10" fmla="*/ 11 w 80"/>
                    <a:gd name="T11" fmla="*/ 1 h 90"/>
                    <a:gd name="T12" fmla="*/ 13 w 80"/>
                    <a:gd name="T13" fmla="*/ 1 h 90"/>
                    <a:gd name="T14" fmla="*/ 79 w 80"/>
                    <a:gd name="T15" fmla="*/ 39 h 90"/>
                    <a:gd name="T16" fmla="*/ 80 w 80"/>
                    <a:gd name="T17" fmla="*/ 41 h 90"/>
                    <a:gd name="T18" fmla="*/ 80 w 80"/>
                    <a:gd name="T19" fmla="*/ 44 h 90"/>
                    <a:gd name="T20" fmla="*/ 79 w 80"/>
                    <a:gd name="T21" fmla="*/ 45 h 90"/>
                    <a:gd name="T22" fmla="*/ 3 w 80"/>
                    <a:gd name="T23" fmla="*/ 89 h 90"/>
                    <a:gd name="T24" fmla="*/ 2 w 80"/>
                    <a:gd name="T25" fmla="*/ 90 h 90"/>
                    <a:gd name="T26" fmla="*/ 4 w 80"/>
                    <a:gd name="T27" fmla="*/ 9 h 90"/>
                    <a:gd name="T28" fmla="*/ 4 w 80"/>
                    <a:gd name="T29" fmla="*/ 84 h 90"/>
                    <a:gd name="T30" fmla="*/ 76 w 80"/>
                    <a:gd name="T31" fmla="*/ 42 h 90"/>
                    <a:gd name="T32" fmla="*/ 76 w 80"/>
                    <a:gd name="T33" fmla="*/ 42 h 90"/>
                    <a:gd name="T34" fmla="*/ 12 w 80"/>
                    <a:gd name="T35" fmla="*/ 5 h 90"/>
                    <a:gd name="T36" fmla="*/ 4 w 80"/>
                    <a:gd name="T37" fmla="*/ 9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0" h="90">
                      <a:moveTo>
                        <a:pt x="2" y="90"/>
                      </a:moveTo>
                      <a:cubicBezTo>
                        <a:pt x="1" y="90"/>
                        <a:pt x="1" y="90"/>
                        <a:pt x="1" y="89"/>
                      </a:cubicBezTo>
                      <a:cubicBezTo>
                        <a:pt x="0" y="89"/>
                        <a:pt x="0" y="88"/>
                        <a:pt x="0" y="8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2" y="0"/>
                        <a:pt x="12" y="0"/>
                        <a:pt x="13" y="1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80" y="39"/>
                        <a:pt x="80" y="40"/>
                        <a:pt x="80" y="41"/>
                      </a:cubicBezTo>
                      <a:cubicBezTo>
                        <a:pt x="80" y="44"/>
                        <a:pt x="80" y="44"/>
                        <a:pt x="80" y="44"/>
                      </a:cubicBezTo>
                      <a:cubicBezTo>
                        <a:pt x="80" y="44"/>
                        <a:pt x="80" y="45"/>
                        <a:pt x="79" y="45"/>
                      </a:cubicBezTo>
                      <a:cubicBezTo>
                        <a:pt x="3" y="89"/>
                        <a:pt x="3" y="89"/>
                        <a:pt x="3" y="89"/>
                      </a:cubicBezTo>
                      <a:cubicBezTo>
                        <a:pt x="2" y="90"/>
                        <a:pt x="2" y="90"/>
                        <a:pt x="2" y="90"/>
                      </a:cubicBezTo>
                      <a:close/>
                      <a:moveTo>
                        <a:pt x="4" y="9"/>
                      </a:moveTo>
                      <a:cubicBezTo>
                        <a:pt x="4" y="84"/>
                        <a:pt x="4" y="84"/>
                        <a:pt x="4" y="84"/>
                      </a:cubicBezTo>
                      <a:cubicBezTo>
                        <a:pt x="76" y="42"/>
                        <a:pt x="76" y="42"/>
                        <a:pt x="76" y="42"/>
                      </a:cubicBezTo>
                      <a:cubicBezTo>
                        <a:pt x="76" y="42"/>
                        <a:pt x="76" y="42"/>
                        <a:pt x="76" y="42"/>
                      </a:cubicBezTo>
                      <a:cubicBezTo>
                        <a:pt x="12" y="5"/>
                        <a:pt x="12" y="5"/>
                        <a:pt x="12" y="5"/>
                      </a:cubicBez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4" name="Freeform 576">
                  <a:extLst>
                    <a:ext uri="{FF2B5EF4-FFF2-40B4-BE49-F238E27FC236}">
                      <a16:creationId xmlns:a16="http://schemas.microsoft.com/office/drawing/2014/main" id="{4E4B57DB-2E42-4192-B55D-967375C407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01" y="2159"/>
                  <a:ext cx="210" cy="125"/>
                </a:xfrm>
                <a:custGeom>
                  <a:avLst/>
                  <a:gdLst>
                    <a:gd name="T0" fmla="*/ 13 w 89"/>
                    <a:gd name="T1" fmla="*/ 53 h 53"/>
                    <a:gd name="T2" fmla="*/ 12 w 89"/>
                    <a:gd name="T3" fmla="*/ 53 h 53"/>
                    <a:gd name="T4" fmla="*/ 1 w 89"/>
                    <a:gd name="T5" fmla="*/ 47 h 53"/>
                    <a:gd name="T6" fmla="*/ 0 w 89"/>
                    <a:gd name="T7" fmla="*/ 45 h 53"/>
                    <a:gd name="T8" fmla="*/ 1 w 89"/>
                    <a:gd name="T9" fmla="*/ 43 h 53"/>
                    <a:gd name="T10" fmla="*/ 74 w 89"/>
                    <a:gd name="T11" fmla="*/ 1 h 53"/>
                    <a:gd name="T12" fmla="*/ 76 w 89"/>
                    <a:gd name="T13" fmla="*/ 1 h 53"/>
                    <a:gd name="T14" fmla="*/ 88 w 89"/>
                    <a:gd name="T15" fmla="*/ 7 h 53"/>
                    <a:gd name="T16" fmla="*/ 89 w 89"/>
                    <a:gd name="T17" fmla="*/ 9 h 53"/>
                    <a:gd name="T18" fmla="*/ 88 w 89"/>
                    <a:gd name="T19" fmla="*/ 11 h 53"/>
                    <a:gd name="T20" fmla="*/ 14 w 89"/>
                    <a:gd name="T21" fmla="*/ 53 h 53"/>
                    <a:gd name="T22" fmla="*/ 13 w 89"/>
                    <a:gd name="T23" fmla="*/ 53 h 53"/>
                    <a:gd name="T24" fmla="*/ 6 w 89"/>
                    <a:gd name="T25" fmla="*/ 45 h 53"/>
                    <a:gd name="T26" fmla="*/ 13 w 89"/>
                    <a:gd name="T27" fmla="*/ 49 h 53"/>
                    <a:gd name="T28" fmla="*/ 83 w 89"/>
                    <a:gd name="T29" fmla="*/ 9 h 53"/>
                    <a:gd name="T30" fmla="*/ 75 w 89"/>
                    <a:gd name="T31" fmla="*/ 5 h 53"/>
                    <a:gd name="T32" fmla="*/ 6 w 89"/>
                    <a:gd name="T33" fmla="*/ 4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9" h="53">
                      <a:moveTo>
                        <a:pt x="13" y="53"/>
                      </a:moveTo>
                      <a:cubicBezTo>
                        <a:pt x="13" y="53"/>
                        <a:pt x="12" y="53"/>
                        <a:pt x="12" y="53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0" y="46"/>
                        <a:pt x="0" y="46"/>
                        <a:pt x="0" y="45"/>
                      </a:cubicBezTo>
                      <a:cubicBezTo>
                        <a:pt x="0" y="44"/>
                        <a:pt x="0" y="44"/>
                        <a:pt x="1" y="43"/>
                      </a:cubicBez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5" y="0"/>
                        <a:pt x="76" y="0"/>
                        <a:pt x="76" y="1"/>
                      </a:cubicBezTo>
                      <a:cubicBezTo>
                        <a:pt x="88" y="7"/>
                        <a:pt x="88" y="7"/>
                        <a:pt x="88" y="7"/>
                      </a:cubicBezTo>
                      <a:cubicBezTo>
                        <a:pt x="88" y="7"/>
                        <a:pt x="89" y="8"/>
                        <a:pt x="89" y="9"/>
                      </a:cubicBezTo>
                      <a:cubicBezTo>
                        <a:pt x="89" y="10"/>
                        <a:pt x="88" y="10"/>
                        <a:pt x="88" y="11"/>
                      </a:cubicBez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3" y="53"/>
                        <a:pt x="13" y="53"/>
                      </a:cubicBezTo>
                      <a:close/>
                      <a:moveTo>
                        <a:pt x="6" y="45"/>
                      </a:moveTo>
                      <a:cubicBezTo>
                        <a:pt x="13" y="49"/>
                        <a:pt x="13" y="49"/>
                        <a:pt x="13" y="49"/>
                      </a:cubicBezTo>
                      <a:cubicBezTo>
                        <a:pt x="83" y="9"/>
                        <a:pt x="83" y="9"/>
                        <a:pt x="83" y="9"/>
                      </a:cubicBezTo>
                      <a:cubicBezTo>
                        <a:pt x="75" y="5"/>
                        <a:pt x="75" y="5"/>
                        <a:pt x="75" y="5"/>
                      </a:cubicBezTo>
                      <a:lnTo>
                        <a:pt x="6" y="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5" name="Freeform 577">
                  <a:extLst>
                    <a:ext uri="{FF2B5EF4-FFF2-40B4-BE49-F238E27FC236}">
                      <a16:creationId xmlns:a16="http://schemas.microsoft.com/office/drawing/2014/main" id="{6C571C0D-6A3D-4BB5-BF8B-C7FACB48A6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20" y="1751"/>
                  <a:ext cx="154" cy="163"/>
                </a:xfrm>
                <a:custGeom>
                  <a:avLst/>
                  <a:gdLst>
                    <a:gd name="T0" fmla="*/ 61 w 65"/>
                    <a:gd name="T1" fmla="*/ 69 h 69"/>
                    <a:gd name="T2" fmla="*/ 60 w 65"/>
                    <a:gd name="T3" fmla="*/ 69 h 69"/>
                    <a:gd name="T4" fmla="*/ 1 w 65"/>
                    <a:gd name="T5" fmla="*/ 35 h 69"/>
                    <a:gd name="T6" fmla="*/ 0 w 65"/>
                    <a:gd name="T7" fmla="*/ 33 h 69"/>
                    <a:gd name="T8" fmla="*/ 1 w 65"/>
                    <a:gd name="T9" fmla="*/ 31 h 69"/>
                    <a:gd name="T10" fmla="*/ 54 w 65"/>
                    <a:gd name="T11" fmla="*/ 1 h 69"/>
                    <a:gd name="T12" fmla="*/ 56 w 65"/>
                    <a:gd name="T13" fmla="*/ 1 h 69"/>
                    <a:gd name="T14" fmla="*/ 64 w 65"/>
                    <a:gd name="T15" fmla="*/ 6 h 69"/>
                    <a:gd name="T16" fmla="*/ 65 w 65"/>
                    <a:gd name="T17" fmla="*/ 7 h 69"/>
                    <a:gd name="T18" fmla="*/ 65 w 65"/>
                    <a:gd name="T19" fmla="*/ 66 h 69"/>
                    <a:gd name="T20" fmla="*/ 64 w 65"/>
                    <a:gd name="T21" fmla="*/ 68 h 69"/>
                    <a:gd name="T22" fmla="*/ 62 w 65"/>
                    <a:gd name="T23" fmla="*/ 69 h 69"/>
                    <a:gd name="T24" fmla="*/ 61 w 65"/>
                    <a:gd name="T25" fmla="*/ 69 h 69"/>
                    <a:gd name="T26" fmla="*/ 63 w 65"/>
                    <a:gd name="T27" fmla="*/ 66 h 69"/>
                    <a:gd name="T28" fmla="*/ 63 w 65"/>
                    <a:gd name="T29" fmla="*/ 66 h 69"/>
                    <a:gd name="T30" fmla="*/ 6 w 65"/>
                    <a:gd name="T31" fmla="*/ 33 h 69"/>
                    <a:gd name="T32" fmla="*/ 61 w 65"/>
                    <a:gd name="T33" fmla="*/ 65 h 69"/>
                    <a:gd name="T34" fmla="*/ 61 w 65"/>
                    <a:gd name="T35" fmla="*/ 9 h 69"/>
                    <a:gd name="T36" fmla="*/ 55 w 65"/>
                    <a:gd name="T37" fmla="*/ 5 h 69"/>
                    <a:gd name="T38" fmla="*/ 6 w 65"/>
                    <a:gd name="T39" fmla="*/ 33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5" h="69">
                      <a:moveTo>
                        <a:pt x="61" y="69"/>
                      </a:moveTo>
                      <a:cubicBezTo>
                        <a:pt x="61" y="69"/>
                        <a:pt x="61" y="69"/>
                        <a:pt x="60" y="69"/>
                      </a:cubicBezTo>
                      <a:cubicBezTo>
                        <a:pt x="1" y="35"/>
                        <a:pt x="1" y="35"/>
                        <a:pt x="1" y="35"/>
                      </a:cubicBezTo>
                      <a:cubicBezTo>
                        <a:pt x="0" y="34"/>
                        <a:pt x="0" y="34"/>
                        <a:pt x="0" y="33"/>
                      </a:cubicBezTo>
                      <a:cubicBezTo>
                        <a:pt x="0" y="32"/>
                        <a:pt x="0" y="32"/>
                        <a:pt x="1" y="31"/>
                      </a:cubicBezTo>
                      <a:cubicBezTo>
                        <a:pt x="54" y="1"/>
                        <a:pt x="54" y="1"/>
                        <a:pt x="54" y="1"/>
                      </a:cubicBezTo>
                      <a:cubicBezTo>
                        <a:pt x="54" y="0"/>
                        <a:pt x="55" y="0"/>
                        <a:pt x="56" y="1"/>
                      </a:cubicBezTo>
                      <a:cubicBezTo>
                        <a:pt x="64" y="6"/>
                        <a:pt x="64" y="6"/>
                        <a:pt x="64" y="6"/>
                      </a:cubicBezTo>
                      <a:cubicBezTo>
                        <a:pt x="65" y="6"/>
                        <a:pt x="65" y="7"/>
                        <a:pt x="65" y="7"/>
                      </a:cubicBezTo>
                      <a:cubicBezTo>
                        <a:pt x="65" y="66"/>
                        <a:pt x="65" y="66"/>
                        <a:pt x="65" y="66"/>
                      </a:cubicBezTo>
                      <a:cubicBezTo>
                        <a:pt x="65" y="67"/>
                        <a:pt x="65" y="68"/>
                        <a:pt x="64" y="68"/>
                      </a:cubicBezTo>
                      <a:cubicBezTo>
                        <a:pt x="62" y="69"/>
                        <a:pt x="62" y="69"/>
                        <a:pt x="62" y="69"/>
                      </a:cubicBezTo>
                      <a:cubicBezTo>
                        <a:pt x="62" y="69"/>
                        <a:pt x="62" y="69"/>
                        <a:pt x="61" y="69"/>
                      </a:cubicBezTo>
                      <a:close/>
                      <a:moveTo>
                        <a:pt x="63" y="66"/>
                      </a:moveTo>
                      <a:cubicBezTo>
                        <a:pt x="63" y="66"/>
                        <a:pt x="63" y="66"/>
                        <a:pt x="63" y="66"/>
                      </a:cubicBezTo>
                      <a:close/>
                      <a:moveTo>
                        <a:pt x="6" y="33"/>
                      </a:moveTo>
                      <a:cubicBezTo>
                        <a:pt x="61" y="65"/>
                        <a:pt x="61" y="65"/>
                        <a:pt x="61" y="65"/>
                      </a:cubicBezTo>
                      <a:cubicBezTo>
                        <a:pt x="61" y="9"/>
                        <a:pt x="61" y="9"/>
                        <a:pt x="61" y="9"/>
                      </a:cubicBezTo>
                      <a:cubicBezTo>
                        <a:pt x="55" y="5"/>
                        <a:pt x="55" y="5"/>
                        <a:pt x="55" y="5"/>
                      </a:cubicBezTo>
                      <a:lnTo>
                        <a:pt x="6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6" name="Freeform 578">
                  <a:extLst>
                    <a:ext uri="{FF2B5EF4-FFF2-40B4-BE49-F238E27FC236}">
                      <a16:creationId xmlns:a16="http://schemas.microsoft.com/office/drawing/2014/main" id="{7043E920-F0D1-482E-A70D-9AE46BE1B9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6" y="1923"/>
                  <a:ext cx="22" cy="24"/>
                </a:xfrm>
                <a:custGeom>
                  <a:avLst/>
                  <a:gdLst>
                    <a:gd name="T0" fmla="*/ 2 w 9"/>
                    <a:gd name="T1" fmla="*/ 10 h 10"/>
                    <a:gd name="T2" fmla="*/ 1 w 9"/>
                    <a:gd name="T3" fmla="*/ 10 h 10"/>
                    <a:gd name="T4" fmla="*/ 0 w 9"/>
                    <a:gd name="T5" fmla="*/ 8 h 10"/>
                    <a:gd name="T6" fmla="*/ 0 w 9"/>
                    <a:gd name="T7" fmla="*/ 3 h 10"/>
                    <a:gd name="T8" fmla="*/ 1 w 9"/>
                    <a:gd name="T9" fmla="*/ 1 h 10"/>
                    <a:gd name="T10" fmla="*/ 3 w 9"/>
                    <a:gd name="T11" fmla="*/ 1 h 10"/>
                    <a:gd name="T12" fmla="*/ 8 w 9"/>
                    <a:gd name="T13" fmla="*/ 3 h 10"/>
                    <a:gd name="T14" fmla="*/ 9 w 9"/>
                    <a:gd name="T15" fmla="*/ 5 h 10"/>
                    <a:gd name="T16" fmla="*/ 8 w 9"/>
                    <a:gd name="T17" fmla="*/ 7 h 10"/>
                    <a:gd name="T18" fmla="*/ 3 w 9"/>
                    <a:gd name="T19" fmla="*/ 10 h 10"/>
                    <a:gd name="T20" fmla="*/ 2 w 9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2" y="10"/>
                        <a:pt x="1" y="10"/>
                        <a:pt x="1" y="10"/>
                      </a:cubicBezTo>
                      <a:cubicBezTo>
                        <a:pt x="0" y="9"/>
                        <a:pt x="0" y="9"/>
                        <a:pt x="0" y="8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4"/>
                        <a:pt x="9" y="4"/>
                        <a:pt x="9" y="5"/>
                      </a:cubicBezTo>
                      <a:cubicBezTo>
                        <a:pt x="9" y="6"/>
                        <a:pt x="8" y="7"/>
                        <a:pt x="8" y="7"/>
                      </a:cubicBez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3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7" name="Freeform 579">
                  <a:extLst>
                    <a:ext uri="{FF2B5EF4-FFF2-40B4-BE49-F238E27FC236}">
                      <a16:creationId xmlns:a16="http://schemas.microsoft.com/office/drawing/2014/main" id="{F28BEC95-1B7E-4663-BA34-50F608850A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78" y="2157"/>
                  <a:ext cx="38" cy="26"/>
                </a:xfrm>
                <a:custGeom>
                  <a:avLst/>
                  <a:gdLst>
                    <a:gd name="T0" fmla="*/ 13 w 16"/>
                    <a:gd name="T1" fmla="*/ 11 h 11"/>
                    <a:gd name="T2" fmla="*/ 12 w 16"/>
                    <a:gd name="T3" fmla="*/ 11 h 11"/>
                    <a:gd name="T4" fmla="*/ 1 w 16"/>
                    <a:gd name="T5" fmla="*/ 4 h 11"/>
                    <a:gd name="T6" fmla="*/ 0 w 16"/>
                    <a:gd name="T7" fmla="*/ 2 h 11"/>
                    <a:gd name="T8" fmla="*/ 1 w 16"/>
                    <a:gd name="T9" fmla="*/ 1 h 11"/>
                    <a:gd name="T10" fmla="*/ 3 w 16"/>
                    <a:gd name="T11" fmla="*/ 0 h 11"/>
                    <a:gd name="T12" fmla="*/ 15 w 16"/>
                    <a:gd name="T13" fmla="*/ 7 h 11"/>
                    <a:gd name="T14" fmla="*/ 16 w 16"/>
                    <a:gd name="T15" fmla="*/ 9 h 11"/>
                    <a:gd name="T16" fmla="*/ 15 w 16"/>
                    <a:gd name="T17" fmla="*/ 10 h 11"/>
                    <a:gd name="T18" fmla="*/ 14 w 16"/>
                    <a:gd name="T19" fmla="*/ 11 h 11"/>
                    <a:gd name="T20" fmla="*/ 13 w 16"/>
                    <a:gd name="T2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11">
                      <a:moveTo>
                        <a:pt x="13" y="11"/>
                      </a:moveTo>
                      <a:cubicBezTo>
                        <a:pt x="13" y="11"/>
                        <a:pt x="13" y="11"/>
                        <a:pt x="12" y="11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6" y="8"/>
                        <a:pt x="16" y="9"/>
                      </a:cubicBezTo>
                      <a:cubicBezTo>
                        <a:pt x="16" y="9"/>
                        <a:pt x="15" y="10"/>
                        <a:pt x="15" y="10"/>
                      </a:cubicBezTo>
                      <a:cubicBezTo>
                        <a:pt x="14" y="11"/>
                        <a:pt x="14" y="11"/>
                        <a:pt x="14" y="11"/>
                      </a:cubicBezTo>
                      <a:cubicBezTo>
                        <a:pt x="14" y="11"/>
                        <a:pt x="14" y="11"/>
                        <a:pt x="13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8" name="Freeform 580">
                  <a:extLst>
                    <a:ext uri="{FF2B5EF4-FFF2-40B4-BE49-F238E27FC236}">
                      <a16:creationId xmlns:a16="http://schemas.microsoft.com/office/drawing/2014/main" id="{43BE5744-D76E-4C02-B52D-65F6706974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31" y="2178"/>
                  <a:ext cx="336" cy="196"/>
                </a:xfrm>
                <a:custGeom>
                  <a:avLst/>
                  <a:gdLst>
                    <a:gd name="T0" fmla="*/ 64 w 142"/>
                    <a:gd name="T1" fmla="*/ 83 h 83"/>
                    <a:gd name="T2" fmla="*/ 63 w 142"/>
                    <a:gd name="T3" fmla="*/ 82 h 83"/>
                    <a:gd name="T4" fmla="*/ 1 w 142"/>
                    <a:gd name="T5" fmla="*/ 46 h 83"/>
                    <a:gd name="T6" fmla="*/ 0 w 142"/>
                    <a:gd name="T7" fmla="*/ 44 h 83"/>
                    <a:gd name="T8" fmla="*/ 1 w 142"/>
                    <a:gd name="T9" fmla="*/ 43 h 83"/>
                    <a:gd name="T10" fmla="*/ 74 w 142"/>
                    <a:gd name="T11" fmla="*/ 0 h 83"/>
                    <a:gd name="T12" fmla="*/ 76 w 142"/>
                    <a:gd name="T13" fmla="*/ 0 h 83"/>
                    <a:gd name="T14" fmla="*/ 82 w 142"/>
                    <a:gd name="T15" fmla="*/ 3 h 83"/>
                    <a:gd name="T16" fmla="*/ 82 w 142"/>
                    <a:gd name="T17" fmla="*/ 3 h 83"/>
                    <a:gd name="T18" fmla="*/ 84 w 142"/>
                    <a:gd name="T19" fmla="*/ 3 h 83"/>
                    <a:gd name="T20" fmla="*/ 141 w 142"/>
                    <a:gd name="T21" fmla="*/ 35 h 83"/>
                    <a:gd name="T22" fmla="*/ 142 w 142"/>
                    <a:gd name="T23" fmla="*/ 37 h 83"/>
                    <a:gd name="T24" fmla="*/ 141 w 142"/>
                    <a:gd name="T25" fmla="*/ 39 h 83"/>
                    <a:gd name="T26" fmla="*/ 65 w 142"/>
                    <a:gd name="T27" fmla="*/ 82 h 83"/>
                    <a:gd name="T28" fmla="*/ 64 w 142"/>
                    <a:gd name="T29" fmla="*/ 83 h 83"/>
                    <a:gd name="T30" fmla="*/ 6 w 142"/>
                    <a:gd name="T31" fmla="*/ 44 h 83"/>
                    <a:gd name="T32" fmla="*/ 64 w 142"/>
                    <a:gd name="T33" fmla="*/ 78 h 83"/>
                    <a:gd name="T34" fmla="*/ 136 w 142"/>
                    <a:gd name="T35" fmla="*/ 37 h 83"/>
                    <a:gd name="T36" fmla="*/ 85 w 142"/>
                    <a:gd name="T37" fmla="*/ 8 h 83"/>
                    <a:gd name="T38" fmla="*/ 84 w 142"/>
                    <a:gd name="T39" fmla="*/ 8 h 83"/>
                    <a:gd name="T40" fmla="*/ 82 w 142"/>
                    <a:gd name="T41" fmla="*/ 8 h 83"/>
                    <a:gd name="T42" fmla="*/ 75 w 142"/>
                    <a:gd name="T43" fmla="*/ 4 h 83"/>
                    <a:gd name="T44" fmla="*/ 6 w 142"/>
                    <a:gd name="T45" fmla="*/ 44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2" h="83">
                      <a:moveTo>
                        <a:pt x="64" y="83"/>
                      </a:moveTo>
                      <a:cubicBezTo>
                        <a:pt x="64" y="83"/>
                        <a:pt x="64" y="83"/>
                        <a:pt x="63" y="82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6"/>
                        <a:pt x="0" y="45"/>
                        <a:pt x="0" y="44"/>
                      </a:cubicBezTo>
                      <a:cubicBezTo>
                        <a:pt x="0" y="44"/>
                        <a:pt x="0" y="43"/>
                        <a:pt x="1" y="43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5" y="0"/>
                        <a:pt x="76" y="0"/>
                        <a:pt x="76" y="0"/>
                      </a:cubicBezTo>
                      <a:cubicBezTo>
                        <a:pt x="82" y="3"/>
                        <a:pt x="82" y="3"/>
                        <a:pt x="82" y="3"/>
                      </a:cubicBezTo>
                      <a:cubicBezTo>
                        <a:pt x="82" y="3"/>
                        <a:pt x="82" y="3"/>
                        <a:pt x="82" y="3"/>
                      </a:cubicBezTo>
                      <a:cubicBezTo>
                        <a:pt x="83" y="2"/>
                        <a:pt x="84" y="2"/>
                        <a:pt x="84" y="3"/>
                      </a:cubicBezTo>
                      <a:cubicBezTo>
                        <a:pt x="141" y="35"/>
                        <a:pt x="141" y="35"/>
                        <a:pt x="141" y="35"/>
                      </a:cubicBezTo>
                      <a:cubicBezTo>
                        <a:pt x="142" y="36"/>
                        <a:pt x="142" y="36"/>
                        <a:pt x="142" y="37"/>
                      </a:cubicBezTo>
                      <a:cubicBezTo>
                        <a:pt x="142" y="38"/>
                        <a:pt x="142" y="38"/>
                        <a:pt x="141" y="39"/>
                      </a:cubicBezTo>
                      <a:cubicBezTo>
                        <a:pt x="65" y="82"/>
                        <a:pt x="65" y="82"/>
                        <a:pt x="65" y="82"/>
                      </a:cubicBezTo>
                      <a:cubicBezTo>
                        <a:pt x="65" y="83"/>
                        <a:pt x="65" y="83"/>
                        <a:pt x="64" y="83"/>
                      </a:cubicBezTo>
                      <a:close/>
                      <a:moveTo>
                        <a:pt x="6" y="44"/>
                      </a:moveTo>
                      <a:cubicBezTo>
                        <a:pt x="64" y="78"/>
                        <a:pt x="64" y="78"/>
                        <a:pt x="64" y="78"/>
                      </a:cubicBezTo>
                      <a:cubicBezTo>
                        <a:pt x="136" y="37"/>
                        <a:pt x="136" y="37"/>
                        <a:pt x="136" y="37"/>
                      </a:cubicBezTo>
                      <a:cubicBezTo>
                        <a:pt x="85" y="8"/>
                        <a:pt x="85" y="8"/>
                        <a:pt x="85" y="8"/>
                      </a:cubicBezTo>
                      <a:cubicBezTo>
                        <a:pt x="85" y="8"/>
                        <a:pt x="85" y="8"/>
                        <a:pt x="84" y="8"/>
                      </a:cubicBezTo>
                      <a:cubicBezTo>
                        <a:pt x="84" y="8"/>
                        <a:pt x="83" y="8"/>
                        <a:pt x="82" y="8"/>
                      </a:cubicBezTo>
                      <a:cubicBezTo>
                        <a:pt x="75" y="4"/>
                        <a:pt x="75" y="4"/>
                        <a:pt x="75" y="4"/>
                      </a:cubicBezTo>
                      <a:lnTo>
                        <a:pt x="6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69" name="Freeform 581">
                  <a:extLst>
                    <a:ext uri="{FF2B5EF4-FFF2-40B4-BE49-F238E27FC236}">
                      <a16:creationId xmlns:a16="http://schemas.microsoft.com/office/drawing/2014/main" id="{BCB8749B-CCC0-4ED7-8AE0-6CB7655AC9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181"/>
                  <a:ext cx="57" cy="81"/>
                </a:xfrm>
                <a:custGeom>
                  <a:avLst/>
                  <a:gdLst>
                    <a:gd name="T0" fmla="*/ 22 w 24"/>
                    <a:gd name="T1" fmla="*/ 34 h 34"/>
                    <a:gd name="T2" fmla="*/ 21 w 24"/>
                    <a:gd name="T3" fmla="*/ 34 h 34"/>
                    <a:gd name="T4" fmla="*/ 1 w 24"/>
                    <a:gd name="T5" fmla="*/ 23 h 34"/>
                    <a:gd name="T6" fmla="*/ 0 w 24"/>
                    <a:gd name="T7" fmla="*/ 21 h 34"/>
                    <a:gd name="T8" fmla="*/ 0 w 24"/>
                    <a:gd name="T9" fmla="*/ 2 h 34"/>
                    <a:gd name="T10" fmla="*/ 1 w 24"/>
                    <a:gd name="T11" fmla="*/ 0 h 34"/>
                    <a:gd name="T12" fmla="*/ 3 w 24"/>
                    <a:gd name="T13" fmla="*/ 0 h 34"/>
                    <a:gd name="T14" fmla="*/ 23 w 24"/>
                    <a:gd name="T15" fmla="*/ 11 h 34"/>
                    <a:gd name="T16" fmla="*/ 24 w 24"/>
                    <a:gd name="T17" fmla="*/ 13 h 34"/>
                    <a:gd name="T18" fmla="*/ 24 w 24"/>
                    <a:gd name="T19" fmla="*/ 32 h 34"/>
                    <a:gd name="T20" fmla="*/ 23 w 24"/>
                    <a:gd name="T21" fmla="*/ 34 h 34"/>
                    <a:gd name="T22" fmla="*/ 22 w 24"/>
                    <a:gd name="T23" fmla="*/ 34 h 34"/>
                    <a:gd name="T24" fmla="*/ 4 w 24"/>
                    <a:gd name="T25" fmla="*/ 20 h 34"/>
                    <a:gd name="T26" fmla="*/ 20 w 24"/>
                    <a:gd name="T27" fmla="*/ 29 h 34"/>
                    <a:gd name="T28" fmla="*/ 20 w 24"/>
                    <a:gd name="T29" fmla="*/ 14 h 34"/>
                    <a:gd name="T30" fmla="*/ 4 w 24"/>
                    <a:gd name="T31" fmla="*/ 5 h 34"/>
                    <a:gd name="T32" fmla="*/ 4 w 24"/>
                    <a:gd name="T33" fmla="*/ 2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34">
                      <a:moveTo>
                        <a:pt x="22" y="34"/>
                      </a:moveTo>
                      <a:cubicBezTo>
                        <a:pt x="21" y="34"/>
                        <a:pt x="21" y="34"/>
                        <a:pt x="21" y="34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2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2"/>
                        <a:pt x="24" y="12"/>
                        <a:pt x="24" y="13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33"/>
                        <a:pt x="23" y="34"/>
                        <a:pt x="23" y="34"/>
                      </a:cubicBezTo>
                      <a:cubicBezTo>
                        <a:pt x="22" y="34"/>
                        <a:pt x="22" y="34"/>
                        <a:pt x="22" y="34"/>
                      </a:cubicBezTo>
                      <a:close/>
                      <a:moveTo>
                        <a:pt x="4" y="20"/>
                      </a:move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0" name="Freeform 582">
                  <a:extLst>
                    <a:ext uri="{FF2B5EF4-FFF2-40B4-BE49-F238E27FC236}">
                      <a16:creationId xmlns:a16="http://schemas.microsoft.com/office/drawing/2014/main" id="{F2F554C4-A2FD-4B67-86FB-EEC591A34C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09" y="2176"/>
                  <a:ext cx="21" cy="16"/>
                </a:xfrm>
                <a:custGeom>
                  <a:avLst/>
                  <a:gdLst>
                    <a:gd name="T0" fmla="*/ 7 w 9"/>
                    <a:gd name="T1" fmla="*/ 7 h 7"/>
                    <a:gd name="T2" fmla="*/ 6 w 9"/>
                    <a:gd name="T3" fmla="*/ 6 h 7"/>
                    <a:gd name="T4" fmla="*/ 1 w 9"/>
                    <a:gd name="T5" fmla="*/ 4 h 7"/>
                    <a:gd name="T6" fmla="*/ 0 w 9"/>
                    <a:gd name="T7" fmla="*/ 2 h 7"/>
                    <a:gd name="T8" fmla="*/ 1 w 9"/>
                    <a:gd name="T9" fmla="*/ 0 h 7"/>
                    <a:gd name="T10" fmla="*/ 3 w 9"/>
                    <a:gd name="T11" fmla="*/ 0 h 7"/>
                    <a:gd name="T12" fmla="*/ 8 w 9"/>
                    <a:gd name="T13" fmla="*/ 3 h 7"/>
                    <a:gd name="T14" fmla="*/ 9 w 9"/>
                    <a:gd name="T15" fmla="*/ 4 h 7"/>
                    <a:gd name="T16" fmla="*/ 9 w 9"/>
                    <a:gd name="T17" fmla="*/ 5 h 7"/>
                    <a:gd name="T18" fmla="*/ 8 w 9"/>
                    <a:gd name="T19" fmla="*/ 6 h 7"/>
                    <a:gd name="T20" fmla="*/ 7 w 9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7">
                      <a:moveTo>
                        <a:pt x="7" y="7"/>
                      </a:moveTo>
                      <a:cubicBezTo>
                        <a:pt x="6" y="7"/>
                        <a:pt x="6" y="6"/>
                        <a:pt x="6" y="6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3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3"/>
                        <a:pt x="9" y="4"/>
                        <a:pt x="9" y="4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5"/>
                        <a:pt x="8" y="6"/>
                        <a:pt x="8" y="6"/>
                      </a:cubicBezTo>
                      <a:cubicBezTo>
                        <a:pt x="8" y="6"/>
                        <a:pt x="7" y="7"/>
                        <a:pt x="7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1" name="Freeform 583">
                  <a:extLst>
                    <a:ext uri="{FF2B5EF4-FFF2-40B4-BE49-F238E27FC236}">
                      <a16:creationId xmlns:a16="http://schemas.microsoft.com/office/drawing/2014/main" id="{AEA4F781-83B0-4B4C-B60E-DFA8BD18A9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61" y="1009"/>
                  <a:ext cx="151" cy="175"/>
                </a:xfrm>
                <a:custGeom>
                  <a:avLst/>
                  <a:gdLst>
                    <a:gd name="T0" fmla="*/ 62 w 64"/>
                    <a:gd name="T1" fmla="*/ 74 h 74"/>
                    <a:gd name="T2" fmla="*/ 61 w 64"/>
                    <a:gd name="T3" fmla="*/ 74 h 74"/>
                    <a:gd name="T4" fmla="*/ 1 w 64"/>
                    <a:gd name="T5" fmla="*/ 39 h 74"/>
                    <a:gd name="T6" fmla="*/ 0 w 64"/>
                    <a:gd name="T7" fmla="*/ 37 h 74"/>
                    <a:gd name="T8" fmla="*/ 1 w 64"/>
                    <a:gd name="T9" fmla="*/ 35 h 74"/>
                    <a:gd name="T10" fmla="*/ 61 w 64"/>
                    <a:gd name="T11" fmla="*/ 0 h 74"/>
                    <a:gd name="T12" fmla="*/ 63 w 64"/>
                    <a:gd name="T13" fmla="*/ 0 h 74"/>
                    <a:gd name="T14" fmla="*/ 64 w 64"/>
                    <a:gd name="T15" fmla="*/ 2 h 74"/>
                    <a:gd name="T16" fmla="*/ 64 w 64"/>
                    <a:gd name="T17" fmla="*/ 72 h 74"/>
                    <a:gd name="T18" fmla="*/ 63 w 64"/>
                    <a:gd name="T19" fmla="*/ 74 h 74"/>
                    <a:gd name="T20" fmla="*/ 62 w 64"/>
                    <a:gd name="T21" fmla="*/ 74 h 74"/>
                    <a:gd name="T22" fmla="*/ 6 w 64"/>
                    <a:gd name="T23" fmla="*/ 37 h 74"/>
                    <a:gd name="T24" fmla="*/ 60 w 64"/>
                    <a:gd name="T25" fmla="*/ 68 h 74"/>
                    <a:gd name="T26" fmla="*/ 60 w 64"/>
                    <a:gd name="T27" fmla="*/ 5 h 74"/>
                    <a:gd name="T28" fmla="*/ 6 w 64"/>
                    <a:gd name="T29" fmla="*/ 37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4" h="74">
                      <a:moveTo>
                        <a:pt x="62" y="74"/>
                      </a:moveTo>
                      <a:cubicBezTo>
                        <a:pt x="62" y="74"/>
                        <a:pt x="62" y="74"/>
                        <a:pt x="61" y="74"/>
                      </a:cubicBezTo>
                      <a:cubicBezTo>
                        <a:pt x="1" y="39"/>
                        <a:pt x="1" y="39"/>
                        <a:pt x="1" y="39"/>
                      </a:cubicBezTo>
                      <a:cubicBezTo>
                        <a:pt x="0" y="38"/>
                        <a:pt x="0" y="38"/>
                        <a:pt x="0" y="37"/>
                      </a:cubicBezTo>
                      <a:cubicBezTo>
                        <a:pt x="0" y="36"/>
                        <a:pt x="0" y="36"/>
                        <a:pt x="1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2" y="0"/>
                        <a:pt x="63" y="0"/>
                        <a:pt x="63" y="0"/>
                      </a:cubicBezTo>
                      <a:cubicBezTo>
                        <a:pt x="64" y="1"/>
                        <a:pt x="64" y="1"/>
                        <a:pt x="64" y="2"/>
                      </a:cubicBezTo>
                      <a:cubicBezTo>
                        <a:pt x="64" y="72"/>
                        <a:pt x="64" y="72"/>
                        <a:pt x="64" y="72"/>
                      </a:cubicBezTo>
                      <a:cubicBezTo>
                        <a:pt x="64" y="73"/>
                        <a:pt x="64" y="73"/>
                        <a:pt x="63" y="74"/>
                      </a:cubicBezTo>
                      <a:cubicBezTo>
                        <a:pt x="63" y="74"/>
                        <a:pt x="63" y="74"/>
                        <a:pt x="62" y="74"/>
                      </a:cubicBezTo>
                      <a:close/>
                      <a:moveTo>
                        <a:pt x="6" y="37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60" y="5"/>
                        <a:pt x="60" y="5"/>
                        <a:pt x="60" y="5"/>
                      </a:cubicBezTo>
                      <a:lnTo>
                        <a:pt x="6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2" name="Freeform 584">
                  <a:extLst>
                    <a:ext uri="{FF2B5EF4-FFF2-40B4-BE49-F238E27FC236}">
                      <a16:creationId xmlns:a16="http://schemas.microsoft.com/office/drawing/2014/main" id="{B60980D5-0FAC-493A-8275-EC0043C8C1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980"/>
                  <a:ext cx="57" cy="232"/>
                </a:xfrm>
                <a:custGeom>
                  <a:avLst/>
                  <a:gdLst>
                    <a:gd name="T0" fmla="*/ 22 w 24"/>
                    <a:gd name="T1" fmla="*/ 98 h 98"/>
                    <a:gd name="T2" fmla="*/ 21 w 24"/>
                    <a:gd name="T3" fmla="*/ 98 h 98"/>
                    <a:gd name="T4" fmla="*/ 1 w 24"/>
                    <a:gd name="T5" fmla="*/ 87 h 98"/>
                    <a:gd name="T6" fmla="*/ 0 w 24"/>
                    <a:gd name="T7" fmla="*/ 85 h 98"/>
                    <a:gd name="T8" fmla="*/ 0 w 24"/>
                    <a:gd name="T9" fmla="*/ 13 h 98"/>
                    <a:gd name="T10" fmla="*/ 1 w 24"/>
                    <a:gd name="T11" fmla="*/ 11 h 98"/>
                    <a:gd name="T12" fmla="*/ 21 w 24"/>
                    <a:gd name="T13" fmla="*/ 0 h 98"/>
                    <a:gd name="T14" fmla="*/ 23 w 24"/>
                    <a:gd name="T15" fmla="*/ 0 h 98"/>
                    <a:gd name="T16" fmla="*/ 24 w 24"/>
                    <a:gd name="T17" fmla="*/ 2 h 98"/>
                    <a:gd name="T18" fmla="*/ 24 w 24"/>
                    <a:gd name="T19" fmla="*/ 96 h 98"/>
                    <a:gd name="T20" fmla="*/ 23 w 24"/>
                    <a:gd name="T21" fmla="*/ 98 h 98"/>
                    <a:gd name="T22" fmla="*/ 22 w 24"/>
                    <a:gd name="T23" fmla="*/ 98 h 98"/>
                    <a:gd name="T24" fmla="*/ 4 w 24"/>
                    <a:gd name="T25" fmla="*/ 84 h 98"/>
                    <a:gd name="T26" fmla="*/ 20 w 24"/>
                    <a:gd name="T27" fmla="*/ 93 h 98"/>
                    <a:gd name="T28" fmla="*/ 20 w 24"/>
                    <a:gd name="T29" fmla="*/ 5 h 98"/>
                    <a:gd name="T30" fmla="*/ 4 w 24"/>
                    <a:gd name="T31" fmla="*/ 14 h 98"/>
                    <a:gd name="T32" fmla="*/ 4 w 24"/>
                    <a:gd name="T33" fmla="*/ 8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98">
                      <a:moveTo>
                        <a:pt x="22" y="98"/>
                      </a:move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1" y="87"/>
                        <a:pt x="1" y="87"/>
                        <a:pt x="1" y="87"/>
                      </a:cubicBezTo>
                      <a:cubicBezTo>
                        <a:pt x="0" y="86"/>
                        <a:pt x="0" y="86"/>
                        <a:pt x="0" y="85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2"/>
                        <a:pt x="0" y="12"/>
                        <a:pt x="1" y="11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0"/>
                        <a:pt x="24" y="1"/>
                        <a:pt x="24" y="2"/>
                      </a:cubicBezTo>
                      <a:cubicBezTo>
                        <a:pt x="24" y="96"/>
                        <a:pt x="24" y="96"/>
                        <a:pt x="24" y="96"/>
                      </a:cubicBezTo>
                      <a:cubicBezTo>
                        <a:pt x="24" y="97"/>
                        <a:pt x="23" y="98"/>
                        <a:pt x="23" y="98"/>
                      </a:cubicBezTo>
                      <a:cubicBezTo>
                        <a:pt x="22" y="98"/>
                        <a:pt x="22" y="98"/>
                        <a:pt x="22" y="98"/>
                      </a:cubicBezTo>
                      <a:close/>
                      <a:moveTo>
                        <a:pt x="4" y="84"/>
                      </a:moveTo>
                      <a:cubicBezTo>
                        <a:pt x="20" y="93"/>
                        <a:pt x="20" y="93"/>
                        <a:pt x="20" y="93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4" y="14"/>
                        <a:pt x="4" y="14"/>
                        <a:pt x="4" y="14"/>
                      </a:cubicBezTo>
                      <a:lnTo>
                        <a:pt x="4" y="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3" name="Freeform 585">
                  <a:extLst>
                    <a:ext uri="{FF2B5EF4-FFF2-40B4-BE49-F238E27FC236}">
                      <a16:creationId xmlns:a16="http://schemas.microsoft.com/office/drawing/2014/main" id="{68236564-8F5D-4AB2-9208-66ACED01CF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2" y="1736"/>
                  <a:ext cx="9" cy="10"/>
                </a:xfrm>
                <a:custGeom>
                  <a:avLst/>
                  <a:gdLst>
                    <a:gd name="T0" fmla="*/ 2 w 4"/>
                    <a:gd name="T1" fmla="*/ 4 h 4"/>
                    <a:gd name="T2" fmla="*/ 1 w 4"/>
                    <a:gd name="T3" fmla="*/ 4 h 4"/>
                    <a:gd name="T4" fmla="*/ 0 w 4"/>
                    <a:gd name="T5" fmla="*/ 2 h 4"/>
                    <a:gd name="T6" fmla="*/ 1 w 4"/>
                    <a:gd name="T7" fmla="*/ 0 h 4"/>
                    <a:gd name="T8" fmla="*/ 3 w 4"/>
                    <a:gd name="T9" fmla="*/ 0 h 4"/>
                    <a:gd name="T10" fmla="*/ 4 w 4"/>
                    <a:gd name="T11" fmla="*/ 2 h 4"/>
                    <a:gd name="T12" fmla="*/ 4 w 4"/>
                    <a:gd name="T13" fmla="*/ 2 h 4"/>
                    <a:gd name="T14" fmla="*/ 3 w 4"/>
                    <a:gd name="T15" fmla="*/ 4 h 4"/>
                    <a:gd name="T16" fmla="*/ 2 w 4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2" y="4"/>
                      </a:moveTo>
                      <a:cubicBezTo>
                        <a:pt x="2" y="4"/>
                        <a:pt x="2" y="4"/>
                        <a:pt x="1" y="4"/>
                      </a:cubicBezTo>
                      <a:cubicBezTo>
                        <a:pt x="1" y="3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4" y="0"/>
                        <a:pt x="4" y="1"/>
                        <a:pt x="4" y="2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3" y="4"/>
                      </a:cubicBezTo>
                      <a:cubicBezTo>
                        <a:pt x="3" y="4"/>
                        <a:pt x="3" y="4"/>
                        <a:pt x="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4" name="Freeform 586">
                  <a:extLst>
                    <a:ext uri="{FF2B5EF4-FFF2-40B4-BE49-F238E27FC236}">
                      <a16:creationId xmlns:a16="http://schemas.microsoft.com/office/drawing/2014/main" id="{3C6EBB73-E3D0-44EC-B7E2-C3E57F127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72" y="1202"/>
                  <a:ext cx="14" cy="15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1 h 6"/>
                    <a:gd name="T10" fmla="*/ 3 w 6"/>
                    <a:gd name="T11" fmla="*/ 0 h 6"/>
                    <a:gd name="T12" fmla="*/ 5 w 6"/>
                    <a:gd name="T13" fmla="*/ 0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2"/>
                        <a:pt x="0" y="2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5" y="1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5" y="6"/>
                        <a:pt x="5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5" name="Freeform 587">
                  <a:extLst>
                    <a:ext uri="{FF2B5EF4-FFF2-40B4-BE49-F238E27FC236}">
                      <a16:creationId xmlns:a16="http://schemas.microsoft.com/office/drawing/2014/main" id="{5AE8C08F-E51A-4AD7-B0A2-A04210C7896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37" y="1547"/>
                  <a:ext cx="309" cy="189"/>
                </a:xfrm>
                <a:custGeom>
                  <a:avLst/>
                  <a:gdLst>
                    <a:gd name="T0" fmla="*/ 63 w 131"/>
                    <a:gd name="T1" fmla="*/ 80 h 80"/>
                    <a:gd name="T2" fmla="*/ 62 w 131"/>
                    <a:gd name="T3" fmla="*/ 79 h 80"/>
                    <a:gd name="T4" fmla="*/ 1 w 131"/>
                    <a:gd name="T5" fmla="*/ 44 h 80"/>
                    <a:gd name="T6" fmla="*/ 0 w 131"/>
                    <a:gd name="T7" fmla="*/ 42 h 80"/>
                    <a:gd name="T8" fmla="*/ 1 w 131"/>
                    <a:gd name="T9" fmla="*/ 40 h 80"/>
                    <a:gd name="T10" fmla="*/ 60 w 131"/>
                    <a:gd name="T11" fmla="*/ 6 h 80"/>
                    <a:gd name="T12" fmla="*/ 60 w 131"/>
                    <a:gd name="T13" fmla="*/ 3 h 80"/>
                    <a:gd name="T14" fmla="*/ 61 w 131"/>
                    <a:gd name="T15" fmla="*/ 1 h 80"/>
                    <a:gd name="T16" fmla="*/ 62 w 131"/>
                    <a:gd name="T17" fmla="*/ 1 h 80"/>
                    <a:gd name="T18" fmla="*/ 64 w 131"/>
                    <a:gd name="T19" fmla="*/ 1 h 80"/>
                    <a:gd name="T20" fmla="*/ 130 w 131"/>
                    <a:gd name="T21" fmla="*/ 38 h 80"/>
                    <a:gd name="T22" fmla="*/ 131 w 131"/>
                    <a:gd name="T23" fmla="*/ 40 h 80"/>
                    <a:gd name="T24" fmla="*/ 130 w 131"/>
                    <a:gd name="T25" fmla="*/ 42 h 80"/>
                    <a:gd name="T26" fmla="*/ 64 w 131"/>
                    <a:gd name="T27" fmla="*/ 79 h 80"/>
                    <a:gd name="T28" fmla="*/ 63 w 131"/>
                    <a:gd name="T29" fmla="*/ 80 h 80"/>
                    <a:gd name="T30" fmla="*/ 6 w 131"/>
                    <a:gd name="T31" fmla="*/ 42 h 80"/>
                    <a:gd name="T32" fmla="*/ 63 w 131"/>
                    <a:gd name="T33" fmla="*/ 75 h 80"/>
                    <a:gd name="T34" fmla="*/ 125 w 131"/>
                    <a:gd name="T35" fmla="*/ 40 h 80"/>
                    <a:gd name="T36" fmla="*/ 64 w 131"/>
                    <a:gd name="T37" fmla="*/ 5 h 80"/>
                    <a:gd name="T38" fmla="*/ 64 w 131"/>
                    <a:gd name="T39" fmla="*/ 7 h 80"/>
                    <a:gd name="T40" fmla="*/ 63 w 131"/>
                    <a:gd name="T41" fmla="*/ 9 h 80"/>
                    <a:gd name="T42" fmla="*/ 6 w 131"/>
                    <a:gd name="T43" fmla="*/ 42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1" h="80">
                      <a:moveTo>
                        <a:pt x="63" y="80"/>
                      </a:moveTo>
                      <a:cubicBezTo>
                        <a:pt x="63" y="80"/>
                        <a:pt x="63" y="79"/>
                        <a:pt x="62" y="79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43"/>
                        <a:pt x="0" y="43"/>
                        <a:pt x="0" y="42"/>
                      </a:cubicBezTo>
                      <a:cubicBezTo>
                        <a:pt x="0" y="41"/>
                        <a:pt x="0" y="40"/>
                        <a:pt x="1" y="40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0" y="2"/>
                        <a:pt x="61" y="2"/>
                        <a:pt x="61" y="1"/>
                      </a:cubicBezTo>
                      <a:cubicBezTo>
                        <a:pt x="62" y="1"/>
                        <a:pt x="62" y="1"/>
                        <a:pt x="62" y="1"/>
                      </a:cubicBezTo>
                      <a:cubicBezTo>
                        <a:pt x="63" y="0"/>
                        <a:pt x="64" y="0"/>
                        <a:pt x="64" y="1"/>
                      </a:cubicBezTo>
                      <a:cubicBezTo>
                        <a:pt x="130" y="38"/>
                        <a:pt x="130" y="38"/>
                        <a:pt x="130" y="38"/>
                      </a:cubicBezTo>
                      <a:cubicBezTo>
                        <a:pt x="130" y="39"/>
                        <a:pt x="131" y="39"/>
                        <a:pt x="131" y="40"/>
                      </a:cubicBezTo>
                      <a:cubicBezTo>
                        <a:pt x="131" y="41"/>
                        <a:pt x="130" y="41"/>
                        <a:pt x="130" y="42"/>
                      </a:cubicBezTo>
                      <a:cubicBezTo>
                        <a:pt x="64" y="79"/>
                        <a:pt x="64" y="79"/>
                        <a:pt x="64" y="79"/>
                      </a:cubicBezTo>
                      <a:cubicBezTo>
                        <a:pt x="64" y="79"/>
                        <a:pt x="64" y="80"/>
                        <a:pt x="63" y="80"/>
                      </a:cubicBezTo>
                      <a:close/>
                      <a:moveTo>
                        <a:pt x="6" y="42"/>
                      </a:moveTo>
                      <a:cubicBezTo>
                        <a:pt x="63" y="75"/>
                        <a:pt x="63" y="75"/>
                        <a:pt x="63" y="75"/>
                      </a:cubicBezTo>
                      <a:cubicBezTo>
                        <a:pt x="125" y="40"/>
                        <a:pt x="125" y="40"/>
                        <a:pt x="125" y="40"/>
                      </a:cubicBezTo>
                      <a:cubicBezTo>
                        <a:pt x="64" y="5"/>
                        <a:pt x="64" y="5"/>
                        <a:pt x="64" y="5"/>
                      </a:cubicBezTo>
                      <a:cubicBezTo>
                        <a:pt x="64" y="7"/>
                        <a:pt x="64" y="7"/>
                        <a:pt x="64" y="7"/>
                      </a:cubicBezTo>
                      <a:cubicBezTo>
                        <a:pt x="64" y="8"/>
                        <a:pt x="64" y="8"/>
                        <a:pt x="63" y="9"/>
                      </a:cubicBezTo>
                      <a:lnTo>
                        <a:pt x="6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6" name="Freeform 588">
                  <a:extLst>
                    <a:ext uri="{FF2B5EF4-FFF2-40B4-BE49-F238E27FC236}">
                      <a16:creationId xmlns:a16="http://schemas.microsoft.com/office/drawing/2014/main" id="{A21315C4-8C53-4A6E-AFC4-5BA261260E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27" y="1552"/>
                  <a:ext cx="159" cy="97"/>
                </a:xfrm>
                <a:custGeom>
                  <a:avLst/>
                  <a:gdLst>
                    <a:gd name="T0" fmla="*/ 4 w 67"/>
                    <a:gd name="T1" fmla="*/ 41 h 41"/>
                    <a:gd name="T2" fmla="*/ 3 w 67"/>
                    <a:gd name="T3" fmla="*/ 41 h 41"/>
                    <a:gd name="T4" fmla="*/ 1 w 67"/>
                    <a:gd name="T5" fmla="*/ 40 h 41"/>
                    <a:gd name="T6" fmla="*/ 0 w 67"/>
                    <a:gd name="T7" fmla="*/ 38 h 41"/>
                    <a:gd name="T8" fmla="*/ 1 w 67"/>
                    <a:gd name="T9" fmla="*/ 36 h 41"/>
                    <a:gd name="T10" fmla="*/ 64 w 67"/>
                    <a:gd name="T11" fmla="*/ 0 h 41"/>
                    <a:gd name="T12" fmla="*/ 66 w 67"/>
                    <a:gd name="T13" fmla="*/ 0 h 41"/>
                    <a:gd name="T14" fmla="*/ 67 w 67"/>
                    <a:gd name="T15" fmla="*/ 2 h 41"/>
                    <a:gd name="T16" fmla="*/ 67 w 67"/>
                    <a:gd name="T17" fmla="*/ 4 h 41"/>
                    <a:gd name="T18" fmla="*/ 66 w 67"/>
                    <a:gd name="T19" fmla="*/ 6 h 41"/>
                    <a:gd name="T20" fmla="*/ 5 w 67"/>
                    <a:gd name="T21" fmla="*/ 41 h 41"/>
                    <a:gd name="T22" fmla="*/ 4 w 67"/>
                    <a:gd name="T23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7" h="41">
                      <a:moveTo>
                        <a:pt x="4" y="41"/>
                      </a:moveTo>
                      <a:cubicBezTo>
                        <a:pt x="4" y="41"/>
                        <a:pt x="3" y="41"/>
                        <a:pt x="3" y="41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1" y="39"/>
                        <a:pt x="0" y="39"/>
                        <a:pt x="0" y="38"/>
                      </a:cubicBezTo>
                      <a:cubicBezTo>
                        <a:pt x="0" y="37"/>
                        <a:pt x="1" y="37"/>
                        <a:pt x="1" y="36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4" y="0"/>
                        <a:pt x="65" y="0"/>
                        <a:pt x="66" y="0"/>
                      </a:cubicBezTo>
                      <a:cubicBezTo>
                        <a:pt x="66" y="1"/>
                        <a:pt x="67" y="1"/>
                        <a:pt x="67" y="2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67" y="5"/>
                        <a:pt x="66" y="5"/>
                        <a:pt x="66" y="6"/>
                      </a:cubicBezTo>
                      <a:cubicBezTo>
                        <a:pt x="5" y="41"/>
                        <a:pt x="5" y="41"/>
                        <a:pt x="5" y="41"/>
                      </a:cubicBezTo>
                      <a:cubicBezTo>
                        <a:pt x="5" y="41"/>
                        <a:pt x="4" y="41"/>
                        <a:pt x="4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7" name="Freeform 589">
                  <a:extLst>
                    <a:ext uri="{FF2B5EF4-FFF2-40B4-BE49-F238E27FC236}">
                      <a16:creationId xmlns:a16="http://schemas.microsoft.com/office/drawing/2014/main" id="{842717FC-668E-4E5C-918E-C2393EC36D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48" y="1741"/>
                  <a:ext cx="26" cy="28"/>
                </a:xfrm>
                <a:custGeom>
                  <a:avLst/>
                  <a:gdLst>
                    <a:gd name="T0" fmla="*/ 9 w 11"/>
                    <a:gd name="T1" fmla="*/ 12 h 12"/>
                    <a:gd name="T2" fmla="*/ 8 w 11"/>
                    <a:gd name="T3" fmla="*/ 11 h 12"/>
                    <a:gd name="T4" fmla="*/ 1 w 11"/>
                    <a:gd name="T5" fmla="*/ 7 h 12"/>
                    <a:gd name="T6" fmla="*/ 0 w 11"/>
                    <a:gd name="T7" fmla="*/ 6 h 12"/>
                    <a:gd name="T8" fmla="*/ 1 w 11"/>
                    <a:gd name="T9" fmla="*/ 4 h 12"/>
                    <a:gd name="T10" fmla="*/ 8 w 11"/>
                    <a:gd name="T11" fmla="*/ 0 h 12"/>
                    <a:gd name="T12" fmla="*/ 10 w 11"/>
                    <a:gd name="T13" fmla="*/ 0 h 12"/>
                    <a:gd name="T14" fmla="*/ 11 w 11"/>
                    <a:gd name="T15" fmla="*/ 2 h 12"/>
                    <a:gd name="T16" fmla="*/ 11 w 11"/>
                    <a:gd name="T17" fmla="*/ 10 h 12"/>
                    <a:gd name="T18" fmla="*/ 10 w 11"/>
                    <a:gd name="T19" fmla="*/ 11 h 12"/>
                    <a:gd name="T20" fmla="*/ 9 w 11"/>
                    <a:gd name="T21" fmla="*/ 12 h 12"/>
                    <a:gd name="T22" fmla="*/ 6 w 11"/>
                    <a:gd name="T23" fmla="*/ 6 h 12"/>
                    <a:gd name="T24" fmla="*/ 7 w 11"/>
                    <a:gd name="T25" fmla="*/ 6 h 12"/>
                    <a:gd name="T26" fmla="*/ 7 w 11"/>
                    <a:gd name="T27" fmla="*/ 5 h 12"/>
                    <a:gd name="T28" fmla="*/ 6 w 11"/>
                    <a:gd name="T29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9" y="12"/>
                      </a:moveTo>
                      <a:cubicBezTo>
                        <a:pt x="9" y="12"/>
                        <a:pt x="8" y="11"/>
                        <a:pt x="8" y="11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9" y="0"/>
                        <a:pt x="10" y="0"/>
                        <a:pt x="10" y="0"/>
                      </a:cubicBezTo>
                      <a:cubicBezTo>
                        <a:pt x="11" y="0"/>
                        <a:pt x="11" y="1"/>
                        <a:pt x="11" y="2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11" y="10"/>
                        <a:pt x="11" y="11"/>
                        <a:pt x="10" y="11"/>
                      </a:cubicBezTo>
                      <a:cubicBezTo>
                        <a:pt x="10" y="11"/>
                        <a:pt x="9" y="12"/>
                        <a:pt x="9" y="12"/>
                      </a:cubicBezTo>
                      <a:close/>
                      <a:moveTo>
                        <a:pt x="6" y="6"/>
                      </a:move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5"/>
                        <a:pt x="7" y="5"/>
                        <a:pt x="7" y="5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8" name="Freeform 590">
                  <a:extLst>
                    <a:ext uri="{FF2B5EF4-FFF2-40B4-BE49-F238E27FC236}">
                      <a16:creationId xmlns:a16="http://schemas.microsoft.com/office/drawing/2014/main" id="{3E781C18-5558-47B9-99E9-8F74697FA5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00" y="1925"/>
                  <a:ext cx="12" cy="15"/>
                </a:xfrm>
                <a:custGeom>
                  <a:avLst/>
                  <a:gdLst>
                    <a:gd name="T0" fmla="*/ 3 w 5"/>
                    <a:gd name="T1" fmla="*/ 6 h 6"/>
                    <a:gd name="T2" fmla="*/ 2 w 5"/>
                    <a:gd name="T3" fmla="*/ 5 h 6"/>
                    <a:gd name="T4" fmla="*/ 1 w 5"/>
                    <a:gd name="T5" fmla="*/ 5 h 6"/>
                    <a:gd name="T6" fmla="*/ 0 w 5"/>
                    <a:gd name="T7" fmla="*/ 3 h 6"/>
                    <a:gd name="T8" fmla="*/ 1 w 5"/>
                    <a:gd name="T9" fmla="*/ 1 h 6"/>
                    <a:gd name="T10" fmla="*/ 2 w 5"/>
                    <a:gd name="T11" fmla="*/ 1 h 6"/>
                    <a:gd name="T12" fmla="*/ 4 w 5"/>
                    <a:gd name="T13" fmla="*/ 1 h 6"/>
                    <a:gd name="T14" fmla="*/ 5 w 5"/>
                    <a:gd name="T15" fmla="*/ 2 h 6"/>
                    <a:gd name="T16" fmla="*/ 5 w 5"/>
                    <a:gd name="T17" fmla="*/ 4 h 6"/>
                    <a:gd name="T18" fmla="*/ 4 w 5"/>
                    <a:gd name="T19" fmla="*/ 5 h 6"/>
                    <a:gd name="T20" fmla="*/ 3 w 5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6">
                      <a:moveTo>
                        <a:pt x="3" y="6"/>
                      </a:moveTo>
                      <a:cubicBezTo>
                        <a:pt x="3" y="6"/>
                        <a:pt x="3" y="5"/>
                        <a:pt x="2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4"/>
                        <a:pt x="5" y="5"/>
                        <a:pt x="4" y="5"/>
                      </a:cubicBezTo>
                      <a:cubicBezTo>
                        <a:pt x="4" y="5"/>
                        <a:pt x="4" y="6"/>
                        <a:pt x="3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9" name="Freeform 591">
                  <a:extLst>
                    <a:ext uri="{FF2B5EF4-FFF2-40B4-BE49-F238E27FC236}">
                      <a16:creationId xmlns:a16="http://schemas.microsoft.com/office/drawing/2014/main" id="{D76270F2-04F1-4013-839D-9975DCF25E8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831"/>
                  <a:ext cx="125" cy="97"/>
                </a:xfrm>
                <a:custGeom>
                  <a:avLst/>
                  <a:gdLst>
                    <a:gd name="T0" fmla="*/ 2 w 53"/>
                    <a:gd name="T1" fmla="*/ 41 h 41"/>
                    <a:gd name="T2" fmla="*/ 1 w 53"/>
                    <a:gd name="T3" fmla="*/ 41 h 41"/>
                    <a:gd name="T4" fmla="*/ 0 w 53"/>
                    <a:gd name="T5" fmla="*/ 39 h 41"/>
                    <a:gd name="T6" fmla="*/ 0 w 53"/>
                    <a:gd name="T7" fmla="*/ 31 h 41"/>
                    <a:gd name="T8" fmla="*/ 1 w 53"/>
                    <a:gd name="T9" fmla="*/ 29 h 41"/>
                    <a:gd name="T10" fmla="*/ 50 w 53"/>
                    <a:gd name="T11" fmla="*/ 0 h 41"/>
                    <a:gd name="T12" fmla="*/ 52 w 53"/>
                    <a:gd name="T13" fmla="*/ 0 h 41"/>
                    <a:gd name="T14" fmla="*/ 53 w 53"/>
                    <a:gd name="T15" fmla="*/ 2 h 41"/>
                    <a:gd name="T16" fmla="*/ 53 w 53"/>
                    <a:gd name="T17" fmla="*/ 11 h 41"/>
                    <a:gd name="T18" fmla="*/ 52 w 53"/>
                    <a:gd name="T19" fmla="*/ 13 h 41"/>
                    <a:gd name="T20" fmla="*/ 3 w 53"/>
                    <a:gd name="T21" fmla="*/ 41 h 41"/>
                    <a:gd name="T22" fmla="*/ 2 w 53"/>
                    <a:gd name="T23" fmla="*/ 41 h 41"/>
                    <a:gd name="T24" fmla="*/ 4 w 53"/>
                    <a:gd name="T25" fmla="*/ 32 h 41"/>
                    <a:gd name="T26" fmla="*/ 4 w 53"/>
                    <a:gd name="T27" fmla="*/ 36 h 41"/>
                    <a:gd name="T28" fmla="*/ 49 w 53"/>
                    <a:gd name="T29" fmla="*/ 10 h 41"/>
                    <a:gd name="T30" fmla="*/ 49 w 53"/>
                    <a:gd name="T31" fmla="*/ 6 h 41"/>
                    <a:gd name="T32" fmla="*/ 4 w 53"/>
                    <a:gd name="T33" fmla="*/ 32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3" h="41">
                      <a:moveTo>
                        <a:pt x="2" y="41"/>
                      </a:moveTo>
                      <a:cubicBezTo>
                        <a:pt x="2" y="41"/>
                        <a:pt x="1" y="41"/>
                        <a:pt x="1" y="41"/>
                      </a:cubicBezTo>
                      <a:cubicBezTo>
                        <a:pt x="0" y="41"/>
                        <a:pt x="0" y="40"/>
                        <a:pt x="0" y="39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1" y="0"/>
                        <a:pt x="52" y="0"/>
                      </a:cubicBezTo>
                      <a:cubicBezTo>
                        <a:pt x="53" y="1"/>
                        <a:pt x="53" y="1"/>
                        <a:pt x="53" y="2"/>
                      </a:cubicBezTo>
                      <a:cubicBezTo>
                        <a:pt x="53" y="11"/>
                        <a:pt x="53" y="11"/>
                        <a:pt x="53" y="11"/>
                      </a:cubicBezTo>
                      <a:cubicBezTo>
                        <a:pt x="53" y="12"/>
                        <a:pt x="53" y="12"/>
                        <a:pt x="52" y="13"/>
                      </a:cubicBezTo>
                      <a:cubicBezTo>
                        <a:pt x="3" y="41"/>
                        <a:pt x="3" y="41"/>
                        <a:pt x="3" y="41"/>
                      </a:cubicBezTo>
                      <a:cubicBezTo>
                        <a:pt x="3" y="41"/>
                        <a:pt x="2" y="41"/>
                        <a:pt x="2" y="41"/>
                      </a:cubicBezTo>
                      <a:close/>
                      <a:moveTo>
                        <a:pt x="4" y="32"/>
                      </a:move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49" y="10"/>
                        <a:pt x="49" y="10"/>
                        <a:pt x="49" y="10"/>
                      </a:cubicBezTo>
                      <a:cubicBezTo>
                        <a:pt x="49" y="6"/>
                        <a:pt x="49" y="6"/>
                        <a:pt x="49" y="6"/>
                      </a:cubicBezTo>
                      <a:lnTo>
                        <a:pt x="4" y="3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0" name="Freeform 592">
                  <a:extLst>
                    <a:ext uri="{FF2B5EF4-FFF2-40B4-BE49-F238E27FC236}">
                      <a16:creationId xmlns:a16="http://schemas.microsoft.com/office/drawing/2014/main" id="{785D11D0-E7DF-481A-8DE0-180D0CEE01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79" y="1911"/>
                  <a:ext cx="30" cy="24"/>
                </a:xfrm>
                <a:custGeom>
                  <a:avLst/>
                  <a:gdLst>
                    <a:gd name="T0" fmla="*/ 10 w 13"/>
                    <a:gd name="T1" fmla="*/ 10 h 10"/>
                    <a:gd name="T2" fmla="*/ 9 w 13"/>
                    <a:gd name="T3" fmla="*/ 10 h 10"/>
                    <a:gd name="T4" fmla="*/ 1 w 13"/>
                    <a:gd name="T5" fmla="*/ 5 h 10"/>
                    <a:gd name="T6" fmla="*/ 0 w 13"/>
                    <a:gd name="T7" fmla="*/ 4 h 10"/>
                    <a:gd name="T8" fmla="*/ 0 w 13"/>
                    <a:gd name="T9" fmla="*/ 3 h 10"/>
                    <a:gd name="T10" fmla="*/ 1 w 13"/>
                    <a:gd name="T11" fmla="*/ 1 h 10"/>
                    <a:gd name="T12" fmla="*/ 2 w 13"/>
                    <a:gd name="T13" fmla="*/ 1 h 10"/>
                    <a:gd name="T14" fmla="*/ 4 w 13"/>
                    <a:gd name="T15" fmla="*/ 1 h 10"/>
                    <a:gd name="T16" fmla="*/ 12 w 13"/>
                    <a:gd name="T17" fmla="*/ 5 h 10"/>
                    <a:gd name="T18" fmla="*/ 13 w 13"/>
                    <a:gd name="T19" fmla="*/ 7 h 10"/>
                    <a:gd name="T20" fmla="*/ 12 w 13"/>
                    <a:gd name="T21" fmla="*/ 9 h 10"/>
                    <a:gd name="T22" fmla="*/ 11 w 13"/>
                    <a:gd name="T23" fmla="*/ 10 h 10"/>
                    <a:gd name="T24" fmla="*/ 10 w 13"/>
                    <a:gd name="T2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3" h="10">
                      <a:moveTo>
                        <a:pt x="10" y="10"/>
                      </a:moveTo>
                      <a:cubicBezTo>
                        <a:pt x="9" y="10"/>
                        <a:pt x="9" y="10"/>
                        <a:pt x="9" y="10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3" y="6"/>
                        <a:pt x="13" y="6"/>
                        <a:pt x="13" y="7"/>
                      </a:cubicBezTo>
                      <a:cubicBezTo>
                        <a:pt x="13" y="8"/>
                        <a:pt x="13" y="8"/>
                        <a:pt x="12" y="9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10" y="10"/>
                        <a:pt x="10" y="10"/>
                        <a:pt x="10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1" name="Freeform 593">
                  <a:extLst>
                    <a:ext uri="{FF2B5EF4-FFF2-40B4-BE49-F238E27FC236}">
                      <a16:creationId xmlns:a16="http://schemas.microsoft.com/office/drawing/2014/main" id="{2FE16147-3C7E-4560-92D5-9AD5216341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79" y="1918"/>
                  <a:ext cx="23" cy="26"/>
                </a:xfrm>
                <a:custGeom>
                  <a:avLst/>
                  <a:gdLst>
                    <a:gd name="T0" fmla="*/ 2 w 10"/>
                    <a:gd name="T1" fmla="*/ 11 h 11"/>
                    <a:gd name="T2" fmla="*/ 1 w 10"/>
                    <a:gd name="T3" fmla="*/ 11 h 11"/>
                    <a:gd name="T4" fmla="*/ 0 w 10"/>
                    <a:gd name="T5" fmla="*/ 9 h 11"/>
                    <a:gd name="T6" fmla="*/ 0 w 10"/>
                    <a:gd name="T7" fmla="*/ 3 h 11"/>
                    <a:gd name="T8" fmla="*/ 1 w 10"/>
                    <a:gd name="T9" fmla="*/ 1 h 11"/>
                    <a:gd name="T10" fmla="*/ 3 w 10"/>
                    <a:gd name="T11" fmla="*/ 1 h 11"/>
                    <a:gd name="T12" fmla="*/ 9 w 10"/>
                    <a:gd name="T13" fmla="*/ 4 h 11"/>
                    <a:gd name="T14" fmla="*/ 10 w 10"/>
                    <a:gd name="T15" fmla="*/ 6 h 11"/>
                    <a:gd name="T16" fmla="*/ 9 w 10"/>
                    <a:gd name="T17" fmla="*/ 8 h 11"/>
                    <a:gd name="T18" fmla="*/ 3 w 10"/>
                    <a:gd name="T19" fmla="*/ 11 h 11"/>
                    <a:gd name="T20" fmla="*/ 2 w 10"/>
                    <a:gd name="T2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11">
                      <a:moveTo>
                        <a:pt x="2" y="11"/>
                      </a:moveTo>
                      <a:cubicBezTo>
                        <a:pt x="2" y="11"/>
                        <a:pt x="1" y="11"/>
                        <a:pt x="1" y="11"/>
                      </a:cubicBezTo>
                      <a:cubicBezTo>
                        <a:pt x="1" y="11"/>
                        <a:pt x="0" y="10"/>
                        <a:pt x="0" y="9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5"/>
                        <a:pt x="10" y="5"/>
                        <a:pt x="10" y="6"/>
                      </a:cubicBezTo>
                      <a:cubicBezTo>
                        <a:pt x="10" y="7"/>
                        <a:pt x="10" y="7"/>
                        <a:pt x="9" y="8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3" y="11"/>
                        <a:pt x="2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2" name="Freeform 594">
                  <a:extLst>
                    <a:ext uri="{FF2B5EF4-FFF2-40B4-BE49-F238E27FC236}">
                      <a16:creationId xmlns:a16="http://schemas.microsoft.com/office/drawing/2014/main" id="{7B1C900D-652A-4A9E-981D-CFF3D854EA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20" y="1819"/>
                  <a:ext cx="12" cy="12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4 h 5"/>
                    <a:gd name="T4" fmla="*/ 1 w 5"/>
                    <a:gd name="T5" fmla="*/ 4 h 5"/>
                    <a:gd name="T6" fmla="*/ 0 w 5"/>
                    <a:gd name="T7" fmla="*/ 2 h 5"/>
                    <a:gd name="T8" fmla="*/ 1 w 5"/>
                    <a:gd name="T9" fmla="*/ 0 h 5"/>
                    <a:gd name="T10" fmla="*/ 2 w 5"/>
                    <a:gd name="T11" fmla="*/ 0 h 5"/>
                    <a:gd name="T12" fmla="*/ 4 w 5"/>
                    <a:gd name="T13" fmla="*/ 0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4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3" y="5"/>
                        <a:pt x="2" y="4"/>
                        <a:pt x="2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3"/>
                        <a:pt x="0" y="3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3" y="0"/>
                        <a:pt x="3" y="0"/>
                        <a:pt x="4" y="0"/>
                      </a:cubicBezTo>
                      <a:cubicBezTo>
                        <a:pt x="5" y="0"/>
                        <a:pt x="5" y="1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5" y="4"/>
                        <a:pt x="4" y="4"/>
                      </a:cubicBezTo>
                      <a:cubicBezTo>
                        <a:pt x="4" y="4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3" name="Freeform 595">
                  <a:extLst>
                    <a:ext uri="{FF2B5EF4-FFF2-40B4-BE49-F238E27FC236}">
                      <a16:creationId xmlns:a16="http://schemas.microsoft.com/office/drawing/2014/main" id="{D493FC72-E089-4EE6-864B-45F66D27691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1935"/>
                  <a:ext cx="160" cy="257"/>
                </a:xfrm>
                <a:custGeom>
                  <a:avLst/>
                  <a:gdLst>
                    <a:gd name="T0" fmla="*/ 66 w 68"/>
                    <a:gd name="T1" fmla="*/ 109 h 109"/>
                    <a:gd name="T2" fmla="*/ 65 w 68"/>
                    <a:gd name="T3" fmla="*/ 108 h 109"/>
                    <a:gd name="T4" fmla="*/ 1 w 68"/>
                    <a:gd name="T5" fmla="*/ 71 h 109"/>
                    <a:gd name="T6" fmla="*/ 0 w 68"/>
                    <a:gd name="T7" fmla="*/ 70 h 109"/>
                    <a:gd name="T8" fmla="*/ 1 w 68"/>
                    <a:gd name="T9" fmla="*/ 68 h 109"/>
                    <a:gd name="T10" fmla="*/ 12 w 68"/>
                    <a:gd name="T11" fmla="*/ 61 h 109"/>
                    <a:gd name="T12" fmla="*/ 12 w 68"/>
                    <a:gd name="T13" fmla="*/ 2 h 109"/>
                    <a:gd name="T14" fmla="*/ 13 w 68"/>
                    <a:gd name="T15" fmla="*/ 1 h 109"/>
                    <a:gd name="T16" fmla="*/ 15 w 68"/>
                    <a:gd name="T17" fmla="*/ 1 h 109"/>
                    <a:gd name="T18" fmla="*/ 67 w 68"/>
                    <a:gd name="T19" fmla="*/ 31 h 109"/>
                    <a:gd name="T20" fmla="*/ 68 w 68"/>
                    <a:gd name="T21" fmla="*/ 33 h 109"/>
                    <a:gd name="T22" fmla="*/ 68 w 68"/>
                    <a:gd name="T23" fmla="*/ 107 h 109"/>
                    <a:gd name="T24" fmla="*/ 67 w 68"/>
                    <a:gd name="T25" fmla="*/ 108 h 109"/>
                    <a:gd name="T26" fmla="*/ 66 w 68"/>
                    <a:gd name="T27" fmla="*/ 109 h 109"/>
                    <a:gd name="T28" fmla="*/ 6 w 68"/>
                    <a:gd name="T29" fmla="*/ 69 h 109"/>
                    <a:gd name="T30" fmla="*/ 64 w 68"/>
                    <a:gd name="T31" fmla="*/ 103 h 109"/>
                    <a:gd name="T32" fmla="*/ 64 w 68"/>
                    <a:gd name="T33" fmla="*/ 34 h 109"/>
                    <a:gd name="T34" fmla="*/ 16 w 68"/>
                    <a:gd name="T35" fmla="*/ 6 h 109"/>
                    <a:gd name="T36" fmla="*/ 16 w 68"/>
                    <a:gd name="T37" fmla="*/ 63 h 109"/>
                    <a:gd name="T38" fmla="*/ 15 w 68"/>
                    <a:gd name="T39" fmla="*/ 64 h 109"/>
                    <a:gd name="T40" fmla="*/ 6 w 68"/>
                    <a:gd name="T41" fmla="*/ 6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8" h="109">
                      <a:moveTo>
                        <a:pt x="66" y="109"/>
                      </a:moveTo>
                      <a:cubicBezTo>
                        <a:pt x="66" y="109"/>
                        <a:pt x="66" y="108"/>
                        <a:pt x="65" y="108"/>
                      </a:cubicBezTo>
                      <a:cubicBezTo>
                        <a:pt x="1" y="71"/>
                        <a:pt x="1" y="71"/>
                        <a:pt x="1" y="71"/>
                      </a:cubicBezTo>
                      <a:cubicBezTo>
                        <a:pt x="1" y="71"/>
                        <a:pt x="0" y="70"/>
                        <a:pt x="0" y="70"/>
                      </a:cubicBezTo>
                      <a:cubicBezTo>
                        <a:pt x="0" y="69"/>
                        <a:pt x="1" y="68"/>
                        <a:pt x="1" y="68"/>
                      </a:cubicBezTo>
                      <a:cubicBezTo>
                        <a:pt x="12" y="61"/>
                        <a:pt x="12" y="61"/>
                        <a:pt x="12" y="61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2" y="2"/>
                        <a:pt x="12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67" y="31"/>
                        <a:pt x="67" y="31"/>
                        <a:pt x="67" y="31"/>
                      </a:cubicBezTo>
                      <a:cubicBezTo>
                        <a:pt x="68" y="31"/>
                        <a:pt x="68" y="32"/>
                        <a:pt x="68" y="33"/>
                      </a:cubicBezTo>
                      <a:cubicBezTo>
                        <a:pt x="68" y="107"/>
                        <a:pt x="68" y="107"/>
                        <a:pt x="68" y="107"/>
                      </a:cubicBezTo>
                      <a:cubicBezTo>
                        <a:pt x="68" y="107"/>
                        <a:pt x="68" y="108"/>
                        <a:pt x="67" y="108"/>
                      </a:cubicBezTo>
                      <a:cubicBezTo>
                        <a:pt x="67" y="108"/>
                        <a:pt x="67" y="109"/>
                        <a:pt x="66" y="109"/>
                      </a:cubicBezTo>
                      <a:close/>
                      <a:moveTo>
                        <a:pt x="6" y="69"/>
                      </a:moveTo>
                      <a:cubicBezTo>
                        <a:pt x="64" y="103"/>
                        <a:pt x="64" y="103"/>
                        <a:pt x="64" y="103"/>
                      </a:cubicBezTo>
                      <a:cubicBezTo>
                        <a:pt x="64" y="34"/>
                        <a:pt x="64" y="34"/>
                        <a:pt x="64" y="34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6" y="63"/>
                        <a:pt x="16" y="63"/>
                        <a:pt x="16" y="63"/>
                      </a:cubicBezTo>
                      <a:cubicBezTo>
                        <a:pt x="16" y="63"/>
                        <a:pt x="16" y="64"/>
                        <a:pt x="15" y="64"/>
                      </a:cubicBezTo>
                      <a:lnTo>
                        <a:pt x="6" y="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4" name="Freeform 596">
                  <a:extLst>
                    <a:ext uri="{FF2B5EF4-FFF2-40B4-BE49-F238E27FC236}">
                      <a16:creationId xmlns:a16="http://schemas.microsoft.com/office/drawing/2014/main" id="{52B12B5A-8749-44DA-B6D4-2D7ABC004A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755"/>
                  <a:ext cx="142" cy="149"/>
                </a:xfrm>
                <a:custGeom>
                  <a:avLst/>
                  <a:gdLst>
                    <a:gd name="T0" fmla="*/ 2 w 60"/>
                    <a:gd name="T1" fmla="*/ 63 h 63"/>
                    <a:gd name="T2" fmla="*/ 1 w 60"/>
                    <a:gd name="T3" fmla="*/ 63 h 63"/>
                    <a:gd name="T4" fmla="*/ 0 w 60"/>
                    <a:gd name="T5" fmla="*/ 61 h 63"/>
                    <a:gd name="T6" fmla="*/ 0 w 60"/>
                    <a:gd name="T7" fmla="*/ 7 h 63"/>
                    <a:gd name="T8" fmla="*/ 1 w 60"/>
                    <a:gd name="T9" fmla="*/ 6 h 63"/>
                    <a:gd name="T10" fmla="*/ 10 w 60"/>
                    <a:gd name="T11" fmla="*/ 0 h 63"/>
                    <a:gd name="T12" fmla="*/ 12 w 60"/>
                    <a:gd name="T13" fmla="*/ 0 h 63"/>
                    <a:gd name="T14" fmla="*/ 59 w 60"/>
                    <a:gd name="T15" fmla="*/ 27 h 63"/>
                    <a:gd name="T16" fmla="*/ 60 w 60"/>
                    <a:gd name="T17" fmla="*/ 29 h 63"/>
                    <a:gd name="T18" fmla="*/ 59 w 60"/>
                    <a:gd name="T19" fmla="*/ 31 h 63"/>
                    <a:gd name="T20" fmla="*/ 3 w 60"/>
                    <a:gd name="T21" fmla="*/ 63 h 63"/>
                    <a:gd name="T22" fmla="*/ 2 w 60"/>
                    <a:gd name="T23" fmla="*/ 63 h 63"/>
                    <a:gd name="T24" fmla="*/ 4 w 60"/>
                    <a:gd name="T25" fmla="*/ 9 h 63"/>
                    <a:gd name="T26" fmla="*/ 4 w 60"/>
                    <a:gd name="T27" fmla="*/ 58 h 63"/>
                    <a:gd name="T28" fmla="*/ 54 w 60"/>
                    <a:gd name="T29" fmla="*/ 29 h 63"/>
                    <a:gd name="T30" fmla="*/ 11 w 60"/>
                    <a:gd name="T31" fmla="*/ 4 h 63"/>
                    <a:gd name="T32" fmla="*/ 4 w 60"/>
                    <a:gd name="T33" fmla="*/ 9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63">
                      <a:moveTo>
                        <a:pt x="2" y="63"/>
                      </a:moveTo>
                      <a:cubicBezTo>
                        <a:pt x="2" y="63"/>
                        <a:pt x="1" y="63"/>
                        <a:pt x="1" y="63"/>
                      </a:cubicBezTo>
                      <a:cubicBezTo>
                        <a:pt x="0" y="63"/>
                        <a:pt x="0" y="62"/>
                        <a:pt x="0" y="6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0" y="6"/>
                        <a:pt x="1" y="6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1" y="0"/>
                        <a:pt x="12" y="0"/>
                        <a:pt x="12" y="0"/>
                      </a:cubicBezTo>
                      <a:cubicBezTo>
                        <a:pt x="59" y="27"/>
                        <a:pt x="59" y="27"/>
                        <a:pt x="59" y="27"/>
                      </a:cubicBezTo>
                      <a:cubicBezTo>
                        <a:pt x="60" y="28"/>
                        <a:pt x="60" y="28"/>
                        <a:pt x="60" y="29"/>
                      </a:cubicBezTo>
                      <a:cubicBezTo>
                        <a:pt x="60" y="30"/>
                        <a:pt x="60" y="30"/>
                        <a:pt x="59" y="31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2" y="63"/>
                        <a:pt x="2" y="63"/>
                      </a:cubicBezTo>
                      <a:close/>
                      <a:moveTo>
                        <a:pt x="4" y="9"/>
                      </a:move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11" y="4"/>
                        <a:pt x="11" y="4"/>
                        <a:pt x="11" y="4"/>
                      </a:cubicBez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5" name="Freeform 597">
                  <a:extLst>
                    <a:ext uri="{FF2B5EF4-FFF2-40B4-BE49-F238E27FC236}">
                      <a16:creationId xmlns:a16="http://schemas.microsoft.com/office/drawing/2014/main" id="{90EE0E42-6578-4002-A12D-4615CAAB85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1930"/>
                  <a:ext cx="33" cy="168"/>
                </a:xfrm>
                <a:custGeom>
                  <a:avLst/>
                  <a:gdLst>
                    <a:gd name="T0" fmla="*/ 2 w 14"/>
                    <a:gd name="T1" fmla="*/ 71 h 71"/>
                    <a:gd name="T2" fmla="*/ 1 w 14"/>
                    <a:gd name="T3" fmla="*/ 71 h 71"/>
                    <a:gd name="T4" fmla="*/ 0 w 14"/>
                    <a:gd name="T5" fmla="*/ 69 h 71"/>
                    <a:gd name="T6" fmla="*/ 0 w 14"/>
                    <a:gd name="T7" fmla="*/ 6 h 71"/>
                    <a:gd name="T8" fmla="*/ 1 w 14"/>
                    <a:gd name="T9" fmla="*/ 4 h 71"/>
                    <a:gd name="T10" fmla="*/ 9 w 14"/>
                    <a:gd name="T11" fmla="*/ 0 h 71"/>
                    <a:gd name="T12" fmla="*/ 11 w 14"/>
                    <a:gd name="T13" fmla="*/ 0 h 71"/>
                    <a:gd name="T14" fmla="*/ 13 w 14"/>
                    <a:gd name="T15" fmla="*/ 2 h 71"/>
                    <a:gd name="T16" fmla="*/ 14 w 14"/>
                    <a:gd name="T17" fmla="*/ 3 h 71"/>
                    <a:gd name="T18" fmla="*/ 14 w 14"/>
                    <a:gd name="T19" fmla="*/ 64 h 71"/>
                    <a:gd name="T20" fmla="*/ 13 w 14"/>
                    <a:gd name="T21" fmla="*/ 65 h 71"/>
                    <a:gd name="T22" fmla="*/ 3 w 14"/>
                    <a:gd name="T23" fmla="*/ 71 h 71"/>
                    <a:gd name="T24" fmla="*/ 2 w 14"/>
                    <a:gd name="T25" fmla="*/ 71 h 71"/>
                    <a:gd name="T26" fmla="*/ 4 w 14"/>
                    <a:gd name="T27" fmla="*/ 7 h 71"/>
                    <a:gd name="T28" fmla="*/ 4 w 14"/>
                    <a:gd name="T29" fmla="*/ 66 h 71"/>
                    <a:gd name="T30" fmla="*/ 10 w 14"/>
                    <a:gd name="T31" fmla="*/ 62 h 71"/>
                    <a:gd name="T32" fmla="*/ 10 w 14"/>
                    <a:gd name="T33" fmla="*/ 5 h 71"/>
                    <a:gd name="T34" fmla="*/ 10 w 14"/>
                    <a:gd name="T35" fmla="*/ 4 h 71"/>
                    <a:gd name="T36" fmla="*/ 4 w 14"/>
                    <a:gd name="T37" fmla="*/ 7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71">
                      <a:moveTo>
                        <a:pt x="2" y="71"/>
                      </a:moveTo>
                      <a:cubicBezTo>
                        <a:pt x="2" y="71"/>
                        <a:pt x="1" y="71"/>
                        <a:pt x="1" y="71"/>
                      </a:cubicBezTo>
                      <a:cubicBezTo>
                        <a:pt x="1" y="71"/>
                        <a:pt x="0" y="70"/>
                        <a:pt x="0" y="69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5"/>
                        <a:pt x="1" y="5"/>
                        <a:pt x="1" y="4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9" y="0"/>
                        <a:pt x="10" y="0"/>
                        <a:pt x="11" y="0"/>
                      </a:cubicBez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4" y="2"/>
                        <a:pt x="14" y="3"/>
                        <a:pt x="14" y="3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14" y="64"/>
                        <a:pt x="14" y="65"/>
                        <a:pt x="13" y="65"/>
                      </a:cubicBezTo>
                      <a:cubicBezTo>
                        <a:pt x="3" y="71"/>
                        <a:pt x="3" y="71"/>
                        <a:pt x="3" y="71"/>
                      </a:cubicBezTo>
                      <a:cubicBezTo>
                        <a:pt x="3" y="71"/>
                        <a:pt x="3" y="71"/>
                        <a:pt x="2" y="71"/>
                      </a:cubicBezTo>
                      <a:close/>
                      <a:moveTo>
                        <a:pt x="4" y="7"/>
                      </a:moveTo>
                      <a:cubicBezTo>
                        <a:pt x="4" y="66"/>
                        <a:pt x="4" y="66"/>
                        <a:pt x="4" y="66"/>
                      </a:cubicBezTo>
                      <a:cubicBezTo>
                        <a:pt x="10" y="62"/>
                        <a:pt x="10" y="62"/>
                        <a:pt x="10" y="62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4"/>
                        <a:pt x="10" y="4"/>
                        <a:pt x="10" y="4"/>
                      </a:cubicBez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6" name="Freeform 598">
                  <a:extLst>
                    <a:ext uri="{FF2B5EF4-FFF2-40B4-BE49-F238E27FC236}">
                      <a16:creationId xmlns:a16="http://schemas.microsoft.com/office/drawing/2014/main" id="{35FA2BF1-1195-4181-90A0-FFE8865988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651"/>
                  <a:ext cx="154" cy="109"/>
                </a:xfrm>
                <a:custGeom>
                  <a:avLst/>
                  <a:gdLst>
                    <a:gd name="T0" fmla="*/ 11 w 65"/>
                    <a:gd name="T1" fmla="*/ 46 h 46"/>
                    <a:gd name="T2" fmla="*/ 10 w 65"/>
                    <a:gd name="T3" fmla="*/ 46 h 46"/>
                    <a:gd name="T4" fmla="*/ 1 w 65"/>
                    <a:gd name="T5" fmla="*/ 41 h 46"/>
                    <a:gd name="T6" fmla="*/ 0 w 65"/>
                    <a:gd name="T7" fmla="*/ 39 h 46"/>
                    <a:gd name="T8" fmla="*/ 0 w 65"/>
                    <a:gd name="T9" fmla="*/ 37 h 46"/>
                    <a:gd name="T10" fmla="*/ 1 w 65"/>
                    <a:gd name="T11" fmla="*/ 35 h 46"/>
                    <a:gd name="T12" fmla="*/ 62 w 65"/>
                    <a:gd name="T13" fmla="*/ 0 h 46"/>
                    <a:gd name="T14" fmla="*/ 64 w 65"/>
                    <a:gd name="T15" fmla="*/ 0 h 46"/>
                    <a:gd name="T16" fmla="*/ 65 w 65"/>
                    <a:gd name="T17" fmla="*/ 2 h 46"/>
                    <a:gd name="T18" fmla="*/ 65 w 65"/>
                    <a:gd name="T19" fmla="*/ 14 h 46"/>
                    <a:gd name="T20" fmla="*/ 64 w 65"/>
                    <a:gd name="T21" fmla="*/ 16 h 46"/>
                    <a:gd name="T22" fmla="*/ 12 w 65"/>
                    <a:gd name="T23" fmla="*/ 46 h 46"/>
                    <a:gd name="T24" fmla="*/ 11 w 65"/>
                    <a:gd name="T25" fmla="*/ 46 h 46"/>
                    <a:gd name="T26" fmla="*/ 4 w 65"/>
                    <a:gd name="T27" fmla="*/ 38 h 46"/>
                    <a:gd name="T28" fmla="*/ 11 w 65"/>
                    <a:gd name="T29" fmla="*/ 42 h 46"/>
                    <a:gd name="T30" fmla="*/ 61 w 65"/>
                    <a:gd name="T31" fmla="*/ 13 h 46"/>
                    <a:gd name="T32" fmla="*/ 61 w 65"/>
                    <a:gd name="T33" fmla="*/ 5 h 46"/>
                    <a:gd name="T34" fmla="*/ 4 w 65"/>
                    <a:gd name="T35" fmla="*/ 38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5" h="46">
                      <a:moveTo>
                        <a:pt x="11" y="46"/>
                      </a:moveTo>
                      <a:cubicBezTo>
                        <a:pt x="11" y="46"/>
                        <a:pt x="11" y="46"/>
                        <a:pt x="10" y="46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0" y="40"/>
                        <a:pt x="0" y="40"/>
                        <a:pt x="0" y="39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3" y="0"/>
                        <a:pt x="64" y="0"/>
                      </a:cubicBezTo>
                      <a:cubicBezTo>
                        <a:pt x="64" y="0"/>
                        <a:pt x="65" y="1"/>
                        <a:pt x="65" y="2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5"/>
                        <a:pt x="64" y="16"/>
                        <a:pt x="64" y="16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2" y="46"/>
                        <a:pt x="12" y="46"/>
                        <a:pt x="11" y="46"/>
                      </a:cubicBezTo>
                      <a:close/>
                      <a:moveTo>
                        <a:pt x="4" y="38"/>
                      </a:move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61" y="13"/>
                        <a:pt x="61" y="13"/>
                        <a:pt x="61" y="13"/>
                      </a:cubicBezTo>
                      <a:cubicBezTo>
                        <a:pt x="61" y="5"/>
                        <a:pt x="61" y="5"/>
                        <a:pt x="61" y="5"/>
                      </a:cubicBezTo>
                      <a:lnTo>
                        <a:pt x="4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7" name="Freeform 599">
                  <a:extLst>
                    <a:ext uri="{FF2B5EF4-FFF2-40B4-BE49-F238E27FC236}">
                      <a16:creationId xmlns:a16="http://schemas.microsoft.com/office/drawing/2014/main" id="{C1EAAAD4-7CB6-4FC7-A869-C1CC8637965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684"/>
                  <a:ext cx="156" cy="253"/>
                </a:xfrm>
                <a:custGeom>
                  <a:avLst/>
                  <a:gdLst>
                    <a:gd name="T0" fmla="*/ 8 w 66"/>
                    <a:gd name="T1" fmla="*/ 107 h 107"/>
                    <a:gd name="T2" fmla="*/ 7 w 66"/>
                    <a:gd name="T3" fmla="*/ 107 h 107"/>
                    <a:gd name="T4" fmla="*/ 1 w 66"/>
                    <a:gd name="T5" fmla="*/ 103 h 107"/>
                    <a:gd name="T6" fmla="*/ 0 w 66"/>
                    <a:gd name="T7" fmla="*/ 102 h 107"/>
                    <a:gd name="T8" fmla="*/ 0 w 66"/>
                    <a:gd name="T9" fmla="*/ 93 h 107"/>
                    <a:gd name="T10" fmla="*/ 1 w 66"/>
                    <a:gd name="T11" fmla="*/ 92 h 107"/>
                    <a:gd name="T12" fmla="*/ 57 w 66"/>
                    <a:gd name="T13" fmla="*/ 59 h 107"/>
                    <a:gd name="T14" fmla="*/ 12 w 66"/>
                    <a:gd name="T15" fmla="*/ 33 h 107"/>
                    <a:gd name="T16" fmla="*/ 11 w 66"/>
                    <a:gd name="T17" fmla="*/ 31 h 107"/>
                    <a:gd name="T18" fmla="*/ 12 w 66"/>
                    <a:gd name="T19" fmla="*/ 29 h 107"/>
                    <a:gd name="T20" fmla="*/ 62 w 66"/>
                    <a:gd name="T21" fmla="*/ 1 h 107"/>
                    <a:gd name="T22" fmla="*/ 64 w 66"/>
                    <a:gd name="T23" fmla="*/ 1 h 107"/>
                    <a:gd name="T24" fmla="*/ 65 w 66"/>
                    <a:gd name="T25" fmla="*/ 2 h 107"/>
                    <a:gd name="T26" fmla="*/ 65 w 66"/>
                    <a:gd name="T27" fmla="*/ 62 h 107"/>
                    <a:gd name="T28" fmla="*/ 66 w 66"/>
                    <a:gd name="T29" fmla="*/ 63 h 107"/>
                    <a:gd name="T30" fmla="*/ 66 w 66"/>
                    <a:gd name="T31" fmla="*/ 73 h 107"/>
                    <a:gd name="T32" fmla="*/ 65 w 66"/>
                    <a:gd name="T33" fmla="*/ 75 h 107"/>
                    <a:gd name="T34" fmla="*/ 9 w 66"/>
                    <a:gd name="T35" fmla="*/ 107 h 107"/>
                    <a:gd name="T36" fmla="*/ 8 w 66"/>
                    <a:gd name="T37" fmla="*/ 107 h 107"/>
                    <a:gd name="T38" fmla="*/ 4 w 66"/>
                    <a:gd name="T39" fmla="*/ 100 h 107"/>
                    <a:gd name="T40" fmla="*/ 8 w 66"/>
                    <a:gd name="T41" fmla="*/ 103 h 107"/>
                    <a:gd name="T42" fmla="*/ 62 w 66"/>
                    <a:gd name="T43" fmla="*/ 72 h 107"/>
                    <a:gd name="T44" fmla="*/ 62 w 66"/>
                    <a:gd name="T45" fmla="*/ 64 h 107"/>
                    <a:gd name="T46" fmla="*/ 61 w 66"/>
                    <a:gd name="T47" fmla="*/ 63 h 107"/>
                    <a:gd name="T48" fmla="*/ 61 w 66"/>
                    <a:gd name="T49" fmla="*/ 62 h 107"/>
                    <a:gd name="T50" fmla="*/ 4 w 66"/>
                    <a:gd name="T51" fmla="*/ 94 h 107"/>
                    <a:gd name="T52" fmla="*/ 4 w 66"/>
                    <a:gd name="T53" fmla="*/ 100 h 107"/>
                    <a:gd name="T54" fmla="*/ 17 w 66"/>
                    <a:gd name="T55" fmla="*/ 31 h 107"/>
                    <a:gd name="T56" fmla="*/ 61 w 66"/>
                    <a:gd name="T57" fmla="*/ 56 h 107"/>
                    <a:gd name="T58" fmla="*/ 61 w 66"/>
                    <a:gd name="T59" fmla="*/ 6 h 107"/>
                    <a:gd name="T60" fmla="*/ 17 w 66"/>
                    <a:gd name="T61" fmla="*/ 31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6" h="107">
                      <a:moveTo>
                        <a:pt x="8" y="107"/>
                      </a:moveTo>
                      <a:cubicBezTo>
                        <a:pt x="8" y="107"/>
                        <a:pt x="8" y="107"/>
                        <a:pt x="7" y="107"/>
                      </a:cubicBezTo>
                      <a:cubicBezTo>
                        <a:pt x="1" y="103"/>
                        <a:pt x="1" y="103"/>
                        <a:pt x="1" y="103"/>
                      </a:cubicBezTo>
                      <a:cubicBezTo>
                        <a:pt x="0" y="103"/>
                        <a:pt x="0" y="102"/>
                        <a:pt x="0" y="102"/>
                      </a:cubicBezTo>
                      <a:cubicBezTo>
                        <a:pt x="0" y="93"/>
                        <a:pt x="0" y="93"/>
                        <a:pt x="0" y="93"/>
                      </a:cubicBezTo>
                      <a:cubicBezTo>
                        <a:pt x="0" y="93"/>
                        <a:pt x="0" y="92"/>
                        <a:pt x="1" y="92"/>
                      </a:cubicBezTo>
                      <a:cubicBezTo>
                        <a:pt x="57" y="59"/>
                        <a:pt x="57" y="59"/>
                        <a:pt x="57" y="59"/>
                      </a:cubicBezTo>
                      <a:cubicBezTo>
                        <a:pt x="12" y="33"/>
                        <a:pt x="12" y="33"/>
                        <a:pt x="12" y="33"/>
                      </a:cubicBezTo>
                      <a:cubicBezTo>
                        <a:pt x="11" y="32"/>
                        <a:pt x="11" y="32"/>
                        <a:pt x="11" y="31"/>
                      </a:cubicBezTo>
                      <a:cubicBezTo>
                        <a:pt x="11" y="30"/>
                        <a:pt x="11" y="30"/>
                        <a:pt x="12" y="29"/>
                      </a:cubicBezTo>
                      <a:cubicBezTo>
                        <a:pt x="62" y="1"/>
                        <a:pt x="62" y="1"/>
                        <a:pt x="62" y="1"/>
                      </a:cubicBezTo>
                      <a:cubicBezTo>
                        <a:pt x="62" y="0"/>
                        <a:pt x="63" y="0"/>
                        <a:pt x="64" y="1"/>
                      </a:cubicBezTo>
                      <a:cubicBezTo>
                        <a:pt x="64" y="1"/>
                        <a:pt x="65" y="2"/>
                        <a:pt x="65" y="2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6" y="62"/>
                        <a:pt x="66" y="63"/>
                        <a:pt x="66" y="63"/>
                      </a:cubicBezTo>
                      <a:cubicBezTo>
                        <a:pt x="66" y="73"/>
                        <a:pt x="66" y="73"/>
                        <a:pt x="66" y="73"/>
                      </a:cubicBezTo>
                      <a:cubicBezTo>
                        <a:pt x="66" y="74"/>
                        <a:pt x="66" y="74"/>
                        <a:pt x="65" y="75"/>
                      </a:cubicBezTo>
                      <a:cubicBezTo>
                        <a:pt x="9" y="107"/>
                        <a:pt x="9" y="107"/>
                        <a:pt x="9" y="107"/>
                      </a:cubicBezTo>
                      <a:cubicBezTo>
                        <a:pt x="9" y="107"/>
                        <a:pt x="9" y="107"/>
                        <a:pt x="8" y="107"/>
                      </a:cubicBezTo>
                      <a:close/>
                      <a:moveTo>
                        <a:pt x="4" y="100"/>
                      </a:moveTo>
                      <a:cubicBezTo>
                        <a:pt x="8" y="103"/>
                        <a:pt x="8" y="103"/>
                        <a:pt x="8" y="103"/>
                      </a:cubicBezTo>
                      <a:cubicBezTo>
                        <a:pt x="62" y="72"/>
                        <a:pt x="62" y="72"/>
                        <a:pt x="62" y="72"/>
                      </a:cubicBez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1" y="64"/>
                        <a:pt x="61" y="63"/>
                        <a:pt x="61" y="63"/>
                      </a:cubicBezTo>
                      <a:cubicBezTo>
                        <a:pt x="61" y="62"/>
                        <a:pt x="61" y="62"/>
                        <a:pt x="61" y="62"/>
                      </a:cubicBezTo>
                      <a:cubicBezTo>
                        <a:pt x="4" y="94"/>
                        <a:pt x="4" y="94"/>
                        <a:pt x="4" y="94"/>
                      </a:cubicBezTo>
                      <a:lnTo>
                        <a:pt x="4" y="100"/>
                      </a:lnTo>
                      <a:close/>
                      <a:moveTo>
                        <a:pt x="17" y="31"/>
                      </a:move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6"/>
                        <a:pt x="61" y="6"/>
                        <a:pt x="61" y="6"/>
                      </a:cubicBezTo>
                      <a:lnTo>
                        <a:pt x="17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8" name="Freeform 600">
                  <a:extLst>
                    <a:ext uri="{FF2B5EF4-FFF2-40B4-BE49-F238E27FC236}">
                      <a16:creationId xmlns:a16="http://schemas.microsoft.com/office/drawing/2014/main" id="{2F7CBD0C-8632-49A3-AB55-2EDD70F110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743"/>
                  <a:ext cx="29" cy="29"/>
                </a:xfrm>
                <a:custGeom>
                  <a:avLst/>
                  <a:gdLst>
                    <a:gd name="T0" fmla="*/ 2 w 12"/>
                    <a:gd name="T1" fmla="*/ 12 h 12"/>
                    <a:gd name="T2" fmla="*/ 1 w 12"/>
                    <a:gd name="T3" fmla="*/ 12 h 12"/>
                    <a:gd name="T4" fmla="*/ 0 w 12"/>
                    <a:gd name="T5" fmla="*/ 10 h 12"/>
                    <a:gd name="T6" fmla="*/ 0 w 12"/>
                    <a:gd name="T7" fmla="*/ 2 h 12"/>
                    <a:gd name="T8" fmla="*/ 1 w 12"/>
                    <a:gd name="T9" fmla="*/ 0 h 12"/>
                    <a:gd name="T10" fmla="*/ 3 w 12"/>
                    <a:gd name="T11" fmla="*/ 0 h 12"/>
                    <a:gd name="T12" fmla="*/ 11 w 12"/>
                    <a:gd name="T13" fmla="*/ 4 h 12"/>
                    <a:gd name="T14" fmla="*/ 12 w 12"/>
                    <a:gd name="T15" fmla="*/ 6 h 12"/>
                    <a:gd name="T16" fmla="*/ 11 w 12"/>
                    <a:gd name="T17" fmla="*/ 8 h 12"/>
                    <a:gd name="T18" fmla="*/ 3 w 12"/>
                    <a:gd name="T19" fmla="*/ 12 h 12"/>
                    <a:gd name="T20" fmla="*/ 2 w 12"/>
                    <a:gd name="T21" fmla="*/ 12 h 12"/>
                    <a:gd name="T22" fmla="*/ 4 w 12"/>
                    <a:gd name="T23" fmla="*/ 5 h 12"/>
                    <a:gd name="T24" fmla="*/ 4 w 12"/>
                    <a:gd name="T25" fmla="*/ 7 h 12"/>
                    <a:gd name="T26" fmla="*/ 6 w 12"/>
                    <a:gd name="T27" fmla="*/ 6 h 12"/>
                    <a:gd name="T28" fmla="*/ 4 w 12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2">
                      <a:moveTo>
                        <a:pt x="2" y="12"/>
                      </a:moveTo>
                      <a:cubicBezTo>
                        <a:pt x="2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1" y="4"/>
                        <a:pt x="11" y="4"/>
                        <a:pt x="11" y="4"/>
                      </a:cubicBezTo>
                      <a:cubicBezTo>
                        <a:pt x="11" y="5"/>
                        <a:pt x="12" y="5"/>
                        <a:pt x="12" y="6"/>
                      </a:cubicBezTo>
                      <a:cubicBezTo>
                        <a:pt x="12" y="7"/>
                        <a:pt x="11" y="7"/>
                        <a:pt x="11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2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6" y="6"/>
                        <a:pt x="6" y="6"/>
                        <a:pt x="6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9" name="Freeform 601">
                  <a:extLst>
                    <a:ext uri="{FF2B5EF4-FFF2-40B4-BE49-F238E27FC236}">
                      <a16:creationId xmlns:a16="http://schemas.microsoft.com/office/drawing/2014/main" id="{24B1787C-284A-4B51-B174-5F67D4B4368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51" y="1918"/>
                  <a:ext cx="135" cy="255"/>
                </a:xfrm>
                <a:custGeom>
                  <a:avLst/>
                  <a:gdLst>
                    <a:gd name="T0" fmla="*/ 2 w 57"/>
                    <a:gd name="T1" fmla="*/ 108 h 108"/>
                    <a:gd name="T2" fmla="*/ 1 w 57"/>
                    <a:gd name="T3" fmla="*/ 107 h 108"/>
                    <a:gd name="T4" fmla="*/ 0 w 57"/>
                    <a:gd name="T5" fmla="*/ 106 h 108"/>
                    <a:gd name="T6" fmla="*/ 0 w 57"/>
                    <a:gd name="T7" fmla="*/ 31 h 108"/>
                    <a:gd name="T8" fmla="*/ 1 w 57"/>
                    <a:gd name="T9" fmla="*/ 30 h 108"/>
                    <a:gd name="T10" fmla="*/ 53 w 57"/>
                    <a:gd name="T11" fmla="*/ 0 h 108"/>
                    <a:gd name="T12" fmla="*/ 55 w 57"/>
                    <a:gd name="T13" fmla="*/ 0 h 108"/>
                    <a:gd name="T14" fmla="*/ 56 w 57"/>
                    <a:gd name="T15" fmla="*/ 2 h 108"/>
                    <a:gd name="T16" fmla="*/ 56 w 57"/>
                    <a:gd name="T17" fmla="*/ 10 h 108"/>
                    <a:gd name="T18" fmla="*/ 56 w 57"/>
                    <a:gd name="T19" fmla="*/ 10 h 108"/>
                    <a:gd name="T20" fmla="*/ 57 w 57"/>
                    <a:gd name="T21" fmla="*/ 12 h 108"/>
                    <a:gd name="T22" fmla="*/ 57 w 57"/>
                    <a:gd name="T23" fmla="*/ 75 h 108"/>
                    <a:gd name="T24" fmla="*/ 56 w 57"/>
                    <a:gd name="T25" fmla="*/ 77 h 108"/>
                    <a:gd name="T26" fmla="*/ 3 w 57"/>
                    <a:gd name="T27" fmla="*/ 107 h 108"/>
                    <a:gd name="T28" fmla="*/ 2 w 57"/>
                    <a:gd name="T29" fmla="*/ 108 h 108"/>
                    <a:gd name="T30" fmla="*/ 4 w 57"/>
                    <a:gd name="T31" fmla="*/ 33 h 108"/>
                    <a:gd name="T32" fmla="*/ 4 w 57"/>
                    <a:gd name="T33" fmla="*/ 102 h 108"/>
                    <a:gd name="T34" fmla="*/ 53 w 57"/>
                    <a:gd name="T35" fmla="*/ 74 h 108"/>
                    <a:gd name="T36" fmla="*/ 53 w 57"/>
                    <a:gd name="T37" fmla="*/ 14 h 108"/>
                    <a:gd name="T38" fmla="*/ 52 w 57"/>
                    <a:gd name="T39" fmla="*/ 14 h 108"/>
                    <a:gd name="T40" fmla="*/ 52 w 57"/>
                    <a:gd name="T41" fmla="*/ 13 h 108"/>
                    <a:gd name="T42" fmla="*/ 52 w 57"/>
                    <a:gd name="T43" fmla="*/ 5 h 108"/>
                    <a:gd name="T44" fmla="*/ 4 w 57"/>
                    <a:gd name="T45" fmla="*/ 33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7" h="108">
                      <a:moveTo>
                        <a:pt x="2" y="108"/>
                      </a:moveTo>
                      <a:cubicBezTo>
                        <a:pt x="2" y="108"/>
                        <a:pt x="1" y="108"/>
                        <a:pt x="1" y="107"/>
                      </a:cubicBezTo>
                      <a:cubicBezTo>
                        <a:pt x="0" y="107"/>
                        <a:pt x="0" y="106"/>
                        <a:pt x="0" y="106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1"/>
                        <a:pt x="0" y="30"/>
                        <a:pt x="1" y="3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4" y="0"/>
                        <a:pt x="55" y="0"/>
                      </a:cubicBezTo>
                      <a:cubicBezTo>
                        <a:pt x="55" y="0"/>
                        <a:pt x="56" y="1"/>
                        <a:pt x="56" y="2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6" y="11"/>
                        <a:pt x="57" y="11"/>
                        <a:pt x="57" y="12"/>
                      </a:cubicBezTo>
                      <a:cubicBezTo>
                        <a:pt x="57" y="75"/>
                        <a:pt x="57" y="75"/>
                        <a:pt x="57" y="75"/>
                      </a:cubicBezTo>
                      <a:cubicBezTo>
                        <a:pt x="57" y="76"/>
                        <a:pt x="56" y="77"/>
                        <a:pt x="56" y="77"/>
                      </a:cubicBezTo>
                      <a:cubicBezTo>
                        <a:pt x="3" y="107"/>
                        <a:pt x="3" y="107"/>
                        <a:pt x="3" y="107"/>
                      </a:cubicBezTo>
                      <a:cubicBezTo>
                        <a:pt x="3" y="108"/>
                        <a:pt x="2" y="108"/>
                        <a:pt x="2" y="108"/>
                      </a:cubicBezTo>
                      <a:close/>
                      <a:moveTo>
                        <a:pt x="4" y="33"/>
                      </a:moveTo>
                      <a:cubicBezTo>
                        <a:pt x="4" y="102"/>
                        <a:pt x="4" y="102"/>
                        <a:pt x="4" y="102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14"/>
                        <a:pt x="53" y="14"/>
                        <a:pt x="53" y="14"/>
                      </a:cubicBezTo>
                      <a:cubicBezTo>
                        <a:pt x="53" y="14"/>
                        <a:pt x="53" y="14"/>
                        <a:pt x="52" y="14"/>
                      </a:cubicBezTo>
                      <a:cubicBezTo>
                        <a:pt x="52" y="14"/>
                        <a:pt x="52" y="13"/>
                        <a:pt x="52" y="13"/>
                      </a:cubicBezTo>
                      <a:cubicBezTo>
                        <a:pt x="52" y="5"/>
                        <a:pt x="52" y="5"/>
                        <a:pt x="52" y="5"/>
                      </a:cubicBezTo>
                      <a:lnTo>
                        <a:pt x="4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0" name="Freeform 602">
                  <a:extLst>
                    <a:ext uri="{FF2B5EF4-FFF2-40B4-BE49-F238E27FC236}">
                      <a16:creationId xmlns:a16="http://schemas.microsoft.com/office/drawing/2014/main" id="{1F5F8C85-FC12-44C6-8301-56BB4C5B6F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76" y="1902"/>
                  <a:ext cx="19" cy="16"/>
                </a:xfrm>
                <a:custGeom>
                  <a:avLst/>
                  <a:gdLst>
                    <a:gd name="T0" fmla="*/ 6 w 8"/>
                    <a:gd name="T1" fmla="*/ 7 h 7"/>
                    <a:gd name="T2" fmla="*/ 5 w 8"/>
                    <a:gd name="T3" fmla="*/ 7 h 7"/>
                    <a:gd name="T4" fmla="*/ 1 w 8"/>
                    <a:gd name="T5" fmla="*/ 5 h 7"/>
                    <a:gd name="T6" fmla="*/ 0 w 8"/>
                    <a:gd name="T7" fmla="*/ 3 h 7"/>
                    <a:gd name="T8" fmla="*/ 1 w 8"/>
                    <a:gd name="T9" fmla="*/ 2 h 7"/>
                    <a:gd name="T10" fmla="*/ 3 w 8"/>
                    <a:gd name="T11" fmla="*/ 1 h 7"/>
                    <a:gd name="T12" fmla="*/ 5 w 8"/>
                    <a:gd name="T13" fmla="*/ 1 h 7"/>
                    <a:gd name="T14" fmla="*/ 7 w 8"/>
                    <a:gd name="T15" fmla="*/ 2 h 7"/>
                    <a:gd name="T16" fmla="*/ 8 w 8"/>
                    <a:gd name="T17" fmla="*/ 4 h 7"/>
                    <a:gd name="T18" fmla="*/ 8 w 8"/>
                    <a:gd name="T19" fmla="*/ 5 h 7"/>
                    <a:gd name="T20" fmla="*/ 7 w 8"/>
                    <a:gd name="T21" fmla="*/ 7 h 7"/>
                    <a:gd name="T22" fmla="*/ 6 w 8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7">
                      <a:moveTo>
                        <a:pt x="6" y="7"/>
                      </a:moveTo>
                      <a:cubicBezTo>
                        <a:pt x="6" y="7"/>
                        <a:pt x="5" y="7"/>
                        <a:pt x="5" y="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3"/>
                        <a:pt x="1" y="2"/>
                        <a:pt x="1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4" y="0"/>
                        <a:pt x="4" y="0"/>
                        <a:pt x="5" y="1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8" y="2"/>
                        <a:pt x="8" y="3"/>
                        <a:pt x="8" y="4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6"/>
                        <a:pt x="8" y="7"/>
                        <a:pt x="7" y="7"/>
                      </a:cubicBezTo>
                      <a:cubicBezTo>
                        <a:pt x="7" y="7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1" name="Freeform 603">
                  <a:extLst>
                    <a:ext uri="{FF2B5EF4-FFF2-40B4-BE49-F238E27FC236}">
                      <a16:creationId xmlns:a16="http://schemas.microsoft.com/office/drawing/2014/main" id="{3D154702-7F6F-42D3-8B32-7B8102AC37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86" y="1899"/>
                  <a:ext cx="9" cy="12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4 h 5"/>
                    <a:gd name="T4" fmla="*/ 1 w 4"/>
                    <a:gd name="T5" fmla="*/ 4 h 5"/>
                    <a:gd name="T6" fmla="*/ 0 w 4"/>
                    <a:gd name="T7" fmla="*/ 2 h 5"/>
                    <a:gd name="T8" fmla="*/ 1 w 4"/>
                    <a:gd name="T9" fmla="*/ 1 h 5"/>
                    <a:gd name="T10" fmla="*/ 1 w 4"/>
                    <a:gd name="T11" fmla="*/ 1 h 5"/>
                    <a:gd name="T12" fmla="*/ 3 w 4"/>
                    <a:gd name="T13" fmla="*/ 1 h 5"/>
                    <a:gd name="T14" fmla="*/ 4 w 4"/>
                    <a:gd name="T15" fmla="*/ 2 h 5"/>
                    <a:gd name="T16" fmla="*/ 4 w 4"/>
                    <a:gd name="T17" fmla="*/ 3 h 5"/>
                    <a:gd name="T18" fmla="*/ 3 w 4"/>
                    <a:gd name="T19" fmla="*/ 4 h 5"/>
                    <a:gd name="T20" fmla="*/ 2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1" y="5"/>
                        <a:pt x="1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3"/>
                        <a:pt x="4" y="4"/>
                        <a:pt x="3" y="4"/>
                      </a:cubicBezTo>
                      <a:cubicBezTo>
                        <a:pt x="3" y="5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2" name="Freeform 604">
                  <a:extLst>
                    <a:ext uri="{FF2B5EF4-FFF2-40B4-BE49-F238E27FC236}">
                      <a16:creationId xmlns:a16="http://schemas.microsoft.com/office/drawing/2014/main" id="{05316CF3-95A6-4AB9-BAA6-ED02E78979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23" y="1651"/>
                  <a:ext cx="163" cy="270"/>
                </a:xfrm>
                <a:custGeom>
                  <a:avLst/>
                  <a:gdLst>
                    <a:gd name="T0" fmla="*/ 66 w 69"/>
                    <a:gd name="T1" fmla="*/ 114 h 114"/>
                    <a:gd name="T2" fmla="*/ 65 w 69"/>
                    <a:gd name="T3" fmla="*/ 114 h 114"/>
                    <a:gd name="T4" fmla="*/ 3 w 69"/>
                    <a:gd name="T5" fmla="*/ 78 h 114"/>
                    <a:gd name="T6" fmla="*/ 2 w 69"/>
                    <a:gd name="T7" fmla="*/ 76 h 114"/>
                    <a:gd name="T8" fmla="*/ 2 w 69"/>
                    <a:gd name="T9" fmla="*/ 15 h 114"/>
                    <a:gd name="T10" fmla="*/ 1 w 69"/>
                    <a:gd name="T11" fmla="*/ 15 h 114"/>
                    <a:gd name="T12" fmla="*/ 0 w 69"/>
                    <a:gd name="T13" fmla="*/ 13 h 114"/>
                    <a:gd name="T14" fmla="*/ 0 w 69"/>
                    <a:gd name="T15" fmla="*/ 2 h 114"/>
                    <a:gd name="T16" fmla="*/ 1 w 69"/>
                    <a:gd name="T17" fmla="*/ 0 h 114"/>
                    <a:gd name="T18" fmla="*/ 3 w 69"/>
                    <a:gd name="T19" fmla="*/ 0 h 114"/>
                    <a:gd name="T20" fmla="*/ 68 w 69"/>
                    <a:gd name="T21" fmla="*/ 37 h 114"/>
                    <a:gd name="T22" fmla="*/ 69 w 69"/>
                    <a:gd name="T23" fmla="*/ 39 h 114"/>
                    <a:gd name="T24" fmla="*/ 69 w 69"/>
                    <a:gd name="T25" fmla="*/ 50 h 114"/>
                    <a:gd name="T26" fmla="*/ 68 w 69"/>
                    <a:gd name="T27" fmla="*/ 52 h 114"/>
                    <a:gd name="T28" fmla="*/ 68 w 69"/>
                    <a:gd name="T29" fmla="*/ 52 h 114"/>
                    <a:gd name="T30" fmla="*/ 68 w 69"/>
                    <a:gd name="T31" fmla="*/ 112 h 114"/>
                    <a:gd name="T32" fmla="*/ 67 w 69"/>
                    <a:gd name="T33" fmla="*/ 114 h 114"/>
                    <a:gd name="T34" fmla="*/ 66 w 69"/>
                    <a:gd name="T35" fmla="*/ 114 h 114"/>
                    <a:gd name="T36" fmla="*/ 6 w 69"/>
                    <a:gd name="T37" fmla="*/ 75 h 114"/>
                    <a:gd name="T38" fmla="*/ 64 w 69"/>
                    <a:gd name="T39" fmla="*/ 109 h 114"/>
                    <a:gd name="T40" fmla="*/ 64 w 69"/>
                    <a:gd name="T41" fmla="*/ 50 h 114"/>
                    <a:gd name="T42" fmla="*/ 65 w 69"/>
                    <a:gd name="T43" fmla="*/ 49 h 114"/>
                    <a:gd name="T44" fmla="*/ 65 w 69"/>
                    <a:gd name="T45" fmla="*/ 49 h 114"/>
                    <a:gd name="T46" fmla="*/ 65 w 69"/>
                    <a:gd name="T47" fmla="*/ 40 h 114"/>
                    <a:gd name="T48" fmla="*/ 4 w 69"/>
                    <a:gd name="T49" fmla="*/ 5 h 114"/>
                    <a:gd name="T50" fmla="*/ 4 w 69"/>
                    <a:gd name="T51" fmla="*/ 11 h 114"/>
                    <a:gd name="T52" fmla="*/ 5 w 69"/>
                    <a:gd name="T53" fmla="*/ 11 h 114"/>
                    <a:gd name="T54" fmla="*/ 6 w 69"/>
                    <a:gd name="T55" fmla="*/ 13 h 114"/>
                    <a:gd name="T56" fmla="*/ 6 w 69"/>
                    <a:gd name="T57" fmla="*/ 75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9" h="114">
                      <a:moveTo>
                        <a:pt x="66" y="114"/>
                      </a:moveTo>
                      <a:cubicBezTo>
                        <a:pt x="65" y="114"/>
                        <a:pt x="65" y="114"/>
                        <a:pt x="65" y="114"/>
                      </a:cubicBezTo>
                      <a:cubicBezTo>
                        <a:pt x="3" y="78"/>
                        <a:pt x="3" y="78"/>
                        <a:pt x="3" y="78"/>
                      </a:cubicBezTo>
                      <a:cubicBezTo>
                        <a:pt x="2" y="78"/>
                        <a:pt x="2" y="77"/>
                        <a:pt x="2" y="76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2" y="15"/>
                        <a:pt x="2" y="15"/>
                        <a:pt x="1" y="15"/>
                      </a:cubicBezTo>
                      <a:cubicBezTo>
                        <a:pt x="1" y="15"/>
                        <a:pt x="0" y="14"/>
                        <a:pt x="0" y="1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68" y="37"/>
                        <a:pt x="68" y="37"/>
                        <a:pt x="68" y="37"/>
                      </a:cubicBezTo>
                      <a:cubicBezTo>
                        <a:pt x="68" y="37"/>
                        <a:pt x="69" y="38"/>
                        <a:pt x="69" y="39"/>
                      </a:cubicBezTo>
                      <a:cubicBezTo>
                        <a:pt x="69" y="50"/>
                        <a:pt x="69" y="50"/>
                        <a:pt x="69" y="50"/>
                      </a:cubicBezTo>
                      <a:cubicBezTo>
                        <a:pt x="69" y="51"/>
                        <a:pt x="68" y="51"/>
                        <a:pt x="68" y="52"/>
                      </a:cubicBezTo>
                      <a:cubicBezTo>
                        <a:pt x="68" y="52"/>
                        <a:pt x="68" y="52"/>
                        <a:pt x="68" y="52"/>
                      </a:cubicBezTo>
                      <a:cubicBezTo>
                        <a:pt x="68" y="112"/>
                        <a:pt x="68" y="112"/>
                        <a:pt x="68" y="112"/>
                      </a:cubicBezTo>
                      <a:cubicBezTo>
                        <a:pt x="68" y="113"/>
                        <a:pt x="67" y="114"/>
                        <a:pt x="67" y="114"/>
                      </a:cubicBezTo>
                      <a:cubicBezTo>
                        <a:pt x="66" y="114"/>
                        <a:pt x="66" y="114"/>
                        <a:pt x="66" y="114"/>
                      </a:cubicBezTo>
                      <a:close/>
                      <a:moveTo>
                        <a:pt x="6" y="75"/>
                      </a:moveTo>
                      <a:cubicBezTo>
                        <a:pt x="64" y="109"/>
                        <a:pt x="64" y="109"/>
                        <a:pt x="64" y="109"/>
                      </a:cubicBezTo>
                      <a:cubicBezTo>
                        <a:pt x="64" y="50"/>
                        <a:pt x="64" y="50"/>
                        <a:pt x="64" y="50"/>
                      </a:cubicBezTo>
                      <a:cubicBezTo>
                        <a:pt x="64" y="50"/>
                        <a:pt x="64" y="49"/>
                        <a:pt x="65" y="49"/>
                      </a:cubicBezTo>
                      <a:cubicBezTo>
                        <a:pt x="65" y="49"/>
                        <a:pt x="65" y="49"/>
                        <a:pt x="65" y="49"/>
                      </a:cubicBezTo>
                      <a:cubicBezTo>
                        <a:pt x="65" y="40"/>
                        <a:pt x="65" y="40"/>
                        <a:pt x="65" y="40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1"/>
                        <a:pt x="6" y="12"/>
                        <a:pt x="6" y="13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3" name="Freeform 605">
                  <a:extLst>
                    <a:ext uri="{FF2B5EF4-FFF2-40B4-BE49-F238E27FC236}">
                      <a16:creationId xmlns:a16="http://schemas.microsoft.com/office/drawing/2014/main" id="{39E8A5A3-4811-430C-BCE7-83EB1602040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86" y="1899"/>
                  <a:ext cx="26" cy="31"/>
                </a:xfrm>
                <a:custGeom>
                  <a:avLst/>
                  <a:gdLst>
                    <a:gd name="T0" fmla="*/ 9 w 11"/>
                    <a:gd name="T1" fmla="*/ 13 h 13"/>
                    <a:gd name="T2" fmla="*/ 8 w 11"/>
                    <a:gd name="T3" fmla="*/ 12 h 13"/>
                    <a:gd name="T4" fmla="*/ 1 w 11"/>
                    <a:gd name="T5" fmla="*/ 8 h 13"/>
                    <a:gd name="T6" fmla="*/ 0 w 11"/>
                    <a:gd name="T7" fmla="*/ 7 h 13"/>
                    <a:gd name="T8" fmla="*/ 1 w 11"/>
                    <a:gd name="T9" fmla="*/ 5 h 13"/>
                    <a:gd name="T10" fmla="*/ 8 w 11"/>
                    <a:gd name="T11" fmla="*/ 1 h 13"/>
                    <a:gd name="T12" fmla="*/ 10 w 11"/>
                    <a:gd name="T13" fmla="*/ 1 h 13"/>
                    <a:gd name="T14" fmla="*/ 11 w 11"/>
                    <a:gd name="T15" fmla="*/ 3 h 13"/>
                    <a:gd name="T16" fmla="*/ 11 w 11"/>
                    <a:gd name="T17" fmla="*/ 11 h 13"/>
                    <a:gd name="T18" fmla="*/ 10 w 11"/>
                    <a:gd name="T19" fmla="*/ 12 h 13"/>
                    <a:gd name="T20" fmla="*/ 9 w 11"/>
                    <a:gd name="T21" fmla="*/ 13 h 13"/>
                    <a:gd name="T22" fmla="*/ 6 w 11"/>
                    <a:gd name="T23" fmla="*/ 7 h 13"/>
                    <a:gd name="T24" fmla="*/ 7 w 11"/>
                    <a:gd name="T25" fmla="*/ 7 h 13"/>
                    <a:gd name="T26" fmla="*/ 7 w 11"/>
                    <a:gd name="T27" fmla="*/ 6 h 13"/>
                    <a:gd name="T28" fmla="*/ 6 w 11"/>
                    <a:gd name="T29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9" y="13"/>
                      </a:moveTo>
                      <a:cubicBezTo>
                        <a:pt x="9" y="13"/>
                        <a:pt x="9" y="13"/>
                        <a:pt x="8" y="12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1" y="8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9" y="0"/>
                        <a:pt x="10" y="0"/>
                        <a:pt x="10" y="1"/>
                      </a:cubicBezTo>
                      <a:cubicBezTo>
                        <a:pt x="11" y="1"/>
                        <a:pt x="11" y="2"/>
                        <a:pt x="11" y="3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1" y="11"/>
                        <a:pt x="11" y="12"/>
                        <a:pt x="10" y="12"/>
                      </a:cubicBezTo>
                      <a:cubicBezTo>
                        <a:pt x="10" y="13"/>
                        <a:pt x="10" y="13"/>
                        <a:pt x="9" y="13"/>
                      </a:cubicBezTo>
                      <a:close/>
                      <a:moveTo>
                        <a:pt x="6" y="7"/>
                      </a:move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4" name="Freeform 606">
                  <a:extLst>
                    <a:ext uri="{FF2B5EF4-FFF2-40B4-BE49-F238E27FC236}">
                      <a16:creationId xmlns:a16="http://schemas.microsoft.com/office/drawing/2014/main" id="{838E11BE-9674-4264-95A8-4B1628BEFD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1259"/>
                  <a:ext cx="26" cy="31"/>
                </a:xfrm>
                <a:custGeom>
                  <a:avLst/>
                  <a:gdLst>
                    <a:gd name="T0" fmla="*/ 2 w 11"/>
                    <a:gd name="T1" fmla="*/ 13 h 13"/>
                    <a:gd name="T2" fmla="*/ 1 w 11"/>
                    <a:gd name="T3" fmla="*/ 12 h 13"/>
                    <a:gd name="T4" fmla="*/ 0 w 11"/>
                    <a:gd name="T5" fmla="*/ 11 h 13"/>
                    <a:gd name="T6" fmla="*/ 0 w 11"/>
                    <a:gd name="T7" fmla="*/ 2 h 13"/>
                    <a:gd name="T8" fmla="*/ 1 w 11"/>
                    <a:gd name="T9" fmla="*/ 0 h 13"/>
                    <a:gd name="T10" fmla="*/ 3 w 11"/>
                    <a:gd name="T11" fmla="*/ 0 h 13"/>
                    <a:gd name="T12" fmla="*/ 10 w 11"/>
                    <a:gd name="T13" fmla="*/ 5 h 13"/>
                    <a:gd name="T14" fmla="*/ 11 w 11"/>
                    <a:gd name="T15" fmla="*/ 6 h 13"/>
                    <a:gd name="T16" fmla="*/ 10 w 11"/>
                    <a:gd name="T17" fmla="*/ 8 h 13"/>
                    <a:gd name="T18" fmla="*/ 3 w 11"/>
                    <a:gd name="T19" fmla="*/ 12 h 13"/>
                    <a:gd name="T20" fmla="*/ 2 w 11"/>
                    <a:gd name="T21" fmla="*/ 13 h 13"/>
                    <a:gd name="T22" fmla="*/ 4 w 11"/>
                    <a:gd name="T23" fmla="*/ 6 h 13"/>
                    <a:gd name="T24" fmla="*/ 4 w 11"/>
                    <a:gd name="T25" fmla="*/ 7 h 13"/>
                    <a:gd name="T26" fmla="*/ 5 w 11"/>
                    <a:gd name="T27" fmla="*/ 6 h 13"/>
                    <a:gd name="T28" fmla="*/ 4 w 11"/>
                    <a:gd name="T29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2" y="13"/>
                      </a:moveTo>
                      <a:cubicBezTo>
                        <a:pt x="2" y="13"/>
                        <a:pt x="2" y="12"/>
                        <a:pt x="1" y="12"/>
                      </a:cubicBezTo>
                      <a:cubicBezTo>
                        <a:pt x="1" y="12"/>
                        <a:pt x="0" y="11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1" y="5"/>
                        <a:pt x="11" y="6"/>
                        <a:pt x="11" y="6"/>
                      </a:cubicBezTo>
                      <a:cubicBezTo>
                        <a:pt x="11" y="7"/>
                        <a:pt x="11" y="8"/>
                        <a:pt x="10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3" y="13"/>
                        <a:pt x="2" y="13"/>
                      </a:cubicBezTo>
                      <a:close/>
                      <a:moveTo>
                        <a:pt x="4" y="6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5" name="Freeform 607">
                  <a:extLst>
                    <a:ext uri="{FF2B5EF4-FFF2-40B4-BE49-F238E27FC236}">
                      <a16:creationId xmlns:a16="http://schemas.microsoft.com/office/drawing/2014/main" id="{CC8832BD-9FBB-4BA3-AAFF-37F0E21104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1956"/>
                  <a:ext cx="156" cy="208"/>
                </a:xfrm>
                <a:custGeom>
                  <a:avLst/>
                  <a:gdLst>
                    <a:gd name="T0" fmla="*/ 64 w 66"/>
                    <a:gd name="T1" fmla="*/ 88 h 88"/>
                    <a:gd name="T2" fmla="*/ 63 w 66"/>
                    <a:gd name="T3" fmla="*/ 87 h 88"/>
                    <a:gd name="T4" fmla="*/ 18 w 66"/>
                    <a:gd name="T5" fmla="*/ 61 h 88"/>
                    <a:gd name="T6" fmla="*/ 3 w 66"/>
                    <a:gd name="T7" fmla="*/ 69 h 88"/>
                    <a:gd name="T8" fmla="*/ 1 w 66"/>
                    <a:gd name="T9" fmla="*/ 69 h 88"/>
                    <a:gd name="T10" fmla="*/ 0 w 66"/>
                    <a:gd name="T11" fmla="*/ 68 h 88"/>
                    <a:gd name="T12" fmla="*/ 0 w 66"/>
                    <a:gd name="T13" fmla="*/ 67 h 88"/>
                    <a:gd name="T14" fmla="*/ 1 w 66"/>
                    <a:gd name="T15" fmla="*/ 65 h 88"/>
                    <a:gd name="T16" fmla="*/ 10 w 66"/>
                    <a:gd name="T17" fmla="*/ 60 h 88"/>
                    <a:gd name="T18" fmla="*/ 10 w 66"/>
                    <a:gd name="T19" fmla="*/ 2 h 88"/>
                    <a:gd name="T20" fmla="*/ 11 w 66"/>
                    <a:gd name="T21" fmla="*/ 1 h 88"/>
                    <a:gd name="T22" fmla="*/ 13 w 66"/>
                    <a:gd name="T23" fmla="*/ 1 h 88"/>
                    <a:gd name="T24" fmla="*/ 65 w 66"/>
                    <a:gd name="T25" fmla="*/ 31 h 88"/>
                    <a:gd name="T26" fmla="*/ 66 w 66"/>
                    <a:gd name="T27" fmla="*/ 32 h 88"/>
                    <a:gd name="T28" fmla="*/ 66 w 66"/>
                    <a:gd name="T29" fmla="*/ 86 h 88"/>
                    <a:gd name="T30" fmla="*/ 65 w 66"/>
                    <a:gd name="T31" fmla="*/ 87 h 88"/>
                    <a:gd name="T32" fmla="*/ 64 w 66"/>
                    <a:gd name="T33" fmla="*/ 88 h 88"/>
                    <a:gd name="T34" fmla="*/ 18 w 66"/>
                    <a:gd name="T35" fmla="*/ 57 h 88"/>
                    <a:gd name="T36" fmla="*/ 19 w 66"/>
                    <a:gd name="T37" fmla="*/ 57 h 88"/>
                    <a:gd name="T38" fmla="*/ 62 w 66"/>
                    <a:gd name="T39" fmla="*/ 82 h 88"/>
                    <a:gd name="T40" fmla="*/ 62 w 66"/>
                    <a:gd name="T41" fmla="*/ 34 h 88"/>
                    <a:gd name="T42" fmla="*/ 14 w 66"/>
                    <a:gd name="T43" fmla="*/ 6 h 88"/>
                    <a:gd name="T44" fmla="*/ 14 w 66"/>
                    <a:gd name="T45" fmla="*/ 59 h 88"/>
                    <a:gd name="T46" fmla="*/ 17 w 66"/>
                    <a:gd name="T47" fmla="*/ 57 h 88"/>
                    <a:gd name="T48" fmla="*/ 18 w 66"/>
                    <a:gd name="T49" fmla="*/ 57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6" h="88">
                      <a:moveTo>
                        <a:pt x="64" y="88"/>
                      </a:moveTo>
                      <a:cubicBezTo>
                        <a:pt x="64" y="88"/>
                        <a:pt x="63" y="88"/>
                        <a:pt x="63" y="87"/>
                      </a:cubicBezTo>
                      <a:cubicBezTo>
                        <a:pt x="18" y="61"/>
                        <a:pt x="18" y="61"/>
                        <a:pt x="18" y="61"/>
                      </a:cubicBezTo>
                      <a:cubicBezTo>
                        <a:pt x="3" y="69"/>
                        <a:pt x="3" y="69"/>
                        <a:pt x="3" y="69"/>
                      </a:cubicBezTo>
                      <a:cubicBezTo>
                        <a:pt x="3" y="70"/>
                        <a:pt x="2" y="70"/>
                        <a:pt x="1" y="69"/>
                      </a:cubicBezTo>
                      <a:cubicBezTo>
                        <a:pt x="1" y="69"/>
                        <a:pt x="0" y="68"/>
                        <a:pt x="0" y="68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66"/>
                        <a:pt x="1" y="66"/>
                        <a:pt x="1" y="65"/>
                      </a:cubicBezTo>
                      <a:cubicBezTo>
                        <a:pt x="10" y="60"/>
                        <a:pt x="10" y="60"/>
                        <a:pt x="10" y="60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2"/>
                        <a:pt x="10" y="1"/>
                        <a:pt x="11" y="1"/>
                      </a:cubicBezTo>
                      <a:cubicBezTo>
                        <a:pt x="12" y="0"/>
                        <a:pt x="12" y="0"/>
                        <a:pt x="13" y="1"/>
                      </a:cubicBezTo>
                      <a:cubicBezTo>
                        <a:pt x="65" y="31"/>
                        <a:pt x="65" y="31"/>
                        <a:pt x="65" y="31"/>
                      </a:cubicBezTo>
                      <a:cubicBezTo>
                        <a:pt x="66" y="31"/>
                        <a:pt x="66" y="32"/>
                        <a:pt x="66" y="32"/>
                      </a:cubicBezTo>
                      <a:cubicBezTo>
                        <a:pt x="66" y="86"/>
                        <a:pt x="66" y="86"/>
                        <a:pt x="66" y="86"/>
                      </a:cubicBezTo>
                      <a:cubicBezTo>
                        <a:pt x="66" y="86"/>
                        <a:pt x="66" y="87"/>
                        <a:pt x="65" y="87"/>
                      </a:cubicBezTo>
                      <a:cubicBezTo>
                        <a:pt x="65" y="88"/>
                        <a:pt x="64" y="88"/>
                        <a:pt x="64" y="88"/>
                      </a:cubicBezTo>
                      <a:close/>
                      <a:moveTo>
                        <a:pt x="18" y="57"/>
                      </a:moveTo>
                      <a:cubicBezTo>
                        <a:pt x="18" y="57"/>
                        <a:pt x="18" y="57"/>
                        <a:pt x="19" y="57"/>
                      </a:cubicBezTo>
                      <a:cubicBezTo>
                        <a:pt x="62" y="82"/>
                        <a:pt x="62" y="82"/>
                        <a:pt x="62" y="82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59"/>
                        <a:pt x="14" y="59"/>
                        <a:pt x="14" y="59"/>
                      </a:cubicBezTo>
                      <a:cubicBezTo>
                        <a:pt x="17" y="57"/>
                        <a:pt x="17" y="57"/>
                        <a:pt x="17" y="57"/>
                      </a:cubicBezTo>
                      <a:cubicBezTo>
                        <a:pt x="17" y="57"/>
                        <a:pt x="17" y="57"/>
                        <a:pt x="18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6" name="Freeform 608">
                  <a:extLst>
                    <a:ext uri="{FF2B5EF4-FFF2-40B4-BE49-F238E27FC236}">
                      <a16:creationId xmlns:a16="http://schemas.microsoft.com/office/drawing/2014/main" id="{10C2D655-9553-44A8-8CB3-FA9E5D30E8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1630"/>
                  <a:ext cx="68" cy="80"/>
                </a:xfrm>
                <a:custGeom>
                  <a:avLst/>
                  <a:gdLst>
                    <a:gd name="T0" fmla="*/ 2 w 29"/>
                    <a:gd name="T1" fmla="*/ 34 h 34"/>
                    <a:gd name="T2" fmla="*/ 1 w 29"/>
                    <a:gd name="T3" fmla="*/ 33 h 34"/>
                    <a:gd name="T4" fmla="*/ 0 w 29"/>
                    <a:gd name="T5" fmla="*/ 32 h 34"/>
                    <a:gd name="T6" fmla="*/ 0 w 29"/>
                    <a:gd name="T7" fmla="*/ 2 h 34"/>
                    <a:gd name="T8" fmla="*/ 1 w 29"/>
                    <a:gd name="T9" fmla="*/ 0 h 34"/>
                    <a:gd name="T10" fmla="*/ 3 w 29"/>
                    <a:gd name="T11" fmla="*/ 0 h 34"/>
                    <a:gd name="T12" fmla="*/ 28 w 29"/>
                    <a:gd name="T13" fmla="*/ 15 h 34"/>
                    <a:gd name="T14" fmla="*/ 29 w 29"/>
                    <a:gd name="T15" fmla="*/ 17 h 34"/>
                    <a:gd name="T16" fmla="*/ 28 w 29"/>
                    <a:gd name="T17" fmla="*/ 19 h 34"/>
                    <a:gd name="T18" fmla="*/ 3 w 29"/>
                    <a:gd name="T19" fmla="*/ 33 h 34"/>
                    <a:gd name="T20" fmla="*/ 2 w 29"/>
                    <a:gd name="T21" fmla="*/ 34 h 34"/>
                    <a:gd name="T22" fmla="*/ 4 w 29"/>
                    <a:gd name="T23" fmla="*/ 6 h 34"/>
                    <a:gd name="T24" fmla="*/ 4 w 29"/>
                    <a:gd name="T25" fmla="*/ 28 h 34"/>
                    <a:gd name="T26" fmla="*/ 23 w 29"/>
                    <a:gd name="T27" fmla="*/ 17 h 34"/>
                    <a:gd name="T28" fmla="*/ 4 w 29"/>
                    <a:gd name="T29" fmla="*/ 6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34">
                      <a:moveTo>
                        <a:pt x="2" y="34"/>
                      </a:moveTo>
                      <a:cubicBezTo>
                        <a:pt x="1" y="34"/>
                        <a:pt x="1" y="33"/>
                        <a:pt x="1" y="33"/>
                      </a:cubicBezTo>
                      <a:cubicBezTo>
                        <a:pt x="0" y="33"/>
                        <a:pt x="0" y="32"/>
                        <a:pt x="0" y="3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9" y="15"/>
                        <a:pt x="29" y="16"/>
                        <a:pt x="29" y="17"/>
                      </a:cubicBezTo>
                      <a:cubicBezTo>
                        <a:pt x="29" y="18"/>
                        <a:pt x="29" y="18"/>
                        <a:pt x="28" y="19"/>
                      </a:cubicBezTo>
                      <a:cubicBezTo>
                        <a:pt x="3" y="33"/>
                        <a:pt x="3" y="33"/>
                        <a:pt x="3" y="33"/>
                      </a:cubicBezTo>
                      <a:cubicBezTo>
                        <a:pt x="2" y="33"/>
                        <a:pt x="2" y="34"/>
                        <a:pt x="2" y="34"/>
                      </a:cubicBezTo>
                      <a:close/>
                      <a:moveTo>
                        <a:pt x="4" y="6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7" name="Freeform 609">
                  <a:extLst>
                    <a:ext uri="{FF2B5EF4-FFF2-40B4-BE49-F238E27FC236}">
                      <a16:creationId xmlns:a16="http://schemas.microsoft.com/office/drawing/2014/main" id="{FA1B2DCA-7B12-4013-865F-82D3938BC9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1694"/>
                  <a:ext cx="160" cy="191"/>
                </a:xfrm>
                <a:custGeom>
                  <a:avLst/>
                  <a:gdLst>
                    <a:gd name="T0" fmla="*/ 53 w 68"/>
                    <a:gd name="T1" fmla="*/ 81 h 81"/>
                    <a:gd name="T2" fmla="*/ 52 w 68"/>
                    <a:gd name="T3" fmla="*/ 81 h 81"/>
                    <a:gd name="T4" fmla="*/ 1 w 68"/>
                    <a:gd name="T5" fmla="*/ 51 h 81"/>
                    <a:gd name="T6" fmla="*/ 0 w 68"/>
                    <a:gd name="T7" fmla="*/ 49 h 81"/>
                    <a:gd name="T8" fmla="*/ 0 w 68"/>
                    <a:gd name="T9" fmla="*/ 11 h 81"/>
                    <a:gd name="T10" fmla="*/ 1 w 68"/>
                    <a:gd name="T11" fmla="*/ 9 h 81"/>
                    <a:gd name="T12" fmla="*/ 3 w 68"/>
                    <a:gd name="T13" fmla="*/ 9 h 81"/>
                    <a:gd name="T14" fmla="*/ 17 w 68"/>
                    <a:gd name="T15" fmla="*/ 17 h 81"/>
                    <a:gd name="T16" fmla="*/ 47 w 68"/>
                    <a:gd name="T17" fmla="*/ 0 h 81"/>
                    <a:gd name="T18" fmla="*/ 49 w 68"/>
                    <a:gd name="T19" fmla="*/ 0 h 81"/>
                    <a:gd name="T20" fmla="*/ 67 w 68"/>
                    <a:gd name="T21" fmla="*/ 10 h 81"/>
                    <a:gd name="T22" fmla="*/ 68 w 68"/>
                    <a:gd name="T23" fmla="*/ 12 h 81"/>
                    <a:gd name="T24" fmla="*/ 67 w 68"/>
                    <a:gd name="T25" fmla="*/ 14 h 81"/>
                    <a:gd name="T26" fmla="*/ 55 w 68"/>
                    <a:gd name="T27" fmla="*/ 21 h 81"/>
                    <a:gd name="T28" fmla="*/ 55 w 68"/>
                    <a:gd name="T29" fmla="*/ 79 h 81"/>
                    <a:gd name="T30" fmla="*/ 54 w 68"/>
                    <a:gd name="T31" fmla="*/ 81 h 81"/>
                    <a:gd name="T32" fmla="*/ 53 w 68"/>
                    <a:gd name="T33" fmla="*/ 81 h 81"/>
                    <a:gd name="T34" fmla="*/ 4 w 68"/>
                    <a:gd name="T35" fmla="*/ 48 h 81"/>
                    <a:gd name="T36" fmla="*/ 51 w 68"/>
                    <a:gd name="T37" fmla="*/ 76 h 81"/>
                    <a:gd name="T38" fmla="*/ 51 w 68"/>
                    <a:gd name="T39" fmla="*/ 20 h 81"/>
                    <a:gd name="T40" fmla="*/ 52 w 68"/>
                    <a:gd name="T41" fmla="*/ 18 h 81"/>
                    <a:gd name="T42" fmla="*/ 62 w 68"/>
                    <a:gd name="T43" fmla="*/ 12 h 81"/>
                    <a:gd name="T44" fmla="*/ 48 w 68"/>
                    <a:gd name="T45" fmla="*/ 4 h 81"/>
                    <a:gd name="T46" fmla="*/ 18 w 68"/>
                    <a:gd name="T47" fmla="*/ 21 h 81"/>
                    <a:gd name="T48" fmla="*/ 16 w 68"/>
                    <a:gd name="T49" fmla="*/ 21 h 81"/>
                    <a:gd name="T50" fmla="*/ 4 w 68"/>
                    <a:gd name="T51" fmla="*/ 14 h 81"/>
                    <a:gd name="T52" fmla="*/ 4 w 68"/>
                    <a:gd name="T53" fmla="*/ 48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" h="81">
                      <a:moveTo>
                        <a:pt x="53" y="81"/>
                      </a:moveTo>
                      <a:cubicBezTo>
                        <a:pt x="53" y="81"/>
                        <a:pt x="53" y="81"/>
                        <a:pt x="52" y="81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0" y="51"/>
                        <a:pt x="0" y="50"/>
                        <a:pt x="0" y="49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0"/>
                        <a:pt x="0" y="10"/>
                        <a:pt x="1" y="9"/>
                      </a:cubicBezTo>
                      <a:cubicBezTo>
                        <a:pt x="1" y="9"/>
                        <a:pt x="2" y="9"/>
                        <a:pt x="3" y="9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7" y="0"/>
                        <a:pt x="48" y="0"/>
                        <a:pt x="49" y="0"/>
                      </a:cubicBezTo>
                      <a:cubicBezTo>
                        <a:pt x="67" y="10"/>
                        <a:pt x="67" y="10"/>
                        <a:pt x="67" y="10"/>
                      </a:cubicBezTo>
                      <a:cubicBezTo>
                        <a:pt x="68" y="11"/>
                        <a:pt x="68" y="11"/>
                        <a:pt x="68" y="12"/>
                      </a:cubicBezTo>
                      <a:cubicBezTo>
                        <a:pt x="68" y="13"/>
                        <a:pt x="68" y="14"/>
                        <a:pt x="67" y="14"/>
                      </a:cubicBezTo>
                      <a:cubicBezTo>
                        <a:pt x="55" y="21"/>
                        <a:pt x="55" y="21"/>
                        <a:pt x="55" y="21"/>
                      </a:cubicBezTo>
                      <a:cubicBezTo>
                        <a:pt x="55" y="79"/>
                        <a:pt x="55" y="79"/>
                        <a:pt x="55" y="79"/>
                      </a:cubicBezTo>
                      <a:cubicBezTo>
                        <a:pt x="55" y="80"/>
                        <a:pt x="55" y="81"/>
                        <a:pt x="54" y="81"/>
                      </a:cubicBezTo>
                      <a:cubicBezTo>
                        <a:pt x="54" y="81"/>
                        <a:pt x="54" y="81"/>
                        <a:pt x="53" y="81"/>
                      </a:cubicBezTo>
                      <a:close/>
                      <a:moveTo>
                        <a:pt x="4" y="48"/>
                      </a:moveTo>
                      <a:cubicBezTo>
                        <a:pt x="51" y="76"/>
                        <a:pt x="51" y="76"/>
                        <a:pt x="51" y="76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1" y="19"/>
                        <a:pt x="52" y="18"/>
                        <a:pt x="52" y="18"/>
                      </a:cubicBezTo>
                      <a:cubicBezTo>
                        <a:pt x="62" y="12"/>
                        <a:pt x="62" y="12"/>
                        <a:pt x="62" y="12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4" y="14"/>
                        <a:pt x="4" y="14"/>
                        <a:pt x="4" y="14"/>
                      </a:cubicBezTo>
                      <a:lnTo>
                        <a:pt x="4" y="4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8" name="Freeform 610">
                  <a:extLst>
                    <a:ext uri="{FF2B5EF4-FFF2-40B4-BE49-F238E27FC236}">
                      <a16:creationId xmlns:a16="http://schemas.microsoft.com/office/drawing/2014/main" id="{A882783F-6C63-4857-9A9A-1A20A29BCF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1675"/>
                  <a:ext cx="130" cy="229"/>
                </a:xfrm>
                <a:custGeom>
                  <a:avLst/>
                  <a:gdLst>
                    <a:gd name="T0" fmla="*/ 2 w 55"/>
                    <a:gd name="T1" fmla="*/ 97 h 97"/>
                    <a:gd name="T2" fmla="*/ 1 w 55"/>
                    <a:gd name="T3" fmla="*/ 97 h 97"/>
                    <a:gd name="T4" fmla="*/ 0 w 55"/>
                    <a:gd name="T5" fmla="*/ 95 h 97"/>
                    <a:gd name="T6" fmla="*/ 0 w 55"/>
                    <a:gd name="T7" fmla="*/ 21 h 97"/>
                    <a:gd name="T8" fmla="*/ 1 w 55"/>
                    <a:gd name="T9" fmla="*/ 20 h 97"/>
                    <a:gd name="T10" fmla="*/ 35 w 55"/>
                    <a:gd name="T11" fmla="*/ 0 h 97"/>
                    <a:gd name="T12" fmla="*/ 37 w 55"/>
                    <a:gd name="T13" fmla="*/ 0 h 97"/>
                    <a:gd name="T14" fmla="*/ 54 w 55"/>
                    <a:gd name="T15" fmla="*/ 10 h 97"/>
                    <a:gd name="T16" fmla="*/ 55 w 55"/>
                    <a:gd name="T17" fmla="*/ 12 h 97"/>
                    <a:gd name="T18" fmla="*/ 55 w 55"/>
                    <a:gd name="T19" fmla="*/ 66 h 97"/>
                    <a:gd name="T20" fmla="*/ 54 w 55"/>
                    <a:gd name="T21" fmla="*/ 68 h 97"/>
                    <a:gd name="T22" fmla="*/ 3 w 55"/>
                    <a:gd name="T23" fmla="*/ 97 h 97"/>
                    <a:gd name="T24" fmla="*/ 2 w 55"/>
                    <a:gd name="T25" fmla="*/ 97 h 97"/>
                    <a:gd name="T26" fmla="*/ 4 w 55"/>
                    <a:gd name="T27" fmla="*/ 23 h 97"/>
                    <a:gd name="T28" fmla="*/ 4 w 55"/>
                    <a:gd name="T29" fmla="*/ 92 h 97"/>
                    <a:gd name="T30" fmla="*/ 51 w 55"/>
                    <a:gd name="T31" fmla="*/ 65 h 97"/>
                    <a:gd name="T32" fmla="*/ 51 w 55"/>
                    <a:gd name="T33" fmla="*/ 13 h 97"/>
                    <a:gd name="T34" fmla="*/ 36 w 55"/>
                    <a:gd name="T35" fmla="*/ 4 h 97"/>
                    <a:gd name="T36" fmla="*/ 4 w 55"/>
                    <a:gd name="T37" fmla="*/ 2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5" h="97">
                      <a:moveTo>
                        <a:pt x="2" y="97"/>
                      </a:moveTo>
                      <a:cubicBezTo>
                        <a:pt x="1" y="97"/>
                        <a:pt x="1" y="97"/>
                        <a:pt x="1" y="97"/>
                      </a:cubicBezTo>
                      <a:cubicBezTo>
                        <a:pt x="0" y="97"/>
                        <a:pt x="0" y="96"/>
                        <a:pt x="0" y="95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21"/>
                        <a:pt x="0" y="20"/>
                        <a:pt x="1" y="2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6" y="0"/>
                        <a:pt x="36" y="0"/>
                        <a:pt x="37" y="0"/>
                      </a:cubicBezTo>
                      <a:cubicBezTo>
                        <a:pt x="54" y="10"/>
                        <a:pt x="54" y="10"/>
                        <a:pt x="54" y="10"/>
                      </a:cubicBezTo>
                      <a:cubicBezTo>
                        <a:pt x="55" y="10"/>
                        <a:pt x="55" y="11"/>
                        <a:pt x="55" y="12"/>
                      </a:cubicBezTo>
                      <a:cubicBezTo>
                        <a:pt x="55" y="66"/>
                        <a:pt x="55" y="66"/>
                        <a:pt x="55" y="66"/>
                      </a:cubicBezTo>
                      <a:cubicBezTo>
                        <a:pt x="55" y="66"/>
                        <a:pt x="55" y="67"/>
                        <a:pt x="54" y="68"/>
                      </a:cubicBezTo>
                      <a:cubicBezTo>
                        <a:pt x="3" y="97"/>
                        <a:pt x="3" y="97"/>
                        <a:pt x="3" y="97"/>
                      </a:cubicBezTo>
                      <a:cubicBezTo>
                        <a:pt x="2" y="97"/>
                        <a:pt x="2" y="97"/>
                        <a:pt x="2" y="97"/>
                      </a:cubicBezTo>
                      <a:close/>
                      <a:moveTo>
                        <a:pt x="4" y="23"/>
                      </a:moveTo>
                      <a:cubicBezTo>
                        <a:pt x="4" y="92"/>
                        <a:pt x="4" y="92"/>
                        <a:pt x="4" y="92"/>
                      </a:cubicBezTo>
                      <a:cubicBezTo>
                        <a:pt x="51" y="65"/>
                        <a:pt x="51" y="65"/>
                        <a:pt x="51" y="65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36" y="4"/>
                        <a:pt x="36" y="4"/>
                        <a:pt x="36" y="4"/>
                      </a:cubicBezTo>
                      <a:lnTo>
                        <a:pt x="4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9" name="Freeform 611">
                  <a:extLst>
                    <a:ext uri="{FF2B5EF4-FFF2-40B4-BE49-F238E27FC236}">
                      <a16:creationId xmlns:a16="http://schemas.microsoft.com/office/drawing/2014/main" id="{30D71EB0-D3CA-4A33-A3DE-41E7BE865D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43" y="1621"/>
                  <a:ext cx="125" cy="78"/>
                </a:xfrm>
                <a:custGeom>
                  <a:avLst/>
                  <a:gdLst>
                    <a:gd name="T0" fmla="*/ 19 w 53"/>
                    <a:gd name="T1" fmla="*/ 33 h 33"/>
                    <a:gd name="T2" fmla="*/ 18 w 53"/>
                    <a:gd name="T3" fmla="*/ 32 h 33"/>
                    <a:gd name="T4" fmla="*/ 1 w 53"/>
                    <a:gd name="T5" fmla="*/ 23 h 33"/>
                    <a:gd name="T6" fmla="*/ 0 w 53"/>
                    <a:gd name="T7" fmla="*/ 21 h 33"/>
                    <a:gd name="T8" fmla="*/ 1 w 53"/>
                    <a:gd name="T9" fmla="*/ 19 h 33"/>
                    <a:gd name="T10" fmla="*/ 33 w 53"/>
                    <a:gd name="T11" fmla="*/ 0 h 33"/>
                    <a:gd name="T12" fmla="*/ 35 w 53"/>
                    <a:gd name="T13" fmla="*/ 0 h 33"/>
                    <a:gd name="T14" fmla="*/ 52 w 53"/>
                    <a:gd name="T15" fmla="*/ 10 h 33"/>
                    <a:gd name="T16" fmla="*/ 53 w 53"/>
                    <a:gd name="T17" fmla="*/ 12 h 33"/>
                    <a:gd name="T18" fmla="*/ 52 w 53"/>
                    <a:gd name="T19" fmla="*/ 14 h 33"/>
                    <a:gd name="T20" fmla="*/ 20 w 53"/>
                    <a:gd name="T21" fmla="*/ 32 h 33"/>
                    <a:gd name="T22" fmla="*/ 19 w 53"/>
                    <a:gd name="T23" fmla="*/ 33 h 33"/>
                    <a:gd name="T24" fmla="*/ 6 w 53"/>
                    <a:gd name="T25" fmla="*/ 21 h 33"/>
                    <a:gd name="T26" fmla="*/ 19 w 53"/>
                    <a:gd name="T27" fmla="*/ 28 h 33"/>
                    <a:gd name="T28" fmla="*/ 47 w 53"/>
                    <a:gd name="T29" fmla="*/ 12 h 33"/>
                    <a:gd name="T30" fmla="*/ 34 w 53"/>
                    <a:gd name="T31" fmla="*/ 4 h 33"/>
                    <a:gd name="T32" fmla="*/ 6 w 53"/>
                    <a:gd name="T33" fmla="*/ 2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3" h="33">
                      <a:moveTo>
                        <a:pt x="19" y="33"/>
                      </a:moveTo>
                      <a:cubicBezTo>
                        <a:pt x="18" y="33"/>
                        <a:pt x="18" y="33"/>
                        <a:pt x="18" y="32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2"/>
                        <a:pt x="0" y="22"/>
                        <a:pt x="0" y="21"/>
                      </a:cubicBezTo>
                      <a:cubicBezTo>
                        <a:pt x="0" y="20"/>
                        <a:pt x="0" y="19"/>
                        <a:pt x="1" y="1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4" y="0"/>
                        <a:pt x="34" y="0"/>
                        <a:pt x="35" y="0"/>
                      </a:cubicBezTo>
                      <a:cubicBezTo>
                        <a:pt x="52" y="10"/>
                        <a:pt x="52" y="10"/>
                        <a:pt x="52" y="10"/>
                      </a:cubicBezTo>
                      <a:cubicBezTo>
                        <a:pt x="53" y="11"/>
                        <a:pt x="53" y="11"/>
                        <a:pt x="53" y="12"/>
                      </a:cubicBezTo>
                      <a:cubicBezTo>
                        <a:pt x="53" y="13"/>
                        <a:pt x="53" y="13"/>
                        <a:pt x="52" y="14"/>
                      </a:cubicBezTo>
                      <a:cubicBezTo>
                        <a:pt x="20" y="32"/>
                        <a:pt x="20" y="32"/>
                        <a:pt x="20" y="32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lose/>
                      <a:moveTo>
                        <a:pt x="6" y="21"/>
                      </a:moveTo>
                      <a:cubicBezTo>
                        <a:pt x="19" y="28"/>
                        <a:pt x="19" y="28"/>
                        <a:pt x="19" y="28"/>
                      </a:cubicBez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34" y="4"/>
                        <a:pt x="34" y="4"/>
                        <a:pt x="34" y="4"/>
                      </a:cubicBezTo>
                      <a:lnTo>
                        <a:pt x="6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0" name="Freeform 612">
                  <a:extLst>
                    <a:ext uri="{FF2B5EF4-FFF2-40B4-BE49-F238E27FC236}">
                      <a16:creationId xmlns:a16="http://schemas.microsoft.com/office/drawing/2014/main" id="{F4DEB545-1B8C-461A-A4D4-87567FEBDB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1668"/>
                  <a:ext cx="113" cy="73"/>
                </a:xfrm>
                <a:custGeom>
                  <a:avLst/>
                  <a:gdLst>
                    <a:gd name="T0" fmla="*/ 17 w 48"/>
                    <a:gd name="T1" fmla="*/ 31 h 31"/>
                    <a:gd name="T2" fmla="*/ 16 w 48"/>
                    <a:gd name="T3" fmla="*/ 30 h 31"/>
                    <a:gd name="T4" fmla="*/ 1 w 48"/>
                    <a:gd name="T5" fmla="*/ 22 h 31"/>
                    <a:gd name="T6" fmla="*/ 0 w 48"/>
                    <a:gd name="T7" fmla="*/ 20 h 31"/>
                    <a:gd name="T8" fmla="*/ 0 w 48"/>
                    <a:gd name="T9" fmla="*/ 17 h 31"/>
                    <a:gd name="T10" fmla="*/ 1 w 48"/>
                    <a:gd name="T11" fmla="*/ 16 h 31"/>
                    <a:gd name="T12" fmla="*/ 28 w 48"/>
                    <a:gd name="T13" fmla="*/ 0 h 31"/>
                    <a:gd name="T14" fmla="*/ 30 w 48"/>
                    <a:gd name="T15" fmla="*/ 0 h 31"/>
                    <a:gd name="T16" fmla="*/ 47 w 48"/>
                    <a:gd name="T17" fmla="*/ 10 h 31"/>
                    <a:gd name="T18" fmla="*/ 48 w 48"/>
                    <a:gd name="T19" fmla="*/ 12 h 31"/>
                    <a:gd name="T20" fmla="*/ 47 w 48"/>
                    <a:gd name="T21" fmla="*/ 13 h 31"/>
                    <a:gd name="T22" fmla="*/ 18 w 48"/>
                    <a:gd name="T23" fmla="*/ 30 h 31"/>
                    <a:gd name="T24" fmla="*/ 17 w 48"/>
                    <a:gd name="T25" fmla="*/ 31 h 31"/>
                    <a:gd name="T26" fmla="*/ 4 w 48"/>
                    <a:gd name="T27" fmla="*/ 19 h 31"/>
                    <a:gd name="T28" fmla="*/ 17 w 48"/>
                    <a:gd name="T29" fmla="*/ 26 h 31"/>
                    <a:gd name="T30" fmla="*/ 42 w 48"/>
                    <a:gd name="T31" fmla="*/ 12 h 31"/>
                    <a:gd name="T32" fmla="*/ 29 w 48"/>
                    <a:gd name="T33" fmla="*/ 4 h 31"/>
                    <a:gd name="T34" fmla="*/ 4 w 48"/>
                    <a:gd name="T35" fmla="*/ 1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8" h="31">
                      <a:moveTo>
                        <a:pt x="17" y="31"/>
                      </a:moveTo>
                      <a:cubicBezTo>
                        <a:pt x="16" y="31"/>
                        <a:pt x="16" y="31"/>
                        <a:pt x="16" y="30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7"/>
                        <a:pt x="0" y="16"/>
                        <a:pt x="1" y="16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0"/>
                        <a:pt x="29" y="0"/>
                        <a:pt x="30" y="0"/>
                      </a:cubicBezTo>
                      <a:cubicBezTo>
                        <a:pt x="47" y="10"/>
                        <a:pt x="47" y="10"/>
                        <a:pt x="47" y="10"/>
                      </a:cubicBezTo>
                      <a:cubicBezTo>
                        <a:pt x="48" y="10"/>
                        <a:pt x="48" y="11"/>
                        <a:pt x="48" y="12"/>
                      </a:cubicBezTo>
                      <a:cubicBezTo>
                        <a:pt x="48" y="12"/>
                        <a:pt x="48" y="13"/>
                        <a:pt x="47" y="13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7" y="31"/>
                        <a:pt x="17" y="31"/>
                        <a:pt x="17" y="31"/>
                      </a:cubicBezTo>
                      <a:close/>
                      <a:moveTo>
                        <a:pt x="4" y="19"/>
                      </a:moveTo>
                      <a:cubicBezTo>
                        <a:pt x="17" y="26"/>
                        <a:pt x="17" y="26"/>
                        <a:pt x="17" y="26"/>
                      </a:cubicBezTo>
                      <a:cubicBezTo>
                        <a:pt x="42" y="12"/>
                        <a:pt x="42" y="12"/>
                        <a:pt x="42" y="12"/>
                      </a:cubicBezTo>
                      <a:cubicBezTo>
                        <a:pt x="29" y="4"/>
                        <a:pt x="29" y="4"/>
                        <a:pt x="29" y="4"/>
                      </a:cubicBezTo>
                      <a:cubicBezTo>
                        <a:pt x="4" y="19"/>
                        <a:pt x="4" y="19"/>
                        <a:pt x="4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1" name="Freeform 613">
                  <a:extLst>
                    <a:ext uri="{FF2B5EF4-FFF2-40B4-BE49-F238E27FC236}">
                      <a16:creationId xmlns:a16="http://schemas.microsoft.com/office/drawing/2014/main" id="{31835A59-1B5C-4686-9772-A0E47DEF63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86" y="1647"/>
                  <a:ext cx="130" cy="80"/>
                </a:xfrm>
                <a:custGeom>
                  <a:avLst/>
                  <a:gdLst>
                    <a:gd name="T0" fmla="*/ 21 w 55"/>
                    <a:gd name="T1" fmla="*/ 34 h 34"/>
                    <a:gd name="T2" fmla="*/ 20 w 55"/>
                    <a:gd name="T3" fmla="*/ 33 h 34"/>
                    <a:gd name="T4" fmla="*/ 19 w 55"/>
                    <a:gd name="T5" fmla="*/ 33 h 34"/>
                    <a:gd name="T6" fmla="*/ 1 w 55"/>
                    <a:gd name="T7" fmla="*/ 22 h 34"/>
                    <a:gd name="T8" fmla="*/ 0 w 55"/>
                    <a:gd name="T9" fmla="*/ 21 h 34"/>
                    <a:gd name="T10" fmla="*/ 1 w 55"/>
                    <a:gd name="T11" fmla="*/ 19 h 34"/>
                    <a:gd name="T12" fmla="*/ 34 w 55"/>
                    <a:gd name="T13" fmla="*/ 0 h 34"/>
                    <a:gd name="T14" fmla="*/ 36 w 55"/>
                    <a:gd name="T15" fmla="*/ 0 h 34"/>
                    <a:gd name="T16" fmla="*/ 54 w 55"/>
                    <a:gd name="T17" fmla="*/ 11 h 34"/>
                    <a:gd name="T18" fmla="*/ 55 w 55"/>
                    <a:gd name="T19" fmla="*/ 13 h 34"/>
                    <a:gd name="T20" fmla="*/ 54 w 55"/>
                    <a:gd name="T21" fmla="*/ 14 h 34"/>
                    <a:gd name="T22" fmla="*/ 22 w 55"/>
                    <a:gd name="T23" fmla="*/ 33 h 34"/>
                    <a:gd name="T24" fmla="*/ 21 w 55"/>
                    <a:gd name="T25" fmla="*/ 34 h 34"/>
                    <a:gd name="T26" fmla="*/ 6 w 55"/>
                    <a:gd name="T27" fmla="*/ 21 h 34"/>
                    <a:gd name="T28" fmla="*/ 21 w 55"/>
                    <a:gd name="T29" fmla="*/ 29 h 34"/>
                    <a:gd name="T30" fmla="*/ 49 w 55"/>
                    <a:gd name="T31" fmla="*/ 13 h 34"/>
                    <a:gd name="T32" fmla="*/ 35 w 55"/>
                    <a:gd name="T33" fmla="*/ 4 h 34"/>
                    <a:gd name="T34" fmla="*/ 6 w 55"/>
                    <a:gd name="T35" fmla="*/ 21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" h="34">
                      <a:moveTo>
                        <a:pt x="21" y="34"/>
                      </a:moveTo>
                      <a:cubicBezTo>
                        <a:pt x="20" y="34"/>
                        <a:pt x="20" y="33"/>
                        <a:pt x="20" y="33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2"/>
                        <a:pt x="0" y="21"/>
                        <a:pt x="0" y="21"/>
                      </a:cubicBezTo>
                      <a:cubicBezTo>
                        <a:pt x="0" y="20"/>
                        <a:pt x="1" y="19"/>
                        <a:pt x="1" y="19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4" y="0"/>
                        <a:pt x="35" y="0"/>
                        <a:pt x="36" y="0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cubicBezTo>
                        <a:pt x="55" y="11"/>
                        <a:pt x="55" y="12"/>
                        <a:pt x="55" y="13"/>
                      </a:cubicBezTo>
                      <a:cubicBezTo>
                        <a:pt x="55" y="13"/>
                        <a:pt x="55" y="14"/>
                        <a:pt x="54" y="14"/>
                      </a:cubicBezTo>
                      <a:cubicBezTo>
                        <a:pt x="22" y="33"/>
                        <a:pt x="22" y="33"/>
                        <a:pt x="22" y="33"/>
                      </a:cubicBezTo>
                      <a:cubicBezTo>
                        <a:pt x="21" y="33"/>
                        <a:pt x="21" y="34"/>
                        <a:pt x="21" y="34"/>
                      </a:cubicBezTo>
                      <a:close/>
                      <a:moveTo>
                        <a:pt x="6" y="21"/>
                      </a:moveTo>
                      <a:cubicBezTo>
                        <a:pt x="21" y="29"/>
                        <a:pt x="21" y="29"/>
                        <a:pt x="21" y="29"/>
                      </a:cubicBez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35" y="4"/>
                        <a:pt x="35" y="4"/>
                        <a:pt x="35" y="4"/>
                      </a:cubicBezTo>
                      <a:lnTo>
                        <a:pt x="6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2" name="Freeform 614">
                  <a:extLst>
                    <a:ext uri="{FF2B5EF4-FFF2-40B4-BE49-F238E27FC236}">
                      <a16:creationId xmlns:a16="http://schemas.microsoft.com/office/drawing/2014/main" id="{9468B893-30B4-4FDD-9453-21CEB011DB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1722"/>
                  <a:ext cx="35" cy="180"/>
                </a:xfrm>
                <a:custGeom>
                  <a:avLst/>
                  <a:gdLst>
                    <a:gd name="T0" fmla="*/ 13 w 15"/>
                    <a:gd name="T1" fmla="*/ 76 h 76"/>
                    <a:gd name="T2" fmla="*/ 12 w 15"/>
                    <a:gd name="T3" fmla="*/ 76 h 76"/>
                    <a:gd name="T4" fmla="*/ 1 w 15"/>
                    <a:gd name="T5" fmla="*/ 70 h 76"/>
                    <a:gd name="T6" fmla="*/ 0 w 15"/>
                    <a:gd name="T7" fmla="*/ 68 h 76"/>
                    <a:gd name="T8" fmla="*/ 0 w 15"/>
                    <a:gd name="T9" fmla="*/ 9 h 76"/>
                    <a:gd name="T10" fmla="*/ 1 w 15"/>
                    <a:gd name="T11" fmla="*/ 7 h 76"/>
                    <a:gd name="T12" fmla="*/ 12 w 15"/>
                    <a:gd name="T13" fmla="*/ 1 h 76"/>
                    <a:gd name="T14" fmla="*/ 14 w 15"/>
                    <a:gd name="T15" fmla="*/ 1 h 76"/>
                    <a:gd name="T16" fmla="*/ 15 w 15"/>
                    <a:gd name="T17" fmla="*/ 2 h 76"/>
                    <a:gd name="T18" fmla="*/ 15 w 15"/>
                    <a:gd name="T19" fmla="*/ 74 h 76"/>
                    <a:gd name="T20" fmla="*/ 14 w 15"/>
                    <a:gd name="T21" fmla="*/ 76 h 76"/>
                    <a:gd name="T22" fmla="*/ 13 w 15"/>
                    <a:gd name="T23" fmla="*/ 76 h 76"/>
                    <a:gd name="T24" fmla="*/ 4 w 15"/>
                    <a:gd name="T25" fmla="*/ 67 h 76"/>
                    <a:gd name="T26" fmla="*/ 11 w 15"/>
                    <a:gd name="T27" fmla="*/ 71 h 76"/>
                    <a:gd name="T28" fmla="*/ 11 w 15"/>
                    <a:gd name="T29" fmla="*/ 6 h 76"/>
                    <a:gd name="T30" fmla="*/ 4 w 15"/>
                    <a:gd name="T31" fmla="*/ 10 h 76"/>
                    <a:gd name="T32" fmla="*/ 4 w 15"/>
                    <a:gd name="T33" fmla="*/ 67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76">
                      <a:moveTo>
                        <a:pt x="13" y="76"/>
                      </a:moveTo>
                      <a:cubicBezTo>
                        <a:pt x="13" y="76"/>
                        <a:pt x="12" y="76"/>
                        <a:pt x="12" y="76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69"/>
                        <a:pt x="0" y="69"/>
                        <a:pt x="0" y="6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3" y="0"/>
                        <a:pt x="13" y="0"/>
                        <a:pt x="14" y="1"/>
                      </a:cubicBezTo>
                      <a:cubicBezTo>
                        <a:pt x="15" y="1"/>
                        <a:pt x="15" y="2"/>
                        <a:pt x="15" y="2"/>
                      </a:cubicBezTo>
                      <a:cubicBezTo>
                        <a:pt x="15" y="74"/>
                        <a:pt x="15" y="74"/>
                        <a:pt x="15" y="74"/>
                      </a:cubicBezTo>
                      <a:cubicBezTo>
                        <a:pt x="15" y="75"/>
                        <a:pt x="15" y="76"/>
                        <a:pt x="14" y="76"/>
                      </a:cubicBezTo>
                      <a:cubicBezTo>
                        <a:pt x="14" y="76"/>
                        <a:pt x="13" y="76"/>
                        <a:pt x="13" y="76"/>
                      </a:cubicBezTo>
                      <a:close/>
                      <a:moveTo>
                        <a:pt x="4" y="67"/>
                      </a:moveTo>
                      <a:cubicBezTo>
                        <a:pt x="11" y="71"/>
                        <a:pt x="11" y="71"/>
                        <a:pt x="11" y="71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3" name="Freeform 615">
                  <a:extLst>
                    <a:ext uri="{FF2B5EF4-FFF2-40B4-BE49-F238E27FC236}">
                      <a16:creationId xmlns:a16="http://schemas.microsoft.com/office/drawing/2014/main" id="{3CB22F08-D82F-4229-B66C-15946BE5C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46" y="1651"/>
                  <a:ext cx="15" cy="15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1 h 6"/>
                    <a:gd name="T10" fmla="*/ 3 w 6"/>
                    <a:gd name="T11" fmla="*/ 0 h 6"/>
                    <a:gd name="T12" fmla="*/ 5 w 6"/>
                    <a:gd name="T13" fmla="*/ 0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4" y="6"/>
                        <a:pt x="3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4" y="0"/>
                        <a:pt x="5" y="0"/>
                      </a:cubicBezTo>
                      <a:cubicBezTo>
                        <a:pt x="6" y="0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5"/>
                        <a:pt x="5" y="6"/>
                      </a:cubicBezTo>
                      <a:cubicBezTo>
                        <a:pt x="5" y="6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4" name="Freeform 616">
                  <a:extLst>
                    <a:ext uri="{FF2B5EF4-FFF2-40B4-BE49-F238E27FC236}">
                      <a16:creationId xmlns:a16="http://schemas.microsoft.com/office/drawing/2014/main" id="{6C4EFB06-FB0D-4335-8D5D-3BC4775E0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70" y="1706"/>
                  <a:ext cx="9" cy="11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5 h 5"/>
                    <a:gd name="T4" fmla="*/ 1 w 4"/>
                    <a:gd name="T5" fmla="*/ 4 h 5"/>
                    <a:gd name="T6" fmla="*/ 0 w 4"/>
                    <a:gd name="T7" fmla="*/ 3 h 5"/>
                    <a:gd name="T8" fmla="*/ 1 w 4"/>
                    <a:gd name="T9" fmla="*/ 1 h 5"/>
                    <a:gd name="T10" fmla="*/ 1 w 4"/>
                    <a:gd name="T11" fmla="*/ 1 h 5"/>
                    <a:gd name="T12" fmla="*/ 3 w 4"/>
                    <a:gd name="T13" fmla="*/ 1 h 5"/>
                    <a:gd name="T14" fmla="*/ 4 w 4"/>
                    <a:gd name="T15" fmla="*/ 2 h 5"/>
                    <a:gd name="T16" fmla="*/ 4 w 4"/>
                    <a:gd name="T17" fmla="*/ 3 h 5"/>
                    <a:gd name="T18" fmla="*/ 3 w 4"/>
                    <a:gd name="T19" fmla="*/ 5 h 5"/>
                    <a:gd name="T20" fmla="*/ 2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1" y="5"/>
                        <a:pt x="1" y="5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4"/>
                        <a:pt x="4" y="4"/>
                        <a:pt x="3" y="5"/>
                      </a:cubicBezTo>
                      <a:cubicBezTo>
                        <a:pt x="3" y="5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5" name="Freeform 617">
                  <a:extLst>
                    <a:ext uri="{FF2B5EF4-FFF2-40B4-BE49-F238E27FC236}">
                      <a16:creationId xmlns:a16="http://schemas.microsoft.com/office/drawing/2014/main" id="{47782DEC-8A7E-4973-B21D-3DB2C523E9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16" y="1821"/>
                  <a:ext cx="282" cy="187"/>
                </a:xfrm>
                <a:custGeom>
                  <a:avLst/>
                  <a:gdLst>
                    <a:gd name="T0" fmla="*/ 67 w 119"/>
                    <a:gd name="T1" fmla="*/ 79 h 79"/>
                    <a:gd name="T2" fmla="*/ 66 w 119"/>
                    <a:gd name="T3" fmla="*/ 79 h 79"/>
                    <a:gd name="T4" fmla="*/ 1 w 119"/>
                    <a:gd name="T5" fmla="*/ 41 h 79"/>
                    <a:gd name="T6" fmla="*/ 0 w 119"/>
                    <a:gd name="T7" fmla="*/ 40 h 79"/>
                    <a:gd name="T8" fmla="*/ 1 w 119"/>
                    <a:gd name="T9" fmla="*/ 38 h 79"/>
                    <a:gd name="T10" fmla="*/ 66 w 119"/>
                    <a:gd name="T11" fmla="*/ 1 h 79"/>
                    <a:gd name="T12" fmla="*/ 68 w 119"/>
                    <a:gd name="T13" fmla="*/ 1 h 79"/>
                    <a:gd name="T14" fmla="*/ 69 w 119"/>
                    <a:gd name="T15" fmla="*/ 2 h 79"/>
                    <a:gd name="T16" fmla="*/ 69 w 119"/>
                    <a:gd name="T17" fmla="*/ 18 h 79"/>
                    <a:gd name="T18" fmla="*/ 118 w 119"/>
                    <a:gd name="T19" fmla="*/ 47 h 79"/>
                    <a:gd name="T20" fmla="*/ 119 w 119"/>
                    <a:gd name="T21" fmla="*/ 49 h 79"/>
                    <a:gd name="T22" fmla="*/ 118 w 119"/>
                    <a:gd name="T23" fmla="*/ 50 h 79"/>
                    <a:gd name="T24" fmla="*/ 68 w 119"/>
                    <a:gd name="T25" fmla="*/ 79 h 79"/>
                    <a:gd name="T26" fmla="*/ 67 w 119"/>
                    <a:gd name="T27" fmla="*/ 79 h 79"/>
                    <a:gd name="T28" fmla="*/ 6 w 119"/>
                    <a:gd name="T29" fmla="*/ 40 h 79"/>
                    <a:gd name="T30" fmla="*/ 67 w 119"/>
                    <a:gd name="T31" fmla="*/ 75 h 79"/>
                    <a:gd name="T32" fmla="*/ 113 w 119"/>
                    <a:gd name="T33" fmla="*/ 49 h 79"/>
                    <a:gd name="T34" fmla="*/ 66 w 119"/>
                    <a:gd name="T35" fmla="*/ 21 h 79"/>
                    <a:gd name="T36" fmla="*/ 65 w 119"/>
                    <a:gd name="T37" fmla="*/ 19 h 79"/>
                    <a:gd name="T38" fmla="*/ 65 w 119"/>
                    <a:gd name="T39" fmla="*/ 6 h 79"/>
                    <a:gd name="T40" fmla="*/ 6 w 119"/>
                    <a:gd name="T41" fmla="*/ 4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9" h="79">
                      <a:moveTo>
                        <a:pt x="67" y="79"/>
                      </a:moveTo>
                      <a:cubicBezTo>
                        <a:pt x="67" y="79"/>
                        <a:pt x="67" y="79"/>
                        <a:pt x="66" y="79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1" y="41"/>
                        <a:pt x="0" y="40"/>
                        <a:pt x="0" y="40"/>
                      </a:cubicBezTo>
                      <a:cubicBezTo>
                        <a:pt x="0" y="39"/>
                        <a:pt x="1" y="38"/>
                        <a:pt x="1" y="38"/>
                      </a:cubicBezTo>
                      <a:cubicBezTo>
                        <a:pt x="66" y="1"/>
                        <a:pt x="66" y="1"/>
                        <a:pt x="66" y="1"/>
                      </a:cubicBezTo>
                      <a:cubicBezTo>
                        <a:pt x="66" y="0"/>
                        <a:pt x="67" y="0"/>
                        <a:pt x="68" y="1"/>
                      </a:cubicBezTo>
                      <a:cubicBezTo>
                        <a:pt x="68" y="1"/>
                        <a:pt x="69" y="2"/>
                        <a:pt x="69" y="2"/>
                      </a:cubicBezTo>
                      <a:cubicBezTo>
                        <a:pt x="69" y="18"/>
                        <a:pt x="69" y="18"/>
                        <a:pt x="69" y="18"/>
                      </a:cubicBezTo>
                      <a:cubicBezTo>
                        <a:pt x="118" y="47"/>
                        <a:pt x="118" y="47"/>
                        <a:pt x="118" y="47"/>
                      </a:cubicBezTo>
                      <a:cubicBezTo>
                        <a:pt x="119" y="47"/>
                        <a:pt x="119" y="48"/>
                        <a:pt x="119" y="49"/>
                      </a:cubicBezTo>
                      <a:cubicBezTo>
                        <a:pt x="119" y="49"/>
                        <a:pt x="119" y="50"/>
                        <a:pt x="118" y="50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8" y="79"/>
                        <a:pt x="68" y="79"/>
                        <a:pt x="67" y="79"/>
                      </a:cubicBezTo>
                      <a:close/>
                      <a:moveTo>
                        <a:pt x="6" y="40"/>
                      </a:move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113" y="49"/>
                        <a:pt x="113" y="49"/>
                        <a:pt x="113" y="49"/>
                      </a:cubicBezTo>
                      <a:cubicBezTo>
                        <a:pt x="66" y="21"/>
                        <a:pt x="66" y="21"/>
                        <a:pt x="66" y="21"/>
                      </a:cubicBezTo>
                      <a:cubicBezTo>
                        <a:pt x="65" y="21"/>
                        <a:pt x="65" y="20"/>
                        <a:pt x="65" y="19"/>
                      </a:cubicBezTo>
                      <a:cubicBezTo>
                        <a:pt x="65" y="6"/>
                        <a:pt x="65" y="6"/>
                        <a:pt x="65" y="6"/>
                      </a:cubicBezTo>
                      <a:lnTo>
                        <a:pt x="6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6" name="Freeform 618">
                  <a:extLst>
                    <a:ext uri="{FF2B5EF4-FFF2-40B4-BE49-F238E27FC236}">
                      <a16:creationId xmlns:a16="http://schemas.microsoft.com/office/drawing/2014/main" id="{CC98559E-9777-4CE4-8657-8709F820B1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1883"/>
                  <a:ext cx="35" cy="40"/>
                </a:xfrm>
                <a:custGeom>
                  <a:avLst/>
                  <a:gdLst>
                    <a:gd name="T0" fmla="*/ 2 w 15"/>
                    <a:gd name="T1" fmla="*/ 17 h 17"/>
                    <a:gd name="T2" fmla="*/ 1 w 15"/>
                    <a:gd name="T3" fmla="*/ 16 h 17"/>
                    <a:gd name="T4" fmla="*/ 0 w 15"/>
                    <a:gd name="T5" fmla="*/ 15 h 17"/>
                    <a:gd name="T6" fmla="*/ 0 w 15"/>
                    <a:gd name="T7" fmla="*/ 2 h 17"/>
                    <a:gd name="T8" fmla="*/ 1 w 15"/>
                    <a:gd name="T9" fmla="*/ 0 h 17"/>
                    <a:gd name="T10" fmla="*/ 3 w 15"/>
                    <a:gd name="T11" fmla="*/ 0 h 17"/>
                    <a:gd name="T12" fmla="*/ 14 w 15"/>
                    <a:gd name="T13" fmla="*/ 7 h 17"/>
                    <a:gd name="T14" fmla="*/ 15 w 15"/>
                    <a:gd name="T15" fmla="*/ 8 h 17"/>
                    <a:gd name="T16" fmla="*/ 14 w 15"/>
                    <a:gd name="T17" fmla="*/ 10 h 17"/>
                    <a:gd name="T18" fmla="*/ 3 w 15"/>
                    <a:gd name="T19" fmla="*/ 16 h 17"/>
                    <a:gd name="T20" fmla="*/ 2 w 15"/>
                    <a:gd name="T21" fmla="*/ 17 h 17"/>
                    <a:gd name="T22" fmla="*/ 4 w 15"/>
                    <a:gd name="T23" fmla="*/ 5 h 17"/>
                    <a:gd name="T24" fmla="*/ 4 w 15"/>
                    <a:gd name="T25" fmla="*/ 11 h 17"/>
                    <a:gd name="T26" fmla="*/ 9 w 15"/>
                    <a:gd name="T27" fmla="*/ 8 h 17"/>
                    <a:gd name="T28" fmla="*/ 4 w 15"/>
                    <a:gd name="T29" fmla="*/ 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7">
                      <a:moveTo>
                        <a:pt x="2" y="17"/>
                      </a:moveTo>
                      <a:cubicBezTo>
                        <a:pt x="2" y="17"/>
                        <a:pt x="1" y="17"/>
                        <a:pt x="1" y="16"/>
                      </a:cubicBezTo>
                      <a:cubicBezTo>
                        <a:pt x="0" y="16"/>
                        <a:pt x="0" y="15"/>
                        <a:pt x="0" y="1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5" y="7"/>
                        <a:pt x="15" y="8"/>
                        <a:pt x="15" y="8"/>
                      </a:cubicBezTo>
                      <a:cubicBezTo>
                        <a:pt x="15" y="9"/>
                        <a:pt x="15" y="10"/>
                        <a:pt x="14" y="10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7"/>
                        <a:pt x="2" y="17"/>
                        <a:pt x="2" y="17"/>
                      </a:cubicBezTo>
                      <a:close/>
                      <a:moveTo>
                        <a:pt x="4" y="5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9" y="8"/>
                        <a:pt x="9" y="8"/>
                        <a:pt x="9" y="8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7" name="Freeform 619">
                  <a:extLst>
                    <a:ext uri="{FF2B5EF4-FFF2-40B4-BE49-F238E27FC236}">
                      <a16:creationId xmlns:a16="http://schemas.microsoft.com/office/drawing/2014/main" id="{F0780938-9ACC-40C0-94A4-BF0B41A9D6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81" y="2095"/>
                  <a:ext cx="151" cy="112"/>
                </a:xfrm>
                <a:custGeom>
                  <a:avLst/>
                  <a:gdLst>
                    <a:gd name="T0" fmla="*/ 62 w 64"/>
                    <a:gd name="T1" fmla="*/ 47 h 47"/>
                    <a:gd name="T2" fmla="*/ 61 w 64"/>
                    <a:gd name="T3" fmla="*/ 47 h 47"/>
                    <a:gd name="T4" fmla="*/ 1 w 64"/>
                    <a:gd name="T5" fmla="*/ 12 h 47"/>
                    <a:gd name="T6" fmla="*/ 0 w 64"/>
                    <a:gd name="T7" fmla="*/ 10 h 47"/>
                    <a:gd name="T8" fmla="*/ 1 w 64"/>
                    <a:gd name="T9" fmla="*/ 8 h 47"/>
                    <a:gd name="T10" fmla="*/ 15 w 64"/>
                    <a:gd name="T11" fmla="*/ 0 h 47"/>
                    <a:gd name="T12" fmla="*/ 17 w 64"/>
                    <a:gd name="T13" fmla="*/ 0 h 47"/>
                    <a:gd name="T14" fmla="*/ 63 w 64"/>
                    <a:gd name="T15" fmla="*/ 27 h 47"/>
                    <a:gd name="T16" fmla="*/ 64 w 64"/>
                    <a:gd name="T17" fmla="*/ 29 h 47"/>
                    <a:gd name="T18" fmla="*/ 64 w 64"/>
                    <a:gd name="T19" fmla="*/ 45 h 47"/>
                    <a:gd name="T20" fmla="*/ 63 w 64"/>
                    <a:gd name="T21" fmla="*/ 47 h 47"/>
                    <a:gd name="T22" fmla="*/ 62 w 64"/>
                    <a:gd name="T23" fmla="*/ 47 h 47"/>
                    <a:gd name="T24" fmla="*/ 6 w 64"/>
                    <a:gd name="T25" fmla="*/ 10 h 47"/>
                    <a:gd name="T26" fmla="*/ 60 w 64"/>
                    <a:gd name="T27" fmla="*/ 41 h 47"/>
                    <a:gd name="T28" fmla="*/ 60 w 64"/>
                    <a:gd name="T29" fmla="*/ 30 h 47"/>
                    <a:gd name="T30" fmla="*/ 16 w 64"/>
                    <a:gd name="T31" fmla="*/ 4 h 47"/>
                    <a:gd name="T32" fmla="*/ 6 w 64"/>
                    <a:gd name="T33" fmla="*/ 1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4" h="47">
                      <a:moveTo>
                        <a:pt x="62" y="47"/>
                      </a:moveTo>
                      <a:cubicBezTo>
                        <a:pt x="62" y="47"/>
                        <a:pt x="61" y="47"/>
                        <a:pt x="61" y="47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1"/>
                        <a:pt x="0" y="11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6" y="0"/>
                        <a:pt x="17" y="0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64" y="27"/>
                        <a:pt x="64" y="28"/>
                        <a:pt x="64" y="29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6"/>
                        <a:pt x="64" y="46"/>
                        <a:pt x="63" y="47"/>
                      </a:cubicBezTo>
                      <a:cubicBezTo>
                        <a:pt x="63" y="47"/>
                        <a:pt x="62" y="47"/>
                        <a:pt x="62" y="47"/>
                      </a:cubicBezTo>
                      <a:close/>
                      <a:moveTo>
                        <a:pt x="6" y="10"/>
                      </a:moveTo>
                      <a:cubicBezTo>
                        <a:pt x="60" y="41"/>
                        <a:pt x="60" y="41"/>
                        <a:pt x="60" y="41"/>
                      </a:cubicBezTo>
                      <a:cubicBezTo>
                        <a:pt x="60" y="30"/>
                        <a:pt x="60" y="30"/>
                        <a:pt x="60" y="30"/>
                      </a:cubicBezTo>
                      <a:cubicBezTo>
                        <a:pt x="16" y="4"/>
                        <a:pt x="16" y="4"/>
                        <a:pt x="16" y="4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8" name="Freeform 620">
                  <a:extLst>
                    <a:ext uri="{FF2B5EF4-FFF2-40B4-BE49-F238E27FC236}">
                      <a16:creationId xmlns:a16="http://schemas.microsoft.com/office/drawing/2014/main" id="{CF7D157B-83D1-4214-A8B3-ECC71169E5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56" y="1699"/>
                  <a:ext cx="23" cy="137"/>
                </a:xfrm>
                <a:custGeom>
                  <a:avLst/>
                  <a:gdLst>
                    <a:gd name="T0" fmla="*/ 2 w 10"/>
                    <a:gd name="T1" fmla="*/ 58 h 58"/>
                    <a:gd name="T2" fmla="*/ 1 w 10"/>
                    <a:gd name="T3" fmla="*/ 58 h 58"/>
                    <a:gd name="T4" fmla="*/ 0 w 10"/>
                    <a:gd name="T5" fmla="*/ 56 h 58"/>
                    <a:gd name="T6" fmla="*/ 0 w 10"/>
                    <a:gd name="T7" fmla="*/ 3 h 58"/>
                    <a:gd name="T8" fmla="*/ 1 w 10"/>
                    <a:gd name="T9" fmla="*/ 1 h 58"/>
                    <a:gd name="T10" fmla="*/ 3 w 10"/>
                    <a:gd name="T11" fmla="*/ 1 h 58"/>
                    <a:gd name="T12" fmla="*/ 9 w 10"/>
                    <a:gd name="T13" fmla="*/ 4 h 58"/>
                    <a:gd name="T14" fmla="*/ 10 w 10"/>
                    <a:gd name="T15" fmla="*/ 6 h 58"/>
                    <a:gd name="T16" fmla="*/ 10 w 10"/>
                    <a:gd name="T17" fmla="*/ 53 h 58"/>
                    <a:gd name="T18" fmla="*/ 9 w 10"/>
                    <a:gd name="T19" fmla="*/ 54 h 58"/>
                    <a:gd name="T20" fmla="*/ 3 w 10"/>
                    <a:gd name="T21" fmla="*/ 58 h 58"/>
                    <a:gd name="T22" fmla="*/ 2 w 10"/>
                    <a:gd name="T23" fmla="*/ 58 h 58"/>
                    <a:gd name="T24" fmla="*/ 4 w 10"/>
                    <a:gd name="T25" fmla="*/ 6 h 58"/>
                    <a:gd name="T26" fmla="*/ 4 w 10"/>
                    <a:gd name="T27" fmla="*/ 53 h 58"/>
                    <a:gd name="T28" fmla="*/ 6 w 10"/>
                    <a:gd name="T29" fmla="*/ 51 h 58"/>
                    <a:gd name="T30" fmla="*/ 6 w 10"/>
                    <a:gd name="T31" fmla="*/ 7 h 58"/>
                    <a:gd name="T32" fmla="*/ 4 w 10"/>
                    <a:gd name="T33" fmla="*/ 6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" h="58">
                      <a:moveTo>
                        <a:pt x="2" y="58"/>
                      </a:move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57"/>
                        <a:pt x="0" y="57"/>
                        <a:pt x="0" y="56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9" y="5"/>
                        <a:pt x="10" y="5"/>
                        <a:pt x="10" y="6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10" y="53"/>
                        <a:pt x="9" y="54"/>
                        <a:pt x="9" y="54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2" y="58"/>
                        <a:pt x="2" y="58"/>
                        <a:pt x="2" y="58"/>
                      </a:cubicBezTo>
                      <a:close/>
                      <a:moveTo>
                        <a:pt x="4" y="6"/>
                      </a:move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1"/>
                        <a:pt x="6" y="51"/>
                        <a:pt x="6" y="51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9" name="Freeform 621">
                  <a:extLst>
                    <a:ext uri="{FF2B5EF4-FFF2-40B4-BE49-F238E27FC236}">
                      <a16:creationId xmlns:a16="http://schemas.microsoft.com/office/drawing/2014/main" id="{7C40A7E7-A42F-4F2E-ACFF-019A333DC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1944"/>
                  <a:ext cx="29" cy="170"/>
                </a:xfrm>
                <a:custGeom>
                  <a:avLst/>
                  <a:gdLst>
                    <a:gd name="T0" fmla="*/ 2 w 12"/>
                    <a:gd name="T1" fmla="*/ 72 h 72"/>
                    <a:gd name="T2" fmla="*/ 1 w 12"/>
                    <a:gd name="T3" fmla="*/ 72 h 72"/>
                    <a:gd name="T4" fmla="*/ 0 w 12"/>
                    <a:gd name="T5" fmla="*/ 70 h 72"/>
                    <a:gd name="T6" fmla="*/ 0 w 12"/>
                    <a:gd name="T7" fmla="*/ 2 h 72"/>
                    <a:gd name="T8" fmla="*/ 1 w 12"/>
                    <a:gd name="T9" fmla="*/ 0 h 72"/>
                    <a:gd name="T10" fmla="*/ 3 w 12"/>
                    <a:gd name="T11" fmla="*/ 0 h 72"/>
                    <a:gd name="T12" fmla="*/ 11 w 12"/>
                    <a:gd name="T13" fmla="*/ 5 h 72"/>
                    <a:gd name="T14" fmla="*/ 12 w 12"/>
                    <a:gd name="T15" fmla="*/ 6 h 72"/>
                    <a:gd name="T16" fmla="*/ 12 w 12"/>
                    <a:gd name="T17" fmla="*/ 66 h 72"/>
                    <a:gd name="T18" fmla="*/ 11 w 12"/>
                    <a:gd name="T19" fmla="*/ 67 h 72"/>
                    <a:gd name="T20" fmla="*/ 3 w 12"/>
                    <a:gd name="T21" fmla="*/ 72 h 72"/>
                    <a:gd name="T22" fmla="*/ 2 w 12"/>
                    <a:gd name="T23" fmla="*/ 72 h 72"/>
                    <a:gd name="T24" fmla="*/ 4 w 12"/>
                    <a:gd name="T25" fmla="*/ 5 h 72"/>
                    <a:gd name="T26" fmla="*/ 4 w 12"/>
                    <a:gd name="T27" fmla="*/ 67 h 72"/>
                    <a:gd name="T28" fmla="*/ 8 w 12"/>
                    <a:gd name="T29" fmla="*/ 64 h 72"/>
                    <a:gd name="T30" fmla="*/ 8 w 12"/>
                    <a:gd name="T31" fmla="*/ 7 h 72"/>
                    <a:gd name="T32" fmla="*/ 4 w 12"/>
                    <a:gd name="T33" fmla="*/ 5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" h="72">
                      <a:moveTo>
                        <a:pt x="2" y="72"/>
                      </a:moveTo>
                      <a:cubicBezTo>
                        <a:pt x="2" y="72"/>
                        <a:pt x="2" y="72"/>
                        <a:pt x="1" y="72"/>
                      </a:cubicBezTo>
                      <a:cubicBezTo>
                        <a:pt x="1" y="72"/>
                        <a:pt x="0" y="71"/>
                        <a:pt x="0" y="7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5"/>
                        <a:pt x="12" y="6"/>
                        <a:pt x="12" y="6"/>
                      </a:cubicBez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2" y="66"/>
                        <a:pt x="12" y="67"/>
                        <a:pt x="11" y="67"/>
                      </a:cubicBezTo>
                      <a:cubicBezTo>
                        <a:pt x="3" y="72"/>
                        <a:pt x="3" y="72"/>
                        <a:pt x="3" y="72"/>
                      </a:cubicBezTo>
                      <a:cubicBezTo>
                        <a:pt x="3" y="72"/>
                        <a:pt x="3" y="72"/>
                        <a:pt x="2" y="72"/>
                      </a:cubicBezTo>
                      <a:close/>
                      <a:moveTo>
                        <a:pt x="4" y="5"/>
                      </a:moveTo>
                      <a:cubicBezTo>
                        <a:pt x="4" y="67"/>
                        <a:pt x="4" y="67"/>
                        <a:pt x="4" y="67"/>
                      </a:cubicBezTo>
                      <a:cubicBezTo>
                        <a:pt x="8" y="64"/>
                        <a:pt x="8" y="64"/>
                        <a:pt x="8" y="64"/>
                      </a:cubicBezTo>
                      <a:cubicBezTo>
                        <a:pt x="8" y="7"/>
                        <a:pt x="8" y="7"/>
                        <a:pt x="8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0" name="Freeform 622">
                  <a:extLst>
                    <a:ext uri="{FF2B5EF4-FFF2-40B4-BE49-F238E27FC236}">
                      <a16:creationId xmlns:a16="http://schemas.microsoft.com/office/drawing/2014/main" id="{98C52C84-EFA6-488E-BDAB-EAA6C15D69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1911"/>
                  <a:ext cx="319" cy="279"/>
                </a:xfrm>
                <a:custGeom>
                  <a:avLst/>
                  <a:gdLst>
                    <a:gd name="T0" fmla="*/ 74 w 135"/>
                    <a:gd name="T1" fmla="*/ 118 h 118"/>
                    <a:gd name="T2" fmla="*/ 73 w 135"/>
                    <a:gd name="T3" fmla="*/ 118 h 118"/>
                    <a:gd name="T4" fmla="*/ 55 w 135"/>
                    <a:gd name="T5" fmla="*/ 107 h 118"/>
                    <a:gd name="T6" fmla="*/ 54 w 135"/>
                    <a:gd name="T7" fmla="*/ 106 h 118"/>
                    <a:gd name="T8" fmla="*/ 54 w 135"/>
                    <a:gd name="T9" fmla="*/ 52 h 118"/>
                    <a:gd name="T10" fmla="*/ 1 w 135"/>
                    <a:gd name="T11" fmla="*/ 21 h 118"/>
                    <a:gd name="T12" fmla="*/ 0 w 135"/>
                    <a:gd name="T13" fmla="*/ 19 h 118"/>
                    <a:gd name="T14" fmla="*/ 0 w 135"/>
                    <a:gd name="T15" fmla="*/ 5 h 118"/>
                    <a:gd name="T16" fmla="*/ 1 w 135"/>
                    <a:gd name="T17" fmla="*/ 3 h 118"/>
                    <a:gd name="T18" fmla="*/ 6 w 135"/>
                    <a:gd name="T19" fmla="*/ 0 h 118"/>
                    <a:gd name="T20" fmla="*/ 8 w 135"/>
                    <a:gd name="T21" fmla="*/ 0 h 118"/>
                    <a:gd name="T22" fmla="*/ 74 w 135"/>
                    <a:gd name="T23" fmla="*/ 39 h 118"/>
                    <a:gd name="T24" fmla="*/ 125 w 135"/>
                    <a:gd name="T25" fmla="*/ 10 h 118"/>
                    <a:gd name="T26" fmla="*/ 127 w 135"/>
                    <a:gd name="T27" fmla="*/ 10 h 118"/>
                    <a:gd name="T28" fmla="*/ 134 w 135"/>
                    <a:gd name="T29" fmla="*/ 14 h 118"/>
                    <a:gd name="T30" fmla="*/ 135 w 135"/>
                    <a:gd name="T31" fmla="*/ 16 h 118"/>
                    <a:gd name="T32" fmla="*/ 134 w 135"/>
                    <a:gd name="T33" fmla="*/ 18 h 118"/>
                    <a:gd name="T34" fmla="*/ 76 w 135"/>
                    <a:gd name="T35" fmla="*/ 52 h 118"/>
                    <a:gd name="T36" fmla="*/ 76 w 135"/>
                    <a:gd name="T37" fmla="*/ 116 h 118"/>
                    <a:gd name="T38" fmla="*/ 75 w 135"/>
                    <a:gd name="T39" fmla="*/ 118 h 118"/>
                    <a:gd name="T40" fmla="*/ 74 w 135"/>
                    <a:gd name="T41" fmla="*/ 118 h 118"/>
                    <a:gd name="T42" fmla="*/ 58 w 135"/>
                    <a:gd name="T43" fmla="*/ 104 h 118"/>
                    <a:gd name="T44" fmla="*/ 72 w 135"/>
                    <a:gd name="T45" fmla="*/ 112 h 118"/>
                    <a:gd name="T46" fmla="*/ 72 w 135"/>
                    <a:gd name="T47" fmla="*/ 50 h 118"/>
                    <a:gd name="T48" fmla="*/ 73 w 135"/>
                    <a:gd name="T49" fmla="*/ 49 h 118"/>
                    <a:gd name="T50" fmla="*/ 129 w 135"/>
                    <a:gd name="T51" fmla="*/ 16 h 118"/>
                    <a:gd name="T52" fmla="*/ 126 w 135"/>
                    <a:gd name="T53" fmla="*/ 14 h 118"/>
                    <a:gd name="T54" fmla="*/ 75 w 135"/>
                    <a:gd name="T55" fmla="*/ 43 h 118"/>
                    <a:gd name="T56" fmla="*/ 73 w 135"/>
                    <a:gd name="T57" fmla="*/ 43 h 118"/>
                    <a:gd name="T58" fmla="*/ 7 w 135"/>
                    <a:gd name="T59" fmla="*/ 4 h 118"/>
                    <a:gd name="T60" fmla="*/ 4 w 135"/>
                    <a:gd name="T61" fmla="*/ 6 h 118"/>
                    <a:gd name="T62" fmla="*/ 4 w 135"/>
                    <a:gd name="T63" fmla="*/ 18 h 118"/>
                    <a:gd name="T64" fmla="*/ 57 w 135"/>
                    <a:gd name="T65" fmla="*/ 49 h 118"/>
                    <a:gd name="T66" fmla="*/ 58 w 135"/>
                    <a:gd name="T67" fmla="*/ 50 h 118"/>
                    <a:gd name="T68" fmla="*/ 58 w 135"/>
                    <a:gd name="T69" fmla="*/ 104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5" h="118">
                      <a:moveTo>
                        <a:pt x="74" y="118"/>
                      </a:moveTo>
                      <a:cubicBezTo>
                        <a:pt x="73" y="118"/>
                        <a:pt x="73" y="118"/>
                        <a:pt x="73" y="118"/>
                      </a:cubicBezTo>
                      <a:cubicBezTo>
                        <a:pt x="55" y="107"/>
                        <a:pt x="55" y="107"/>
                        <a:pt x="55" y="107"/>
                      </a:cubicBezTo>
                      <a:cubicBezTo>
                        <a:pt x="54" y="107"/>
                        <a:pt x="54" y="106"/>
                        <a:pt x="54" y="106"/>
                      </a:cubicBezTo>
                      <a:cubicBezTo>
                        <a:pt x="54" y="52"/>
                        <a:pt x="54" y="52"/>
                        <a:pt x="54" y="52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0" y="21"/>
                        <a:pt x="0" y="20"/>
                        <a:pt x="0" y="1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4"/>
                        <a:pt x="0" y="3"/>
                        <a:pt x="1" y="3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6" y="0"/>
                        <a:pt x="7" y="0"/>
                        <a:pt x="8" y="0"/>
                      </a:cubicBezTo>
                      <a:cubicBezTo>
                        <a:pt x="74" y="39"/>
                        <a:pt x="74" y="39"/>
                        <a:pt x="74" y="39"/>
                      </a:cubicBezTo>
                      <a:cubicBezTo>
                        <a:pt x="125" y="10"/>
                        <a:pt x="125" y="10"/>
                        <a:pt x="125" y="10"/>
                      </a:cubicBezTo>
                      <a:cubicBezTo>
                        <a:pt x="125" y="9"/>
                        <a:pt x="126" y="9"/>
                        <a:pt x="127" y="10"/>
                      </a:cubicBezTo>
                      <a:cubicBezTo>
                        <a:pt x="134" y="14"/>
                        <a:pt x="134" y="14"/>
                        <a:pt x="134" y="14"/>
                      </a:cubicBezTo>
                      <a:cubicBezTo>
                        <a:pt x="135" y="15"/>
                        <a:pt x="135" y="15"/>
                        <a:pt x="135" y="16"/>
                      </a:cubicBezTo>
                      <a:cubicBezTo>
                        <a:pt x="135" y="17"/>
                        <a:pt x="135" y="17"/>
                        <a:pt x="134" y="18"/>
                      </a:cubicBezTo>
                      <a:cubicBezTo>
                        <a:pt x="76" y="52"/>
                        <a:pt x="76" y="52"/>
                        <a:pt x="76" y="52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6" y="117"/>
                        <a:pt x="75" y="117"/>
                        <a:pt x="75" y="118"/>
                      </a:cubicBezTo>
                      <a:cubicBezTo>
                        <a:pt x="74" y="118"/>
                        <a:pt x="74" y="118"/>
                        <a:pt x="74" y="118"/>
                      </a:cubicBezTo>
                      <a:close/>
                      <a:moveTo>
                        <a:pt x="58" y="104"/>
                      </a:moveTo>
                      <a:cubicBezTo>
                        <a:pt x="72" y="112"/>
                        <a:pt x="72" y="112"/>
                        <a:pt x="72" y="112"/>
                      </a:cubicBezTo>
                      <a:cubicBezTo>
                        <a:pt x="72" y="50"/>
                        <a:pt x="72" y="50"/>
                        <a:pt x="72" y="50"/>
                      </a:cubicBezTo>
                      <a:cubicBezTo>
                        <a:pt x="72" y="50"/>
                        <a:pt x="72" y="49"/>
                        <a:pt x="73" y="49"/>
                      </a:cubicBezTo>
                      <a:cubicBezTo>
                        <a:pt x="129" y="16"/>
                        <a:pt x="129" y="16"/>
                        <a:pt x="129" y="16"/>
                      </a:cubicBezTo>
                      <a:cubicBezTo>
                        <a:pt x="126" y="14"/>
                        <a:pt x="126" y="14"/>
                        <a:pt x="126" y="14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cubicBezTo>
                        <a:pt x="75" y="43"/>
                        <a:pt x="74" y="43"/>
                        <a:pt x="73" y="4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57" y="49"/>
                        <a:pt x="57" y="49"/>
                        <a:pt x="57" y="49"/>
                      </a:cubicBezTo>
                      <a:cubicBezTo>
                        <a:pt x="57" y="49"/>
                        <a:pt x="58" y="50"/>
                        <a:pt x="58" y="50"/>
                      </a:cubicBezTo>
                      <a:lnTo>
                        <a:pt x="58" y="1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1" name="Freeform 623">
                  <a:extLst>
                    <a:ext uri="{FF2B5EF4-FFF2-40B4-BE49-F238E27FC236}">
                      <a16:creationId xmlns:a16="http://schemas.microsoft.com/office/drawing/2014/main" id="{2CD860D9-743D-4B02-83A1-728E55FA8F5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61" y="2117"/>
                  <a:ext cx="316" cy="165"/>
                </a:xfrm>
                <a:custGeom>
                  <a:avLst/>
                  <a:gdLst>
                    <a:gd name="T0" fmla="*/ 67 w 134"/>
                    <a:gd name="T1" fmla="*/ 70 h 70"/>
                    <a:gd name="T2" fmla="*/ 66 w 134"/>
                    <a:gd name="T3" fmla="*/ 70 h 70"/>
                    <a:gd name="T4" fmla="*/ 1 w 134"/>
                    <a:gd name="T5" fmla="*/ 32 h 70"/>
                    <a:gd name="T6" fmla="*/ 0 w 134"/>
                    <a:gd name="T7" fmla="*/ 30 h 70"/>
                    <a:gd name="T8" fmla="*/ 1 w 134"/>
                    <a:gd name="T9" fmla="*/ 29 h 70"/>
                    <a:gd name="T10" fmla="*/ 50 w 134"/>
                    <a:gd name="T11" fmla="*/ 0 h 70"/>
                    <a:gd name="T12" fmla="*/ 52 w 134"/>
                    <a:gd name="T13" fmla="*/ 0 h 70"/>
                    <a:gd name="T14" fmla="*/ 113 w 134"/>
                    <a:gd name="T15" fmla="*/ 35 h 70"/>
                    <a:gd name="T16" fmla="*/ 113 w 134"/>
                    <a:gd name="T17" fmla="*/ 20 h 70"/>
                    <a:gd name="T18" fmla="*/ 114 w 134"/>
                    <a:gd name="T19" fmla="*/ 19 h 70"/>
                    <a:gd name="T20" fmla="*/ 116 w 134"/>
                    <a:gd name="T21" fmla="*/ 19 h 70"/>
                    <a:gd name="T22" fmla="*/ 133 w 134"/>
                    <a:gd name="T23" fmla="*/ 29 h 70"/>
                    <a:gd name="T24" fmla="*/ 134 w 134"/>
                    <a:gd name="T25" fmla="*/ 30 h 70"/>
                    <a:gd name="T26" fmla="*/ 133 w 134"/>
                    <a:gd name="T27" fmla="*/ 32 h 70"/>
                    <a:gd name="T28" fmla="*/ 68 w 134"/>
                    <a:gd name="T29" fmla="*/ 70 h 70"/>
                    <a:gd name="T30" fmla="*/ 67 w 134"/>
                    <a:gd name="T31" fmla="*/ 70 h 70"/>
                    <a:gd name="T32" fmla="*/ 6 w 134"/>
                    <a:gd name="T33" fmla="*/ 30 h 70"/>
                    <a:gd name="T34" fmla="*/ 67 w 134"/>
                    <a:gd name="T35" fmla="*/ 66 h 70"/>
                    <a:gd name="T36" fmla="*/ 112 w 134"/>
                    <a:gd name="T37" fmla="*/ 39 h 70"/>
                    <a:gd name="T38" fmla="*/ 51 w 134"/>
                    <a:gd name="T39" fmla="*/ 4 h 70"/>
                    <a:gd name="T40" fmla="*/ 6 w 134"/>
                    <a:gd name="T41" fmla="*/ 30 h 70"/>
                    <a:gd name="T42" fmla="*/ 117 w 134"/>
                    <a:gd name="T43" fmla="*/ 24 h 70"/>
                    <a:gd name="T44" fmla="*/ 117 w 134"/>
                    <a:gd name="T45" fmla="*/ 37 h 70"/>
                    <a:gd name="T46" fmla="*/ 128 w 134"/>
                    <a:gd name="T47" fmla="*/ 30 h 70"/>
                    <a:gd name="T48" fmla="*/ 117 w 134"/>
                    <a:gd name="T49" fmla="*/ 2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4" h="70">
                      <a:moveTo>
                        <a:pt x="67" y="70"/>
                      </a:moveTo>
                      <a:cubicBezTo>
                        <a:pt x="66" y="70"/>
                        <a:pt x="66" y="70"/>
                        <a:pt x="66" y="70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1" y="0"/>
                        <a:pt x="52" y="0"/>
                      </a:cubicBezTo>
                      <a:cubicBezTo>
                        <a:pt x="113" y="35"/>
                        <a:pt x="113" y="35"/>
                        <a:pt x="113" y="35"/>
                      </a:cubicBezTo>
                      <a:cubicBezTo>
                        <a:pt x="113" y="20"/>
                        <a:pt x="113" y="20"/>
                        <a:pt x="113" y="20"/>
                      </a:cubicBezTo>
                      <a:cubicBezTo>
                        <a:pt x="113" y="20"/>
                        <a:pt x="113" y="19"/>
                        <a:pt x="114" y="19"/>
                      </a:cubicBezTo>
                      <a:cubicBezTo>
                        <a:pt x="114" y="18"/>
                        <a:pt x="115" y="18"/>
                        <a:pt x="116" y="19"/>
                      </a:cubicBezTo>
                      <a:cubicBezTo>
                        <a:pt x="133" y="29"/>
                        <a:pt x="133" y="29"/>
                        <a:pt x="133" y="29"/>
                      </a:cubicBezTo>
                      <a:cubicBezTo>
                        <a:pt x="133" y="29"/>
                        <a:pt x="134" y="30"/>
                        <a:pt x="134" y="30"/>
                      </a:cubicBezTo>
                      <a:cubicBezTo>
                        <a:pt x="134" y="31"/>
                        <a:pt x="133" y="32"/>
                        <a:pt x="133" y="32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ubicBezTo>
                        <a:pt x="67" y="70"/>
                        <a:pt x="67" y="70"/>
                        <a:pt x="67" y="70"/>
                      </a:cubicBezTo>
                      <a:close/>
                      <a:moveTo>
                        <a:pt x="6" y="30"/>
                      </a:moveTo>
                      <a:cubicBezTo>
                        <a:pt x="67" y="66"/>
                        <a:pt x="67" y="66"/>
                        <a:pt x="67" y="66"/>
                      </a:cubicBezTo>
                      <a:cubicBezTo>
                        <a:pt x="112" y="39"/>
                        <a:pt x="112" y="39"/>
                        <a:pt x="112" y="39"/>
                      </a:cubicBezTo>
                      <a:cubicBezTo>
                        <a:pt x="51" y="4"/>
                        <a:pt x="51" y="4"/>
                        <a:pt x="51" y="4"/>
                      </a:cubicBezTo>
                      <a:lnTo>
                        <a:pt x="6" y="30"/>
                      </a:lnTo>
                      <a:close/>
                      <a:moveTo>
                        <a:pt x="117" y="24"/>
                      </a:moveTo>
                      <a:cubicBezTo>
                        <a:pt x="117" y="37"/>
                        <a:pt x="117" y="37"/>
                        <a:pt x="117" y="37"/>
                      </a:cubicBezTo>
                      <a:cubicBezTo>
                        <a:pt x="128" y="30"/>
                        <a:pt x="128" y="30"/>
                        <a:pt x="128" y="30"/>
                      </a:cubicBezTo>
                      <a:lnTo>
                        <a:pt x="117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2" name="Freeform 624">
                  <a:extLst>
                    <a:ext uri="{FF2B5EF4-FFF2-40B4-BE49-F238E27FC236}">
                      <a16:creationId xmlns:a16="http://schemas.microsoft.com/office/drawing/2014/main" id="{AA0851E2-5E2D-4017-9334-C9CBE30C5D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44" y="1918"/>
                  <a:ext cx="161" cy="270"/>
                </a:xfrm>
                <a:custGeom>
                  <a:avLst/>
                  <a:gdLst>
                    <a:gd name="T0" fmla="*/ 5 w 68"/>
                    <a:gd name="T1" fmla="*/ 114 h 114"/>
                    <a:gd name="T2" fmla="*/ 4 w 68"/>
                    <a:gd name="T3" fmla="*/ 114 h 114"/>
                    <a:gd name="T4" fmla="*/ 1 w 68"/>
                    <a:gd name="T5" fmla="*/ 112 h 114"/>
                    <a:gd name="T6" fmla="*/ 0 w 68"/>
                    <a:gd name="T7" fmla="*/ 111 h 114"/>
                    <a:gd name="T8" fmla="*/ 0 w 68"/>
                    <a:gd name="T9" fmla="*/ 40 h 114"/>
                    <a:gd name="T10" fmla="*/ 1 w 68"/>
                    <a:gd name="T11" fmla="*/ 38 h 114"/>
                    <a:gd name="T12" fmla="*/ 65 w 68"/>
                    <a:gd name="T13" fmla="*/ 1 h 114"/>
                    <a:gd name="T14" fmla="*/ 67 w 68"/>
                    <a:gd name="T15" fmla="*/ 1 h 114"/>
                    <a:gd name="T16" fmla="*/ 68 w 68"/>
                    <a:gd name="T17" fmla="*/ 3 h 114"/>
                    <a:gd name="T18" fmla="*/ 68 w 68"/>
                    <a:gd name="T19" fmla="*/ 15 h 114"/>
                    <a:gd name="T20" fmla="*/ 67 w 68"/>
                    <a:gd name="T21" fmla="*/ 17 h 114"/>
                    <a:gd name="T22" fmla="*/ 65 w 68"/>
                    <a:gd name="T23" fmla="*/ 17 h 114"/>
                    <a:gd name="T24" fmla="*/ 59 w 68"/>
                    <a:gd name="T25" fmla="*/ 13 h 114"/>
                    <a:gd name="T26" fmla="*/ 59 w 68"/>
                    <a:gd name="T27" fmla="*/ 82 h 114"/>
                    <a:gd name="T28" fmla="*/ 58 w 68"/>
                    <a:gd name="T29" fmla="*/ 84 h 114"/>
                    <a:gd name="T30" fmla="*/ 6 w 68"/>
                    <a:gd name="T31" fmla="*/ 114 h 114"/>
                    <a:gd name="T32" fmla="*/ 5 w 68"/>
                    <a:gd name="T33" fmla="*/ 114 h 114"/>
                    <a:gd name="T34" fmla="*/ 4 w 68"/>
                    <a:gd name="T35" fmla="*/ 110 h 114"/>
                    <a:gd name="T36" fmla="*/ 5 w 68"/>
                    <a:gd name="T37" fmla="*/ 110 h 114"/>
                    <a:gd name="T38" fmla="*/ 55 w 68"/>
                    <a:gd name="T39" fmla="*/ 81 h 114"/>
                    <a:gd name="T40" fmla="*/ 55 w 68"/>
                    <a:gd name="T41" fmla="*/ 12 h 114"/>
                    <a:gd name="T42" fmla="*/ 4 w 68"/>
                    <a:gd name="T43" fmla="*/ 41 h 114"/>
                    <a:gd name="T44" fmla="*/ 4 w 68"/>
                    <a:gd name="T45" fmla="*/ 110 h 114"/>
                    <a:gd name="T46" fmla="*/ 59 w 68"/>
                    <a:gd name="T47" fmla="*/ 9 h 114"/>
                    <a:gd name="T48" fmla="*/ 64 w 68"/>
                    <a:gd name="T49" fmla="*/ 12 h 114"/>
                    <a:gd name="T50" fmla="*/ 64 w 68"/>
                    <a:gd name="T51" fmla="*/ 6 h 114"/>
                    <a:gd name="T52" fmla="*/ 59 w 68"/>
                    <a:gd name="T53" fmla="*/ 9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" h="114">
                      <a:moveTo>
                        <a:pt x="5" y="114"/>
                      </a:moveTo>
                      <a:cubicBezTo>
                        <a:pt x="4" y="114"/>
                        <a:pt x="4" y="114"/>
                        <a:pt x="4" y="114"/>
                      </a:cubicBezTo>
                      <a:cubicBezTo>
                        <a:pt x="1" y="112"/>
                        <a:pt x="1" y="112"/>
                        <a:pt x="1" y="112"/>
                      </a:cubicBezTo>
                      <a:cubicBezTo>
                        <a:pt x="1" y="112"/>
                        <a:pt x="0" y="111"/>
                        <a:pt x="0" y="111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39"/>
                        <a:pt x="1" y="38"/>
                        <a:pt x="1" y="38"/>
                      </a:cubicBezTo>
                      <a:cubicBezTo>
                        <a:pt x="65" y="1"/>
                        <a:pt x="65" y="1"/>
                        <a:pt x="65" y="1"/>
                      </a:cubicBezTo>
                      <a:cubicBezTo>
                        <a:pt x="66" y="0"/>
                        <a:pt x="67" y="0"/>
                        <a:pt x="67" y="1"/>
                      </a:cubicBezTo>
                      <a:cubicBezTo>
                        <a:pt x="68" y="1"/>
                        <a:pt x="68" y="2"/>
                        <a:pt x="68" y="3"/>
                      </a:cubicBezTo>
                      <a:cubicBezTo>
                        <a:pt x="68" y="15"/>
                        <a:pt x="68" y="15"/>
                        <a:pt x="68" y="15"/>
                      </a:cubicBezTo>
                      <a:cubicBezTo>
                        <a:pt x="68" y="16"/>
                        <a:pt x="68" y="17"/>
                        <a:pt x="67" y="17"/>
                      </a:cubicBezTo>
                      <a:cubicBezTo>
                        <a:pt x="67" y="18"/>
                        <a:pt x="66" y="18"/>
                        <a:pt x="65" y="17"/>
                      </a:cubicBezTo>
                      <a:cubicBezTo>
                        <a:pt x="59" y="13"/>
                        <a:pt x="59" y="13"/>
                        <a:pt x="59" y="13"/>
                      </a:cubicBezTo>
                      <a:cubicBezTo>
                        <a:pt x="59" y="82"/>
                        <a:pt x="59" y="82"/>
                        <a:pt x="59" y="82"/>
                      </a:cubicBezTo>
                      <a:cubicBezTo>
                        <a:pt x="59" y="83"/>
                        <a:pt x="58" y="84"/>
                        <a:pt x="58" y="84"/>
                      </a:cubicBezTo>
                      <a:cubicBezTo>
                        <a:pt x="6" y="114"/>
                        <a:pt x="6" y="114"/>
                        <a:pt x="6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lose/>
                      <a:moveTo>
                        <a:pt x="4" y="110"/>
                      </a:moveTo>
                      <a:cubicBezTo>
                        <a:pt x="5" y="110"/>
                        <a:pt x="5" y="110"/>
                        <a:pt x="5" y="110"/>
                      </a:cubicBezTo>
                      <a:cubicBezTo>
                        <a:pt x="55" y="81"/>
                        <a:pt x="55" y="81"/>
                        <a:pt x="55" y="81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4" y="41"/>
                        <a:pt x="4" y="41"/>
                        <a:pt x="4" y="41"/>
                      </a:cubicBezTo>
                      <a:lnTo>
                        <a:pt x="4" y="110"/>
                      </a:lnTo>
                      <a:close/>
                      <a:moveTo>
                        <a:pt x="59" y="9"/>
                      </a:moveTo>
                      <a:cubicBezTo>
                        <a:pt x="64" y="12"/>
                        <a:pt x="64" y="12"/>
                        <a:pt x="64" y="12"/>
                      </a:cubicBezTo>
                      <a:cubicBezTo>
                        <a:pt x="64" y="6"/>
                        <a:pt x="64" y="6"/>
                        <a:pt x="64" y="6"/>
                      </a:cubicBezTo>
                      <a:lnTo>
                        <a:pt x="59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3" name="Freeform 625">
                  <a:extLst>
                    <a:ext uri="{FF2B5EF4-FFF2-40B4-BE49-F238E27FC236}">
                      <a16:creationId xmlns:a16="http://schemas.microsoft.com/office/drawing/2014/main" id="{118BB163-38BE-4284-B49A-F3404EE3E5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53" y="2112"/>
                  <a:ext cx="130" cy="78"/>
                </a:xfrm>
                <a:custGeom>
                  <a:avLst/>
                  <a:gdLst>
                    <a:gd name="T0" fmla="*/ 3 w 55"/>
                    <a:gd name="T1" fmla="*/ 33 h 33"/>
                    <a:gd name="T2" fmla="*/ 2 w 55"/>
                    <a:gd name="T3" fmla="*/ 33 h 33"/>
                    <a:gd name="T4" fmla="*/ 1 w 55"/>
                    <a:gd name="T5" fmla="*/ 33 h 33"/>
                    <a:gd name="T6" fmla="*/ 0 w 55"/>
                    <a:gd name="T7" fmla="*/ 31 h 33"/>
                    <a:gd name="T8" fmla="*/ 1 w 55"/>
                    <a:gd name="T9" fmla="*/ 29 h 33"/>
                    <a:gd name="T10" fmla="*/ 52 w 55"/>
                    <a:gd name="T11" fmla="*/ 0 h 33"/>
                    <a:gd name="T12" fmla="*/ 54 w 55"/>
                    <a:gd name="T13" fmla="*/ 0 h 33"/>
                    <a:gd name="T14" fmla="*/ 55 w 55"/>
                    <a:gd name="T15" fmla="*/ 2 h 33"/>
                    <a:gd name="T16" fmla="*/ 55 w 55"/>
                    <a:gd name="T17" fmla="*/ 3 h 33"/>
                    <a:gd name="T18" fmla="*/ 54 w 55"/>
                    <a:gd name="T19" fmla="*/ 4 h 33"/>
                    <a:gd name="T20" fmla="*/ 4 w 55"/>
                    <a:gd name="T21" fmla="*/ 33 h 33"/>
                    <a:gd name="T22" fmla="*/ 3 w 55"/>
                    <a:gd name="T23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" h="33">
                      <a:moveTo>
                        <a:pt x="3" y="33"/>
                      </a:moveTo>
                      <a:cubicBezTo>
                        <a:pt x="3" y="33"/>
                        <a:pt x="2" y="33"/>
                        <a:pt x="2" y="33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2"/>
                        <a:pt x="0" y="32"/>
                        <a:pt x="0" y="31"/>
                      </a:cubicBezTo>
                      <a:cubicBezTo>
                        <a:pt x="0" y="30"/>
                        <a:pt x="1" y="30"/>
                        <a:pt x="1" y="29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3" y="0"/>
                        <a:pt x="54" y="0"/>
                      </a:cubicBezTo>
                      <a:cubicBezTo>
                        <a:pt x="54" y="1"/>
                        <a:pt x="55" y="1"/>
                        <a:pt x="55" y="2"/>
                      </a:cubicBezTo>
                      <a:cubicBezTo>
                        <a:pt x="55" y="3"/>
                        <a:pt x="55" y="3"/>
                        <a:pt x="55" y="3"/>
                      </a:cubicBezTo>
                      <a:cubicBezTo>
                        <a:pt x="55" y="3"/>
                        <a:pt x="54" y="4"/>
                        <a:pt x="54" y="4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4" y="33"/>
                        <a:pt x="3" y="33"/>
                        <a:pt x="3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4" name="Freeform 626">
                  <a:extLst>
                    <a:ext uri="{FF2B5EF4-FFF2-40B4-BE49-F238E27FC236}">
                      <a16:creationId xmlns:a16="http://schemas.microsoft.com/office/drawing/2014/main" id="{FBEC9F24-215E-417E-9F3E-91EC9F65B3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44" y="1699"/>
                  <a:ext cx="26" cy="28"/>
                </a:xfrm>
                <a:custGeom>
                  <a:avLst/>
                  <a:gdLst>
                    <a:gd name="T0" fmla="*/ 2 w 11"/>
                    <a:gd name="T1" fmla="*/ 12 h 12"/>
                    <a:gd name="T2" fmla="*/ 1 w 11"/>
                    <a:gd name="T3" fmla="*/ 12 h 12"/>
                    <a:gd name="T4" fmla="*/ 0 w 11"/>
                    <a:gd name="T5" fmla="*/ 10 h 12"/>
                    <a:gd name="T6" fmla="*/ 0 w 11"/>
                    <a:gd name="T7" fmla="*/ 2 h 12"/>
                    <a:gd name="T8" fmla="*/ 1 w 11"/>
                    <a:gd name="T9" fmla="*/ 0 h 12"/>
                    <a:gd name="T10" fmla="*/ 3 w 11"/>
                    <a:gd name="T11" fmla="*/ 0 h 12"/>
                    <a:gd name="T12" fmla="*/ 10 w 11"/>
                    <a:gd name="T13" fmla="*/ 4 h 12"/>
                    <a:gd name="T14" fmla="*/ 11 w 11"/>
                    <a:gd name="T15" fmla="*/ 6 h 12"/>
                    <a:gd name="T16" fmla="*/ 10 w 11"/>
                    <a:gd name="T17" fmla="*/ 7 h 12"/>
                    <a:gd name="T18" fmla="*/ 3 w 11"/>
                    <a:gd name="T19" fmla="*/ 12 h 12"/>
                    <a:gd name="T20" fmla="*/ 2 w 11"/>
                    <a:gd name="T21" fmla="*/ 12 h 12"/>
                    <a:gd name="T22" fmla="*/ 4 w 11"/>
                    <a:gd name="T23" fmla="*/ 5 h 12"/>
                    <a:gd name="T24" fmla="*/ 4 w 11"/>
                    <a:gd name="T25" fmla="*/ 6 h 12"/>
                    <a:gd name="T26" fmla="*/ 5 w 11"/>
                    <a:gd name="T27" fmla="*/ 6 h 12"/>
                    <a:gd name="T28" fmla="*/ 4 w 11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2" y="12"/>
                      </a:moveTo>
                      <a:cubicBezTo>
                        <a:pt x="2" y="12"/>
                        <a:pt x="2" y="12"/>
                        <a:pt x="1" y="12"/>
                      </a:cubicBezTo>
                      <a:cubicBezTo>
                        <a:pt x="1" y="11"/>
                        <a:pt x="0" y="10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4"/>
                        <a:pt x="11" y="5"/>
                        <a:pt x="11" y="6"/>
                      </a:cubicBezTo>
                      <a:cubicBezTo>
                        <a:pt x="11" y="6"/>
                        <a:pt x="11" y="7"/>
                        <a:pt x="10" y="7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3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5" name="Freeform 627">
                  <a:extLst>
                    <a:ext uri="{FF2B5EF4-FFF2-40B4-BE49-F238E27FC236}">
                      <a16:creationId xmlns:a16="http://schemas.microsoft.com/office/drawing/2014/main" id="{4D6E4E2A-B418-4931-895B-256DA74854D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53" y="820"/>
                  <a:ext cx="42" cy="40"/>
                </a:xfrm>
                <a:custGeom>
                  <a:avLst/>
                  <a:gdLst>
                    <a:gd name="T0" fmla="*/ 9 w 18"/>
                    <a:gd name="T1" fmla="*/ 17 h 17"/>
                    <a:gd name="T2" fmla="*/ 8 w 18"/>
                    <a:gd name="T3" fmla="*/ 17 h 17"/>
                    <a:gd name="T4" fmla="*/ 1 w 18"/>
                    <a:gd name="T5" fmla="*/ 12 h 17"/>
                    <a:gd name="T6" fmla="*/ 0 w 18"/>
                    <a:gd name="T7" fmla="*/ 11 h 17"/>
                    <a:gd name="T8" fmla="*/ 1 w 18"/>
                    <a:gd name="T9" fmla="*/ 9 h 17"/>
                    <a:gd name="T10" fmla="*/ 15 w 18"/>
                    <a:gd name="T11" fmla="*/ 1 h 17"/>
                    <a:gd name="T12" fmla="*/ 17 w 18"/>
                    <a:gd name="T13" fmla="*/ 1 h 17"/>
                    <a:gd name="T14" fmla="*/ 18 w 18"/>
                    <a:gd name="T15" fmla="*/ 3 h 17"/>
                    <a:gd name="T16" fmla="*/ 18 w 18"/>
                    <a:gd name="T17" fmla="*/ 11 h 17"/>
                    <a:gd name="T18" fmla="*/ 17 w 18"/>
                    <a:gd name="T19" fmla="*/ 13 h 17"/>
                    <a:gd name="T20" fmla="*/ 10 w 18"/>
                    <a:gd name="T21" fmla="*/ 17 h 17"/>
                    <a:gd name="T22" fmla="*/ 9 w 18"/>
                    <a:gd name="T23" fmla="*/ 17 h 17"/>
                    <a:gd name="T24" fmla="*/ 6 w 18"/>
                    <a:gd name="T25" fmla="*/ 11 h 17"/>
                    <a:gd name="T26" fmla="*/ 9 w 18"/>
                    <a:gd name="T27" fmla="*/ 13 h 17"/>
                    <a:gd name="T28" fmla="*/ 14 w 18"/>
                    <a:gd name="T29" fmla="*/ 10 h 17"/>
                    <a:gd name="T30" fmla="*/ 14 w 18"/>
                    <a:gd name="T31" fmla="*/ 6 h 17"/>
                    <a:gd name="T32" fmla="*/ 6 w 18"/>
                    <a:gd name="T33" fmla="*/ 11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" h="17">
                      <a:moveTo>
                        <a:pt x="9" y="17"/>
                      </a:moveTo>
                      <a:cubicBezTo>
                        <a:pt x="9" y="17"/>
                        <a:pt x="8" y="17"/>
                        <a:pt x="8" y="17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1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6" y="0"/>
                        <a:pt x="16" y="0"/>
                        <a:pt x="17" y="1"/>
                      </a:cubicBezTo>
                      <a:cubicBezTo>
                        <a:pt x="18" y="1"/>
                        <a:pt x="18" y="2"/>
                        <a:pt x="18" y="3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8" y="12"/>
                        <a:pt x="18" y="12"/>
                        <a:pt x="17" y="13"/>
                      </a:cubicBezTo>
                      <a:cubicBezTo>
                        <a:pt x="10" y="17"/>
                        <a:pt x="10" y="17"/>
                        <a:pt x="10" y="17"/>
                      </a:cubicBezTo>
                      <a:cubicBezTo>
                        <a:pt x="10" y="17"/>
                        <a:pt x="9" y="17"/>
                        <a:pt x="9" y="17"/>
                      </a:cubicBezTo>
                      <a:close/>
                      <a:moveTo>
                        <a:pt x="6" y="11"/>
                      </a:move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6"/>
                        <a:pt x="14" y="6"/>
                        <a:pt x="14" y="6"/>
                      </a:cubicBez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6" name="Freeform 628">
                  <a:extLst>
                    <a:ext uri="{FF2B5EF4-FFF2-40B4-BE49-F238E27FC236}">
                      <a16:creationId xmlns:a16="http://schemas.microsoft.com/office/drawing/2014/main" id="{DE951AA4-6CF5-4083-85C6-46A4E5B040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44" y="2181"/>
                  <a:ext cx="12" cy="11"/>
                </a:xfrm>
                <a:custGeom>
                  <a:avLst/>
                  <a:gdLst>
                    <a:gd name="T0" fmla="*/ 2 w 5"/>
                    <a:gd name="T1" fmla="*/ 5 h 5"/>
                    <a:gd name="T2" fmla="*/ 1 w 5"/>
                    <a:gd name="T3" fmla="*/ 4 h 5"/>
                    <a:gd name="T4" fmla="*/ 0 w 5"/>
                    <a:gd name="T5" fmla="*/ 3 h 5"/>
                    <a:gd name="T6" fmla="*/ 0 w 5"/>
                    <a:gd name="T7" fmla="*/ 2 h 5"/>
                    <a:gd name="T8" fmla="*/ 1 w 5"/>
                    <a:gd name="T9" fmla="*/ 0 h 5"/>
                    <a:gd name="T10" fmla="*/ 3 w 5"/>
                    <a:gd name="T11" fmla="*/ 0 h 5"/>
                    <a:gd name="T12" fmla="*/ 4 w 5"/>
                    <a:gd name="T13" fmla="*/ 0 h 5"/>
                    <a:gd name="T14" fmla="*/ 5 w 5"/>
                    <a:gd name="T15" fmla="*/ 2 h 5"/>
                    <a:gd name="T16" fmla="*/ 4 w 5"/>
                    <a:gd name="T17" fmla="*/ 4 h 5"/>
                    <a:gd name="T18" fmla="*/ 3 w 5"/>
                    <a:gd name="T19" fmla="*/ 4 h 5"/>
                    <a:gd name="T20" fmla="*/ 2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2" y="5"/>
                      </a:moveTo>
                      <a:cubicBezTo>
                        <a:pt x="2" y="5"/>
                        <a:pt x="2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1"/>
                        <a:pt x="5" y="1"/>
                        <a:pt x="5" y="2"/>
                      </a:cubicBezTo>
                      <a:cubicBezTo>
                        <a:pt x="5" y="3"/>
                        <a:pt x="5" y="3"/>
                        <a:pt x="4" y="4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3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7" name="Freeform 629">
                  <a:extLst>
                    <a:ext uri="{FF2B5EF4-FFF2-40B4-BE49-F238E27FC236}">
                      <a16:creationId xmlns:a16="http://schemas.microsoft.com/office/drawing/2014/main" id="{F8A6455A-E797-4319-8256-B8E4520013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72" y="1699"/>
                  <a:ext cx="111" cy="73"/>
                </a:xfrm>
                <a:custGeom>
                  <a:avLst/>
                  <a:gdLst>
                    <a:gd name="T0" fmla="*/ 45 w 47"/>
                    <a:gd name="T1" fmla="*/ 31 h 31"/>
                    <a:gd name="T2" fmla="*/ 44 w 47"/>
                    <a:gd name="T3" fmla="*/ 31 h 31"/>
                    <a:gd name="T4" fmla="*/ 1 w 47"/>
                    <a:gd name="T5" fmla="*/ 7 h 31"/>
                    <a:gd name="T6" fmla="*/ 0 w 47"/>
                    <a:gd name="T7" fmla="*/ 5 h 31"/>
                    <a:gd name="T8" fmla="*/ 0 w 47"/>
                    <a:gd name="T9" fmla="*/ 2 h 31"/>
                    <a:gd name="T10" fmla="*/ 1 w 47"/>
                    <a:gd name="T11" fmla="*/ 1 h 31"/>
                    <a:gd name="T12" fmla="*/ 3 w 47"/>
                    <a:gd name="T13" fmla="*/ 1 h 31"/>
                    <a:gd name="T14" fmla="*/ 46 w 47"/>
                    <a:gd name="T15" fmla="*/ 25 h 31"/>
                    <a:gd name="T16" fmla="*/ 47 w 47"/>
                    <a:gd name="T17" fmla="*/ 27 h 31"/>
                    <a:gd name="T18" fmla="*/ 47 w 47"/>
                    <a:gd name="T19" fmla="*/ 29 h 31"/>
                    <a:gd name="T20" fmla="*/ 46 w 47"/>
                    <a:gd name="T21" fmla="*/ 31 h 31"/>
                    <a:gd name="T22" fmla="*/ 45 w 47"/>
                    <a:gd name="T23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31">
                      <a:moveTo>
                        <a:pt x="45" y="31"/>
                      </a:moveTo>
                      <a:cubicBezTo>
                        <a:pt x="44" y="31"/>
                        <a:pt x="44" y="31"/>
                        <a:pt x="44" y="31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6"/>
                        <a:pt x="0" y="6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46" y="25"/>
                        <a:pt x="46" y="25"/>
                        <a:pt x="46" y="25"/>
                      </a:cubicBezTo>
                      <a:cubicBezTo>
                        <a:pt x="46" y="25"/>
                        <a:pt x="47" y="26"/>
                        <a:pt x="47" y="27"/>
                      </a:cubicBezTo>
                      <a:cubicBezTo>
                        <a:pt x="47" y="29"/>
                        <a:pt x="47" y="29"/>
                        <a:pt x="47" y="29"/>
                      </a:cubicBezTo>
                      <a:cubicBezTo>
                        <a:pt x="47" y="30"/>
                        <a:pt x="46" y="31"/>
                        <a:pt x="46" y="31"/>
                      </a:cubicBezTo>
                      <a:cubicBezTo>
                        <a:pt x="45" y="31"/>
                        <a:pt x="45" y="31"/>
                        <a:pt x="45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8" name="Freeform 630">
                  <a:extLst>
                    <a:ext uri="{FF2B5EF4-FFF2-40B4-BE49-F238E27FC236}">
                      <a16:creationId xmlns:a16="http://schemas.microsoft.com/office/drawing/2014/main" id="{8F894DA8-C642-4B3E-B23C-1D36198226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56" y="1663"/>
                  <a:ext cx="127" cy="99"/>
                </a:xfrm>
                <a:custGeom>
                  <a:avLst/>
                  <a:gdLst>
                    <a:gd name="T0" fmla="*/ 52 w 54"/>
                    <a:gd name="T1" fmla="*/ 42 h 42"/>
                    <a:gd name="T2" fmla="*/ 51 w 54"/>
                    <a:gd name="T3" fmla="*/ 42 h 42"/>
                    <a:gd name="T4" fmla="*/ 10 w 54"/>
                    <a:gd name="T5" fmla="*/ 18 h 42"/>
                    <a:gd name="T6" fmla="*/ 10 w 54"/>
                    <a:gd name="T7" fmla="*/ 19 h 42"/>
                    <a:gd name="T8" fmla="*/ 9 w 54"/>
                    <a:gd name="T9" fmla="*/ 21 h 42"/>
                    <a:gd name="T10" fmla="*/ 7 w 54"/>
                    <a:gd name="T11" fmla="*/ 21 h 42"/>
                    <a:gd name="T12" fmla="*/ 1 w 54"/>
                    <a:gd name="T13" fmla="*/ 17 h 42"/>
                    <a:gd name="T14" fmla="*/ 0 w 54"/>
                    <a:gd name="T15" fmla="*/ 16 h 42"/>
                    <a:gd name="T16" fmla="*/ 0 w 54"/>
                    <a:gd name="T17" fmla="*/ 2 h 42"/>
                    <a:gd name="T18" fmla="*/ 1 w 54"/>
                    <a:gd name="T19" fmla="*/ 0 h 42"/>
                    <a:gd name="T20" fmla="*/ 3 w 54"/>
                    <a:gd name="T21" fmla="*/ 0 h 42"/>
                    <a:gd name="T22" fmla="*/ 53 w 54"/>
                    <a:gd name="T23" fmla="*/ 29 h 42"/>
                    <a:gd name="T24" fmla="*/ 54 w 54"/>
                    <a:gd name="T25" fmla="*/ 31 h 42"/>
                    <a:gd name="T26" fmla="*/ 54 w 54"/>
                    <a:gd name="T27" fmla="*/ 40 h 42"/>
                    <a:gd name="T28" fmla="*/ 53 w 54"/>
                    <a:gd name="T29" fmla="*/ 42 h 42"/>
                    <a:gd name="T30" fmla="*/ 52 w 54"/>
                    <a:gd name="T31" fmla="*/ 42 h 42"/>
                    <a:gd name="T32" fmla="*/ 8 w 54"/>
                    <a:gd name="T33" fmla="*/ 13 h 42"/>
                    <a:gd name="T34" fmla="*/ 9 w 54"/>
                    <a:gd name="T35" fmla="*/ 13 h 42"/>
                    <a:gd name="T36" fmla="*/ 50 w 54"/>
                    <a:gd name="T37" fmla="*/ 36 h 42"/>
                    <a:gd name="T38" fmla="*/ 50 w 54"/>
                    <a:gd name="T39" fmla="*/ 32 h 42"/>
                    <a:gd name="T40" fmla="*/ 4 w 54"/>
                    <a:gd name="T41" fmla="*/ 5 h 42"/>
                    <a:gd name="T42" fmla="*/ 4 w 54"/>
                    <a:gd name="T43" fmla="*/ 14 h 42"/>
                    <a:gd name="T44" fmla="*/ 6 w 54"/>
                    <a:gd name="T45" fmla="*/ 16 h 42"/>
                    <a:gd name="T46" fmla="*/ 6 w 54"/>
                    <a:gd name="T47" fmla="*/ 15 h 42"/>
                    <a:gd name="T48" fmla="*/ 7 w 54"/>
                    <a:gd name="T49" fmla="*/ 13 h 42"/>
                    <a:gd name="T50" fmla="*/ 8 w 54"/>
                    <a:gd name="T51" fmla="*/ 1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4" h="42">
                      <a:moveTo>
                        <a:pt x="52" y="42"/>
                      </a:moveTo>
                      <a:cubicBezTo>
                        <a:pt x="51" y="42"/>
                        <a:pt x="51" y="42"/>
                        <a:pt x="51" y="42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0"/>
                        <a:pt x="9" y="20"/>
                        <a:pt x="9" y="21"/>
                      </a:cubicBezTo>
                      <a:cubicBezTo>
                        <a:pt x="8" y="21"/>
                        <a:pt x="7" y="21"/>
                        <a:pt x="7" y="21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53" y="29"/>
                        <a:pt x="53" y="29"/>
                        <a:pt x="53" y="29"/>
                      </a:cubicBezTo>
                      <a:cubicBezTo>
                        <a:pt x="53" y="29"/>
                        <a:pt x="54" y="30"/>
                        <a:pt x="54" y="31"/>
                      </a:cubicBezTo>
                      <a:cubicBezTo>
                        <a:pt x="54" y="40"/>
                        <a:pt x="54" y="40"/>
                        <a:pt x="54" y="40"/>
                      </a:cubicBezTo>
                      <a:cubicBezTo>
                        <a:pt x="54" y="41"/>
                        <a:pt x="53" y="41"/>
                        <a:pt x="53" y="42"/>
                      </a:cubicBezTo>
                      <a:cubicBezTo>
                        <a:pt x="52" y="42"/>
                        <a:pt x="52" y="42"/>
                        <a:pt x="52" y="42"/>
                      </a:cubicBezTo>
                      <a:close/>
                      <a:moveTo>
                        <a:pt x="8" y="13"/>
                      </a:moveTo>
                      <a:cubicBezTo>
                        <a:pt x="8" y="13"/>
                        <a:pt x="8" y="13"/>
                        <a:pt x="9" y="13"/>
                      </a:cubicBezTo>
                      <a:cubicBezTo>
                        <a:pt x="50" y="36"/>
                        <a:pt x="50" y="36"/>
                        <a:pt x="50" y="36"/>
                      </a:cubicBezTo>
                      <a:cubicBezTo>
                        <a:pt x="50" y="32"/>
                        <a:pt x="50" y="32"/>
                        <a:pt x="50" y="32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5"/>
                        <a:pt x="6" y="15"/>
                        <a:pt x="6" y="15"/>
                      </a:cubicBezTo>
                      <a:cubicBezTo>
                        <a:pt x="6" y="14"/>
                        <a:pt x="6" y="13"/>
                        <a:pt x="7" y="13"/>
                      </a:cubicBezTo>
                      <a:cubicBezTo>
                        <a:pt x="7" y="13"/>
                        <a:pt x="7" y="13"/>
                        <a:pt x="8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9" name="Freeform 631">
                  <a:extLst>
                    <a:ext uri="{FF2B5EF4-FFF2-40B4-BE49-F238E27FC236}">
                      <a16:creationId xmlns:a16="http://schemas.microsoft.com/office/drawing/2014/main" id="{24FB7961-93B9-4891-8D82-8A4437F344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1947"/>
                  <a:ext cx="149" cy="250"/>
                </a:xfrm>
                <a:custGeom>
                  <a:avLst/>
                  <a:gdLst>
                    <a:gd name="T0" fmla="*/ 2 w 63"/>
                    <a:gd name="T1" fmla="*/ 106 h 106"/>
                    <a:gd name="T2" fmla="*/ 1 w 63"/>
                    <a:gd name="T3" fmla="*/ 106 h 106"/>
                    <a:gd name="T4" fmla="*/ 0 w 63"/>
                    <a:gd name="T5" fmla="*/ 104 h 106"/>
                    <a:gd name="T6" fmla="*/ 0 w 63"/>
                    <a:gd name="T7" fmla="*/ 103 h 106"/>
                    <a:gd name="T8" fmla="*/ 0 w 63"/>
                    <a:gd name="T9" fmla="*/ 102 h 106"/>
                    <a:gd name="T10" fmla="*/ 0 w 63"/>
                    <a:gd name="T11" fmla="*/ 102 h 106"/>
                    <a:gd name="T12" fmla="*/ 0 w 63"/>
                    <a:gd name="T13" fmla="*/ 36 h 106"/>
                    <a:gd name="T14" fmla="*/ 1 w 63"/>
                    <a:gd name="T15" fmla="*/ 35 h 106"/>
                    <a:gd name="T16" fmla="*/ 60 w 63"/>
                    <a:gd name="T17" fmla="*/ 1 h 106"/>
                    <a:gd name="T18" fmla="*/ 62 w 63"/>
                    <a:gd name="T19" fmla="*/ 1 h 106"/>
                    <a:gd name="T20" fmla="*/ 63 w 63"/>
                    <a:gd name="T21" fmla="*/ 2 h 106"/>
                    <a:gd name="T22" fmla="*/ 63 w 63"/>
                    <a:gd name="T23" fmla="*/ 70 h 106"/>
                    <a:gd name="T24" fmla="*/ 62 w 63"/>
                    <a:gd name="T25" fmla="*/ 72 h 106"/>
                    <a:gd name="T26" fmla="*/ 3 w 63"/>
                    <a:gd name="T27" fmla="*/ 106 h 106"/>
                    <a:gd name="T28" fmla="*/ 2 w 63"/>
                    <a:gd name="T29" fmla="*/ 106 h 106"/>
                    <a:gd name="T30" fmla="*/ 4 w 63"/>
                    <a:gd name="T31" fmla="*/ 101 h 106"/>
                    <a:gd name="T32" fmla="*/ 5 w 63"/>
                    <a:gd name="T33" fmla="*/ 101 h 106"/>
                    <a:gd name="T34" fmla="*/ 59 w 63"/>
                    <a:gd name="T35" fmla="*/ 69 h 106"/>
                    <a:gd name="T36" fmla="*/ 59 w 63"/>
                    <a:gd name="T37" fmla="*/ 6 h 106"/>
                    <a:gd name="T38" fmla="*/ 4 w 63"/>
                    <a:gd name="T39" fmla="*/ 38 h 106"/>
                    <a:gd name="T40" fmla="*/ 4 w 63"/>
                    <a:gd name="T41" fmla="*/ 101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" h="106">
                      <a:moveTo>
                        <a:pt x="2" y="106"/>
                      </a:moveTo>
                      <a:cubicBezTo>
                        <a:pt x="2" y="106"/>
                        <a:pt x="2" y="106"/>
                        <a:pt x="1" y="106"/>
                      </a:cubicBezTo>
                      <a:cubicBezTo>
                        <a:pt x="1" y="106"/>
                        <a:pt x="0" y="105"/>
                        <a:pt x="0" y="104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0" y="103"/>
                        <a:pt x="0" y="102"/>
                        <a:pt x="0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1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1" y="0"/>
                        <a:pt x="62" y="0"/>
                        <a:pt x="62" y="1"/>
                      </a:cubicBezTo>
                      <a:cubicBezTo>
                        <a:pt x="63" y="1"/>
                        <a:pt x="63" y="2"/>
                        <a:pt x="63" y="2"/>
                      </a:cubicBezTo>
                      <a:cubicBezTo>
                        <a:pt x="63" y="70"/>
                        <a:pt x="63" y="70"/>
                        <a:pt x="63" y="70"/>
                      </a:cubicBezTo>
                      <a:cubicBezTo>
                        <a:pt x="63" y="71"/>
                        <a:pt x="63" y="72"/>
                        <a:pt x="62" y="72"/>
                      </a:cubicBezTo>
                      <a:cubicBezTo>
                        <a:pt x="3" y="106"/>
                        <a:pt x="3" y="106"/>
                        <a:pt x="3" y="106"/>
                      </a:cubicBezTo>
                      <a:cubicBezTo>
                        <a:pt x="3" y="106"/>
                        <a:pt x="3" y="106"/>
                        <a:pt x="2" y="106"/>
                      </a:cubicBezTo>
                      <a:close/>
                      <a:moveTo>
                        <a:pt x="4" y="101"/>
                      </a:moveTo>
                      <a:cubicBezTo>
                        <a:pt x="4" y="101"/>
                        <a:pt x="4" y="101"/>
                        <a:pt x="5" y="101"/>
                      </a:cubicBezTo>
                      <a:cubicBezTo>
                        <a:pt x="59" y="69"/>
                        <a:pt x="59" y="69"/>
                        <a:pt x="59" y="69"/>
                      </a:cubicBezTo>
                      <a:cubicBezTo>
                        <a:pt x="59" y="6"/>
                        <a:pt x="59" y="6"/>
                        <a:pt x="59" y="6"/>
                      </a:cubicBezTo>
                      <a:cubicBezTo>
                        <a:pt x="4" y="38"/>
                        <a:pt x="4" y="38"/>
                        <a:pt x="4" y="38"/>
                      </a:cubicBezTo>
                      <a:lnTo>
                        <a:pt x="4" y="10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0" name="Freeform 632">
                  <a:extLst>
                    <a:ext uri="{FF2B5EF4-FFF2-40B4-BE49-F238E27FC236}">
                      <a16:creationId xmlns:a16="http://schemas.microsoft.com/office/drawing/2014/main" id="{EF11C201-5AC9-46AF-849C-2525457C35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30" y="1562"/>
                  <a:ext cx="153" cy="174"/>
                </a:xfrm>
                <a:custGeom>
                  <a:avLst/>
                  <a:gdLst>
                    <a:gd name="T0" fmla="*/ 63 w 65"/>
                    <a:gd name="T1" fmla="*/ 74 h 74"/>
                    <a:gd name="T2" fmla="*/ 62 w 65"/>
                    <a:gd name="T3" fmla="*/ 73 h 74"/>
                    <a:gd name="T4" fmla="*/ 12 w 65"/>
                    <a:gd name="T5" fmla="*/ 45 h 74"/>
                    <a:gd name="T6" fmla="*/ 11 w 65"/>
                    <a:gd name="T7" fmla="*/ 43 h 74"/>
                    <a:gd name="T8" fmla="*/ 11 w 65"/>
                    <a:gd name="T9" fmla="*/ 40 h 74"/>
                    <a:gd name="T10" fmla="*/ 9 w 65"/>
                    <a:gd name="T11" fmla="*/ 42 h 74"/>
                    <a:gd name="T12" fmla="*/ 7 w 65"/>
                    <a:gd name="T13" fmla="*/ 42 h 74"/>
                    <a:gd name="T14" fmla="*/ 1 w 65"/>
                    <a:gd name="T15" fmla="*/ 38 h 74"/>
                    <a:gd name="T16" fmla="*/ 0 w 65"/>
                    <a:gd name="T17" fmla="*/ 37 h 74"/>
                    <a:gd name="T18" fmla="*/ 1 w 65"/>
                    <a:gd name="T19" fmla="*/ 35 h 74"/>
                    <a:gd name="T20" fmla="*/ 62 w 65"/>
                    <a:gd name="T21" fmla="*/ 0 h 74"/>
                    <a:gd name="T22" fmla="*/ 64 w 65"/>
                    <a:gd name="T23" fmla="*/ 0 h 74"/>
                    <a:gd name="T24" fmla="*/ 65 w 65"/>
                    <a:gd name="T25" fmla="*/ 2 h 74"/>
                    <a:gd name="T26" fmla="*/ 65 w 65"/>
                    <a:gd name="T27" fmla="*/ 72 h 74"/>
                    <a:gd name="T28" fmla="*/ 64 w 65"/>
                    <a:gd name="T29" fmla="*/ 73 h 74"/>
                    <a:gd name="T30" fmla="*/ 63 w 65"/>
                    <a:gd name="T31" fmla="*/ 74 h 74"/>
                    <a:gd name="T32" fmla="*/ 15 w 65"/>
                    <a:gd name="T33" fmla="*/ 42 h 74"/>
                    <a:gd name="T34" fmla="*/ 61 w 65"/>
                    <a:gd name="T35" fmla="*/ 68 h 74"/>
                    <a:gd name="T36" fmla="*/ 61 w 65"/>
                    <a:gd name="T37" fmla="*/ 5 h 74"/>
                    <a:gd name="T38" fmla="*/ 6 w 65"/>
                    <a:gd name="T39" fmla="*/ 37 h 74"/>
                    <a:gd name="T40" fmla="*/ 8 w 65"/>
                    <a:gd name="T41" fmla="*/ 38 h 74"/>
                    <a:gd name="T42" fmla="*/ 12 w 65"/>
                    <a:gd name="T43" fmla="*/ 35 h 74"/>
                    <a:gd name="T44" fmla="*/ 14 w 65"/>
                    <a:gd name="T45" fmla="*/ 35 h 74"/>
                    <a:gd name="T46" fmla="*/ 15 w 65"/>
                    <a:gd name="T47" fmla="*/ 37 h 74"/>
                    <a:gd name="T48" fmla="*/ 15 w 65"/>
                    <a:gd name="T49" fmla="*/ 4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74">
                      <a:moveTo>
                        <a:pt x="63" y="74"/>
                      </a:moveTo>
                      <a:cubicBezTo>
                        <a:pt x="62" y="74"/>
                        <a:pt x="62" y="74"/>
                        <a:pt x="62" y="73"/>
                      </a:cubicBezTo>
                      <a:cubicBezTo>
                        <a:pt x="12" y="45"/>
                        <a:pt x="12" y="45"/>
                        <a:pt x="12" y="45"/>
                      </a:cubicBezTo>
                      <a:cubicBezTo>
                        <a:pt x="11" y="44"/>
                        <a:pt x="11" y="44"/>
                        <a:pt x="11" y="43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8" y="42"/>
                        <a:pt x="7" y="42"/>
                        <a:pt x="7" y="42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3" y="0"/>
                        <a:pt x="64" y="0"/>
                      </a:cubicBezTo>
                      <a:cubicBezTo>
                        <a:pt x="64" y="0"/>
                        <a:pt x="65" y="1"/>
                        <a:pt x="65" y="2"/>
                      </a:cubicBezTo>
                      <a:cubicBezTo>
                        <a:pt x="65" y="72"/>
                        <a:pt x="65" y="72"/>
                        <a:pt x="65" y="72"/>
                      </a:cubicBezTo>
                      <a:cubicBezTo>
                        <a:pt x="65" y="72"/>
                        <a:pt x="64" y="73"/>
                        <a:pt x="64" y="73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lose/>
                      <a:moveTo>
                        <a:pt x="15" y="42"/>
                      </a:move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5"/>
                        <a:pt x="13" y="35"/>
                        <a:pt x="14" y="35"/>
                      </a:cubicBezTo>
                      <a:cubicBezTo>
                        <a:pt x="14" y="36"/>
                        <a:pt x="15" y="36"/>
                        <a:pt x="15" y="37"/>
                      </a:cubicBezTo>
                      <a:lnTo>
                        <a:pt x="15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1" name="Freeform 633">
                  <a:extLst>
                    <a:ext uri="{FF2B5EF4-FFF2-40B4-BE49-F238E27FC236}">
                      <a16:creationId xmlns:a16="http://schemas.microsoft.com/office/drawing/2014/main" id="{73BDB23A-1C31-4DAC-90C4-37EC7B25D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16" y="1656"/>
                  <a:ext cx="45" cy="47"/>
                </a:xfrm>
                <a:custGeom>
                  <a:avLst/>
                  <a:gdLst>
                    <a:gd name="T0" fmla="*/ 17 w 19"/>
                    <a:gd name="T1" fmla="*/ 20 h 20"/>
                    <a:gd name="T2" fmla="*/ 16 w 19"/>
                    <a:gd name="T3" fmla="*/ 19 h 20"/>
                    <a:gd name="T4" fmla="*/ 1 w 19"/>
                    <a:gd name="T5" fmla="*/ 10 h 20"/>
                    <a:gd name="T6" fmla="*/ 0 w 19"/>
                    <a:gd name="T7" fmla="*/ 9 h 20"/>
                    <a:gd name="T8" fmla="*/ 1 w 19"/>
                    <a:gd name="T9" fmla="*/ 7 h 20"/>
                    <a:gd name="T10" fmla="*/ 13 w 19"/>
                    <a:gd name="T11" fmla="*/ 0 h 20"/>
                    <a:gd name="T12" fmla="*/ 15 w 19"/>
                    <a:gd name="T13" fmla="*/ 0 h 20"/>
                    <a:gd name="T14" fmla="*/ 18 w 19"/>
                    <a:gd name="T15" fmla="*/ 2 h 20"/>
                    <a:gd name="T16" fmla="*/ 19 w 19"/>
                    <a:gd name="T17" fmla="*/ 4 h 20"/>
                    <a:gd name="T18" fmla="*/ 19 w 19"/>
                    <a:gd name="T19" fmla="*/ 18 h 20"/>
                    <a:gd name="T20" fmla="*/ 18 w 19"/>
                    <a:gd name="T21" fmla="*/ 19 h 20"/>
                    <a:gd name="T22" fmla="*/ 17 w 19"/>
                    <a:gd name="T23" fmla="*/ 20 h 20"/>
                    <a:gd name="T24" fmla="*/ 6 w 19"/>
                    <a:gd name="T25" fmla="*/ 9 h 20"/>
                    <a:gd name="T26" fmla="*/ 15 w 19"/>
                    <a:gd name="T27" fmla="*/ 14 h 20"/>
                    <a:gd name="T28" fmla="*/ 15 w 19"/>
                    <a:gd name="T29" fmla="*/ 5 h 20"/>
                    <a:gd name="T30" fmla="*/ 14 w 19"/>
                    <a:gd name="T31" fmla="*/ 4 h 20"/>
                    <a:gd name="T32" fmla="*/ 6 w 19"/>
                    <a:gd name="T33" fmla="*/ 9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20">
                      <a:moveTo>
                        <a:pt x="17" y="20"/>
                      </a:moveTo>
                      <a:cubicBezTo>
                        <a:pt x="17" y="20"/>
                        <a:pt x="16" y="20"/>
                        <a:pt x="16" y="19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9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4" y="0"/>
                        <a:pt x="15" y="0"/>
                      </a:cubicBez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9" y="2"/>
                        <a:pt x="19" y="3"/>
                        <a:pt x="19" y="4"/>
                      </a:cubicBez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19" y="18"/>
                        <a:pt x="19" y="19"/>
                        <a:pt x="18" y="19"/>
                      </a:cubicBezTo>
                      <a:cubicBezTo>
                        <a:pt x="18" y="20"/>
                        <a:pt x="17" y="20"/>
                        <a:pt x="17" y="20"/>
                      </a:cubicBezTo>
                      <a:close/>
                      <a:moveTo>
                        <a:pt x="6" y="9"/>
                      </a:move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4" y="4"/>
                        <a:pt x="14" y="4"/>
                        <a:pt x="14" y="4"/>
                      </a:cubicBez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2" name="Freeform 634">
                  <a:extLst>
                    <a:ext uri="{FF2B5EF4-FFF2-40B4-BE49-F238E27FC236}">
                      <a16:creationId xmlns:a16="http://schemas.microsoft.com/office/drawing/2014/main" id="{2303CA49-F072-47AA-A33D-2E8FA124572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695" y="1923"/>
                  <a:ext cx="26" cy="26"/>
                </a:xfrm>
                <a:custGeom>
                  <a:avLst/>
                  <a:gdLst>
                    <a:gd name="T0" fmla="*/ 9 w 11"/>
                    <a:gd name="T1" fmla="*/ 11 h 11"/>
                    <a:gd name="T2" fmla="*/ 8 w 11"/>
                    <a:gd name="T3" fmla="*/ 11 h 11"/>
                    <a:gd name="T4" fmla="*/ 1 w 11"/>
                    <a:gd name="T5" fmla="*/ 7 h 11"/>
                    <a:gd name="T6" fmla="*/ 0 w 11"/>
                    <a:gd name="T7" fmla="*/ 6 h 11"/>
                    <a:gd name="T8" fmla="*/ 1 w 11"/>
                    <a:gd name="T9" fmla="*/ 4 h 11"/>
                    <a:gd name="T10" fmla="*/ 8 w 11"/>
                    <a:gd name="T11" fmla="*/ 0 h 11"/>
                    <a:gd name="T12" fmla="*/ 10 w 11"/>
                    <a:gd name="T13" fmla="*/ 0 h 11"/>
                    <a:gd name="T14" fmla="*/ 11 w 11"/>
                    <a:gd name="T15" fmla="*/ 2 h 11"/>
                    <a:gd name="T16" fmla="*/ 11 w 11"/>
                    <a:gd name="T17" fmla="*/ 9 h 11"/>
                    <a:gd name="T18" fmla="*/ 10 w 11"/>
                    <a:gd name="T19" fmla="*/ 11 h 11"/>
                    <a:gd name="T20" fmla="*/ 9 w 11"/>
                    <a:gd name="T21" fmla="*/ 11 h 11"/>
                    <a:gd name="T22" fmla="*/ 6 w 11"/>
                    <a:gd name="T23" fmla="*/ 6 h 11"/>
                    <a:gd name="T24" fmla="*/ 7 w 11"/>
                    <a:gd name="T25" fmla="*/ 6 h 11"/>
                    <a:gd name="T26" fmla="*/ 7 w 11"/>
                    <a:gd name="T27" fmla="*/ 5 h 11"/>
                    <a:gd name="T28" fmla="*/ 6 w 11"/>
                    <a:gd name="T2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1">
                      <a:moveTo>
                        <a:pt x="9" y="11"/>
                      </a:moveTo>
                      <a:cubicBezTo>
                        <a:pt x="9" y="11"/>
                        <a:pt x="9" y="11"/>
                        <a:pt x="8" y="11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9" y="0"/>
                        <a:pt x="10" y="0"/>
                        <a:pt x="10" y="0"/>
                      </a:cubicBezTo>
                      <a:cubicBezTo>
                        <a:pt x="11" y="0"/>
                        <a:pt x="11" y="1"/>
                        <a:pt x="11" y="2"/>
                      </a:cubicBezTo>
                      <a:cubicBezTo>
                        <a:pt x="11" y="9"/>
                        <a:pt x="11" y="9"/>
                        <a:pt x="11" y="9"/>
                      </a:cubicBezTo>
                      <a:cubicBezTo>
                        <a:pt x="11" y="10"/>
                        <a:pt x="11" y="11"/>
                        <a:pt x="10" y="11"/>
                      </a:cubicBezTo>
                      <a:cubicBezTo>
                        <a:pt x="10" y="11"/>
                        <a:pt x="10" y="11"/>
                        <a:pt x="9" y="11"/>
                      </a:cubicBezTo>
                      <a:close/>
                      <a:moveTo>
                        <a:pt x="6" y="6"/>
                      </a:move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5"/>
                        <a:pt x="7" y="5"/>
                        <a:pt x="7" y="5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3" name="Freeform 635">
                  <a:extLst>
                    <a:ext uri="{FF2B5EF4-FFF2-40B4-BE49-F238E27FC236}">
                      <a16:creationId xmlns:a16="http://schemas.microsoft.com/office/drawing/2014/main" id="{46445A95-0A4D-45A6-A315-A66C1C7F63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1821"/>
                  <a:ext cx="149" cy="119"/>
                </a:xfrm>
                <a:custGeom>
                  <a:avLst/>
                  <a:gdLst>
                    <a:gd name="T0" fmla="*/ 53 w 63"/>
                    <a:gd name="T1" fmla="*/ 50 h 50"/>
                    <a:gd name="T2" fmla="*/ 52 w 63"/>
                    <a:gd name="T3" fmla="*/ 49 h 50"/>
                    <a:gd name="T4" fmla="*/ 1 w 63"/>
                    <a:gd name="T5" fmla="*/ 20 h 50"/>
                    <a:gd name="T6" fmla="*/ 0 w 63"/>
                    <a:gd name="T7" fmla="*/ 18 h 50"/>
                    <a:gd name="T8" fmla="*/ 0 w 63"/>
                    <a:gd name="T9" fmla="*/ 2 h 50"/>
                    <a:gd name="T10" fmla="*/ 1 w 63"/>
                    <a:gd name="T11" fmla="*/ 1 h 50"/>
                    <a:gd name="T12" fmla="*/ 3 w 63"/>
                    <a:gd name="T13" fmla="*/ 1 h 50"/>
                    <a:gd name="T14" fmla="*/ 62 w 63"/>
                    <a:gd name="T15" fmla="*/ 35 h 50"/>
                    <a:gd name="T16" fmla="*/ 63 w 63"/>
                    <a:gd name="T17" fmla="*/ 37 h 50"/>
                    <a:gd name="T18" fmla="*/ 63 w 63"/>
                    <a:gd name="T19" fmla="*/ 43 h 50"/>
                    <a:gd name="T20" fmla="*/ 62 w 63"/>
                    <a:gd name="T21" fmla="*/ 44 h 50"/>
                    <a:gd name="T22" fmla="*/ 54 w 63"/>
                    <a:gd name="T23" fmla="*/ 49 h 50"/>
                    <a:gd name="T24" fmla="*/ 53 w 63"/>
                    <a:gd name="T25" fmla="*/ 50 h 50"/>
                    <a:gd name="T26" fmla="*/ 4 w 63"/>
                    <a:gd name="T27" fmla="*/ 17 h 50"/>
                    <a:gd name="T28" fmla="*/ 53 w 63"/>
                    <a:gd name="T29" fmla="*/ 45 h 50"/>
                    <a:gd name="T30" fmla="*/ 59 w 63"/>
                    <a:gd name="T31" fmla="*/ 42 h 50"/>
                    <a:gd name="T32" fmla="*/ 59 w 63"/>
                    <a:gd name="T33" fmla="*/ 38 h 50"/>
                    <a:gd name="T34" fmla="*/ 4 w 63"/>
                    <a:gd name="T35" fmla="*/ 6 h 50"/>
                    <a:gd name="T36" fmla="*/ 4 w 63"/>
                    <a:gd name="T37" fmla="*/ 17 h 50"/>
                    <a:gd name="T38" fmla="*/ 61 w 63"/>
                    <a:gd name="T39" fmla="*/ 43 h 50"/>
                    <a:gd name="T40" fmla="*/ 61 w 63"/>
                    <a:gd name="T41" fmla="*/ 43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" h="50">
                      <a:moveTo>
                        <a:pt x="53" y="50"/>
                      </a:moveTo>
                      <a:cubicBezTo>
                        <a:pt x="52" y="50"/>
                        <a:pt x="52" y="50"/>
                        <a:pt x="52" y="49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2" y="35"/>
                        <a:pt x="62" y="35"/>
                        <a:pt x="62" y="35"/>
                      </a:cubicBezTo>
                      <a:cubicBezTo>
                        <a:pt x="63" y="35"/>
                        <a:pt x="63" y="36"/>
                        <a:pt x="63" y="37"/>
                      </a:cubicBezTo>
                      <a:cubicBezTo>
                        <a:pt x="63" y="43"/>
                        <a:pt x="63" y="43"/>
                        <a:pt x="63" y="43"/>
                      </a:cubicBezTo>
                      <a:cubicBezTo>
                        <a:pt x="63" y="43"/>
                        <a:pt x="63" y="44"/>
                        <a:pt x="62" y="44"/>
                      </a:cubicBezTo>
                      <a:cubicBezTo>
                        <a:pt x="54" y="49"/>
                        <a:pt x="54" y="49"/>
                        <a:pt x="54" y="49"/>
                      </a:cubicBezTo>
                      <a:cubicBezTo>
                        <a:pt x="54" y="50"/>
                        <a:pt x="53" y="50"/>
                        <a:pt x="53" y="50"/>
                      </a:cubicBezTo>
                      <a:close/>
                      <a:moveTo>
                        <a:pt x="4" y="17"/>
                      </a:moveTo>
                      <a:cubicBezTo>
                        <a:pt x="53" y="45"/>
                        <a:pt x="53" y="45"/>
                        <a:pt x="53" y="45"/>
                      </a:cubicBezTo>
                      <a:cubicBezTo>
                        <a:pt x="59" y="42"/>
                        <a:pt x="59" y="42"/>
                        <a:pt x="59" y="42"/>
                      </a:cubicBezTo>
                      <a:cubicBezTo>
                        <a:pt x="59" y="38"/>
                        <a:pt x="59" y="38"/>
                        <a:pt x="59" y="38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7"/>
                      </a:lnTo>
                      <a:close/>
                      <a:moveTo>
                        <a:pt x="61" y="43"/>
                      </a:moveTo>
                      <a:cubicBezTo>
                        <a:pt x="61" y="43"/>
                        <a:pt x="61" y="43"/>
                        <a:pt x="61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4" name="Freeform 636">
                  <a:extLst>
                    <a:ext uri="{FF2B5EF4-FFF2-40B4-BE49-F238E27FC236}">
                      <a16:creationId xmlns:a16="http://schemas.microsoft.com/office/drawing/2014/main" id="{18B6AD8E-3A87-48E6-AFF8-87ED4A0511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1210"/>
                  <a:ext cx="70" cy="66"/>
                </a:xfrm>
                <a:custGeom>
                  <a:avLst/>
                  <a:gdLst>
                    <a:gd name="T0" fmla="*/ 11 w 30"/>
                    <a:gd name="T1" fmla="*/ 28 h 28"/>
                    <a:gd name="T2" fmla="*/ 10 w 30"/>
                    <a:gd name="T3" fmla="*/ 28 h 28"/>
                    <a:gd name="T4" fmla="*/ 1 w 30"/>
                    <a:gd name="T5" fmla="*/ 23 h 28"/>
                    <a:gd name="T6" fmla="*/ 0 w 30"/>
                    <a:gd name="T7" fmla="*/ 21 h 28"/>
                    <a:gd name="T8" fmla="*/ 0 w 30"/>
                    <a:gd name="T9" fmla="*/ 2 h 28"/>
                    <a:gd name="T10" fmla="*/ 1 w 30"/>
                    <a:gd name="T11" fmla="*/ 0 h 28"/>
                    <a:gd name="T12" fmla="*/ 3 w 30"/>
                    <a:gd name="T13" fmla="*/ 0 h 28"/>
                    <a:gd name="T14" fmla="*/ 29 w 30"/>
                    <a:gd name="T15" fmla="*/ 15 h 28"/>
                    <a:gd name="T16" fmla="*/ 30 w 30"/>
                    <a:gd name="T17" fmla="*/ 17 h 28"/>
                    <a:gd name="T18" fmla="*/ 29 w 30"/>
                    <a:gd name="T19" fmla="*/ 18 h 28"/>
                    <a:gd name="T20" fmla="*/ 12 w 30"/>
                    <a:gd name="T21" fmla="*/ 28 h 28"/>
                    <a:gd name="T22" fmla="*/ 11 w 30"/>
                    <a:gd name="T23" fmla="*/ 28 h 28"/>
                    <a:gd name="T24" fmla="*/ 4 w 30"/>
                    <a:gd name="T25" fmla="*/ 20 h 28"/>
                    <a:gd name="T26" fmla="*/ 11 w 30"/>
                    <a:gd name="T27" fmla="*/ 24 h 28"/>
                    <a:gd name="T28" fmla="*/ 24 w 30"/>
                    <a:gd name="T29" fmla="*/ 17 h 28"/>
                    <a:gd name="T30" fmla="*/ 4 w 30"/>
                    <a:gd name="T31" fmla="*/ 5 h 28"/>
                    <a:gd name="T32" fmla="*/ 4 w 30"/>
                    <a:gd name="T33" fmla="*/ 2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28">
                      <a:moveTo>
                        <a:pt x="11" y="28"/>
                      </a:moveTo>
                      <a:cubicBezTo>
                        <a:pt x="11" y="28"/>
                        <a:pt x="10" y="28"/>
                        <a:pt x="10" y="28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1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15"/>
                        <a:pt x="30" y="16"/>
                        <a:pt x="30" y="17"/>
                      </a:cubicBezTo>
                      <a:cubicBezTo>
                        <a:pt x="30" y="17"/>
                        <a:pt x="29" y="18"/>
                        <a:pt x="29" y="1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8"/>
                        <a:pt x="11" y="28"/>
                        <a:pt x="11" y="28"/>
                      </a:cubicBezTo>
                      <a:close/>
                      <a:moveTo>
                        <a:pt x="4" y="20"/>
                      </a:moveTo>
                      <a:cubicBezTo>
                        <a:pt x="11" y="24"/>
                        <a:pt x="11" y="24"/>
                        <a:pt x="11" y="24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5" name="Freeform 637">
                  <a:extLst>
                    <a:ext uri="{FF2B5EF4-FFF2-40B4-BE49-F238E27FC236}">
                      <a16:creationId xmlns:a16="http://schemas.microsoft.com/office/drawing/2014/main" id="{47893B87-026C-40DA-A97B-14861BD97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739"/>
                  <a:ext cx="12" cy="33"/>
                </a:xfrm>
                <a:custGeom>
                  <a:avLst/>
                  <a:gdLst>
                    <a:gd name="T0" fmla="*/ 3 w 5"/>
                    <a:gd name="T1" fmla="*/ 14 h 14"/>
                    <a:gd name="T2" fmla="*/ 2 w 5"/>
                    <a:gd name="T3" fmla="*/ 14 h 14"/>
                    <a:gd name="T4" fmla="*/ 1 w 5"/>
                    <a:gd name="T5" fmla="*/ 13 h 14"/>
                    <a:gd name="T6" fmla="*/ 0 w 5"/>
                    <a:gd name="T7" fmla="*/ 11 h 14"/>
                    <a:gd name="T8" fmla="*/ 0 w 5"/>
                    <a:gd name="T9" fmla="*/ 2 h 14"/>
                    <a:gd name="T10" fmla="*/ 1 w 5"/>
                    <a:gd name="T11" fmla="*/ 0 h 14"/>
                    <a:gd name="T12" fmla="*/ 3 w 5"/>
                    <a:gd name="T13" fmla="*/ 0 h 14"/>
                    <a:gd name="T14" fmla="*/ 4 w 5"/>
                    <a:gd name="T15" fmla="*/ 1 h 14"/>
                    <a:gd name="T16" fmla="*/ 5 w 5"/>
                    <a:gd name="T17" fmla="*/ 3 h 14"/>
                    <a:gd name="T18" fmla="*/ 5 w 5"/>
                    <a:gd name="T19" fmla="*/ 12 h 14"/>
                    <a:gd name="T20" fmla="*/ 4 w 5"/>
                    <a:gd name="T21" fmla="*/ 14 h 14"/>
                    <a:gd name="T22" fmla="*/ 3 w 5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4">
                      <a:moveTo>
                        <a:pt x="3" y="14"/>
                      </a:moveTo>
                      <a:cubicBezTo>
                        <a:pt x="3" y="14"/>
                        <a:pt x="3" y="14"/>
                        <a:pt x="2" y="14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1"/>
                        <a:pt x="5" y="2"/>
                        <a:pt x="5" y="3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3"/>
                        <a:pt x="5" y="14"/>
                        <a:pt x="4" y="14"/>
                      </a:cubicBezTo>
                      <a:cubicBezTo>
                        <a:pt x="4" y="14"/>
                        <a:pt x="4" y="14"/>
                        <a:pt x="3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6" name="Freeform 638">
                  <a:extLst>
                    <a:ext uri="{FF2B5EF4-FFF2-40B4-BE49-F238E27FC236}">
                      <a16:creationId xmlns:a16="http://schemas.microsoft.com/office/drawing/2014/main" id="{0E40F6A2-C3CC-4C92-ABBB-7F6496D22D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765"/>
                  <a:ext cx="12" cy="144"/>
                </a:xfrm>
                <a:custGeom>
                  <a:avLst/>
                  <a:gdLst>
                    <a:gd name="T0" fmla="*/ 2 w 5"/>
                    <a:gd name="T1" fmla="*/ 61 h 61"/>
                    <a:gd name="T2" fmla="*/ 1 w 5"/>
                    <a:gd name="T3" fmla="*/ 61 h 61"/>
                    <a:gd name="T4" fmla="*/ 0 w 5"/>
                    <a:gd name="T5" fmla="*/ 59 h 61"/>
                    <a:gd name="T6" fmla="*/ 0 w 5"/>
                    <a:gd name="T7" fmla="*/ 2 h 61"/>
                    <a:gd name="T8" fmla="*/ 1 w 5"/>
                    <a:gd name="T9" fmla="*/ 1 h 61"/>
                    <a:gd name="T10" fmla="*/ 3 w 5"/>
                    <a:gd name="T11" fmla="*/ 1 h 61"/>
                    <a:gd name="T12" fmla="*/ 4 w 5"/>
                    <a:gd name="T13" fmla="*/ 2 h 61"/>
                    <a:gd name="T14" fmla="*/ 5 w 5"/>
                    <a:gd name="T15" fmla="*/ 3 h 61"/>
                    <a:gd name="T16" fmla="*/ 5 w 5"/>
                    <a:gd name="T17" fmla="*/ 58 h 61"/>
                    <a:gd name="T18" fmla="*/ 4 w 5"/>
                    <a:gd name="T19" fmla="*/ 60 h 61"/>
                    <a:gd name="T20" fmla="*/ 3 w 5"/>
                    <a:gd name="T21" fmla="*/ 61 h 61"/>
                    <a:gd name="T22" fmla="*/ 2 w 5"/>
                    <a:gd name="T23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61">
                      <a:moveTo>
                        <a:pt x="2" y="61"/>
                      </a:moveTo>
                      <a:cubicBezTo>
                        <a:pt x="1" y="61"/>
                        <a:pt x="1" y="61"/>
                        <a:pt x="1" y="61"/>
                      </a:cubicBezTo>
                      <a:cubicBezTo>
                        <a:pt x="0" y="61"/>
                        <a:pt x="0" y="60"/>
                        <a:pt x="0" y="5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3"/>
                      </a:cubicBezTo>
                      <a:cubicBezTo>
                        <a:pt x="5" y="58"/>
                        <a:pt x="5" y="58"/>
                        <a:pt x="5" y="58"/>
                      </a:cubicBezTo>
                      <a:cubicBezTo>
                        <a:pt x="5" y="59"/>
                        <a:pt x="5" y="60"/>
                        <a:pt x="4" y="60"/>
                      </a:cubicBez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2" y="61"/>
                        <a:pt x="2" y="61"/>
                        <a:pt x="2" y="6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7" name="Freeform 639">
                  <a:extLst>
                    <a:ext uri="{FF2B5EF4-FFF2-40B4-BE49-F238E27FC236}">
                      <a16:creationId xmlns:a16="http://schemas.microsoft.com/office/drawing/2014/main" id="{F8C5B3A8-B428-4351-A645-B73BAE7D04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420"/>
                  <a:ext cx="12" cy="323"/>
                </a:xfrm>
                <a:custGeom>
                  <a:avLst/>
                  <a:gdLst>
                    <a:gd name="T0" fmla="*/ 2 w 5"/>
                    <a:gd name="T1" fmla="*/ 137 h 137"/>
                    <a:gd name="T2" fmla="*/ 0 w 5"/>
                    <a:gd name="T3" fmla="*/ 135 h 137"/>
                    <a:gd name="T4" fmla="*/ 0 w 5"/>
                    <a:gd name="T5" fmla="*/ 2 h 137"/>
                    <a:gd name="T6" fmla="*/ 1 w 5"/>
                    <a:gd name="T7" fmla="*/ 0 h 137"/>
                    <a:gd name="T8" fmla="*/ 3 w 5"/>
                    <a:gd name="T9" fmla="*/ 0 h 137"/>
                    <a:gd name="T10" fmla="*/ 4 w 5"/>
                    <a:gd name="T11" fmla="*/ 1 h 137"/>
                    <a:gd name="T12" fmla="*/ 5 w 5"/>
                    <a:gd name="T13" fmla="*/ 3 h 137"/>
                    <a:gd name="T14" fmla="*/ 5 w 5"/>
                    <a:gd name="T15" fmla="*/ 134 h 137"/>
                    <a:gd name="T16" fmla="*/ 4 w 5"/>
                    <a:gd name="T17" fmla="*/ 136 h 137"/>
                    <a:gd name="T18" fmla="*/ 3 w 5"/>
                    <a:gd name="T19" fmla="*/ 137 h 137"/>
                    <a:gd name="T20" fmla="*/ 2 w 5"/>
                    <a:gd name="T21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137">
                      <a:moveTo>
                        <a:pt x="2" y="137"/>
                      </a:move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1"/>
                        <a:pt x="5" y="2"/>
                        <a:pt x="5" y="3"/>
                      </a:cubicBezTo>
                      <a:cubicBezTo>
                        <a:pt x="5" y="134"/>
                        <a:pt x="5" y="134"/>
                        <a:pt x="5" y="134"/>
                      </a:cubicBezTo>
                      <a:cubicBezTo>
                        <a:pt x="5" y="135"/>
                        <a:pt x="5" y="135"/>
                        <a:pt x="4" y="136"/>
                      </a:cubicBezTo>
                      <a:cubicBezTo>
                        <a:pt x="3" y="137"/>
                        <a:pt x="3" y="137"/>
                        <a:pt x="3" y="137"/>
                      </a:cubicBezTo>
                      <a:cubicBezTo>
                        <a:pt x="2" y="137"/>
                        <a:pt x="2" y="137"/>
                        <a:pt x="2" y="1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8" name="Freeform 640">
                  <a:extLst>
                    <a:ext uri="{FF2B5EF4-FFF2-40B4-BE49-F238E27FC236}">
                      <a16:creationId xmlns:a16="http://schemas.microsoft.com/office/drawing/2014/main" id="{3766A78B-503A-4405-8093-8F759756B0A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69" y="1207"/>
                  <a:ext cx="317" cy="532"/>
                </a:xfrm>
                <a:custGeom>
                  <a:avLst/>
                  <a:gdLst>
                    <a:gd name="T0" fmla="*/ 5 w 134"/>
                    <a:gd name="T1" fmla="*/ 225 h 225"/>
                    <a:gd name="T2" fmla="*/ 4 w 134"/>
                    <a:gd name="T3" fmla="*/ 225 h 225"/>
                    <a:gd name="T4" fmla="*/ 3 w 134"/>
                    <a:gd name="T5" fmla="*/ 223 h 225"/>
                    <a:gd name="T6" fmla="*/ 3 w 134"/>
                    <a:gd name="T7" fmla="*/ 93 h 225"/>
                    <a:gd name="T8" fmla="*/ 1 w 134"/>
                    <a:gd name="T9" fmla="*/ 92 h 225"/>
                    <a:gd name="T10" fmla="*/ 0 w 134"/>
                    <a:gd name="T11" fmla="*/ 90 h 225"/>
                    <a:gd name="T12" fmla="*/ 0 w 134"/>
                    <a:gd name="T13" fmla="*/ 75 h 225"/>
                    <a:gd name="T14" fmla="*/ 1 w 134"/>
                    <a:gd name="T15" fmla="*/ 73 h 225"/>
                    <a:gd name="T16" fmla="*/ 127 w 134"/>
                    <a:gd name="T17" fmla="*/ 0 h 225"/>
                    <a:gd name="T18" fmla="*/ 129 w 134"/>
                    <a:gd name="T19" fmla="*/ 0 h 225"/>
                    <a:gd name="T20" fmla="*/ 133 w 134"/>
                    <a:gd name="T21" fmla="*/ 2 h 225"/>
                    <a:gd name="T22" fmla="*/ 134 w 134"/>
                    <a:gd name="T23" fmla="*/ 4 h 225"/>
                    <a:gd name="T24" fmla="*/ 134 w 134"/>
                    <a:gd name="T25" fmla="*/ 146 h 225"/>
                    <a:gd name="T26" fmla="*/ 133 w 134"/>
                    <a:gd name="T27" fmla="*/ 148 h 225"/>
                    <a:gd name="T28" fmla="*/ 70 w 134"/>
                    <a:gd name="T29" fmla="*/ 184 h 225"/>
                    <a:gd name="T30" fmla="*/ 70 w 134"/>
                    <a:gd name="T31" fmla="*/ 184 h 225"/>
                    <a:gd name="T32" fmla="*/ 71 w 134"/>
                    <a:gd name="T33" fmla="*/ 186 h 225"/>
                    <a:gd name="T34" fmla="*/ 70 w 134"/>
                    <a:gd name="T35" fmla="*/ 188 h 225"/>
                    <a:gd name="T36" fmla="*/ 68 w 134"/>
                    <a:gd name="T37" fmla="*/ 189 h 225"/>
                    <a:gd name="T38" fmla="*/ 67 w 134"/>
                    <a:gd name="T39" fmla="*/ 189 h 225"/>
                    <a:gd name="T40" fmla="*/ 67 w 134"/>
                    <a:gd name="T41" fmla="*/ 190 h 225"/>
                    <a:gd name="T42" fmla="*/ 6 w 134"/>
                    <a:gd name="T43" fmla="*/ 225 h 225"/>
                    <a:gd name="T44" fmla="*/ 5 w 134"/>
                    <a:gd name="T45" fmla="*/ 225 h 225"/>
                    <a:gd name="T46" fmla="*/ 4 w 134"/>
                    <a:gd name="T47" fmla="*/ 89 h 225"/>
                    <a:gd name="T48" fmla="*/ 6 w 134"/>
                    <a:gd name="T49" fmla="*/ 90 h 225"/>
                    <a:gd name="T50" fmla="*/ 7 w 134"/>
                    <a:gd name="T51" fmla="*/ 92 h 225"/>
                    <a:gd name="T52" fmla="*/ 7 w 134"/>
                    <a:gd name="T53" fmla="*/ 219 h 225"/>
                    <a:gd name="T54" fmla="*/ 64 w 134"/>
                    <a:gd name="T55" fmla="*/ 187 h 225"/>
                    <a:gd name="T56" fmla="*/ 65 w 134"/>
                    <a:gd name="T57" fmla="*/ 185 h 225"/>
                    <a:gd name="T58" fmla="*/ 64 w 134"/>
                    <a:gd name="T59" fmla="*/ 184 h 225"/>
                    <a:gd name="T60" fmla="*/ 65 w 134"/>
                    <a:gd name="T61" fmla="*/ 182 h 225"/>
                    <a:gd name="T62" fmla="*/ 130 w 134"/>
                    <a:gd name="T63" fmla="*/ 145 h 225"/>
                    <a:gd name="T64" fmla="*/ 130 w 134"/>
                    <a:gd name="T65" fmla="*/ 5 h 225"/>
                    <a:gd name="T66" fmla="*/ 128 w 134"/>
                    <a:gd name="T67" fmla="*/ 4 h 225"/>
                    <a:gd name="T68" fmla="*/ 4 w 134"/>
                    <a:gd name="T69" fmla="*/ 76 h 225"/>
                    <a:gd name="T70" fmla="*/ 4 w 134"/>
                    <a:gd name="T71" fmla="*/ 89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4" h="225">
                      <a:moveTo>
                        <a:pt x="5" y="225"/>
                      </a:moveTo>
                      <a:cubicBezTo>
                        <a:pt x="5" y="225"/>
                        <a:pt x="4" y="225"/>
                        <a:pt x="4" y="225"/>
                      </a:cubicBezTo>
                      <a:cubicBezTo>
                        <a:pt x="3" y="224"/>
                        <a:pt x="3" y="224"/>
                        <a:pt x="3" y="223"/>
                      </a:cubicBezTo>
                      <a:cubicBezTo>
                        <a:pt x="3" y="93"/>
                        <a:pt x="3" y="93"/>
                        <a:pt x="3" y="93"/>
                      </a:cubicBez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1"/>
                        <a:pt x="0" y="90"/>
                        <a:pt x="0" y="90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74"/>
                        <a:pt x="0" y="74"/>
                        <a:pt x="1" y="73"/>
                      </a:cubicBez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128" y="0"/>
                        <a:pt x="128" y="0"/>
                        <a:pt x="129" y="0"/>
                      </a:cubicBezTo>
                      <a:cubicBezTo>
                        <a:pt x="133" y="2"/>
                        <a:pt x="133" y="2"/>
                        <a:pt x="133" y="2"/>
                      </a:cubicBezTo>
                      <a:cubicBezTo>
                        <a:pt x="133" y="3"/>
                        <a:pt x="134" y="3"/>
                        <a:pt x="134" y="4"/>
                      </a:cubicBezTo>
                      <a:cubicBezTo>
                        <a:pt x="134" y="146"/>
                        <a:pt x="134" y="146"/>
                        <a:pt x="134" y="146"/>
                      </a:cubicBezTo>
                      <a:cubicBezTo>
                        <a:pt x="134" y="147"/>
                        <a:pt x="133" y="148"/>
                        <a:pt x="133" y="148"/>
                      </a:cubicBezTo>
                      <a:cubicBezTo>
                        <a:pt x="70" y="184"/>
                        <a:pt x="70" y="184"/>
                        <a:pt x="70" y="184"/>
                      </a:cubicBezTo>
                      <a:cubicBezTo>
                        <a:pt x="70" y="184"/>
                        <a:pt x="70" y="184"/>
                        <a:pt x="70" y="184"/>
                      </a:cubicBezTo>
                      <a:cubicBezTo>
                        <a:pt x="71" y="184"/>
                        <a:pt x="71" y="185"/>
                        <a:pt x="71" y="186"/>
                      </a:cubicBezTo>
                      <a:cubicBezTo>
                        <a:pt x="71" y="187"/>
                        <a:pt x="71" y="187"/>
                        <a:pt x="70" y="188"/>
                      </a:cubicBezTo>
                      <a:cubicBezTo>
                        <a:pt x="68" y="189"/>
                        <a:pt x="68" y="189"/>
                        <a:pt x="68" y="189"/>
                      </a:cubicBezTo>
                      <a:cubicBezTo>
                        <a:pt x="68" y="189"/>
                        <a:pt x="67" y="189"/>
                        <a:pt x="67" y="189"/>
                      </a:cubicBezTo>
                      <a:cubicBezTo>
                        <a:pt x="67" y="189"/>
                        <a:pt x="67" y="190"/>
                        <a:pt x="67" y="190"/>
                      </a:cubicBezTo>
                      <a:cubicBezTo>
                        <a:pt x="6" y="225"/>
                        <a:pt x="6" y="225"/>
                        <a:pt x="6" y="225"/>
                      </a:cubicBezTo>
                      <a:cubicBezTo>
                        <a:pt x="6" y="225"/>
                        <a:pt x="5" y="225"/>
                        <a:pt x="5" y="225"/>
                      </a:cubicBezTo>
                      <a:close/>
                      <a:moveTo>
                        <a:pt x="4" y="89"/>
                      </a:moveTo>
                      <a:cubicBezTo>
                        <a:pt x="6" y="90"/>
                        <a:pt x="6" y="90"/>
                        <a:pt x="6" y="90"/>
                      </a:cubicBezTo>
                      <a:cubicBezTo>
                        <a:pt x="7" y="90"/>
                        <a:pt x="7" y="91"/>
                        <a:pt x="7" y="92"/>
                      </a:cubicBezTo>
                      <a:cubicBezTo>
                        <a:pt x="7" y="219"/>
                        <a:pt x="7" y="219"/>
                        <a:pt x="7" y="219"/>
                      </a:cubicBezTo>
                      <a:cubicBezTo>
                        <a:pt x="64" y="187"/>
                        <a:pt x="64" y="187"/>
                        <a:pt x="64" y="187"/>
                      </a:cubicBezTo>
                      <a:cubicBezTo>
                        <a:pt x="64" y="186"/>
                        <a:pt x="64" y="186"/>
                        <a:pt x="65" y="185"/>
                      </a:cubicBezTo>
                      <a:cubicBezTo>
                        <a:pt x="64" y="185"/>
                        <a:pt x="64" y="184"/>
                        <a:pt x="64" y="184"/>
                      </a:cubicBezTo>
                      <a:cubicBezTo>
                        <a:pt x="64" y="183"/>
                        <a:pt x="64" y="183"/>
                        <a:pt x="65" y="182"/>
                      </a:cubicBezTo>
                      <a:cubicBezTo>
                        <a:pt x="130" y="145"/>
                        <a:pt x="130" y="145"/>
                        <a:pt x="130" y="145"/>
                      </a:cubicBezTo>
                      <a:cubicBezTo>
                        <a:pt x="130" y="5"/>
                        <a:pt x="130" y="5"/>
                        <a:pt x="130" y="5"/>
                      </a:cubicBezTo>
                      <a:cubicBezTo>
                        <a:pt x="128" y="4"/>
                        <a:pt x="128" y="4"/>
                        <a:pt x="128" y="4"/>
                      </a:cubicBezTo>
                      <a:cubicBezTo>
                        <a:pt x="4" y="76"/>
                        <a:pt x="4" y="76"/>
                        <a:pt x="4" y="76"/>
                      </a:cubicBezTo>
                      <a:lnTo>
                        <a:pt x="4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9" name="Freeform 641">
                  <a:extLst>
                    <a:ext uri="{FF2B5EF4-FFF2-40B4-BE49-F238E27FC236}">
                      <a16:creationId xmlns:a16="http://schemas.microsoft.com/office/drawing/2014/main" id="{D96EC3E5-A69B-4E0D-8F68-8EE655DADC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71" y="1044"/>
                  <a:ext cx="90" cy="81"/>
                </a:xfrm>
                <a:custGeom>
                  <a:avLst/>
                  <a:gdLst>
                    <a:gd name="T0" fmla="*/ 20 w 38"/>
                    <a:gd name="T1" fmla="*/ 34 h 34"/>
                    <a:gd name="T2" fmla="*/ 19 w 38"/>
                    <a:gd name="T3" fmla="*/ 33 h 34"/>
                    <a:gd name="T4" fmla="*/ 1 w 38"/>
                    <a:gd name="T5" fmla="*/ 23 h 34"/>
                    <a:gd name="T6" fmla="*/ 0 w 38"/>
                    <a:gd name="T7" fmla="*/ 21 h 34"/>
                    <a:gd name="T8" fmla="*/ 0 w 38"/>
                    <a:gd name="T9" fmla="*/ 2 h 34"/>
                    <a:gd name="T10" fmla="*/ 1 w 38"/>
                    <a:gd name="T11" fmla="*/ 0 h 34"/>
                    <a:gd name="T12" fmla="*/ 3 w 38"/>
                    <a:gd name="T13" fmla="*/ 0 h 34"/>
                    <a:gd name="T14" fmla="*/ 37 w 38"/>
                    <a:gd name="T15" fmla="*/ 20 h 34"/>
                    <a:gd name="T16" fmla="*/ 38 w 38"/>
                    <a:gd name="T17" fmla="*/ 22 h 34"/>
                    <a:gd name="T18" fmla="*/ 37 w 38"/>
                    <a:gd name="T19" fmla="*/ 24 h 34"/>
                    <a:gd name="T20" fmla="*/ 21 w 38"/>
                    <a:gd name="T21" fmla="*/ 33 h 34"/>
                    <a:gd name="T22" fmla="*/ 20 w 38"/>
                    <a:gd name="T23" fmla="*/ 34 h 34"/>
                    <a:gd name="T24" fmla="*/ 4 w 38"/>
                    <a:gd name="T25" fmla="*/ 20 h 34"/>
                    <a:gd name="T26" fmla="*/ 20 w 38"/>
                    <a:gd name="T27" fmla="*/ 29 h 34"/>
                    <a:gd name="T28" fmla="*/ 32 w 38"/>
                    <a:gd name="T29" fmla="*/ 22 h 34"/>
                    <a:gd name="T30" fmla="*/ 4 w 38"/>
                    <a:gd name="T31" fmla="*/ 5 h 34"/>
                    <a:gd name="T32" fmla="*/ 4 w 38"/>
                    <a:gd name="T33" fmla="*/ 2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8" h="34">
                      <a:moveTo>
                        <a:pt x="20" y="34"/>
                      </a:moveTo>
                      <a:cubicBezTo>
                        <a:pt x="19" y="34"/>
                        <a:pt x="19" y="33"/>
                        <a:pt x="19" y="33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8" y="21"/>
                        <a:pt x="38" y="21"/>
                        <a:pt x="38" y="22"/>
                      </a:cubicBezTo>
                      <a:cubicBezTo>
                        <a:pt x="38" y="23"/>
                        <a:pt x="38" y="23"/>
                        <a:pt x="37" y="24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0" y="33"/>
                        <a:pt x="20" y="34"/>
                        <a:pt x="20" y="34"/>
                      </a:cubicBezTo>
                      <a:close/>
                      <a:moveTo>
                        <a:pt x="4" y="20"/>
                      </a:move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0" name="Freeform 642">
                  <a:extLst>
                    <a:ext uri="{FF2B5EF4-FFF2-40B4-BE49-F238E27FC236}">
                      <a16:creationId xmlns:a16="http://schemas.microsoft.com/office/drawing/2014/main" id="{E4E65239-74C2-487F-8032-43AE13D71B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83" y="1247"/>
                  <a:ext cx="82" cy="52"/>
                </a:xfrm>
                <a:custGeom>
                  <a:avLst/>
                  <a:gdLst>
                    <a:gd name="T0" fmla="*/ 17 w 35"/>
                    <a:gd name="T1" fmla="*/ 22 h 22"/>
                    <a:gd name="T2" fmla="*/ 16 w 35"/>
                    <a:gd name="T3" fmla="*/ 22 h 22"/>
                    <a:gd name="T4" fmla="*/ 1 w 35"/>
                    <a:gd name="T5" fmla="*/ 13 h 22"/>
                    <a:gd name="T6" fmla="*/ 0 w 35"/>
                    <a:gd name="T7" fmla="*/ 11 h 22"/>
                    <a:gd name="T8" fmla="*/ 1 w 35"/>
                    <a:gd name="T9" fmla="*/ 10 h 22"/>
                    <a:gd name="T10" fmla="*/ 17 w 35"/>
                    <a:gd name="T11" fmla="*/ 0 h 22"/>
                    <a:gd name="T12" fmla="*/ 19 w 35"/>
                    <a:gd name="T13" fmla="*/ 0 h 22"/>
                    <a:gd name="T14" fmla="*/ 34 w 35"/>
                    <a:gd name="T15" fmla="*/ 9 h 22"/>
                    <a:gd name="T16" fmla="*/ 35 w 35"/>
                    <a:gd name="T17" fmla="*/ 10 h 22"/>
                    <a:gd name="T18" fmla="*/ 34 w 35"/>
                    <a:gd name="T19" fmla="*/ 12 h 22"/>
                    <a:gd name="T20" fmla="*/ 18 w 35"/>
                    <a:gd name="T21" fmla="*/ 22 h 22"/>
                    <a:gd name="T22" fmla="*/ 17 w 35"/>
                    <a:gd name="T23" fmla="*/ 22 h 22"/>
                    <a:gd name="T24" fmla="*/ 6 w 35"/>
                    <a:gd name="T25" fmla="*/ 11 h 22"/>
                    <a:gd name="T26" fmla="*/ 17 w 35"/>
                    <a:gd name="T27" fmla="*/ 18 h 22"/>
                    <a:gd name="T28" fmla="*/ 29 w 35"/>
                    <a:gd name="T29" fmla="*/ 10 h 22"/>
                    <a:gd name="T30" fmla="*/ 18 w 35"/>
                    <a:gd name="T31" fmla="*/ 4 h 22"/>
                    <a:gd name="T32" fmla="*/ 6 w 35"/>
                    <a:gd name="T33" fmla="*/ 1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22">
                      <a:moveTo>
                        <a:pt x="17" y="22"/>
                      </a:moveTo>
                      <a:cubicBezTo>
                        <a:pt x="16" y="22"/>
                        <a:pt x="16" y="22"/>
                        <a:pt x="16" y="22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1"/>
                      </a:cubicBezTo>
                      <a:cubicBezTo>
                        <a:pt x="0" y="11"/>
                        <a:pt x="0" y="10"/>
                        <a:pt x="1" y="1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8" y="0"/>
                        <a:pt x="19" y="0"/>
                        <a:pt x="19" y="0"/>
                      </a:cubicBezTo>
                      <a:cubicBezTo>
                        <a:pt x="34" y="9"/>
                        <a:pt x="34" y="9"/>
                        <a:pt x="34" y="9"/>
                      </a:cubicBezTo>
                      <a:cubicBezTo>
                        <a:pt x="35" y="9"/>
                        <a:pt x="35" y="10"/>
                        <a:pt x="35" y="10"/>
                      </a:cubicBezTo>
                      <a:cubicBezTo>
                        <a:pt x="35" y="11"/>
                        <a:pt x="35" y="12"/>
                        <a:pt x="34" y="12"/>
                      </a:cubicBezTo>
                      <a:cubicBezTo>
                        <a:pt x="18" y="22"/>
                        <a:pt x="18" y="22"/>
                        <a:pt x="18" y="22"/>
                      </a:cubicBezTo>
                      <a:cubicBezTo>
                        <a:pt x="17" y="22"/>
                        <a:pt x="17" y="22"/>
                        <a:pt x="17" y="22"/>
                      </a:cubicBezTo>
                      <a:close/>
                      <a:moveTo>
                        <a:pt x="6" y="11"/>
                      </a:move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18" y="4"/>
                        <a:pt x="18" y="4"/>
                        <a:pt x="18" y="4"/>
                      </a:cubicBez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1" name="Freeform 643">
                  <a:extLst>
                    <a:ext uri="{FF2B5EF4-FFF2-40B4-BE49-F238E27FC236}">
                      <a16:creationId xmlns:a16="http://schemas.microsoft.com/office/drawing/2014/main" id="{AB17AE2C-AB30-4E96-8D07-D3DD5572A4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902"/>
                  <a:ext cx="12" cy="26"/>
                </a:xfrm>
                <a:custGeom>
                  <a:avLst/>
                  <a:gdLst>
                    <a:gd name="T0" fmla="*/ 3 w 5"/>
                    <a:gd name="T1" fmla="*/ 11 h 11"/>
                    <a:gd name="T2" fmla="*/ 2 w 5"/>
                    <a:gd name="T3" fmla="*/ 10 h 11"/>
                    <a:gd name="T4" fmla="*/ 1 w 5"/>
                    <a:gd name="T5" fmla="*/ 9 h 11"/>
                    <a:gd name="T6" fmla="*/ 0 w 5"/>
                    <a:gd name="T7" fmla="*/ 8 h 11"/>
                    <a:gd name="T8" fmla="*/ 0 w 5"/>
                    <a:gd name="T9" fmla="*/ 3 h 11"/>
                    <a:gd name="T10" fmla="*/ 1 w 5"/>
                    <a:gd name="T11" fmla="*/ 2 h 11"/>
                    <a:gd name="T12" fmla="*/ 2 w 5"/>
                    <a:gd name="T13" fmla="*/ 1 h 11"/>
                    <a:gd name="T14" fmla="*/ 4 w 5"/>
                    <a:gd name="T15" fmla="*/ 1 h 11"/>
                    <a:gd name="T16" fmla="*/ 5 w 5"/>
                    <a:gd name="T17" fmla="*/ 2 h 11"/>
                    <a:gd name="T18" fmla="*/ 5 w 5"/>
                    <a:gd name="T19" fmla="*/ 9 h 11"/>
                    <a:gd name="T20" fmla="*/ 4 w 5"/>
                    <a:gd name="T21" fmla="*/ 10 h 11"/>
                    <a:gd name="T22" fmla="*/ 3 w 5"/>
                    <a:gd name="T23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1">
                      <a:moveTo>
                        <a:pt x="3" y="11"/>
                      </a:moveTo>
                      <a:cubicBezTo>
                        <a:pt x="3" y="11"/>
                        <a:pt x="3" y="11"/>
                        <a:pt x="2" y="10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9"/>
                        <a:pt x="0" y="8"/>
                        <a:pt x="0" y="8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9"/>
                        <a:pt x="5" y="10"/>
                        <a:pt x="4" y="10"/>
                      </a:cubicBezTo>
                      <a:cubicBezTo>
                        <a:pt x="4" y="11"/>
                        <a:pt x="4" y="11"/>
                        <a:pt x="3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2" name="Freeform 644">
                  <a:extLst>
                    <a:ext uri="{FF2B5EF4-FFF2-40B4-BE49-F238E27FC236}">
                      <a16:creationId xmlns:a16="http://schemas.microsoft.com/office/drawing/2014/main" id="{BFB58FDF-AAF6-4BC4-9B9F-A11FD08C72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3" y="1748"/>
                  <a:ext cx="137" cy="83"/>
                </a:xfrm>
                <a:custGeom>
                  <a:avLst/>
                  <a:gdLst>
                    <a:gd name="T0" fmla="*/ 3 w 58"/>
                    <a:gd name="T1" fmla="*/ 35 h 35"/>
                    <a:gd name="T2" fmla="*/ 2 w 58"/>
                    <a:gd name="T3" fmla="*/ 35 h 35"/>
                    <a:gd name="T4" fmla="*/ 1 w 58"/>
                    <a:gd name="T5" fmla="*/ 34 h 35"/>
                    <a:gd name="T6" fmla="*/ 0 w 58"/>
                    <a:gd name="T7" fmla="*/ 32 h 35"/>
                    <a:gd name="T8" fmla="*/ 1 w 58"/>
                    <a:gd name="T9" fmla="*/ 30 h 35"/>
                    <a:gd name="T10" fmla="*/ 53 w 58"/>
                    <a:gd name="T11" fmla="*/ 0 h 35"/>
                    <a:gd name="T12" fmla="*/ 55 w 58"/>
                    <a:gd name="T13" fmla="*/ 0 h 35"/>
                    <a:gd name="T14" fmla="*/ 57 w 58"/>
                    <a:gd name="T15" fmla="*/ 1 h 35"/>
                    <a:gd name="T16" fmla="*/ 58 w 58"/>
                    <a:gd name="T17" fmla="*/ 3 h 35"/>
                    <a:gd name="T18" fmla="*/ 57 w 58"/>
                    <a:gd name="T19" fmla="*/ 4 h 35"/>
                    <a:gd name="T20" fmla="*/ 4 w 58"/>
                    <a:gd name="T21" fmla="*/ 35 h 35"/>
                    <a:gd name="T22" fmla="*/ 3 w 58"/>
                    <a:gd name="T2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8" h="35">
                      <a:moveTo>
                        <a:pt x="3" y="35"/>
                      </a:moveTo>
                      <a:cubicBezTo>
                        <a:pt x="3" y="35"/>
                        <a:pt x="3" y="35"/>
                        <a:pt x="2" y="35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3"/>
                        <a:pt x="0" y="33"/>
                        <a:pt x="0" y="32"/>
                      </a:cubicBezTo>
                      <a:cubicBezTo>
                        <a:pt x="0" y="31"/>
                        <a:pt x="0" y="31"/>
                        <a:pt x="1" y="3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4" y="0"/>
                        <a:pt x="55" y="0"/>
                        <a:pt x="55" y="0"/>
                      </a:cubicBezTo>
                      <a:cubicBezTo>
                        <a:pt x="57" y="1"/>
                        <a:pt x="57" y="1"/>
                        <a:pt x="57" y="1"/>
                      </a:cubicBezTo>
                      <a:cubicBezTo>
                        <a:pt x="58" y="1"/>
                        <a:pt x="58" y="2"/>
                        <a:pt x="58" y="3"/>
                      </a:cubicBezTo>
                      <a:cubicBezTo>
                        <a:pt x="58" y="3"/>
                        <a:pt x="58" y="4"/>
                        <a:pt x="57" y="4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4" y="35"/>
                        <a:pt x="4" y="35"/>
                        <a:pt x="3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3" name="Freeform 645">
                  <a:extLst>
                    <a:ext uri="{FF2B5EF4-FFF2-40B4-BE49-F238E27FC236}">
                      <a16:creationId xmlns:a16="http://schemas.microsoft.com/office/drawing/2014/main" id="{1BCA54F1-2483-45A6-979C-16CCC0789E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39" y="1658"/>
                  <a:ext cx="404" cy="244"/>
                </a:xfrm>
                <a:custGeom>
                  <a:avLst/>
                  <a:gdLst>
                    <a:gd name="T0" fmla="*/ 68 w 171"/>
                    <a:gd name="T1" fmla="*/ 103 h 103"/>
                    <a:gd name="T2" fmla="*/ 67 w 171"/>
                    <a:gd name="T3" fmla="*/ 102 h 103"/>
                    <a:gd name="T4" fmla="*/ 1 w 171"/>
                    <a:gd name="T5" fmla="*/ 64 h 103"/>
                    <a:gd name="T6" fmla="*/ 0 w 171"/>
                    <a:gd name="T7" fmla="*/ 62 h 103"/>
                    <a:gd name="T8" fmla="*/ 1 w 171"/>
                    <a:gd name="T9" fmla="*/ 61 h 103"/>
                    <a:gd name="T10" fmla="*/ 105 w 171"/>
                    <a:gd name="T11" fmla="*/ 1 h 103"/>
                    <a:gd name="T12" fmla="*/ 107 w 171"/>
                    <a:gd name="T13" fmla="*/ 1 h 103"/>
                    <a:gd name="T14" fmla="*/ 170 w 171"/>
                    <a:gd name="T15" fmla="*/ 37 h 103"/>
                    <a:gd name="T16" fmla="*/ 171 w 171"/>
                    <a:gd name="T17" fmla="*/ 39 h 103"/>
                    <a:gd name="T18" fmla="*/ 170 w 171"/>
                    <a:gd name="T19" fmla="*/ 40 h 103"/>
                    <a:gd name="T20" fmla="*/ 118 w 171"/>
                    <a:gd name="T21" fmla="*/ 70 h 103"/>
                    <a:gd name="T22" fmla="*/ 119 w 171"/>
                    <a:gd name="T23" fmla="*/ 70 h 103"/>
                    <a:gd name="T24" fmla="*/ 120 w 171"/>
                    <a:gd name="T25" fmla="*/ 72 h 103"/>
                    <a:gd name="T26" fmla="*/ 119 w 171"/>
                    <a:gd name="T27" fmla="*/ 74 h 103"/>
                    <a:gd name="T28" fmla="*/ 69 w 171"/>
                    <a:gd name="T29" fmla="*/ 102 h 103"/>
                    <a:gd name="T30" fmla="*/ 68 w 171"/>
                    <a:gd name="T31" fmla="*/ 103 h 103"/>
                    <a:gd name="T32" fmla="*/ 6 w 171"/>
                    <a:gd name="T33" fmla="*/ 62 h 103"/>
                    <a:gd name="T34" fmla="*/ 68 w 171"/>
                    <a:gd name="T35" fmla="*/ 98 h 103"/>
                    <a:gd name="T36" fmla="*/ 114 w 171"/>
                    <a:gd name="T37" fmla="*/ 72 h 103"/>
                    <a:gd name="T38" fmla="*/ 113 w 171"/>
                    <a:gd name="T39" fmla="*/ 72 h 103"/>
                    <a:gd name="T40" fmla="*/ 112 w 171"/>
                    <a:gd name="T41" fmla="*/ 70 h 103"/>
                    <a:gd name="T42" fmla="*/ 113 w 171"/>
                    <a:gd name="T43" fmla="*/ 68 h 103"/>
                    <a:gd name="T44" fmla="*/ 165 w 171"/>
                    <a:gd name="T45" fmla="*/ 39 h 103"/>
                    <a:gd name="T46" fmla="*/ 106 w 171"/>
                    <a:gd name="T47" fmla="*/ 5 h 103"/>
                    <a:gd name="T48" fmla="*/ 6 w 171"/>
                    <a:gd name="T49" fmla="*/ 62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71" h="103">
                      <a:moveTo>
                        <a:pt x="68" y="103"/>
                      </a:moveTo>
                      <a:cubicBezTo>
                        <a:pt x="68" y="103"/>
                        <a:pt x="67" y="103"/>
                        <a:pt x="67" y="102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0" y="64"/>
                        <a:pt x="0" y="63"/>
                        <a:pt x="0" y="62"/>
                      </a:cubicBezTo>
                      <a:cubicBezTo>
                        <a:pt x="0" y="62"/>
                        <a:pt x="0" y="61"/>
                        <a:pt x="1" y="61"/>
                      </a:cubicBezTo>
                      <a:cubicBezTo>
                        <a:pt x="105" y="1"/>
                        <a:pt x="105" y="1"/>
                        <a:pt x="105" y="1"/>
                      </a:cubicBezTo>
                      <a:cubicBezTo>
                        <a:pt x="105" y="0"/>
                        <a:pt x="106" y="0"/>
                        <a:pt x="107" y="1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1" y="38"/>
                        <a:pt x="171" y="39"/>
                      </a:cubicBezTo>
                      <a:cubicBezTo>
                        <a:pt x="171" y="39"/>
                        <a:pt x="170" y="40"/>
                        <a:pt x="170" y="40"/>
                      </a:cubicBezTo>
                      <a:cubicBezTo>
                        <a:pt x="118" y="70"/>
                        <a:pt x="118" y="70"/>
                        <a:pt x="118" y="70"/>
                      </a:cubicBezTo>
                      <a:cubicBezTo>
                        <a:pt x="119" y="70"/>
                        <a:pt x="119" y="70"/>
                        <a:pt x="119" y="70"/>
                      </a:cubicBezTo>
                      <a:cubicBezTo>
                        <a:pt x="119" y="71"/>
                        <a:pt x="120" y="71"/>
                        <a:pt x="120" y="72"/>
                      </a:cubicBezTo>
                      <a:cubicBezTo>
                        <a:pt x="120" y="73"/>
                        <a:pt x="119" y="73"/>
                        <a:pt x="119" y="74"/>
                      </a:cubicBezTo>
                      <a:cubicBezTo>
                        <a:pt x="69" y="102"/>
                        <a:pt x="69" y="102"/>
                        <a:pt x="69" y="102"/>
                      </a:cubicBezTo>
                      <a:cubicBezTo>
                        <a:pt x="69" y="103"/>
                        <a:pt x="68" y="103"/>
                        <a:pt x="68" y="103"/>
                      </a:cubicBezTo>
                      <a:close/>
                      <a:moveTo>
                        <a:pt x="6" y="62"/>
                      </a:moveTo>
                      <a:cubicBezTo>
                        <a:pt x="68" y="98"/>
                        <a:pt x="68" y="98"/>
                        <a:pt x="68" y="98"/>
                      </a:cubicBezTo>
                      <a:cubicBezTo>
                        <a:pt x="114" y="72"/>
                        <a:pt x="114" y="72"/>
                        <a:pt x="114" y="72"/>
                      </a:cubicBezTo>
                      <a:cubicBezTo>
                        <a:pt x="113" y="72"/>
                        <a:pt x="113" y="72"/>
                        <a:pt x="113" y="72"/>
                      </a:cubicBezTo>
                      <a:cubicBezTo>
                        <a:pt x="113" y="71"/>
                        <a:pt x="112" y="71"/>
                        <a:pt x="112" y="70"/>
                      </a:cubicBezTo>
                      <a:cubicBezTo>
                        <a:pt x="112" y="69"/>
                        <a:pt x="113" y="69"/>
                        <a:pt x="113" y="68"/>
                      </a:cubicBezTo>
                      <a:cubicBezTo>
                        <a:pt x="165" y="39"/>
                        <a:pt x="165" y="39"/>
                        <a:pt x="165" y="39"/>
                      </a:cubicBezTo>
                      <a:cubicBezTo>
                        <a:pt x="106" y="5"/>
                        <a:pt x="106" y="5"/>
                        <a:pt x="106" y="5"/>
                      </a:cubicBezTo>
                      <a:lnTo>
                        <a:pt x="6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4" name="Freeform 646">
                  <a:extLst>
                    <a:ext uri="{FF2B5EF4-FFF2-40B4-BE49-F238E27FC236}">
                      <a16:creationId xmlns:a16="http://schemas.microsoft.com/office/drawing/2014/main" id="{2E2393EB-A672-4FAD-8FAE-A5D15C559A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92" y="1094"/>
                  <a:ext cx="326" cy="205"/>
                </a:xfrm>
                <a:custGeom>
                  <a:avLst/>
                  <a:gdLst>
                    <a:gd name="T0" fmla="*/ 9 w 138"/>
                    <a:gd name="T1" fmla="*/ 87 h 87"/>
                    <a:gd name="T2" fmla="*/ 8 w 138"/>
                    <a:gd name="T3" fmla="*/ 87 h 87"/>
                    <a:gd name="T4" fmla="*/ 1 w 138"/>
                    <a:gd name="T5" fmla="*/ 82 h 87"/>
                    <a:gd name="T6" fmla="*/ 0 w 138"/>
                    <a:gd name="T7" fmla="*/ 81 h 87"/>
                    <a:gd name="T8" fmla="*/ 1 w 138"/>
                    <a:gd name="T9" fmla="*/ 79 h 87"/>
                    <a:gd name="T10" fmla="*/ 118 w 138"/>
                    <a:gd name="T11" fmla="*/ 11 h 87"/>
                    <a:gd name="T12" fmla="*/ 118 w 138"/>
                    <a:gd name="T13" fmla="*/ 2 h 87"/>
                    <a:gd name="T14" fmla="*/ 119 w 138"/>
                    <a:gd name="T15" fmla="*/ 0 h 87"/>
                    <a:gd name="T16" fmla="*/ 121 w 138"/>
                    <a:gd name="T17" fmla="*/ 0 h 87"/>
                    <a:gd name="T18" fmla="*/ 137 w 138"/>
                    <a:gd name="T19" fmla="*/ 10 h 87"/>
                    <a:gd name="T20" fmla="*/ 138 w 138"/>
                    <a:gd name="T21" fmla="*/ 11 h 87"/>
                    <a:gd name="T22" fmla="*/ 137 w 138"/>
                    <a:gd name="T23" fmla="*/ 13 h 87"/>
                    <a:gd name="T24" fmla="*/ 10 w 138"/>
                    <a:gd name="T25" fmla="*/ 87 h 87"/>
                    <a:gd name="T26" fmla="*/ 9 w 138"/>
                    <a:gd name="T27" fmla="*/ 87 h 87"/>
                    <a:gd name="T28" fmla="*/ 6 w 138"/>
                    <a:gd name="T29" fmla="*/ 81 h 87"/>
                    <a:gd name="T30" fmla="*/ 9 w 138"/>
                    <a:gd name="T31" fmla="*/ 83 h 87"/>
                    <a:gd name="T32" fmla="*/ 132 w 138"/>
                    <a:gd name="T33" fmla="*/ 11 h 87"/>
                    <a:gd name="T34" fmla="*/ 122 w 138"/>
                    <a:gd name="T35" fmla="*/ 6 h 87"/>
                    <a:gd name="T36" fmla="*/ 122 w 138"/>
                    <a:gd name="T37" fmla="*/ 12 h 87"/>
                    <a:gd name="T38" fmla="*/ 121 w 138"/>
                    <a:gd name="T39" fmla="*/ 14 h 87"/>
                    <a:gd name="T40" fmla="*/ 6 w 138"/>
                    <a:gd name="T41" fmla="*/ 8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8" h="87">
                      <a:moveTo>
                        <a:pt x="9" y="87"/>
                      </a:moveTo>
                      <a:cubicBezTo>
                        <a:pt x="9" y="87"/>
                        <a:pt x="8" y="87"/>
                        <a:pt x="8" y="87"/>
                      </a:cubicBezTo>
                      <a:cubicBezTo>
                        <a:pt x="1" y="82"/>
                        <a:pt x="1" y="82"/>
                        <a:pt x="1" y="82"/>
                      </a:cubicBezTo>
                      <a:cubicBezTo>
                        <a:pt x="0" y="82"/>
                        <a:pt x="0" y="81"/>
                        <a:pt x="0" y="81"/>
                      </a:cubicBezTo>
                      <a:cubicBezTo>
                        <a:pt x="0" y="80"/>
                        <a:pt x="0" y="79"/>
                        <a:pt x="1" y="79"/>
                      </a:cubicBezTo>
                      <a:cubicBezTo>
                        <a:pt x="118" y="11"/>
                        <a:pt x="118" y="11"/>
                        <a:pt x="118" y="11"/>
                      </a:cubicBezTo>
                      <a:cubicBezTo>
                        <a:pt x="118" y="2"/>
                        <a:pt x="118" y="2"/>
                        <a:pt x="118" y="2"/>
                      </a:cubicBezTo>
                      <a:cubicBezTo>
                        <a:pt x="118" y="1"/>
                        <a:pt x="118" y="1"/>
                        <a:pt x="119" y="0"/>
                      </a:cubicBezTo>
                      <a:cubicBezTo>
                        <a:pt x="120" y="0"/>
                        <a:pt x="120" y="0"/>
                        <a:pt x="121" y="0"/>
                      </a:cubicBezTo>
                      <a:cubicBezTo>
                        <a:pt x="137" y="10"/>
                        <a:pt x="137" y="10"/>
                        <a:pt x="137" y="10"/>
                      </a:cubicBezTo>
                      <a:cubicBezTo>
                        <a:pt x="138" y="10"/>
                        <a:pt x="138" y="11"/>
                        <a:pt x="138" y="11"/>
                      </a:cubicBezTo>
                      <a:cubicBezTo>
                        <a:pt x="138" y="12"/>
                        <a:pt x="138" y="13"/>
                        <a:pt x="137" y="13"/>
                      </a:cubicBezTo>
                      <a:cubicBezTo>
                        <a:pt x="10" y="87"/>
                        <a:pt x="10" y="87"/>
                        <a:pt x="10" y="87"/>
                      </a:cubicBezTo>
                      <a:cubicBezTo>
                        <a:pt x="10" y="87"/>
                        <a:pt x="9" y="87"/>
                        <a:pt x="9" y="87"/>
                      </a:cubicBezTo>
                      <a:close/>
                      <a:moveTo>
                        <a:pt x="6" y="81"/>
                      </a:moveTo>
                      <a:cubicBezTo>
                        <a:pt x="9" y="83"/>
                        <a:pt x="9" y="83"/>
                        <a:pt x="9" y="83"/>
                      </a:cubicBezTo>
                      <a:cubicBezTo>
                        <a:pt x="132" y="11"/>
                        <a:pt x="132" y="11"/>
                        <a:pt x="132" y="11"/>
                      </a:cubicBezTo>
                      <a:cubicBezTo>
                        <a:pt x="122" y="6"/>
                        <a:pt x="122" y="6"/>
                        <a:pt x="122" y="6"/>
                      </a:cubicBezTo>
                      <a:cubicBezTo>
                        <a:pt x="122" y="12"/>
                        <a:pt x="122" y="12"/>
                        <a:pt x="122" y="12"/>
                      </a:cubicBezTo>
                      <a:cubicBezTo>
                        <a:pt x="122" y="13"/>
                        <a:pt x="122" y="14"/>
                        <a:pt x="121" y="14"/>
                      </a:cubicBezTo>
                      <a:lnTo>
                        <a:pt x="6" y="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5" name="Freeform 647">
                  <a:extLst>
                    <a:ext uri="{FF2B5EF4-FFF2-40B4-BE49-F238E27FC236}">
                      <a16:creationId xmlns:a16="http://schemas.microsoft.com/office/drawing/2014/main" id="{3792A624-2DF4-401B-B587-DE5D682AA0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50" y="1623"/>
                  <a:ext cx="63" cy="43"/>
                </a:xfrm>
                <a:custGeom>
                  <a:avLst/>
                  <a:gdLst>
                    <a:gd name="T0" fmla="*/ 17 w 27"/>
                    <a:gd name="T1" fmla="*/ 18 h 18"/>
                    <a:gd name="T2" fmla="*/ 16 w 27"/>
                    <a:gd name="T3" fmla="*/ 17 h 18"/>
                    <a:gd name="T4" fmla="*/ 1 w 27"/>
                    <a:gd name="T5" fmla="*/ 9 h 18"/>
                    <a:gd name="T6" fmla="*/ 0 w 27"/>
                    <a:gd name="T7" fmla="*/ 7 h 18"/>
                    <a:gd name="T8" fmla="*/ 1 w 27"/>
                    <a:gd name="T9" fmla="*/ 5 h 18"/>
                    <a:gd name="T10" fmla="*/ 9 w 27"/>
                    <a:gd name="T11" fmla="*/ 0 h 18"/>
                    <a:gd name="T12" fmla="*/ 11 w 27"/>
                    <a:gd name="T13" fmla="*/ 0 h 18"/>
                    <a:gd name="T14" fmla="*/ 26 w 27"/>
                    <a:gd name="T15" fmla="*/ 9 h 18"/>
                    <a:gd name="T16" fmla="*/ 27 w 27"/>
                    <a:gd name="T17" fmla="*/ 11 h 18"/>
                    <a:gd name="T18" fmla="*/ 26 w 27"/>
                    <a:gd name="T19" fmla="*/ 12 h 18"/>
                    <a:gd name="T20" fmla="*/ 18 w 27"/>
                    <a:gd name="T21" fmla="*/ 17 h 18"/>
                    <a:gd name="T22" fmla="*/ 17 w 27"/>
                    <a:gd name="T23" fmla="*/ 18 h 18"/>
                    <a:gd name="T24" fmla="*/ 6 w 27"/>
                    <a:gd name="T25" fmla="*/ 7 h 18"/>
                    <a:gd name="T26" fmla="*/ 17 w 27"/>
                    <a:gd name="T27" fmla="*/ 13 h 18"/>
                    <a:gd name="T28" fmla="*/ 21 w 27"/>
                    <a:gd name="T29" fmla="*/ 11 h 18"/>
                    <a:gd name="T30" fmla="*/ 10 w 27"/>
                    <a:gd name="T31" fmla="*/ 4 h 18"/>
                    <a:gd name="T32" fmla="*/ 6 w 27"/>
                    <a:gd name="T33" fmla="*/ 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7" h="18">
                      <a:moveTo>
                        <a:pt x="17" y="18"/>
                      </a:moveTo>
                      <a:cubicBezTo>
                        <a:pt x="17" y="18"/>
                        <a:pt x="16" y="17"/>
                        <a:pt x="16" y="17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8"/>
                        <a:pt x="0" y="8"/>
                        <a:pt x="0" y="7"/>
                      </a:cubicBezTo>
                      <a:cubicBezTo>
                        <a:pt x="0" y="6"/>
                        <a:pt x="0" y="6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26" y="9"/>
                        <a:pt x="26" y="9"/>
                        <a:pt x="26" y="9"/>
                      </a:cubicBezTo>
                      <a:cubicBezTo>
                        <a:pt x="27" y="9"/>
                        <a:pt x="27" y="10"/>
                        <a:pt x="27" y="11"/>
                      </a:cubicBezTo>
                      <a:cubicBezTo>
                        <a:pt x="27" y="11"/>
                        <a:pt x="27" y="12"/>
                        <a:pt x="26" y="12"/>
                      </a:cubicBezTo>
                      <a:cubicBezTo>
                        <a:pt x="18" y="17"/>
                        <a:pt x="18" y="17"/>
                        <a:pt x="18" y="17"/>
                      </a:cubicBezTo>
                      <a:cubicBezTo>
                        <a:pt x="18" y="17"/>
                        <a:pt x="17" y="18"/>
                        <a:pt x="17" y="18"/>
                      </a:cubicBezTo>
                      <a:close/>
                      <a:moveTo>
                        <a:pt x="6" y="7"/>
                      </a:move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10" y="4"/>
                        <a:pt x="10" y="4"/>
                        <a:pt x="10" y="4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6" name="Freeform 648">
                  <a:extLst>
                    <a:ext uri="{FF2B5EF4-FFF2-40B4-BE49-F238E27FC236}">
                      <a16:creationId xmlns:a16="http://schemas.microsoft.com/office/drawing/2014/main" id="{B32F9F19-E263-45AC-8D72-EB0A7E83A4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2088"/>
                  <a:ext cx="118" cy="76"/>
                </a:xfrm>
                <a:custGeom>
                  <a:avLst/>
                  <a:gdLst>
                    <a:gd name="T0" fmla="*/ 46 w 50"/>
                    <a:gd name="T1" fmla="*/ 32 h 32"/>
                    <a:gd name="T2" fmla="*/ 45 w 50"/>
                    <a:gd name="T3" fmla="*/ 32 h 32"/>
                    <a:gd name="T4" fmla="*/ 1 w 50"/>
                    <a:gd name="T5" fmla="*/ 6 h 32"/>
                    <a:gd name="T6" fmla="*/ 0 w 50"/>
                    <a:gd name="T7" fmla="*/ 5 h 32"/>
                    <a:gd name="T8" fmla="*/ 0 w 50"/>
                    <a:gd name="T9" fmla="*/ 3 h 32"/>
                    <a:gd name="T10" fmla="*/ 1 w 50"/>
                    <a:gd name="T11" fmla="*/ 1 h 32"/>
                    <a:gd name="T12" fmla="*/ 3 w 50"/>
                    <a:gd name="T13" fmla="*/ 1 h 32"/>
                    <a:gd name="T14" fmla="*/ 49 w 50"/>
                    <a:gd name="T15" fmla="*/ 28 h 32"/>
                    <a:gd name="T16" fmla="*/ 50 w 50"/>
                    <a:gd name="T17" fmla="*/ 29 h 32"/>
                    <a:gd name="T18" fmla="*/ 49 w 50"/>
                    <a:gd name="T19" fmla="*/ 31 h 32"/>
                    <a:gd name="T20" fmla="*/ 47 w 50"/>
                    <a:gd name="T21" fmla="*/ 32 h 32"/>
                    <a:gd name="T22" fmla="*/ 46 w 50"/>
                    <a:gd name="T2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0" h="32">
                      <a:moveTo>
                        <a:pt x="46" y="32"/>
                      </a:moveTo>
                      <a:cubicBezTo>
                        <a:pt x="46" y="32"/>
                        <a:pt x="46" y="32"/>
                        <a:pt x="45" y="32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6"/>
                        <a:pt x="0" y="5"/>
                        <a:pt x="0" y="5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50" y="28"/>
                        <a:pt x="50" y="29"/>
                        <a:pt x="50" y="29"/>
                      </a:cubicBezTo>
                      <a:cubicBezTo>
                        <a:pt x="50" y="30"/>
                        <a:pt x="50" y="31"/>
                        <a:pt x="49" y="31"/>
                      </a:cubicBezTo>
                      <a:cubicBezTo>
                        <a:pt x="47" y="32"/>
                        <a:pt x="47" y="32"/>
                        <a:pt x="47" y="32"/>
                      </a:cubicBezTo>
                      <a:cubicBezTo>
                        <a:pt x="47" y="32"/>
                        <a:pt x="47" y="32"/>
                        <a:pt x="46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7" name="Freeform 649">
                  <a:extLst>
                    <a:ext uri="{FF2B5EF4-FFF2-40B4-BE49-F238E27FC236}">
                      <a16:creationId xmlns:a16="http://schemas.microsoft.com/office/drawing/2014/main" id="{E55765BB-0E99-4DD2-8A22-12FDEF51FC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69" y="1918"/>
                  <a:ext cx="161" cy="267"/>
                </a:xfrm>
                <a:custGeom>
                  <a:avLst/>
                  <a:gdLst>
                    <a:gd name="T0" fmla="*/ 66 w 68"/>
                    <a:gd name="T1" fmla="*/ 113 h 113"/>
                    <a:gd name="T2" fmla="*/ 65 w 68"/>
                    <a:gd name="T3" fmla="*/ 113 h 113"/>
                    <a:gd name="T4" fmla="*/ 62 w 68"/>
                    <a:gd name="T5" fmla="*/ 111 h 113"/>
                    <a:gd name="T6" fmla="*/ 61 w 68"/>
                    <a:gd name="T7" fmla="*/ 110 h 113"/>
                    <a:gd name="T8" fmla="*/ 61 w 68"/>
                    <a:gd name="T9" fmla="*/ 109 h 113"/>
                    <a:gd name="T10" fmla="*/ 1 w 68"/>
                    <a:gd name="T11" fmla="*/ 74 h 113"/>
                    <a:gd name="T12" fmla="*/ 0 w 68"/>
                    <a:gd name="T13" fmla="*/ 73 h 113"/>
                    <a:gd name="T14" fmla="*/ 0 w 68"/>
                    <a:gd name="T15" fmla="*/ 3 h 113"/>
                    <a:gd name="T16" fmla="*/ 1 w 68"/>
                    <a:gd name="T17" fmla="*/ 1 h 113"/>
                    <a:gd name="T18" fmla="*/ 3 w 68"/>
                    <a:gd name="T19" fmla="*/ 1 h 113"/>
                    <a:gd name="T20" fmla="*/ 4 w 68"/>
                    <a:gd name="T21" fmla="*/ 2 h 113"/>
                    <a:gd name="T22" fmla="*/ 5 w 68"/>
                    <a:gd name="T23" fmla="*/ 4 h 113"/>
                    <a:gd name="T24" fmla="*/ 5 w 68"/>
                    <a:gd name="T25" fmla="*/ 9 h 113"/>
                    <a:gd name="T26" fmla="*/ 10 w 68"/>
                    <a:gd name="T27" fmla="*/ 6 h 113"/>
                    <a:gd name="T28" fmla="*/ 12 w 68"/>
                    <a:gd name="T29" fmla="*/ 6 h 113"/>
                    <a:gd name="T30" fmla="*/ 67 w 68"/>
                    <a:gd name="T31" fmla="*/ 38 h 113"/>
                    <a:gd name="T32" fmla="*/ 68 w 68"/>
                    <a:gd name="T33" fmla="*/ 40 h 113"/>
                    <a:gd name="T34" fmla="*/ 68 w 68"/>
                    <a:gd name="T35" fmla="*/ 111 h 113"/>
                    <a:gd name="T36" fmla="*/ 67 w 68"/>
                    <a:gd name="T37" fmla="*/ 113 h 113"/>
                    <a:gd name="T38" fmla="*/ 66 w 68"/>
                    <a:gd name="T39" fmla="*/ 113 h 113"/>
                    <a:gd name="T40" fmla="*/ 4 w 68"/>
                    <a:gd name="T41" fmla="*/ 72 h 113"/>
                    <a:gd name="T42" fmla="*/ 64 w 68"/>
                    <a:gd name="T43" fmla="*/ 106 h 113"/>
                    <a:gd name="T44" fmla="*/ 64 w 68"/>
                    <a:gd name="T45" fmla="*/ 41 h 113"/>
                    <a:gd name="T46" fmla="*/ 11 w 68"/>
                    <a:gd name="T47" fmla="*/ 10 h 113"/>
                    <a:gd name="T48" fmla="*/ 4 w 68"/>
                    <a:gd name="T49" fmla="*/ 14 h 113"/>
                    <a:gd name="T50" fmla="*/ 4 w 68"/>
                    <a:gd name="T51" fmla="*/ 15 h 113"/>
                    <a:gd name="T52" fmla="*/ 4 w 68"/>
                    <a:gd name="T53" fmla="*/ 72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" h="113">
                      <a:moveTo>
                        <a:pt x="66" y="113"/>
                      </a:moveTo>
                      <a:cubicBezTo>
                        <a:pt x="65" y="113"/>
                        <a:pt x="65" y="113"/>
                        <a:pt x="65" y="113"/>
                      </a:cubicBezTo>
                      <a:cubicBezTo>
                        <a:pt x="62" y="111"/>
                        <a:pt x="62" y="111"/>
                        <a:pt x="62" y="111"/>
                      </a:cubicBezTo>
                      <a:cubicBezTo>
                        <a:pt x="61" y="111"/>
                        <a:pt x="61" y="110"/>
                        <a:pt x="61" y="110"/>
                      </a:cubicBezTo>
                      <a:cubicBezTo>
                        <a:pt x="61" y="110"/>
                        <a:pt x="61" y="109"/>
                        <a:pt x="61" y="109"/>
                      </a:cubicBezTo>
                      <a:cubicBezTo>
                        <a:pt x="1" y="74"/>
                        <a:pt x="1" y="74"/>
                        <a:pt x="1" y="74"/>
                      </a:cubicBezTo>
                      <a:cubicBezTo>
                        <a:pt x="0" y="74"/>
                        <a:pt x="0" y="73"/>
                        <a:pt x="0" y="7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4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1" y="6"/>
                        <a:pt x="12" y="6"/>
                        <a:pt x="12" y="6"/>
                      </a:cubicBezTo>
                      <a:cubicBezTo>
                        <a:pt x="67" y="38"/>
                        <a:pt x="67" y="38"/>
                        <a:pt x="67" y="38"/>
                      </a:cubicBezTo>
                      <a:cubicBezTo>
                        <a:pt x="67" y="38"/>
                        <a:pt x="68" y="39"/>
                        <a:pt x="68" y="40"/>
                      </a:cubicBezTo>
                      <a:cubicBezTo>
                        <a:pt x="68" y="111"/>
                        <a:pt x="68" y="111"/>
                        <a:pt x="68" y="111"/>
                      </a:cubicBezTo>
                      <a:cubicBezTo>
                        <a:pt x="68" y="112"/>
                        <a:pt x="67" y="113"/>
                        <a:pt x="67" y="113"/>
                      </a:cubicBezTo>
                      <a:cubicBezTo>
                        <a:pt x="67" y="113"/>
                        <a:pt x="66" y="113"/>
                        <a:pt x="66" y="113"/>
                      </a:cubicBezTo>
                      <a:close/>
                      <a:moveTo>
                        <a:pt x="4" y="72"/>
                      </a:moveTo>
                      <a:cubicBezTo>
                        <a:pt x="64" y="106"/>
                        <a:pt x="64" y="106"/>
                        <a:pt x="64" y="106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4" y="15"/>
                      </a:cubicBezTo>
                      <a:lnTo>
                        <a:pt x="4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8" name="Freeform 650">
                  <a:extLst>
                    <a:ext uri="{FF2B5EF4-FFF2-40B4-BE49-F238E27FC236}">
                      <a16:creationId xmlns:a16="http://schemas.microsoft.com/office/drawing/2014/main" id="{BDB14A14-42D1-45BF-B65A-139555D845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41" y="1734"/>
                  <a:ext cx="33" cy="24"/>
                </a:xfrm>
                <a:custGeom>
                  <a:avLst/>
                  <a:gdLst>
                    <a:gd name="T0" fmla="*/ 4 w 14"/>
                    <a:gd name="T1" fmla="*/ 10 h 10"/>
                    <a:gd name="T2" fmla="*/ 3 w 14"/>
                    <a:gd name="T3" fmla="*/ 9 h 10"/>
                    <a:gd name="T4" fmla="*/ 1 w 14"/>
                    <a:gd name="T5" fmla="*/ 8 h 10"/>
                    <a:gd name="T6" fmla="*/ 0 w 14"/>
                    <a:gd name="T7" fmla="*/ 7 h 10"/>
                    <a:gd name="T8" fmla="*/ 1 w 14"/>
                    <a:gd name="T9" fmla="*/ 5 h 10"/>
                    <a:gd name="T10" fmla="*/ 9 w 14"/>
                    <a:gd name="T11" fmla="*/ 0 h 10"/>
                    <a:gd name="T12" fmla="*/ 11 w 14"/>
                    <a:gd name="T13" fmla="*/ 0 h 10"/>
                    <a:gd name="T14" fmla="*/ 13 w 14"/>
                    <a:gd name="T15" fmla="*/ 1 h 10"/>
                    <a:gd name="T16" fmla="*/ 14 w 14"/>
                    <a:gd name="T17" fmla="*/ 3 h 10"/>
                    <a:gd name="T18" fmla="*/ 13 w 14"/>
                    <a:gd name="T19" fmla="*/ 5 h 10"/>
                    <a:gd name="T20" fmla="*/ 5 w 14"/>
                    <a:gd name="T21" fmla="*/ 9 h 10"/>
                    <a:gd name="T22" fmla="*/ 4 w 14"/>
                    <a:gd name="T2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4" h="10">
                      <a:moveTo>
                        <a:pt x="4" y="10"/>
                      </a:moveTo>
                      <a:cubicBezTo>
                        <a:pt x="3" y="10"/>
                        <a:pt x="3" y="10"/>
                        <a:pt x="3" y="9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8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4" y="1"/>
                        <a:pt x="14" y="2"/>
                        <a:pt x="14" y="3"/>
                      </a:cubicBezTo>
                      <a:cubicBezTo>
                        <a:pt x="14" y="4"/>
                        <a:pt x="14" y="4"/>
                        <a:pt x="13" y="5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4" y="10"/>
                        <a:pt x="4" y="10"/>
                        <a:pt x="4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9" name="Freeform 651">
                  <a:extLst>
                    <a:ext uri="{FF2B5EF4-FFF2-40B4-BE49-F238E27FC236}">
                      <a16:creationId xmlns:a16="http://schemas.microsoft.com/office/drawing/2014/main" id="{94E2D543-17E8-47D3-BD4C-8942BE63F69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85" y="2098"/>
                  <a:ext cx="295" cy="255"/>
                </a:xfrm>
                <a:custGeom>
                  <a:avLst/>
                  <a:gdLst>
                    <a:gd name="T0" fmla="*/ 12 w 125"/>
                    <a:gd name="T1" fmla="*/ 108 h 108"/>
                    <a:gd name="T2" fmla="*/ 11 w 125"/>
                    <a:gd name="T3" fmla="*/ 108 h 108"/>
                    <a:gd name="T4" fmla="*/ 1 w 125"/>
                    <a:gd name="T5" fmla="*/ 102 h 108"/>
                    <a:gd name="T6" fmla="*/ 0 w 125"/>
                    <a:gd name="T7" fmla="*/ 100 h 108"/>
                    <a:gd name="T8" fmla="*/ 0 w 125"/>
                    <a:gd name="T9" fmla="*/ 47 h 108"/>
                    <a:gd name="T10" fmla="*/ 1 w 125"/>
                    <a:gd name="T11" fmla="*/ 45 h 108"/>
                    <a:gd name="T12" fmla="*/ 78 w 125"/>
                    <a:gd name="T13" fmla="*/ 0 h 108"/>
                    <a:gd name="T14" fmla="*/ 80 w 125"/>
                    <a:gd name="T15" fmla="*/ 0 h 108"/>
                    <a:gd name="T16" fmla="*/ 124 w 125"/>
                    <a:gd name="T17" fmla="*/ 26 h 108"/>
                    <a:gd name="T18" fmla="*/ 125 w 125"/>
                    <a:gd name="T19" fmla="*/ 27 h 108"/>
                    <a:gd name="T20" fmla="*/ 124 w 125"/>
                    <a:gd name="T21" fmla="*/ 29 h 108"/>
                    <a:gd name="T22" fmla="*/ 51 w 125"/>
                    <a:gd name="T23" fmla="*/ 71 h 108"/>
                    <a:gd name="T24" fmla="*/ 61 w 125"/>
                    <a:gd name="T25" fmla="*/ 77 h 108"/>
                    <a:gd name="T26" fmla="*/ 62 w 125"/>
                    <a:gd name="T27" fmla="*/ 78 h 108"/>
                    <a:gd name="T28" fmla="*/ 61 w 125"/>
                    <a:gd name="T29" fmla="*/ 80 h 108"/>
                    <a:gd name="T30" fmla="*/ 13 w 125"/>
                    <a:gd name="T31" fmla="*/ 108 h 108"/>
                    <a:gd name="T32" fmla="*/ 12 w 125"/>
                    <a:gd name="T33" fmla="*/ 108 h 108"/>
                    <a:gd name="T34" fmla="*/ 4 w 125"/>
                    <a:gd name="T35" fmla="*/ 99 h 108"/>
                    <a:gd name="T36" fmla="*/ 12 w 125"/>
                    <a:gd name="T37" fmla="*/ 104 h 108"/>
                    <a:gd name="T38" fmla="*/ 56 w 125"/>
                    <a:gd name="T39" fmla="*/ 78 h 108"/>
                    <a:gd name="T40" fmla="*/ 46 w 125"/>
                    <a:gd name="T41" fmla="*/ 73 h 108"/>
                    <a:gd name="T42" fmla="*/ 45 w 125"/>
                    <a:gd name="T43" fmla="*/ 71 h 108"/>
                    <a:gd name="T44" fmla="*/ 46 w 125"/>
                    <a:gd name="T45" fmla="*/ 69 h 108"/>
                    <a:gd name="T46" fmla="*/ 119 w 125"/>
                    <a:gd name="T47" fmla="*/ 27 h 108"/>
                    <a:gd name="T48" fmla="*/ 79 w 125"/>
                    <a:gd name="T49" fmla="*/ 4 h 108"/>
                    <a:gd name="T50" fmla="*/ 4 w 125"/>
                    <a:gd name="T51" fmla="*/ 48 h 108"/>
                    <a:gd name="T52" fmla="*/ 4 w 125"/>
                    <a:gd name="T53" fmla="*/ 99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5" h="108">
                      <a:moveTo>
                        <a:pt x="12" y="108"/>
                      </a:moveTo>
                      <a:cubicBezTo>
                        <a:pt x="12" y="108"/>
                        <a:pt x="11" y="108"/>
                        <a:pt x="11" y="108"/>
                      </a:cubicBez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0" y="102"/>
                        <a:pt x="0" y="101"/>
                        <a:pt x="0" y="100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46"/>
                        <a:pt x="0" y="45"/>
                        <a:pt x="1" y="45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79" y="0"/>
                        <a:pt x="79" y="0"/>
                        <a:pt x="80" y="0"/>
                      </a:cubicBezTo>
                      <a:cubicBezTo>
                        <a:pt x="124" y="26"/>
                        <a:pt x="124" y="26"/>
                        <a:pt x="124" y="26"/>
                      </a:cubicBezTo>
                      <a:cubicBezTo>
                        <a:pt x="124" y="26"/>
                        <a:pt x="125" y="27"/>
                        <a:pt x="125" y="27"/>
                      </a:cubicBezTo>
                      <a:cubicBezTo>
                        <a:pt x="125" y="28"/>
                        <a:pt x="124" y="29"/>
                        <a:pt x="124" y="29"/>
                      </a:cubicBezTo>
                      <a:cubicBezTo>
                        <a:pt x="51" y="71"/>
                        <a:pt x="51" y="71"/>
                        <a:pt x="51" y="71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2" y="77"/>
                        <a:pt x="62" y="78"/>
                        <a:pt x="62" y="78"/>
                      </a:cubicBezTo>
                      <a:cubicBezTo>
                        <a:pt x="62" y="79"/>
                        <a:pt x="62" y="80"/>
                        <a:pt x="61" y="80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13" y="108"/>
                        <a:pt x="12" y="108"/>
                        <a:pt x="12" y="108"/>
                      </a:cubicBezTo>
                      <a:close/>
                      <a:moveTo>
                        <a:pt x="4" y="99"/>
                      </a:moveTo>
                      <a:cubicBezTo>
                        <a:pt x="12" y="104"/>
                        <a:pt x="12" y="104"/>
                        <a:pt x="12" y="104"/>
                      </a:cubicBezTo>
                      <a:cubicBezTo>
                        <a:pt x="56" y="78"/>
                        <a:pt x="56" y="78"/>
                        <a:pt x="56" y="78"/>
                      </a:cubicBezTo>
                      <a:cubicBezTo>
                        <a:pt x="46" y="73"/>
                        <a:pt x="46" y="73"/>
                        <a:pt x="46" y="73"/>
                      </a:cubicBezTo>
                      <a:cubicBezTo>
                        <a:pt x="46" y="72"/>
                        <a:pt x="45" y="72"/>
                        <a:pt x="45" y="71"/>
                      </a:cubicBezTo>
                      <a:cubicBezTo>
                        <a:pt x="45" y="70"/>
                        <a:pt x="46" y="70"/>
                        <a:pt x="46" y="69"/>
                      </a:cubicBezTo>
                      <a:cubicBezTo>
                        <a:pt x="119" y="27"/>
                        <a:pt x="119" y="27"/>
                        <a:pt x="119" y="27"/>
                      </a:cubicBezTo>
                      <a:cubicBezTo>
                        <a:pt x="79" y="4"/>
                        <a:pt x="79" y="4"/>
                        <a:pt x="79" y="4"/>
                      </a:cubicBezTo>
                      <a:cubicBezTo>
                        <a:pt x="4" y="48"/>
                        <a:pt x="4" y="48"/>
                        <a:pt x="4" y="48"/>
                      </a:cubicBezTo>
                      <a:lnTo>
                        <a:pt x="4" y="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0" name="Freeform 652">
                  <a:extLst>
                    <a:ext uri="{FF2B5EF4-FFF2-40B4-BE49-F238E27FC236}">
                      <a16:creationId xmlns:a16="http://schemas.microsoft.com/office/drawing/2014/main" id="{8071031A-34E6-409E-99FA-9065A28ABE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902"/>
                  <a:ext cx="74" cy="173"/>
                </a:xfrm>
                <a:custGeom>
                  <a:avLst/>
                  <a:gdLst>
                    <a:gd name="T0" fmla="*/ 29 w 31"/>
                    <a:gd name="T1" fmla="*/ 73 h 73"/>
                    <a:gd name="T2" fmla="*/ 28 w 31"/>
                    <a:gd name="T3" fmla="*/ 73 h 73"/>
                    <a:gd name="T4" fmla="*/ 1 w 31"/>
                    <a:gd name="T5" fmla="*/ 58 h 73"/>
                    <a:gd name="T6" fmla="*/ 0 w 31"/>
                    <a:gd name="T7" fmla="*/ 56 h 73"/>
                    <a:gd name="T8" fmla="*/ 0 w 31"/>
                    <a:gd name="T9" fmla="*/ 3 h 73"/>
                    <a:gd name="T10" fmla="*/ 1 w 31"/>
                    <a:gd name="T11" fmla="*/ 1 h 73"/>
                    <a:gd name="T12" fmla="*/ 3 w 31"/>
                    <a:gd name="T13" fmla="*/ 1 h 73"/>
                    <a:gd name="T14" fmla="*/ 30 w 31"/>
                    <a:gd name="T15" fmla="*/ 16 h 73"/>
                    <a:gd name="T16" fmla="*/ 31 w 31"/>
                    <a:gd name="T17" fmla="*/ 18 h 73"/>
                    <a:gd name="T18" fmla="*/ 31 w 31"/>
                    <a:gd name="T19" fmla="*/ 71 h 73"/>
                    <a:gd name="T20" fmla="*/ 30 w 31"/>
                    <a:gd name="T21" fmla="*/ 73 h 73"/>
                    <a:gd name="T22" fmla="*/ 29 w 31"/>
                    <a:gd name="T23" fmla="*/ 73 h 73"/>
                    <a:gd name="T24" fmla="*/ 4 w 31"/>
                    <a:gd name="T25" fmla="*/ 55 h 73"/>
                    <a:gd name="T26" fmla="*/ 27 w 31"/>
                    <a:gd name="T27" fmla="*/ 68 h 73"/>
                    <a:gd name="T28" fmla="*/ 27 w 31"/>
                    <a:gd name="T29" fmla="*/ 19 h 73"/>
                    <a:gd name="T30" fmla="*/ 4 w 31"/>
                    <a:gd name="T31" fmla="*/ 6 h 73"/>
                    <a:gd name="T32" fmla="*/ 4 w 31"/>
                    <a:gd name="T33" fmla="*/ 5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" h="73">
                      <a:moveTo>
                        <a:pt x="29" y="73"/>
                      </a:moveTo>
                      <a:cubicBezTo>
                        <a:pt x="28" y="73"/>
                        <a:pt x="28" y="73"/>
                        <a:pt x="28" y="73"/>
                      </a:cubicBez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1" y="57"/>
                        <a:pt x="0" y="57"/>
                        <a:pt x="0" y="56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30" y="17"/>
                        <a:pt x="31" y="17"/>
                        <a:pt x="31" y="18"/>
                      </a:cubicBezTo>
                      <a:cubicBezTo>
                        <a:pt x="31" y="71"/>
                        <a:pt x="31" y="71"/>
                        <a:pt x="31" y="71"/>
                      </a:cubicBezTo>
                      <a:cubicBezTo>
                        <a:pt x="31" y="72"/>
                        <a:pt x="30" y="73"/>
                        <a:pt x="30" y="73"/>
                      </a:cubicBezTo>
                      <a:cubicBezTo>
                        <a:pt x="30" y="73"/>
                        <a:pt x="29" y="73"/>
                        <a:pt x="29" y="73"/>
                      </a:cubicBezTo>
                      <a:close/>
                      <a:moveTo>
                        <a:pt x="4" y="55"/>
                      </a:moveTo>
                      <a:cubicBezTo>
                        <a:pt x="27" y="68"/>
                        <a:pt x="27" y="68"/>
                        <a:pt x="27" y="68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5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1" name="Freeform 653">
                  <a:extLst>
                    <a:ext uri="{FF2B5EF4-FFF2-40B4-BE49-F238E27FC236}">
                      <a16:creationId xmlns:a16="http://schemas.microsoft.com/office/drawing/2014/main" id="{4B3BC8AA-08AA-4949-BFA0-18830D3E20B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789"/>
                  <a:ext cx="60" cy="59"/>
                </a:xfrm>
                <a:custGeom>
                  <a:avLst/>
                  <a:gdLst>
                    <a:gd name="T0" fmla="*/ 2 w 25"/>
                    <a:gd name="T1" fmla="*/ 25 h 25"/>
                    <a:gd name="T2" fmla="*/ 1 w 25"/>
                    <a:gd name="T3" fmla="*/ 24 h 25"/>
                    <a:gd name="T4" fmla="*/ 0 w 25"/>
                    <a:gd name="T5" fmla="*/ 23 h 25"/>
                    <a:gd name="T6" fmla="*/ 0 w 25"/>
                    <a:gd name="T7" fmla="*/ 15 h 25"/>
                    <a:gd name="T8" fmla="*/ 1 w 25"/>
                    <a:gd name="T9" fmla="*/ 13 h 25"/>
                    <a:gd name="T10" fmla="*/ 22 w 25"/>
                    <a:gd name="T11" fmla="*/ 1 h 25"/>
                    <a:gd name="T12" fmla="*/ 24 w 25"/>
                    <a:gd name="T13" fmla="*/ 1 h 25"/>
                    <a:gd name="T14" fmla="*/ 25 w 25"/>
                    <a:gd name="T15" fmla="*/ 2 h 25"/>
                    <a:gd name="T16" fmla="*/ 25 w 25"/>
                    <a:gd name="T17" fmla="*/ 10 h 25"/>
                    <a:gd name="T18" fmla="*/ 24 w 25"/>
                    <a:gd name="T19" fmla="*/ 12 h 25"/>
                    <a:gd name="T20" fmla="*/ 3 w 25"/>
                    <a:gd name="T21" fmla="*/ 24 h 25"/>
                    <a:gd name="T22" fmla="*/ 2 w 25"/>
                    <a:gd name="T23" fmla="*/ 25 h 25"/>
                    <a:gd name="T24" fmla="*/ 4 w 25"/>
                    <a:gd name="T25" fmla="*/ 16 h 25"/>
                    <a:gd name="T26" fmla="*/ 4 w 25"/>
                    <a:gd name="T27" fmla="*/ 19 h 25"/>
                    <a:gd name="T28" fmla="*/ 21 w 25"/>
                    <a:gd name="T29" fmla="*/ 9 h 25"/>
                    <a:gd name="T30" fmla="*/ 21 w 25"/>
                    <a:gd name="T31" fmla="*/ 6 h 25"/>
                    <a:gd name="T32" fmla="*/ 4 w 25"/>
                    <a:gd name="T33" fmla="*/ 16 h 25"/>
                    <a:gd name="T34" fmla="*/ 23 w 25"/>
                    <a:gd name="T35" fmla="*/ 10 h 25"/>
                    <a:gd name="T36" fmla="*/ 23 w 25"/>
                    <a:gd name="T37" fmla="*/ 1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25">
                      <a:moveTo>
                        <a:pt x="2" y="25"/>
                      </a:moveTo>
                      <a:cubicBezTo>
                        <a:pt x="1" y="25"/>
                        <a:pt x="1" y="24"/>
                        <a:pt x="1" y="24"/>
                      </a:cubicBezTo>
                      <a:cubicBezTo>
                        <a:pt x="0" y="24"/>
                        <a:pt x="0" y="23"/>
                        <a:pt x="0" y="23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4"/>
                        <a:pt x="0" y="13"/>
                        <a:pt x="1" y="13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2" y="0"/>
                        <a:pt x="23" y="0"/>
                        <a:pt x="24" y="1"/>
                      </a:cubicBezTo>
                      <a:cubicBezTo>
                        <a:pt x="24" y="1"/>
                        <a:pt x="25" y="2"/>
                        <a:pt x="25" y="2"/>
                      </a:cubicBez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25" y="11"/>
                        <a:pt x="24" y="12"/>
                        <a:pt x="24" y="12"/>
                      </a:cubicBez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2" y="24"/>
                        <a:pt x="2" y="25"/>
                        <a:pt x="2" y="25"/>
                      </a:cubicBezTo>
                      <a:close/>
                      <a:moveTo>
                        <a:pt x="4" y="16"/>
                      </a:move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21" y="9"/>
                        <a:pt x="21" y="9"/>
                        <a:pt x="21" y="9"/>
                      </a:cubicBezTo>
                      <a:cubicBezTo>
                        <a:pt x="21" y="6"/>
                        <a:pt x="21" y="6"/>
                        <a:pt x="21" y="6"/>
                      </a:cubicBezTo>
                      <a:lnTo>
                        <a:pt x="4" y="16"/>
                      </a:lnTo>
                      <a:close/>
                      <a:moveTo>
                        <a:pt x="23" y="10"/>
                      </a:moveTo>
                      <a:cubicBezTo>
                        <a:pt x="23" y="10"/>
                        <a:pt x="23" y="10"/>
                        <a:pt x="23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2" name="Freeform 654">
                  <a:extLst>
                    <a:ext uri="{FF2B5EF4-FFF2-40B4-BE49-F238E27FC236}">
                      <a16:creationId xmlns:a16="http://schemas.microsoft.com/office/drawing/2014/main" id="{4CE5A0B5-464C-40B9-8C11-F9324AD596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690"/>
                  <a:ext cx="60" cy="104"/>
                </a:xfrm>
                <a:custGeom>
                  <a:avLst/>
                  <a:gdLst>
                    <a:gd name="T0" fmla="*/ 23 w 25"/>
                    <a:gd name="T1" fmla="*/ 44 h 44"/>
                    <a:gd name="T2" fmla="*/ 22 w 25"/>
                    <a:gd name="T3" fmla="*/ 43 h 44"/>
                    <a:gd name="T4" fmla="*/ 1 w 25"/>
                    <a:gd name="T5" fmla="*/ 31 h 44"/>
                    <a:gd name="T6" fmla="*/ 0 w 25"/>
                    <a:gd name="T7" fmla="*/ 29 h 44"/>
                    <a:gd name="T8" fmla="*/ 0 w 25"/>
                    <a:gd name="T9" fmla="*/ 2 h 44"/>
                    <a:gd name="T10" fmla="*/ 1 w 25"/>
                    <a:gd name="T11" fmla="*/ 1 h 44"/>
                    <a:gd name="T12" fmla="*/ 3 w 25"/>
                    <a:gd name="T13" fmla="*/ 1 h 44"/>
                    <a:gd name="T14" fmla="*/ 24 w 25"/>
                    <a:gd name="T15" fmla="*/ 13 h 44"/>
                    <a:gd name="T16" fmla="*/ 25 w 25"/>
                    <a:gd name="T17" fmla="*/ 15 h 44"/>
                    <a:gd name="T18" fmla="*/ 25 w 25"/>
                    <a:gd name="T19" fmla="*/ 42 h 44"/>
                    <a:gd name="T20" fmla="*/ 24 w 25"/>
                    <a:gd name="T21" fmla="*/ 43 h 44"/>
                    <a:gd name="T22" fmla="*/ 23 w 25"/>
                    <a:gd name="T23" fmla="*/ 44 h 44"/>
                    <a:gd name="T24" fmla="*/ 4 w 25"/>
                    <a:gd name="T25" fmla="*/ 28 h 44"/>
                    <a:gd name="T26" fmla="*/ 21 w 25"/>
                    <a:gd name="T27" fmla="*/ 38 h 44"/>
                    <a:gd name="T28" fmla="*/ 21 w 25"/>
                    <a:gd name="T29" fmla="*/ 16 h 44"/>
                    <a:gd name="T30" fmla="*/ 4 w 25"/>
                    <a:gd name="T31" fmla="*/ 6 h 44"/>
                    <a:gd name="T32" fmla="*/ 4 w 25"/>
                    <a:gd name="T33" fmla="*/ 28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44">
                      <a:moveTo>
                        <a:pt x="23" y="44"/>
                      </a:moveTo>
                      <a:cubicBezTo>
                        <a:pt x="22" y="44"/>
                        <a:pt x="22" y="43"/>
                        <a:pt x="22" y="43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2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3"/>
                        <a:pt x="25" y="14"/>
                        <a:pt x="25" y="15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2"/>
                        <a:pt x="24" y="43"/>
                        <a:pt x="24" y="43"/>
                      </a:cubicBezTo>
                      <a:cubicBezTo>
                        <a:pt x="24" y="43"/>
                        <a:pt x="23" y="44"/>
                        <a:pt x="23" y="44"/>
                      </a:cubicBezTo>
                      <a:close/>
                      <a:moveTo>
                        <a:pt x="4" y="28"/>
                      </a:moveTo>
                      <a:cubicBezTo>
                        <a:pt x="21" y="38"/>
                        <a:pt x="21" y="38"/>
                        <a:pt x="21" y="38"/>
                      </a:cubicBezTo>
                      <a:cubicBezTo>
                        <a:pt x="21" y="16"/>
                        <a:pt x="21" y="16"/>
                        <a:pt x="21" y="16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3" name="Freeform 655">
                  <a:extLst>
                    <a:ext uri="{FF2B5EF4-FFF2-40B4-BE49-F238E27FC236}">
                      <a16:creationId xmlns:a16="http://schemas.microsoft.com/office/drawing/2014/main" id="{BA2E8028-E728-4B25-BE4B-3D9417C64D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815"/>
                  <a:ext cx="293" cy="222"/>
                </a:xfrm>
                <a:custGeom>
                  <a:avLst/>
                  <a:gdLst>
                    <a:gd name="T0" fmla="*/ 94 w 124"/>
                    <a:gd name="T1" fmla="*/ 94 h 94"/>
                    <a:gd name="T2" fmla="*/ 93 w 124"/>
                    <a:gd name="T3" fmla="*/ 94 h 94"/>
                    <a:gd name="T4" fmla="*/ 28 w 124"/>
                    <a:gd name="T5" fmla="*/ 56 h 94"/>
                    <a:gd name="T6" fmla="*/ 3 w 124"/>
                    <a:gd name="T7" fmla="*/ 71 h 94"/>
                    <a:gd name="T8" fmla="*/ 1 w 124"/>
                    <a:gd name="T9" fmla="*/ 71 h 94"/>
                    <a:gd name="T10" fmla="*/ 0 w 124"/>
                    <a:gd name="T11" fmla="*/ 69 h 94"/>
                    <a:gd name="T12" fmla="*/ 0 w 124"/>
                    <a:gd name="T13" fmla="*/ 60 h 94"/>
                    <a:gd name="T14" fmla="*/ 1 w 124"/>
                    <a:gd name="T15" fmla="*/ 59 h 94"/>
                    <a:gd name="T16" fmla="*/ 82 w 124"/>
                    <a:gd name="T17" fmla="*/ 12 h 94"/>
                    <a:gd name="T18" fmla="*/ 84 w 124"/>
                    <a:gd name="T19" fmla="*/ 12 h 94"/>
                    <a:gd name="T20" fmla="*/ 92 w 124"/>
                    <a:gd name="T21" fmla="*/ 17 h 94"/>
                    <a:gd name="T22" fmla="*/ 121 w 124"/>
                    <a:gd name="T23" fmla="*/ 0 h 94"/>
                    <a:gd name="T24" fmla="*/ 123 w 124"/>
                    <a:gd name="T25" fmla="*/ 0 h 94"/>
                    <a:gd name="T26" fmla="*/ 124 w 124"/>
                    <a:gd name="T27" fmla="*/ 2 h 94"/>
                    <a:gd name="T28" fmla="*/ 124 w 124"/>
                    <a:gd name="T29" fmla="*/ 53 h 94"/>
                    <a:gd name="T30" fmla="*/ 123 w 124"/>
                    <a:gd name="T31" fmla="*/ 55 h 94"/>
                    <a:gd name="T32" fmla="*/ 121 w 124"/>
                    <a:gd name="T33" fmla="*/ 55 h 94"/>
                    <a:gd name="T34" fmla="*/ 96 w 124"/>
                    <a:gd name="T35" fmla="*/ 40 h 94"/>
                    <a:gd name="T36" fmla="*/ 96 w 124"/>
                    <a:gd name="T37" fmla="*/ 92 h 94"/>
                    <a:gd name="T38" fmla="*/ 95 w 124"/>
                    <a:gd name="T39" fmla="*/ 94 h 94"/>
                    <a:gd name="T40" fmla="*/ 94 w 124"/>
                    <a:gd name="T41" fmla="*/ 94 h 94"/>
                    <a:gd name="T42" fmla="*/ 28 w 124"/>
                    <a:gd name="T43" fmla="*/ 52 h 94"/>
                    <a:gd name="T44" fmla="*/ 29 w 124"/>
                    <a:gd name="T45" fmla="*/ 52 h 94"/>
                    <a:gd name="T46" fmla="*/ 92 w 124"/>
                    <a:gd name="T47" fmla="*/ 89 h 94"/>
                    <a:gd name="T48" fmla="*/ 92 w 124"/>
                    <a:gd name="T49" fmla="*/ 37 h 94"/>
                    <a:gd name="T50" fmla="*/ 93 w 124"/>
                    <a:gd name="T51" fmla="*/ 35 h 94"/>
                    <a:gd name="T52" fmla="*/ 95 w 124"/>
                    <a:gd name="T53" fmla="*/ 35 h 94"/>
                    <a:gd name="T54" fmla="*/ 120 w 124"/>
                    <a:gd name="T55" fmla="*/ 50 h 94"/>
                    <a:gd name="T56" fmla="*/ 120 w 124"/>
                    <a:gd name="T57" fmla="*/ 5 h 94"/>
                    <a:gd name="T58" fmla="*/ 93 w 124"/>
                    <a:gd name="T59" fmla="*/ 21 h 94"/>
                    <a:gd name="T60" fmla="*/ 91 w 124"/>
                    <a:gd name="T61" fmla="*/ 21 h 94"/>
                    <a:gd name="T62" fmla="*/ 83 w 124"/>
                    <a:gd name="T63" fmla="*/ 16 h 94"/>
                    <a:gd name="T64" fmla="*/ 4 w 124"/>
                    <a:gd name="T65" fmla="*/ 62 h 94"/>
                    <a:gd name="T66" fmla="*/ 4 w 124"/>
                    <a:gd name="T67" fmla="*/ 65 h 94"/>
                    <a:gd name="T68" fmla="*/ 27 w 124"/>
                    <a:gd name="T69" fmla="*/ 52 h 94"/>
                    <a:gd name="T70" fmla="*/ 28 w 124"/>
                    <a:gd name="T71" fmla="*/ 52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24" h="94">
                      <a:moveTo>
                        <a:pt x="94" y="94"/>
                      </a:moveTo>
                      <a:cubicBezTo>
                        <a:pt x="93" y="94"/>
                        <a:pt x="93" y="94"/>
                        <a:pt x="93" y="94"/>
                      </a:cubicBezTo>
                      <a:cubicBezTo>
                        <a:pt x="28" y="56"/>
                        <a:pt x="28" y="56"/>
                        <a:pt x="28" y="56"/>
                      </a:cubicBezTo>
                      <a:cubicBezTo>
                        <a:pt x="3" y="71"/>
                        <a:pt x="3" y="71"/>
                        <a:pt x="3" y="71"/>
                      </a:cubicBezTo>
                      <a:cubicBezTo>
                        <a:pt x="3" y="71"/>
                        <a:pt x="2" y="71"/>
                        <a:pt x="1" y="71"/>
                      </a:cubicBezTo>
                      <a:cubicBezTo>
                        <a:pt x="1" y="70"/>
                        <a:pt x="0" y="70"/>
                        <a:pt x="0" y="6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0"/>
                        <a:pt x="1" y="59"/>
                        <a:pt x="1" y="59"/>
                      </a:cubicBezTo>
                      <a:cubicBezTo>
                        <a:pt x="82" y="12"/>
                        <a:pt x="82" y="12"/>
                        <a:pt x="82" y="12"/>
                      </a:cubicBezTo>
                      <a:cubicBezTo>
                        <a:pt x="83" y="12"/>
                        <a:pt x="84" y="12"/>
                        <a:pt x="84" y="12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121" y="0"/>
                        <a:pt x="121" y="0"/>
                        <a:pt x="121" y="0"/>
                      </a:cubicBezTo>
                      <a:cubicBezTo>
                        <a:pt x="121" y="0"/>
                        <a:pt x="122" y="0"/>
                        <a:pt x="123" y="0"/>
                      </a:cubicBezTo>
                      <a:cubicBezTo>
                        <a:pt x="123" y="0"/>
                        <a:pt x="124" y="1"/>
                        <a:pt x="124" y="2"/>
                      </a:cubicBezTo>
                      <a:cubicBezTo>
                        <a:pt x="124" y="53"/>
                        <a:pt x="124" y="53"/>
                        <a:pt x="124" y="53"/>
                      </a:cubicBezTo>
                      <a:cubicBezTo>
                        <a:pt x="124" y="54"/>
                        <a:pt x="123" y="54"/>
                        <a:pt x="123" y="55"/>
                      </a:cubicBezTo>
                      <a:cubicBezTo>
                        <a:pt x="122" y="55"/>
                        <a:pt x="121" y="55"/>
                        <a:pt x="121" y="55"/>
                      </a:cubicBezTo>
                      <a:cubicBezTo>
                        <a:pt x="96" y="40"/>
                        <a:pt x="96" y="40"/>
                        <a:pt x="96" y="40"/>
                      </a:cubicBezTo>
                      <a:cubicBezTo>
                        <a:pt x="96" y="92"/>
                        <a:pt x="96" y="92"/>
                        <a:pt x="96" y="92"/>
                      </a:cubicBezTo>
                      <a:cubicBezTo>
                        <a:pt x="96" y="93"/>
                        <a:pt x="95" y="94"/>
                        <a:pt x="95" y="94"/>
                      </a:cubicBezTo>
                      <a:cubicBezTo>
                        <a:pt x="94" y="94"/>
                        <a:pt x="94" y="94"/>
                        <a:pt x="94" y="94"/>
                      </a:cubicBezTo>
                      <a:close/>
                      <a:moveTo>
                        <a:pt x="28" y="52"/>
                      </a:moveTo>
                      <a:cubicBezTo>
                        <a:pt x="28" y="52"/>
                        <a:pt x="28" y="52"/>
                        <a:pt x="29" y="52"/>
                      </a:cubicBezTo>
                      <a:cubicBezTo>
                        <a:pt x="92" y="89"/>
                        <a:pt x="92" y="89"/>
                        <a:pt x="92" y="89"/>
                      </a:cubicBezTo>
                      <a:cubicBezTo>
                        <a:pt x="92" y="37"/>
                        <a:pt x="92" y="37"/>
                        <a:pt x="92" y="37"/>
                      </a:cubicBezTo>
                      <a:cubicBezTo>
                        <a:pt x="92" y="36"/>
                        <a:pt x="92" y="35"/>
                        <a:pt x="93" y="35"/>
                      </a:cubicBezTo>
                      <a:cubicBezTo>
                        <a:pt x="93" y="35"/>
                        <a:pt x="94" y="35"/>
                        <a:pt x="95" y="35"/>
                      </a:cubicBezTo>
                      <a:cubicBezTo>
                        <a:pt x="120" y="50"/>
                        <a:pt x="120" y="50"/>
                        <a:pt x="120" y="50"/>
                      </a:cubicBezTo>
                      <a:cubicBezTo>
                        <a:pt x="120" y="5"/>
                        <a:pt x="120" y="5"/>
                        <a:pt x="120" y="5"/>
                      </a:cubicBezTo>
                      <a:cubicBezTo>
                        <a:pt x="93" y="21"/>
                        <a:pt x="93" y="21"/>
                        <a:pt x="93" y="21"/>
                      </a:cubicBezTo>
                      <a:cubicBezTo>
                        <a:pt x="92" y="21"/>
                        <a:pt x="92" y="21"/>
                        <a:pt x="91" y="21"/>
                      </a:cubicBezTo>
                      <a:cubicBezTo>
                        <a:pt x="83" y="16"/>
                        <a:pt x="83" y="16"/>
                        <a:pt x="83" y="16"/>
                      </a:cubicBez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27" y="52"/>
                        <a:pt x="27" y="52"/>
                        <a:pt x="27" y="52"/>
                      </a:cubicBezTo>
                      <a:cubicBezTo>
                        <a:pt x="27" y="52"/>
                        <a:pt x="27" y="52"/>
                        <a:pt x="28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4" name="Freeform 656">
                  <a:extLst>
                    <a:ext uri="{FF2B5EF4-FFF2-40B4-BE49-F238E27FC236}">
                      <a16:creationId xmlns:a16="http://schemas.microsoft.com/office/drawing/2014/main" id="{D7EFD8E2-A295-4AD3-8F27-46B0F7C9D9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633"/>
                  <a:ext cx="60" cy="92"/>
                </a:xfrm>
                <a:custGeom>
                  <a:avLst/>
                  <a:gdLst>
                    <a:gd name="T0" fmla="*/ 23 w 25"/>
                    <a:gd name="T1" fmla="*/ 39 h 39"/>
                    <a:gd name="T2" fmla="*/ 22 w 25"/>
                    <a:gd name="T3" fmla="*/ 38 h 39"/>
                    <a:gd name="T4" fmla="*/ 1 w 25"/>
                    <a:gd name="T5" fmla="*/ 26 h 39"/>
                    <a:gd name="T6" fmla="*/ 0 w 25"/>
                    <a:gd name="T7" fmla="*/ 24 h 39"/>
                    <a:gd name="T8" fmla="*/ 0 w 25"/>
                    <a:gd name="T9" fmla="*/ 15 h 39"/>
                    <a:gd name="T10" fmla="*/ 1 w 25"/>
                    <a:gd name="T11" fmla="*/ 13 h 39"/>
                    <a:gd name="T12" fmla="*/ 22 w 25"/>
                    <a:gd name="T13" fmla="*/ 1 h 39"/>
                    <a:gd name="T14" fmla="*/ 24 w 25"/>
                    <a:gd name="T15" fmla="*/ 1 h 39"/>
                    <a:gd name="T16" fmla="*/ 25 w 25"/>
                    <a:gd name="T17" fmla="*/ 2 h 39"/>
                    <a:gd name="T18" fmla="*/ 25 w 25"/>
                    <a:gd name="T19" fmla="*/ 37 h 39"/>
                    <a:gd name="T20" fmla="*/ 24 w 25"/>
                    <a:gd name="T21" fmla="*/ 38 h 39"/>
                    <a:gd name="T22" fmla="*/ 23 w 25"/>
                    <a:gd name="T23" fmla="*/ 39 h 39"/>
                    <a:gd name="T24" fmla="*/ 4 w 25"/>
                    <a:gd name="T25" fmla="*/ 23 h 39"/>
                    <a:gd name="T26" fmla="*/ 21 w 25"/>
                    <a:gd name="T27" fmla="*/ 33 h 39"/>
                    <a:gd name="T28" fmla="*/ 21 w 25"/>
                    <a:gd name="T29" fmla="*/ 6 h 39"/>
                    <a:gd name="T30" fmla="*/ 4 w 25"/>
                    <a:gd name="T31" fmla="*/ 16 h 39"/>
                    <a:gd name="T32" fmla="*/ 4 w 25"/>
                    <a:gd name="T33" fmla="*/ 23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39">
                      <a:moveTo>
                        <a:pt x="23" y="39"/>
                      </a:moveTo>
                      <a:cubicBezTo>
                        <a:pt x="22" y="39"/>
                        <a:pt x="22" y="39"/>
                        <a:pt x="22" y="38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5"/>
                        <a:pt x="0" y="24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4"/>
                        <a:pt x="0" y="13"/>
                        <a:pt x="1" y="13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2" y="0"/>
                        <a:pt x="23" y="0"/>
                        <a:pt x="24" y="1"/>
                      </a:cubicBezTo>
                      <a:cubicBezTo>
                        <a:pt x="24" y="1"/>
                        <a:pt x="25" y="2"/>
                        <a:pt x="25" y="2"/>
                      </a:cubicBezTo>
                      <a:cubicBezTo>
                        <a:pt x="25" y="37"/>
                        <a:pt x="25" y="37"/>
                        <a:pt x="25" y="37"/>
                      </a:cubicBezTo>
                      <a:cubicBezTo>
                        <a:pt x="25" y="37"/>
                        <a:pt x="24" y="38"/>
                        <a:pt x="24" y="38"/>
                      </a:cubicBezTo>
                      <a:cubicBezTo>
                        <a:pt x="24" y="39"/>
                        <a:pt x="23" y="39"/>
                        <a:pt x="23" y="39"/>
                      </a:cubicBezTo>
                      <a:close/>
                      <a:moveTo>
                        <a:pt x="4" y="23"/>
                      </a:move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4" y="16"/>
                        <a:pt x="4" y="16"/>
                        <a:pt x="4" y="16"/>
                      </a:cubicBezTo>
                      <a:lnTo>
                        <a:pt x="4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5" name="Freeform 657">
                  <a:extLst>
                    <a:ext uri="{FF2B5EF4-FFF2-40B4-BE49-F238E27FC236}">
                      <a16:creationId xmlns:a16="http://schemas.microsoft.com/office/drawing/2014/main" id="{C5B9A0A0-8CBF-491F-B170-9093D3DC39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1297"/>
                  <a:ext cx="114" cy="331"/>
                </a:xfrm>
                <a:custGeom>
                  <a:avLst/>
                  <a:gdLst>
                    <a:gd name="T0" fmla="*/ 41 w 48"/>
                    <a:gd name="T1" fmla="*/ 140 h 140"/>
                    <a:gd name="T2" fmla="*/ 40 w 48"/>
                    <a:gd name="T3" fmla="*/ 140 h 140"/>
                    <a:gd name="T4" fmla="*/ 1 w 48"/>
                    <a:gd name="T5" fmla="*/ 117 h 140"/>
                    <a:gd name="T6" fmla="*/ 0 w 48"/>
                    <a:gd name="T7" fmla="*/ 115 h 140"/>
                    <a:gd name="T8" fmla="*/ 0 w 48"/>
                    <a:gd name="T9" fmla="*/ 23 h 140"/>
                    <a:gd name="T10" fmla="*/ 1 w 48"/>
                    <a:gd name="T11" fmla="*/ 21 h 140"/>
                    <a:gd name="T12" fmla="*/ 36 w 48"/>
                    <a:gd name="T13" fmla="*/ 1 h 140"/>
                    <a:gd name="T14" fmla="*/ 38 w 48"/>
                    <a:gd name="T15" fmla="*/ 1 h 140"/>
                    <a:gd name="T16" fmla="*/ 47 w 48"/>
                    <a:gd name="T17" fmla="*/ 6 h 140"/>
                    <a:gd name="T18" fmla="*/ 48 w 48"/>
                    <a:gd name="T19" fmla="*/ 8 h 140"/>
                    <a:gd name="T20" fmla="*/ 48 w 48"/>
                    <a:gd name="T21" fmla="*/ 135 h 140"/>
                    <a:gd name="T22" fmla="*/ 47 w 48"/>
                    <a:gd name="T23" fmla="*/ 137 h 140"/>
                    <a:gd name="T24" fmla="*/ 42 w 48"/>
                    <a:gd name="T25" fmla="*/ 140 h 140"/>
                    <a:gd name="T26" fmla="*/ 41 w 48"/>
                    <a:gd name="T27" fmla="*/ 140 h 140"/>
                    <a:gd name="T28" fmla="*/ 4 w 48"/>
                    <a:gd name="T29" fmla="*/ 114 h 140"/>
                    <a:gd name="T30" fmla="*/ 41 w 48"/>
                    <a:gd name="T31" fmla="*/ 136 h 140"/>
                    <a:gd name="T32" fmla="*/ 44 w 48"/>
                    <a:gd name="T33" fmla="*/ 134 h 140"/>
                    <a:gd name="T34" fmla="*/ 44 w 48"/>
                    <a:gd name="T35" fmla="*/ 9 h 140"/>
                    <a:gd name="T36" fmla="*/ 37 w 48"/>
                    <a:gd name="T37" fmla="*/ 5 h 140"/>
                    <a:gd name="T38" fmla="*/ 4 w 48"/>
                    <a:gd name="T39" fmla="*/ 24 h 140"/>
                    <a:gd name="T40" fmla="*/ 4 w 48"/>
                    <a:gd name="T41" fmla="*/ 114 h 140"/>
                    <a:gd name="T42" fmla="*/ 46 w 48"/>
                    <a:gd name="T43" fmla="*/ 135 h 140"/>
                    <a:gd name="T44" fmla="*/ 46 w 48"/>
                    <a:gd name="T45" fmla="*/ 135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8" h="140">
                      <a:moveTo>
                        <a:pt x="41" y="140"/>
                      </a:moveTo>
                      <a:cubicBezTo>
                        <a:pt x="41" y="140"/>
                        <a:pt x="41" y="140"/>
                        <a:pt x="40" y="140"/>
                      </a:cubicBezTo>
                      <a:cubicBezTo>
                        <a:pt x="1" y="117"/>
                        <a:pt x="1" y="117"/>
                        <a:pt x="1" y="117"/>
                      </a:cubicBezTo>
                      <a:cubicBezTo>
                        <a:pt x="0" y="117"/>
                        <a:pt x="0" y="116"/>
                        <a:pt x="0" y="115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2"/>
                        <a:pt x="0" y="21"/>
                        <a:pt x="1" y="2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7" y="0"/>
                        <a:pt x="38" y="0"/>
                        <a:pt x="38" y="1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8" y="6"/>
                        <a:pt x="48" y="7"/>
                        <a:pt x="48" y="8"/>
                      </a:cubicBezTo>
                      <a:cubicBezTo>
                        <a:pt x="48" y="135"/>
                        <a:pt x="48" y="135"/>
                        <a:pt x="48" y="135"/>
                      </a:cubicBezTo>
                      <a:cubicBezTo>
                        <a:pt x="48" y="136"/>
                        <a:pt x="48" y="137"/>
                        <a:pt x="47" y="137"/>
                      </a:cubicBezTo>
                      <a:cubicBezTo>
                        <a:pt x="42" y="140"/>
                        <a:pt x="42" y="140"/>
                        <a:pt x="42" y="140"/>
                      </a:cubicBezTo>
                      <a:cubicBezTo>
                        <a:pt x="42" y="140"/>
                        <a:pt x="42" y="140"/>
                        <a:pt x="41" y="140"/>
                      </a:cubicBezTo>
                      <a:close/>
                      <a:moveTo>
                        <a:pt x="4" y="114"/>
                      </a:moveTo>
                      <a:cubicBezTo>
                        <a:pt x="41" y="136"/>
                        <a:pt x="41" y="136"/>
                        <a:pt x="41" y="136"/>
                      </a:cubicBezTo>
                      <a:cubicBezTo>
                        <a:pt x="44" y="134"/>
                        <a:pt x="44" y="134"/>
                        <a:pt x="44" y="134"/>
                      </a:cubicBezTo>
                      <a:cubicBezTo>
                        <a:pt x="44" y="9"/>
                        <a:pt x="44" y="9"/>
                        <a:pt x="44" y="9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4" y="24"/>
                        <a:pt x="4" y="24"/>
                        <a:pt x="4" y="24"/>
                      </a:cubicBezTo>
                      <a:lnTo>
                        <a:pt x="4" y="114"/>
                      </a:lnTo>
                      <a:close/>
                      <a:moveTo>
                        <a:pt x="46" y="135"/>
                      </a:moveTo>
                      <a:cubicBezTo>
                        <a:pt x="46" y="135"/>
                        <a:pt x="46" y="135"/>
                        <a:pt x="46" y="1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6" name="Freeform 658">
                  <a:extLst>
                    <a:ext uri="{FF2B5EF4-FFF2-40B4-BE49-F238E27FC236}">
                      <a16:creationId xmlns:a16="http://schemas.microsoft.com/office/drawing/2014/main" id="{699644BC-4804-45E2-A50F-C8381DE774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95" y="789"/>
                  <a:ext cx="81" cy="258"/>
                </a:xfrm>
                <a:custGeom>
                  <a:avLst/>
                  <a:gdLst>
                    <a:gd name="T0" fmla="*/ 32 w 34"/>
                    <a:gd name="T1" fmla="*/ 109 h 109"/>
                    <a:gd name="T2" fmla="*/ 31 w 34"/>
                    <a:gd name="T3" fmla="*/ 109 h 109"/>
                    <a:gd name="T4" fmla="*/ 1 w 34"/>
                    <a:gd name="T5" fmla="*/ 91 h 109"/>
                    <a:gd name="T6" fmla="*/ 0 w 34"/>
                    <a:gd name="T7" fmla="*/ 90 h 109"/>
                    <a:gd name="T8" fmla="*/ 0 w 34"/>
                    <a:gd name="T9" fmla="*/ 20 h 109"/>
                    <a:gd name="T10" fmla="*/ 1 w 34"/>
                    <a:gd name="T11" fmla="*/ 18 h 109"/>
                    <a:gd name="T12" fmla="*/ 31 w 34"/>
                    <a:gd name="T13" fmla="*/ 1 h 109"/>
                    <a:gd name="T14" fmla="*/ 33 w 34"/>
                    <a:gd name="T15" fmla="*/ 1 h 109"/>
                    <a:gd name="T16" fmla="*/ 34 w 34"/>
                    <a:gd name="T17" fmla="*/ 2 h 109"/>
                    <a:gd name="T18" fmla="*/ 34 w 34"/>
                    <a:gd name="T19" fmla="*/ 107 h 109"/>
                    <a:gd name="T20" fmla="*/ 33 w 34"/>
                    <a:gd name="T21" fmla="*/ 109 h 109"/>
                    <a:gd name="T22" fmla="*/ 32 w 34"/>
                    <a:gd name="T23" fmla="*/ 109 h 109"/>
                    <a:gd name="T24" fmla="*/ 4 w 34"/>
                    <a:gd name="T25" fmla="*/ 89 h 109"/>
                    <a:gd name="T26" fmla="*/ 30 w 34"/>
                    <a:gd name="T27" fmla="*/ 104 h 109"/>
                    <a:gd name="T28" fmla="*/ 30 w 34"/>
                    <a:gd name="T29" fmla="*/ 6 h 109"/>
                    <a:gd name="T30" fmla="*/ 4 w 34"/>
                    <a:gd name="T31" fmla="*/ 21 h 109"/>
                    <a:gd name="T32" fmla="*/ 4 w 34"/>
                    <a:gd name="T33" fmla="*/ 8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109">
                      <a:moveTo>
                        <a:pt x="32" y="109"/>
                      </a:moveTo>
                      <a:cubicBezTo>
                        <a:pt x="32" y="109"/>
                        <a:pt x="32" y="109"/>
                        <a:pt x="31" y="109"/>
                      </a:cubicBezTo>
                      <a:cubicBezTo>
                        <a:pt x="1" y="91"/>
                        <a:pt x="1" y="91"/>
                        <a:pt x="1" y="91"/>
                      </a:cubicBezTo>
                      <a:cubicBezTo>
                        <a:pt x="0" y="91"/>
                        <a:pt x="0" y="90"/>
                        <a:pt x="0" y="90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9"/>
                        <a:pt x="0" y="19"/>
                        <a:pt x="1" y="18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2" y="0"/>
                        <a:pt x="33" y="0"/>
                        <a:pt x="33" y="1"/>
                      </a:cubicBezTo>
                      <a:cubicBezTo>
                        <a:pt x="34" y="1"/>
                        <a:pt x="34" y="2"/>
                        <a:pt x="34" y="2"/>
                      </a:cubicBezTo>
                      <a:cubicBezTo>
                        <a:pt x="34" y="107"/>
                        <a:pt x="34" y="107"/>
                        <a:pt x="34" y="107"/>
                      </a:cubicBezTo>
                      <a:cubicBezTo>
                        <a:pt x="34" y="108"/>
                        <a:pt x="34" y="109"/>
                        <a:pt x="33" y="109"/>
                      </a:cubicBezTo>
                      <a:cubicBezTo>
                        <a:pt x="33" y="109"/>
                        <a:pt x="33" y="109"/>
                        <a:pt x="32" y="109"/>
                      </a:cubicBezTo>
                      <a:close/>
                      <a:moveTo>
                        <a:pt x="4" y="89"/>
                      </a:moveTo>
                      <a:cubicBezTo>
                        <a:pt x="30" y="104"/>
                        <a:pt x="30" y="104"/>
                        <a:pt x="30" y="104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4" y="21"/>
                        <a:pt x="4" y="21"/>
                        <a:pt x="4" y="21"/>
                      </a:cubicBezTo>
                      <a:lnTo>
                        <a:pt x="4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7" name="Freeform 659">
                  <a:extLst>
                    <a:ext uri="{FF2B5EF4-FFF2-40B4-BE49-F238E27FC236}">
                      <a16:creationId xmlns:a16="http://schemas.microsoft.com/office/drawing/2014/main" id="{A6E8C339-E410-4ADF-9F08-E05EFADCC3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1035"/>
                  <a:ext cx="74" cy="82"/>
                </a:xfrm>
                <a:custGeom>
                  <a:avLst/>
                  <a:gdLst>
                    <a:gd name="T0" fmla="*/ 29 w 31"/>
                    <a:gd name="T1" fmla="*/ 35 h 35"/>
                    <a:gd name="T2" fmla="*/ 28 w 31"/>
                    <a:gd name="T3" fmla="*/ 35 h 35"/>
                    <a:gd name="T4" fmla="*/ 1 w 31"/>
                    <a:gd name="T5" fmla="*/ 20 h 35"/>
                    <a:gd name="T6" fmla="*/ 0 w 31"/>
                    <a:gd name="T7" fmla="*/ 18 h 35"/>
                    <a:gd name="T8" fmla="*/ 0 w 31"/>
                    <a:gd name="T9" fmla="*/ 2 h 35"/>
                    <a:gd name="T10" fmla="*/ 1 w 31"/>
                    <a:gd name="T11" fmla="*/ 0 h 35"/>
                    <a:gd name="T12" fmla="*/ 3 w 31"/>
                    <a:gd name="T13" fmla="*/ 0 h 35"/>
                    <a:gd name="T14" fmla="*/ 30 w 31"/>
                    <a:gd name="T15" fmla="*/ 16 h 35"/>
                    <a:gd name="T16" fmla="*/ 31 w 31"/>
                    <a:gd name="T17" fmla="*/ 17 h 35"/>
                    <a:gd name="T18" fmla="*/ 31 w 31"/>
                    <a:gd name="T19" fmla="*/ 33 h 35"/>
                    <a:gd name="T20" fmla="*/ 30 w 31"/>
                    <a:gd name="T21" fmla="*/ 35 h 35"/>
                    <a:gd name="T22" fmla="*/ 29 w 31"/>
                    <a:gd name="T23" fmla="*/ 35 h 35"/>
                    <a:gd name="T24" fmla="*/ 4 w 31"/>
                    <a:gd name="T25" fmla="*/ 17 h 35"/>
                    <a:gd name="T26" fmla="*/ 27 w 31"/>
                    <a:gd name="T27" fmla="*/ 30 h 35"/>
                    <a:gd name="T28" fmla="*/ 27 w 31"/>
                    <a:gd name="T29" fmla="*/ 19 h 35"/>
                    <a:gd name="T30" fmla="*/ 4 w 31"/>
                    <a:gd name="T31" fmla="*/ 5 h 35"/>
                    <a:gd name="T32" fmla="*/ 4 w 31"/>
                    <a:gd name="T33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" h="35">
                      <a:moveTo>
                        <a:pt x="29" y="35"/>
                      </a:move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19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30" y="16"/>
                        <a:pt x="31" y="17"/>
                        <a:pt x="31" y="17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4"/>
                        <a:pt x="30" y="35"/>
                        <a:pt x="30" y="35"/>
                      </a:cubicBezTo>
                      <a:cubicBezTo>
                        <a:pt x="30" y="35"/>
                        <a:pt x="29" y="35"/>
                        <a:pt x="29" y="35"/>
                      </a:cubicBezTo>
                      <a:close/>
                      <a:moveTo>
                        <a:pt x="4" y="17"/>
                      </a:moveTo>
                      <a:cubicBezTo>
                        <a:pt x="27" y="30"/>
                        <a:pt x="27" y="30"/>
                        <a:pt x="27" y="30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8" name="Freeform 660">
                  <a:extLst>
                    <a:ext uri="{FF2B5EF4-FFF2-40B4-BE49-F238E27FC236}">
                      <a16:creationId xmlns:a16="http://schemas.microsoft.com/office/drawing/2014/main" id="{2E760CBE-F617-445E-B4BC-6B026132EFD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943"/>
                  <a:ext cx="293" cy="309"/>
                </a:xfrm>
                <a:custGeom>
                  <a:avLst/>
                  <a:gdLst>
                    <a:gd name="T0" fmla="*/ 29 w 124"/>
                    <a:gd name="T1" fmla="*/ 131 h 131"/>
                    <a:gd name="T2" fmla="*/ 28 w 124"/>
                    <a:gd name="T3" fmla="*/ 131 h 131"/>
                    <a:gd name="T4" fmla="*/ 1 w 124"/>
                    <a:gd name="T5" fmla="*/ 115 h 131"/>
                    <a:gd name="T6" fmla="*/ 0 w 124"/>
                    <a:gd name="T7" fmla="*/ 113 h 131"/>
                    <a:gd name="T8" fmla="*/ 0 w 124"/>
                    <a:gd name="T9" fmla="*/ 17 h 131"/>
                    <a:gd name="T10" fmla="*/ 1 w 124"/>
                    <a:gd name="T11" fmla="*/ 15 h 131"/>
                    <a:gd name="T12" fmla="*/ 27 w 124"/>
                    <a:gd name="T13" fmla="*/ 0 h 131"/>
                    <a:gd name="T14" fmla="*/ 29 w 124"/>
                    <a:gd name="T15" fmla="*/ 0 h 131"/>
                    <a:gd name="T16" fmla="*/ 95 w 124"/>
                    <a:gd name="T17" fmla="*/ 38 h 131"/>
                    <a:gd name="T18" fmla="*/ 96 w 124"/>
                    <a:gd name="T19" fmla="*/ 40 h 131"/>
                    <a:gd name="T20" fmla="*/ 96 w 124"/>
                    <a:gd name="T21" fmla="*/ 57 h 131"/>
                    <a:gd name="T22" fmla="*/ 123 w 124"/>
                    <a:gd name="T23" fmla="*/ 73 h 131"/>
                    <a:gd name="T24" fmla="*/ 124 w 124"/>
                    <a:gd name="T25" fmla="*/ 74 h 131"/>
                    <a:gd name="T26" fmla="*/ 124 w 124"/>
                    <a:gd name="T27" fmla="*/ 75 h 131"/>
                    <a:gd name="T28" fmla="*/ 123 w 124"/>
                    <a:gd name="T29" fmla="*/ 77 h 131"/>
                    <a:gd name="T30" fmla="*/ 30 w 124"/>
                    <a:gd name="T31" fmla="*/ 131 h 131"/>
                    <a:gd name="T32" fmla="*/ 29 w 124"/>
                    <a:gd name="T33" fmla="*/ 131 h 131"/>
                    <a:gd name="T34" fmla="*/ 4 w 124"/>
                    <a:gd name="T35" fmla="*/ 112 h 131"/>
                    <a:gd name="T36" fmla="*/ 29 w 124"/>
                    <a:gd name="T37" fmla="*/ 127 h 131"/>
                    <a:gd name="T38" fmla="*/ 119 w 124"/>
                    <a:gd name="T39" fmla="*/ 75 h 131"/>
                    <a:gd name="T40" fmla="*/ 93 w 124"/>
                    <a:gd name="T41" fmla="*/ 60 h 131"/>
                    <a:gd name="T42" fmla="*/ 92 w 124"/>
                    <a:gd name="T43" fmla="*/ 58 h 131"/>
                    <a:gd name="T44" fmla="*/ 92 w 124"/>
                    <a:gd name="T45" fmla="*/ 41 h 131"/>
                    <a:gd name="T46" fmla="*/ 28 w 124"/>
                    <a:gd name="T47" fmla="*/ 4 h 131"/>
                    <a:gd name="T48" fmla="*/ 4 w 124"/>
                    <a:gd name="T49" fmla="*/ 18 h 131"/>
                    <a:gd name="T50" fmla="*/ 4 w 124"/>
                    <a:gd name="T51" fmla="*/ 112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4" h="131">
                      <a:moveTo>
                        <a:pt x="29" y="131"/>
                      </a:moveTo>
                      <a:cubicBezTo>
                        <a:pt x="29" y="131"/>
                        <a:pt x="29" y="131"/>
                        <a:pt x="28" y="131"/>
                      </a:cubicBezTo>
                      <a:cubicBezTo>
                        <a:pt x="1" y="115"/>
                        <a:pt x="1" y="115"/>
                        <a:pt x="1" y="115"/>
                      </a:cubicBezTo>
                      <a:cubicBezTo>
                        <a:pt x="1" y="114"/>
                        <a:pt x="0" y="114"/>
                        <a:pt x="0" y="11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1" y="15"/>
                        <a:pt x="1" y="15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8" y="0"/>
                        <a:pt x="29" y="0"/>
                      </a:cubicBezTo>
                      <a:cubicBezTo>
                        <a:pt x="95" y="38"/>
                        <a:pt x="95" y="38"/>
                        <a:pt x="95" y="38"/>
                      </a:cubicBezTo>
                      <a:cubicBezTo>
                        <a:pt x="95" y="39"/>
                        <a:pt x="96" y="39"/>
                        <a:pt x="96" y="40"/>
                      </a:cubicBezTo>
                      <a:cubicBezTo>
                        <a:pt x="96" y="57"/>
                        <a:pt x="96" y="57"/>
                        <a:pt x="96" y="57"/>
                      </a:cubicBezTo>
                      <a:cubicBezTo>
                        <a:pt x="123" y="73"/>
                        <a:pt x="123" y="73"/>
                        <a:pt x="123" y="73"/>
                      </a:cubicBezTo>
                      <a:cubicBezTo>
                        <a:pt x="123" y="73"/>
                        <a:pt x="124" y="74"/>
                        <a:pt x="124" y="74"/>
                      </a:cubicBezTo>
                      <a:cubicBezTo>
                        <a:pt x="124" y="75"/>
                        <a:pt x="124" y="75"/>
                        <a:pt x="124" y="75"/>
                      </a:cubicBezTo>
                      <a:cubicBezTo>
                        <a:pt x="124" y="76"/>
                        <a:pt x="123" y="77"/>
                        <a:pt x="123" y="77"/>
                      </a:cubicBezTo>
                      <a:cubicBezTo>
                        <a:pt x="30" y="131"/>
                        <a:pt x="30" y="131"/>
                        <a:pt x="30" y="131"/>
                      </a:cubicBezTo>
                      <a:cubicBezTo>
                        <a:pt x="30" y="131"/>
                        <a:pt x="30" y="131"/>
                        <a:pt x="29" y="131"/>
                      </a:cubicBezTo>
                      <a:close/>
                      <a:moveTo>
                        <a:pt x="4" y="112"/>
                      </a:moveTo>
                      <a:cubicBezTo>
                        <a:pt x="29" y="127"/>
                        <a:pt x="29" y="127"/>
                        <a:pt x="29" y="127"/>
                      </a:cubicBezTo>
                      <a:cubicBezTo>
                        <a:pt x="119" y="75"/>
                        <a:pt x="119" y="75"/>
                        <a:pt x="119" y="75"/>
                      </a:cubicBezTo>
                      <a:cubicBezTo>
                        <a:pt x="93" y="60"/>
                        <a:pt x="93" y="60"/>
                        <a:pt x="93" y="60"/>
                      </a:cubicBezTo>
                      <a:cubicBezTo>
                        <a:pt x="92" y="59"/>
                        <a:pt x="92" y="59"/>
                        <a:pt x="92" y="58"/>
                      </a:cubicBezTo>
                      <a:cubicBezTo>
                        <a:pt x="92" y="41"/>
                        <a:pt x="92" y="41"/>
                        <a:pt x="92" y="41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1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9" name="Freeform 661">
                  <a:extLst>
                    <a:ext uri="{FF2B5EF4-FFF2-40B4-BE49-F238E27FC236}">
                      <a16:creationId xmlns:a16="http://schemas.microsoft.com/office/drawing/2014/main" id="{452BF7CE-02ED-439F-A7AD-0AB0132E81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95" y="654"/>
                  <a:ext cx="317" cy="445"/>
                </a:xfrm>
                <a:custGeom>
                  <a:avLst/>
                  <a:gdLst>
                    <a:gd name="T0" fmla="*/ 70 w 134"/>
                    <a:gd name="T1" fmla="*/ 188 h 188"/>
                    <a:gd name="T2" fmla="*/ 69 w 134"/>
                    <a:gd name="T3" fmla="*/ 188 h 188"/>
                    <a:gd name="T4" fmla="*/ 33 w 134"/>
                    <a:gd name="T5" fmla="*/ 167 h 188"/>
                    <a:gd name="T6" fmla="*/ 32 w 134"/>
                    <a:gd name="T7" fmla="*/ 165 h 188"/>
                    <a:gd name="T8" fmla="*/ 32 w 134"/>
                    <a:gd name="T9" fmla="*/ 60 h 188"/>
                    <a:gd name="T10" fmla="*/ 3 w 134"/>
                    <a:gd name="T11" fmla="*/ 77 h 188"/>
                    <a:gd name="T12" fmla="*/ 1 w 134"/>
                    <a:gd name="T13" fmla="*/ 77 h 188"/>
                    <a:gd name="T14" fmla="*/ 0 w 134"/>
                    <a:gd name="T15" fmla="*/ 75 h 188"/>
                    <a:gd name="T16" fmla="*/ 0 w 134"/>
                    <a:gd name="T17" fmla="*/ 2 h 188"/>
                    <a:gd name="T18" fmla="*/ 1 w 134"/>
                    <a:gd name="T19" fmla="*/ 0 h 188"/>
                    <a:gd name="T20" fmla="*/ 3 w 134"/>
                    <a:gd name="T21" fmla="*/ 0 h 188"/>
                    <a:gd name="T22" fmla="*/ 123 w 134"/>
                    <a:gd name="T23" fmla="*/ 69 h 188"/>
                    <a:gd name="T24" fmla="*/ 127 w 134"/>
                    <a:gd name="T25" fmla="*/ 67 h 188"/>
                    <a:gd name="T26" fmla="*/ 129 w 134"/>
                    <a:gd name="T27" fmla="*/ 67 h 188"/>
                    <a:gd name="T28" fmla="*/ 133 w 134"/>
                    <a:gd name="T29" fmla="*/ 70 h 188"/>
                    <a:gd name="T30" fmla="*/ 134 w 134"/>
                    <a:gd name="T31" fmla="*/ 71 h 188"/>
                    <a:gd name="T32" fmla="*/ 134 w 134"/>
                    <a:gd name="T33" fmla="*/ 150 h 188"/>
                    <a:gd name="T34" fmla="*/ 133 w 134"/>
                    <a:gd name="T35" fmla="*/ 152 h 188"/>
                    <a:gd name="T36" fmla="*/ 71 w 134"/>
                    <a:gd name="T37" fmla="*/ 188 h 188"/>
                    <a:gd name="T38" fmla="*/ 70 w 134"/>
                    <a:gd name="T39" fmla="*/ 188 h 188"/>
                    <a:gd name="T40" fmla="*/ 36 w 134"/>
                    <a:gd name="T41" fmla="*/ 164 h 188"/>
                    <a:gd name="T42" fmla="*/ 70 w 134"/>
                    <a:gd name="T43" fmla="*/ 184 h 188"/>
                    <a:gd name="T44" fmla="*/ 130 w 134"/>
                    <a:gd name="T45" fmla="*/ 149 h 188"/>
                    <a:gd name="T46" fmla="*/ 130 w 134"/>
                    <a:gd name="T47" fmla="*/ 73 h 188"/>
                    <a:gd name="T48" fmla="*/ 128 w 134"/>
                    <a:gd name="T49" fmla="*/ 71 h 188"/>
                    <a:gd name="T50" fmla="*/ 124 w 134"/>
                    <a:gd name="T51" fmla="*/ 74 h 188"/>
                    <a:gd name="T52" fmla="*/ 122 w 134"/>
                    <a:gd name="T53" fmla="*/ 74 h 188"/>
                    <a:gd name="T54" fmla="*/ 4 w 134"/>
                    <a:gd name="T55" fmla="*/ 5 h 188"/>
                    <a:gd name="T56" fmla="*/ 4 w 134"/>
                    <a:gd name="T57" fmla="*/ 72 h 188"/>
                    <a:gd name="T58" fmla="*/ 33 w 134"/>
                    <a:gd name="T59" fmla="*/ 55 h 188"/>
                    <a:gd name="T60" fmla="*/ 35 w 134"/>
                    <a:gd name="T61" fmla="*/ 55 h 188"/>
                    <a:gd name="T62" fmla="*/ 36 w 134"/>
                    <a:gd name="T63" fmla="*/ 57 h 188"/>
                    <a:gd name="T64" fmla="*/ 36 w 134"/>
                    <a:gd name="T65" fmla="*/ 164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4" h="188">
                      <a:moveTo>
                        <a:pt x="70" y="188"/>
                      </a:moveTo>
                      <a:cubicBezTo>
                        <a:pt x="70" y="188"/>
                        <a:pt x="69" y="188"/>
                        <a:pt x="69" y="188"/>
                      </a:cubicBezTo>
                      <a:cubicBezTo>
                        <a:pt x="33" y="167"/>
                        <a:pt x="33" y="167"/>
                        <a:pt x="33" y="167"/>
                      </a:cubicBezTo>
                      <a:cubicBezTo>
                        <a:pt x="32" y="167"/>
                        <a:pt x="32" y="166"/>
                        <a:pt x="32" y="165"/>
                      </a:cubicBezTo>
                      <a:cubicBezTo>
                        <a:pt x="32" y="60"/>
                        <a:pt x="32" y="60"/>
                        <a:pt x="32" y="60"/>
                      </a:cubicBezTo>
                      <a:cubicBezTo>
                        <a:pt x="3" y="77"/>
                        <a:pt x="3" y="77"/>
                        <a:pt x="3" y="77"/>
                      </a:cubicBezTo>
                      <a:cubicBezTo>
                        <a:pt x="2" y="77"/>
                        <a:pt x="2" y="77"/>
                        <a:pt x="1" y="77"/>
                      </a:cubicBezTo>
                      <a:cubicBezTo>
                        <a:pt x="0" y="76"/>
                        <a:pt x="0" y="76"/>
                        <a:pt x="0" y="7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23" y="69"/>
                        <a:pt x="123" y="69"/>
                        <a:pt x="123" y="69"/>
                      </a:cubicBezTo>
                      <a:cubicBezTo>
                        <a:pt x="127" y="67"/>
                        <a:pt x="127" y="67"/>
                        <a:pt x="127" y="67"/>
                      </a:cubicBezTo>
                      <a:cubicBezTo>
                        <a:pt x="128" y="67"/>
                        <a:pt x="129" y="67"/>
                        <a:pt x="129" y="67"/>
                      </a:cubicBezTo>
                      <a:cubicBezTo>
                        <a:pt x="133" y="70"/>
                        <a:pt x="133" y="70"/>
                        <a:pt x="133" y="70"/>
                      </a:cubicBezTo>
                      <a:cubicBezTo>
                        <a:pt x="134" y="70"/>
                        <a:pt x="134" y="71"/>
                        <a:pt x="134" y="71"/>
                      </a:cubicBezTo>
                      <a:cubicBezTo>
                        <a:pt x="134" y="150"/>
                        <a:pt x="134" y="150"/>
                        <a:pt x="134" y="150"/>
                      </a:cubicBezTo>
                      <a:cubicBezTo>
                        <a:pt x="134" y="151"/>
                        <a:pt x="134" y="151"/>
                        <a:pt x="133" y="152"/>
                      </a:cubicBezTo>
                      <a:cubicBezTo>
                        <a:pt x="71" y="188"/>
                        <a:pt x="71" y="188"/>
                        <a:pt x="71" y="188"/>
                      </a:cubicBezTo>
                      <a:cubicBezTo>
                        <a:pt x="71" y="188"/>
                        <a:pt x="70" y="188"/>
                        <a:pt x="70" y="188"/>
                      </a:cubicBezTo>
                      <a:close/>
                      <a:moveTo>
                        <a:pt x="36" y="164"/>
                      </a:moveTo>
                      <a:cubicBezTo>
                        <a:pt x="70" y="184"/>
                        <a:pt x="70" y="184"/>
                        <a:pt x="70" y="184"/>
                      </a:cubicBezTo>
                      <a:cubicBezTo>
                        <a:pt x="130" y="149"/>
                        <a:pt x="130" y="149"/>
                        <a:pt x="130" y="149"/>
                      </a:cubicBezTo>
                      <a:cubicBezTo>
                        <a:pt x="130" y="73"/>
                        <a:pt x="130" y="73"/>
                        <a:pt x="130" y="73"/>
                      </a:cubicBezTo>
                      <a:cubicBezTo>
                        <a:pt x="128" y="71"/>
                        <a:pt x="128" y="71"/>
                        <a:pt x="128" y="71"/>
                      </a:cubicBezTo>
                      <a:cubicBezTo>
                        <a:pt x="124" y="74"/>
                        <a:pt x="124" y="74"/>
                        <a:pt x="124" y="74"/>
                      </a:cubicBezTo>
                      <a:cubicBezTo>
                        <a:pt x="124" y="74"/>
                        <a:pt x="123" y="74"/>
                        <a:pt x="122" y="74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33" y="55"/>
                        <a:pt x="33" y="55"/>
                        <a:pt x="33" y="55"/>
                      </a:cubicBezTo>
                      <a:cubicBezTo>
                        <a:pt x="34" y="54"/>
                        <a:pt x="34" y="54"/>
                        <a:pt x="35" y="55"/>
                      </a:cubicBezTo>
                      <a:cubicBezTo>
                        <a:pt x="36" y="55"/>
                        <a:pt x="36" y="56"/>
                        <a:pt x="36" y="57"/>
                      </a:cubicBezTo>
                      <a:lnTo>
                        <a:pt x="36" y="1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0" name="Freeform 662">
                  <a:extLst>
                    <a:ext uri="{FF2B5EF4-FFF2-40B4-BE49-F238E27FC236}">
                      <a16:creationId xmlns:a16="http://schemas.microsoft.com/office/drawing/2014/main" id="{1C441F1F-BCC3-44A1-B249-52ADCC7B4D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95" y="640"/>
                  <a:ext cx="305" cy="184"/>
                </a:xfrm>
                <a:custGeom>
                  <a:avLst/>
                  <a:gdLst>
                    <a:gd name="T0" fmla="*/ 123 w 129"/>
                    <a:gd name="T1" fmla="*/ 78 h 78"/>
                    <a:gd name="T2" fmla="*/ 122 w 129"/>
                    <a:gd name="T3" fmla="*/ 78 h 78"/>
                    <a:gd name="T4" fmla="*/ 1 w 129"/>
                    <a:gd name="T5" fmla="*/ 7 h 78"/>
                    <a:gd name="T6" fmla="*/ 0 w 129"/>
                    <a:gd name="T7" fmla="*/ 6 h 78"/>
                    <a:gd name="T8" fmla="*/ 0 w 129"/>
                    <a:gd name="T9" fmla="*/ 2 h 78"/>
                    <a:gd name="T10" fmla="*/ 1 w 129"/>
                    <a:gd name="T11" fmla="*/ 0 h 78"/>
                    <a:gd name="T12" fmla="*/ 3 w 129"/>
                    <a:gd name="T13" fmla="*/ 0 h 78"/>
                    <a:gd name="T14" fmla="*/ 128 w 129"/>
                    <a:gd name="T15" fmla="*/ 72 h 78"/>
                    <a:gd name="T16" fmla="*/ 129 w 129"/>
                    <a:gd name="T17" fmla="*/ 74 h 78"/>
                    <a:gd name="T18" fmla="*/ 128 w 129"/>
                    <a:gd name="T19" fmla="*/ 76 h 78"/>
                    <a:gd name="T20" fmla="*/ 124 w 129"/>
                    <a:gd name="T21" fmla="*/ 78 h 78"/>
                    <a:gd name="T22" fmla="*/ 123 w 129"/>
                    <a:gd name="T23" fmla="*/ 78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9" h="78">
                      <a:moveTo>
                        <a:pt x="123" y="78"/>
                      </a:moveTo>
                      <a:cubicBezTo>
                        <a:pt x="123" y="78"/>
                        <a:pt x="123" y="78"/>
                        <a:pt x="122" y="78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7"/>
                        <a:pt x="0" y="6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28" y="72"/>
                        <a:pt x="128" y="72"/>
                        <a:pt x="128" y="72"/>
                      </a:cubicBezTo>
                      <a:cubicBezTo>
                        <a:pt x="128" y="73"/>
                        <a:pt x="129" y="73"/>
                        <a:pt x="129" y="74"/>
                      </a:cubicBezTo>
                      <a:cubicBezTo>
                        <a:pt x="129" y="75"/>
                        <a:pt x="128" y="76"/>
                        <a:pt x="128" y="76"/>
                      </a:cubicBezTo>
                      <a:cubicBezTo>
                        <a:pt x="124" y="78"/>
                        <a:pt x="124" y="78"/>
                        <a:pt x="124" y="78"/>
                      </a:cubicBezTo>
                      <a:cubicBezTo>
                        <a:pt x="124" y="78"/>
                        <a:pt x="124" y="78"/>
                        <a:pt x="123" y="7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1" name="Freeform 663">
                  <a:extLst>
                    <a:ext uri="{FF2B5EF4-FFF2-40B4-BE49-F238E27FC236}">
                      <a16:creationId xmlns:a16="http://schemas.microsoft.com/office/drawing/2014/main" id="{2278DC78-58B9-48B9-8E10-C71D321E6F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98" y="699"/>
                  <a:ext cx="257" cy="312"/>
                </a:xfrm>
                <a:custGeom>
                  <a:avLst/>
                  <a:gdLst>
                    <a:gd name="T0" fmla="*/ 6 w 109"/>
                    <a:gd name="T1" fmla="*/ 132 h 132"/>
                    <a:gd name="T2" fmla="*/ 5 w 109"/>
                    <a:gd name="T3" fmla="*/ 132 h 132"/>
                    <a:gd name="T4" fmla="*/ 4 w 109"/>
                    <a:gd name="T5" fmla="*/ 130 h 132"/>
                    <a:gd name="T6" fmla="*/ 4 w 109"/>
                    <a:gd name="T7" fmla="*/ 53 h 132"/>
                    <a:gd name="T8" fmla="*/ 1 w 109"/>
                    <a:gd name="T9" fmla="*/ 51 h 132"/>
                    <a:gd name="T10" fmla="*/ 0 w 109"/>
                    <a:gd name="T11" fmla="*/ 49 h 132"/>
                    <a:gd name="T12" fmla="*/ 1 w 109"/>
                    <a:gd name="T13" fmla="*/ 47 h 132"/>
                    <a:gd name="T14" fmla="*/ 82 w 109"/>
                    <a:gd name="T15" fmla="*/ 1 h 132"/>
                    <a:gd name="T16" fmla="*/ 84 w 109"/>
                    <a:gd name="T17" fmla="*/ 1 h 132"/>
                    <a:gd name="T18" fmla="*/ 91 w 109"/>
                    <a:gd name="T19" fmla="*/ 5 h 132"/>
                    <a:gd name="T20" fmla="*/ 92 w 109"/>
                    <a:gd name="T21" fmla="*/ 7 h 132"/>
                    <a:gd name="T22" fmla="*/ 91 w 109"/>
                    <a:gd name="T23" fmla="*/ 9 h 132"/>
                    <a:gd name="T24" fmla="*/ 55 w 109"/>
                    <a:gd name="T25" fmla="*/ 30 h 132"/>
                    <a:gd name="T26" fmla="*/ 108 w 109"/>
                    <a:gd name="T27" fmla="*/ 60 h 132"/>
                    <a:gd name="T28" fmla="*/ 109 w 109"/>
                    <a:gd name="T29" fmla="*/ 62 h 132"/>
                    <a:gd name="T30" fmla="*/ 108 w 109"/>
                    <a:gd name="T31" fmla="*/ 63 h 132"/>
                    <a:gd name="T32" fmla="*/ 28 w 109"/>
                    <a:gd name="T33" fmla="*/ 110 h 132"/>
                    <a:gd name="T34" fmla="*/ 28 w 109"/>
                    <a:gd name="T35" fmla="*/ 119 h 132"/>
                    <a:gd name="T36" fmla="*/ 27 w 109"/>
                    <a:gd name="T37" fmla="*/ 120 h 132"/>
                    <a:gd name="T38" fmla="*/ 7 w 109"/>
                    <a:gd name="T39" fmla="*/ 132 h 132"/>
                    <a:gd name="T40" fmla="*/ 6 w 109"/>
                    <a:gd name="T41" fmla="*/ 132 h 132"/>
                    <a:gd name="T42" fmla="*/ 6 w 109"/>
                    <a:gd name="T43" fmla="*/ 49 h 132"/>
                    <a:gd name="T44" fmla="*/ 7 w 109"/>
                    <a:gd name="T45" fmla="*/ 50 h 132"/>
                    <a:gd name="T46" fmla="*/ 8 w 109"/>
                    <a:gd name="T47" fmla="*/ 51 h 132"/>
                    <a:gd name="T48" fmla="*/ 8 w 109"/>
                    <a:gd name="T49" fmla="*/ 127 h 132"/>
                    <a:gd name="T50" fmla="*/ 24 w 109"/>
                    <a:gd name="T51" fmla="*/ 118 h 132"/>
                    <a:gd name="T52" fmla="*/ 24 w 109"/>
                    <a:gd name="T53" fmla="*/ 108 h 132"/>
                    <a:gd name="T54" fmla="*/ 25 w 109"/>
                    <a:gd name="T55" fmla="*/ 107 h 132"/>
                    <a:gd name="T56" fmla="*/ 103 w 109"/>
                    <a:gd name="T57" fmla="*/ 62 h 132"/>
                    <a:gd name="T58" fmla="*/ 50 w 109"/>
                    <a:gd name="T59" fmla="*/ 31 h 132"/>
                    <a:gd name="T60" fmla="*/ 49 w 109"/>
                    <a:gd name="T61" fmla="*/ 30 h 132"/>
                    <a:gd name="T62" fmla="*/ 50 w 109"/>
                    <a:gd name="T63" fmla="*/ 28 h 132"/>
                    <a:gd name="T64" fmla="*/ 86 w 109"/>
                    <a:gd name="T65" fmla="*/ 7 h 132"/>
                    <a:gd name="T66" fmla="*/ 83 w 109"/>
                    <a:gd name="T67" fmla="*/ 5 h 132"/>
                    <a:gd name="T68" fmla="*/ 6 w 109"/>
                    <a:gd name="T69" fmla="*/ 49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09" h="132">
                      <a:moveTo>
                        <a:pt x="6" y="132"/>
                      </a:moveTo>
                      <a:cubicBezTo>
                        <a:pt x="6" y="132"/>
                        <a:pt x="5" y="132"/>
                        <a:pt x="5" y="132"/>
                      </a:cubicBezTo>
                      <a:cubicBezTo>
                        <a:pt x="4" y="131"/>
                        <a:pt x="4" y="131"/>
                        <a:pt x="4" y="130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0" y="51"/>
                        <a:pt x="0" y="50"/>
                        <a:pt x="0" y="49"/>
                      </a:cubicBezTo>
                      <a:cubicBezTo>
                        <a:pt x="0" y="48"/>
                        <a:pt x="0" y="48"/>
                        <a:pt x="1" y="47"/>
                      </a:cubicBezTo>
                      <a:cubicBezTo>
                        <a:pt x="82" y="1"/>
                        <a:pt x="82" y="1"/>
                        <a:pt x="82" y="1"/>
                      </a:cubicBezTo>
                      <a:cubicBezTo>
                        <a:pt x="82" y="0"/>
                        <a:pt x="83" y="0"/>
                        <a:pt x="84" y="1"/>
                      </a:cubicBezTo>
                      <a:cubicBezTo>
                        <a:pt x="91" y="5"/>
                        <a:pt x="91" y="5"/>
                        <a:pt x="91" y="5"/>
                      </a:cubicBezTo>
                      <a:cubicBezTo>
                        <a:pt x="92" y="6"/>
                        <a:pt x="92" y="6"/>
                        <a:pt x="92" y="7"/>
                      </a:cubicBezTo>
                      <a:cubicBezTo>
                        <a:pt x="92" y="8"/>
                        <a:pt x="92" y="8"/>
                        <a:pt x="91" y="9"/>
                      </a:cubicBezTo>
                      <a:cubicBezTo>
                        <a:pt x="55" y="30"/>
                        <a:pt x="55" y="30"/>
                        <a:pt x="55" y="30"/>
                      </a:cubicBezTo>
                      <a:cubicBezTo>
                        <a:pt x="108" y="60"/>
                        <a:pt x="108" y="60"/>
                        <a:pt x="108" y="60"/>
                      </a:cubicBezTo>
                      <a:cubicBezTo>
                        <a:pt x="108" y="60"/>
                        <a:pt x="109" y="61"/>
                        <a:pt x="109" y="62"/>
                      </a:cubicBezTo>
                      <a:cubicBezTo>
                        <a:pt x="109" y="62"/>
                        <a:pt x="108" y="63"/>
                        <a:pt x="108" y="63"/>
                      </a:cubicBezTo>
                      <a:cubicBezTo>
                        <a:pt x="28" y="110"/>
                        <a:pt x="28" y="110"/>
                        <a:pt x="28" y="110"/>
                      </a:cubicBezTo>
                      <a:cubicBezTo>
                        <a:pt x="28" y="119"/>
                        <a:pt x="28" y="119"/>
                        <a:pt x="28" y="119"/>
                      </a:cubicBezTo>
                      <a:cubicBezTo>
                        <a:pt x="28" y="119"/>
                        <a:pt x="27" y="120"/>
                        <a:pt x="27" y="120"/>
                      </a:cubicBezTo>
                      <a:cubicBezTo>
                        <a:pt x="7" y="132"/>
                        <a:pt x="7" y="132"/>
                        <a:pt x="7" y="132"/>
                      </a:cubicBezTo>
                      <a:cubicBezTo>
                        <a:pt x="7" y="132"/>
                        <a:pt x="6" y="132"/>
                        <a:pt x="6" y="132"/>
                      </a:cubicBezTo>
                      <a:close/>
                      <a:moveTo>
                        <a:pt x="6" y="49"/>
                      </a:moveTo>
                      <a:cubicBezTo>
                        <a:pt x="7" y="50"/>
                        <a:pt x="7" y="50"/>
                        <a:pt x="7" y="50"/>
                      </a:cubicBezTo>
                      <a:cubicBezTo>
                        <a:pt x="8" y="50"/>
                        <a:pt x="8" y="51"/>
                        <a:pt x="8" y="51"/>
                      </a:cubicBezTo>
                      <a:cubicBezTo>
                        <a:pt x="8" y="127"/>
                        <a:pt x="8" y="127"/>
                        <a:pt x="8" y="127"/>
                      </a:cubicBezTo>
                      <a:cubicBezTo>
                        <a:pt x="24" y="118"/>
                        <a:pt x="24" y="118"/>
                        <a:pt x="24" y="118"/>
                      </a:cubicBezTo>
                      <a:cubicBezTo>
                        <a:pt x="24" y="108"/>
                        <a:pt x="24" y="108"/>
                        <a:pt x="24" y="108"/>
                      </a:cubicBezTo>
                      <a:cubicBezTo>
                        <a:pt x="24" y="108"/>
                        <a:pt x="24" y="107"/>
                        <a:pt x="25" y="107"/>
                      </a:cubicBezTo>
                      <a:cubicBezTo>
                        <a:pt x="103" y="62"/>
                        <a:pt x="103" y="62"/>
                        <a:pt x="103" y="62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49" y="31"/>
                        <a:pt x="49" y="30"/>
                        <a:pt x="49" y="30"/>
                      </a:cubicBezTo>
                      <a:cubicBezTo>
                        <a:pt x="49" y="29"/>
                        <a:pt x="49" y="28"/>
                        <a:pt x="50" y="28"/>
                      </a:cubicBezTo>
                      <a:cubicBezTo>
                        <a:pt x="86" y="7"/>
                        <a:pt x="86" y="7"/>
                        <a:pt x="86" y="7"/>
                      </a:cubicBezTo>
                      <a:cubicBezTo>
                        <a:pt x="83" y="5"/>
                        <a:pt x="83" y="5"/>
                        <a:pt x="83" y="5"/>
                      </a:cubicBezTo>
                      <a:lnTo>
                        <a:pt x="6" y="4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2" name="Freeform 664">
                  <a:extLst>
                    <a:ext uri="{FF2B5EF4-FFF2-40B4-BE49-F238E27FC236}">
                      <a16:creationId xmlns:a16="http://schemas.microsoft.com/office/drawing/2014/main" id="{96D528D9-E805-4F0D-AB61-E5A52FFA03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758"/>
                  <a:ext cx="57" cy="66"/>
                </a:xfrm>
                <a:custGeom>
                  <a:avLst/>
                  <a:gdLst>
                    <a:gd name="T0" fmla="*/ 2 w 24"/>
                    <a:gd name="T1" fmla="*/ 28 h 28"/>
                    <a:gd name="T2" fmla="*/ 1 w 24"/>
                    <a:gd name="T3" fmla="*/ 27 h 28"/>
                    <a:gd name="T4" fmla="*/ 0 w 24"/>
                    <a:gd name="T5" fmla="*/ 26 h 28"/>
                    <a:gd name="T6" fmla="*/ 0 w 24"/>
                    <a:gd name="T7" fmla="*/ 2 h 28"/>
                    <a:gd name="T8" fmla="*/ 1 w 24"/>
                    <a:gd name="T9" fmla="*/ 0 h 28"/>
                    <a:gd name="T10" fmla="*/ 3 w 24"/>
                    <a:gd name="T11" fmla="*/ 0 h 28"/>
                    <a:gd name="T12" fmla="*/ 23 w 24"/>
                    <a:gd name="T13" fmla="*/ 12 h 28"/>
                    <a:gd name="T14" fmla="*/ 24 w 24"/>
                    <a:gd name="T15" fmla="*/ 14 h 28"/>
                    <a:gd name="T16" fmla="*/ 23 w 24"/>
                    <a:gd name="T17" fmla="*/ 16 h 28"/>
                    <a:gd name="T18" fmla="*/ 3 w 24"/>
                    <a:gd name="T19" fmla="*/ 27 h 28"/>
                    <a:gd name="T20" fmla="*/ 2 w 24"/>
                    <a:gd name="T21" fmla="*/ 28 h 28"/>
                    <a:gd name="T22" fmla="*/ 4 w 24"/>
                    <a:gd name="T23" fmla="*/ 6 h 28"/>
                    <a:gd name="T24" fmla="*/ 4 w 24"/>
                    <a:gd name="T25" fmla="*/ 22 h 28"/>
                    <a:gd name="T26" fmla="*/ 18 w 24"/>
                    <a:gd name="T27" fmla="*/ 14 h 28"/>
                    <a:gd name="T28" fmla="*/ 4 w 24"/>
                    <a:gd name="T29" fmla="*/ 6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8">
                      <a:moveTo>
                        <a:pt x="2" y="28"/>
                      </a:moveTo>
                      <a:cubicBezTo>
                        <a:pt x="1" y="28"/>
                        <a:pt x="1" y="28"/>
                        <a:pt x="1" y="27"/>
                      </a:cubicBezTo>
                      <a:cubicBezTo>
                        <a:pt x="0" y="27"/>
                        <a:pt x="0" y="26"/>
                        <a:pt x="0" y="2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4" y="13"/>
                        <a:pt x="24" y="13"/>
                        <a:pt x="24" y="14"/>
                      </a:cubicBezTo>
                      <a:cubicBezTo>
                        <a:pt x="24" y="15"/>
                        <a:pt x="24" y="15"/>
                        <a:pt x="23" y="16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2" y="28"/>
                        <a:pt x="2" y="28"/>
                        <a:pt x="2" y="28"/>
                      </a:cubicBezTo>
                      <a:close/>
                      <a:moveTo>
                        <a:pt x="4" y="6"/>
                      </a:move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18" y="14"/>
                        <a:pt x="18" y="14"/>
                        <a:pt x="18" y="14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3" name="Freeform 665">
                  <a:extLst>
                    <a:ext uri="{FF2B5EF4-FFF2-40B4-BE49-F238E27FC236}">
                      <a16:creationId xmlns:a16="http://schemas.microsoft.com/office/drawing/2014/main" id="{4C4E15BF-D00E-4424-BD21-38EE23F7F1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15" y="678"/>
                  <a:ext cx="80" cy="83"/>
                </a:xfrm>
                <a:custGeom>
                  <a:avLst/>
                  <a:gdLst>
                    <a:gd name="T0" fmla="*/ 32 w 34"/>
                    <a:gd name="T1" fmla="*/ 35 h 35"/>
                    <a:gd name="T2" fmla="*/ 31 w 34"/>
                    <a:gd name="T3" fmla="*/ 35 h 35"/>
                    <a:gd name="T4" fmla="*/ 1 w 34"/>
                    <a:gd name="T5" fmla="*/ 18 h 35"/>
                    <a:gd name="T6" fmla="*/ 0 w 34"/>
                    <a:gd name="T7" fmla="*/ 16 h 35"/>
                    <a:gd name="T8" fmla="*/ 1 w 34"/>
                    <a:gd name="T9" fmla="*/ 14 h 35"/>
                    <a:gd name="T10" fmla="*/ 24 w 34"/>
                    <a:gd name="T11" fmla="*/ 1 h 35"/>
                    <a:gd name="T12" fmla="*/ 26 w 34"/>
                    <a:gd name="T13" fmla="*/ 1 h 35"/>
                    <a:gd name="T14" fmla="*/ 33 w 34"/>
                    <a:gd name="T15" fmla="*/ 5 h 35"/>
                    <a:gd name="T16" fmla="*/ 34 w 34"/>
                    <a:gd name="T17" fmla="*/ 6 h 35"/>
                    <a:gd name="T18" fmla="*/ 34 w 34"/>
                    <a:gd name="T19" fmla="*/ 33 h 35"/>
                    <a:gd name="T20" fmla="*/ 33 w 34"/>
                    <a:gd name="T21" fmla="*/ 35 h 35"/>
                    <a:gd name="T22" fmla="*/ 32 w 34"/>
                    <a:gd name="T23" fmla="*/ 35 h 35"/>
                    <a:gd name="T24" fmla="*/ 6 w 34"/>
                    <a:gd name="T25" fmla="*/ 16 h 35"/>
                    <a:gd name="T26" fmla="*/ 30 w 34"/>
                    <a:gd name="T27" fmla="*/ 30 h 35"/>
                    <a:gd name="T28" fmla="*/ 30 w 34"/>
                    <a:gd name="T29" fmla="*/ 8 h 35"/>
                    <a:gd name="T30" fmla="*/ 25 w 34"/>
                    <a:gd name="T31" fmla="*/ 5 h 35"/>
                    <a:gd name="T32" fmla="*/ 6 w 34"/>
                    <a:gd name="T33" fmla="*/ 16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35">
                      <a:moveTo>
                        <a:pt x="32" y="35"/>
                      </a:moveTo>
                      <a:cubicBezTo>
                        <a:pt x="32" y="35"/>
                        <a:pt x="31" y="35"/>
                        <a:pt x="31" y="35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7"/>
                        <a:pt x="0" y="17"/>
                        <a:pt x="0" y="16"/>
                      </a:cubicBezTo>
                      <a:cubicBezTo>
                        <a:pt x="0" y="15"/>
                        <a:pt x="0" y="15"/>
                        <a:pt x="1" y="14"/>
                      </a:cubicBez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5" y="0"/>
                        <a:pt x="25" y="0"/>
                        <a:pt x="26" y="1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4" y="5"/>
                        <a:pt x="34" y="6"/>
                        <a:pt x="34" y="6"/>
                      </a:cubicBezTo>
                      <a:cubicBezTo>
                        <a:pt x="34" y="33"/>
                        <a:pt x="34" y="33"/>
                        <a:pt x="34" y="33"/>
                      </a:cubicBezTo>
                      <a:cubicBezTo>
                        <a:pt x="34" y="34"/>
                        <a:pt x="34" y="35"/>
                        <a:pt x="33" y="35"/>
                      </a:cubicBezTo>
                      <a:cubicBezTo>
                        <a:pt x="33" y="35"/>
                        <a:pt x="32" y="35"/>
                        <a:pt x="32" y="35"/>
                      </a:cubicBezTo>
                      <a:close/>
                      <a:moveTo>
                        <a:pt x="6" y="16"/>
                      </a:moveTo>
                      <a:cubicBezTo>
                        <a:pt x="30" y="30"/>
                        <a:pt x="30" y="30"/>
                        <a:pt x="30" y="30"/>
                      </a:cubicBezTo>
                      <a:cubicBezTo>
                        <a:pt x="30" y="8"/>
                        <a:pt x="30" y="8"/>
                        <a:pt x="30" y="8"/>
                      </a:cubicBezTo>
                      <a:cubicBezTo>
                        <a:pt x="25" y="5"/>
                        <a:pt x="25" y="5"/>
                        <a:pt x="25" y="5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4" name="Freeform 666">
                  <a:extLst>
                    <a:ext uri="{FF2B5EF4-FFF2-40B4-BE49-F238E27FC236}">
                      <a16:creationId xmlns:a16="http://schemas.microsoft.com/office/drawing/2014/main" id="{F53A88A9-FB93-470B-88B9-C580F224C2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920" y="713"/>
                  <a:ext cx="175" cy="135"/>
                </a:xfrm>
                <a:custGeom>
                  <a:avLst/>
                  <a:gdLst>
                    <a:gd name="T0" fmla="*/ 56 w 74"/>
                    <a:gd name="T1" fmla="*/ 57 h 57"/>
                    <a:gd name="T2" fmla="*/ 55 w 74"/>
                    <a:gd name="T3" fmla="*/ 57 h 57"/>
                    <a:gd name="T4" fmla="*/ 1 w 74"/>
                    <a:gd name="T5" fmla="*/ 25 h 57"/>
                    <a:gd name="T6" fmla="*/ 0 w 74"/>
                    <a:gd name="T7" fmla="*/ 24 h 57"/>
                    <a:gd name="T8" fmla="*/ 1 w 74"/>
                    <a:gd name="T9" fmla="*/ 22 h 57"/>
                    <a:gd name="T10" fmla="*/ 39 w 74"/>
                    <a:gd name="T11" fmla="*/ 0 h 57"/>
                    <a:gd name="T12" fmla="*/ 41 w 74"/>
                    <a:gd name="T13" fmla="*/ 0 h 57"/>
                    <a:gd name="T14" fmla="*/ 73 w 74"/>
                    <a:gd name="T15" fmla="*/ 18 h 57"/>
                    <a:gd name="T16" fmla="*/ 74 w 74"/>
                    <a:gd name="T17" fmla="*/ 20 h 57"/>
                    <a:gd name="T18" fmla="*/ 74 w 74"/>
                    <a:gd name="T19" fmla="*/ 46 h 57"/>
                    <a:gd name="T20" fmla="*/ 73 w 74"/>
                    <a:gd name="T21" fmla="*/ 47 h 57"/>
                    <a:gd name="T22" fmla="*/ 57 w 74"/>
                    <a:gd name="T23" fmla="*/ 57 h 57"/>
                    <a:gd name="T24" fmla="*/ 56 w 74"/>
                    <a:gd name="T25" fmla="*/ 57 h 57"/>
                    <a:gd name="T26" fmla="*/ 6 w 74"/>
                    <a:gd name="T27" fmla="*/ 24 h 57"/>
                    <a:gd name="T28" fmla="*/ 56 w 74"/>
                    <a:gd name="T29" fmla="*/ 52 h 57"/>
                    <a:gd name="T30" fmla="*/ 70 w 74"/>
                    <a:gd name="T31" fmla="*/ 45 h 57"/>
                    <a:gd name="T32" fmla="*/ 70 w 74"/>
                    <a:gd name="T33" fmla="*/ 21 h 57"/>
                    <a:gd name="T34" fmla="*/ 40 w 74"/>
                    <a:gd name="T35" fmla="*/ 4 h 57"/>
                    <a:gd name="T36" fmla="*/ 6 w 74"/>
                    <a:gd name="T37" fmla="*/ 2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4" h="57">
                      <a:moveTo>
                        <a:pt x="56" y="57"/>
                      </a:moveTo>
                      <a:cubicBezTo>
                        <a:pt x="56" y="57"/>
                        <a:pt x="55" y="57"/>
                        <a:pt x="55" y="57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1" y="25"/>
                        <a:pt x="0" y="24"/>
                        <a:pt x="0" y="24"/>
                      </a:cubicBezTo>
                      <a:cubicBezTo>
                        <a:pt x="0" y="23"/>
                        <a:pt x="1" y="22"/>
                        <a:pt x="1" y="22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40" y="0"/>
                        <a:pt x="40" y="0"/>
                        <a:pt x="41" y="0"/>
                      </a:cubicBezTo>
                      <a:cubicBezTo>
                        <a:pt x="73" y="18"/>
                        <a:pt x="73" y="18"/>
                        <a:pt x="73" y="18"/>
                      </a:cubicBezTo>
                      <a:cubicBezTo>
                        <a:pt x="74" y="19"/>
                        <a:pt x="74" y="19"/>
                        <a:pt x="74" y="20"/>
                      </a:cubicBezTo>
                      <a:cubicBezTo>
                        <a:pt x="74" y="46"/>
                        <a:pt x="74" y="46"/>
                        <a:pt x="74" y="46"/>
                      </a:cubicBezTo>
                      <a:cubicBezTo>
                        <a:pt x="74" y="46"/>
                        <a:pt x="74" y="47"/>
                        <a:pt x="73" y="47"/>
                      </a:cubicBezTo>
                      <a:cubicBezTo>
                        <a:pt x="57" y="57"/>
                        <a:pt x="57" y="57"/>
                        <a:pt x="57" y="57"/>
                      </a:cubicBezTo>
                      <a:cubicBezTo>
                        <a:pt x="57" y="57"/>
                        <a:pt x="57" y="57"/>
                        <a:pt x="56" y="57"/>
                      </a:cubicBezTo>
                      <a:close/>
                      <a:moveTo>
                        <a:pt x="6" y="24"/>
                      </a:moveTo>
                      <a:cubicBezTo>
                        <a:pt x="56" y="52"/>
                        <a:pt x="56" y="52"/>
                        <a:pt x="56" y="52"/>
                      </a:cubicBezTo>
                      <a:cubicBezTo>
                        <a:pt x="70" y="45"/>
                        <a:pt x="70" y="45"/>
                        <a:pt x="70" y="45"/>
                      </a:cubicBezTo>
                      <a:cubicBezTo>
                        <a:pt x="70" y="21"/>
                        <a:pt x="70" y="21"/>
                        <a:pt x="70" y="21"/>
                      </a:cubicBezTo>
                      <a:cubicBezTo>
                        <a:pt x="40" y="4"/>
                        <a:pt x="40" y="4"/>
                        <a:pt x="40" y="4"/>
                      </a:cubicBezTo>
                      <a:lnTo>
                        <a:pt x="6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5" name="Freeform 667">
                  <a:extLst>
                    <a:ext uri="{FF2B5EF4-FFF2-40B4-BE49-F238E27FC236}">
                      <a16:creationId xmlns:a16="http://schemas.microsoft.com/office/drawing/2014/main" id="{863E4888-2C7C-4431-9EE3-74A0A83C93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64" y="1285"/>
                  <a:ext cx="26" cy="31"/>
                </a:xfrm>
                <a:custGeom>
                  <a:avLst/>
                  <a:gdLst>
                    <a:gd name="T0" fmla="*/ 9 w 11"/>
                    <a:gd name="T1" fmla="*/ 13 h 13"/>
                    <a:gd name="T2" fmla="*/ 8 w 11"/>
                    <a:gd name="T3" fmla="*/ 13 h 13"/>
                    <a:gd name="T4" fmla="*/ 1 w 11"/>
                    <a:gd name="T5" fmla="*/ 8 h 13"/>
                    <a:gd name="T6" fmla="*/ 0 w 11"/>
                    <a:gd name="T7" fmla="*/ 7 h 13"/>
                    <a:gd name="T8" fmla="*/ 1 w 11"/>
                    <a:gd name="T9" fmla="*/ 5 h 13"/>
                    <a:gd name="T10" fmla="*/ 8 w 11"/>
                    <a:gd name="T11" fmla="*/ 1 h 13"/>
                    <a:gd name="T12" fmla="*/ 10 w 11"/>
                    <a:gd name="T13" fmla="*/ 1 h 13"/>
                    <a:gd name="T14" fmla="*/ 11 w 11"/>
                    <a:gd name="T15" fmla="*/ 2 h 13"/>
                    <a:gd name="T16" fmla="*/ 11 w 11"/>
                    <a:gd name="T17" fmla="*/ 11 h 13"/>
                    <a:gd name="T18" fmla="*/ 10 w 11"/>
                    <a:gd name="T19" fmla="*/ 13 h 13"/>
                    <a:gd name="T20" fmla="*/ 9 w 11"/>
                    <a:gd name="T21" fmla="*/ 13 h 13"/>
                    <a:gd name="T22" fmla="*/ 6 w 11"/>
                    <a:gd name="T23" fmla="*/ 7 h 13"/>
                    <a:gd name="T24" fmla="*/ 7 w 11"/>
                    <a:gd name="T25" fmla="*/ 7 h 13"/>
                    <a:gd name="T26" fmla="*/ 7 w 11"/>
                    <a:gd name="T27" fmla="*/ 6 h 13"/>
                    <a:gd name="T28" fmla="*/ 6 w 11"/>
                    <a:gd name="T29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9" y="13"/>
                      </a:moveTo>
                      <a:cubicBezTo>
                        <a:pt x="9" y="13"/>
                        <a:pt x="8" y="13"/>
                        <a:pt x="8" y="13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8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9" y="0"/>
                        <a:pt x="9" y="0"/>
                        <a:pt x="10" y="1"/>
                      </a:cubicBezTo>
                      <a:cubicBezTo>
                        <a:pt x="11" y="1"/>
                        <a:pt x="11" y="2"/>
                        <a:pt x="11" y="2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1" y="12"/>
                        <a:pt x="11" y="12"/>
                        <a:pt x="10" y="13"/>
                      </a:cubicBezTo>
                      <a:cubicBezTo>
                        <a:pt x="10" y="13"/>
                        <a:pt x="9" y="13"/>
                        <a:pt x="9" y="13"/>
                      </a:cubicBezTo>
                      <a:close/>
                      <a:moveTo>
                        <a:pt x="6" y="7"/>
                      </a:move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6" name="Freeform 668">
                  <a:extLst>
                    <a:ext uri="{FF2B5EF4-FFF2-40B4-BE49-F238E27FC236}">
                      <a16:creationId xmlns:a16="http://schemas.microsoft.com/office/drawing/2014/main" id="{B6A3104E-CD64-4146-8C9D-8A8BACB1A1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1944"/>
                  <a:ext cx="40" cy="45"/>
                </a:xfrm>
                <a:custGeom>
                  <a:avLst/>
                  <a:gdLst>
                    <a:gd name="T0" fmla="*/ 2 w 17"/>
                    <a:gd name="T1" fmla="*/ 19 h 19"/>
                    <a:gd name="T2" fmla="*/ 1 w 17"/>
                    <a:gd name="T3" fmla="*/ 19 h 19"/>
                    <a:gd name="T4" fmla="*/ 0 w 17"/>
                    <a:gd name="T5" fmla="*/ 17 h 19"/>
                    <a:gd name="T6" fmla="*/ 0 w 17"/>
                    <a:gd name="T7" fmla="*/ 2 h 19"/>
                    <a:gd name="T8" fmla="*/ 1 w 17"/>
                    <a:gd name="T9" fmla="*/ 0 h 19"/>
                    <a:gd name="T10" fmla="*/ 3 w 17"/>
                    <a:gd name="T11" fmla="*/ 0 h 19"/>
                    <a:gd name="T12" fmla="*/ 16 w 17"/>
                    <a:gd name="T13" fmla="*/ 7 h 19"/>
                    <a:gd name="T14" fmla="*/ 17 w 17"/>
                    <a:gd name="T15" fmla="*/ 9 h 19"/>
                    <a:gd name="T16" fmla="*/ 16 w 17"/>
                    <a:gd name="T17" fmla="*/ 11 h 19"/>
                    <a:gd name="T18" fmla="*/ 3 w 17"/>
                    <a:gd name="T19" fmla="*/ 19 h 19"/>
                    <a:gd name="T20" fmla="*/ 2 w 17"/>
                    <a:gd name="T21" fmla="*/ 19 h 19"/>
                    <a:gd name="T22" fmla="*/ 4 w 17"/>
                    <a:gd name="T23" fmla="*/ 5 h 19"/>
                    <a:gd name="T24" fmla="*/ 4 w 17"/>
                    <a:gd name="T25" fmla="*/ 13 h 19"/>
                    <a:gd name="T26" fmla="*/ 11 w 17"/>
                    <a:gd name="T27" fmla="*/ 9 h 19"/>
                    <a:gd name="T28" fmla="*/ 4 w 17"/>
                    <a:gd name="T29" fmla="*/ 5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9">
                      <a:moveTo>
                        <a:pt x="2" y="19"/>
                      </a:moveTo>
                      <a:cubicBezTo>
                        <a:pt x="2" y="19"/>
                        <a:pt x="1" y="19"/>
                        <a:pt x="1" y="19"/>
                      </a:cubicBezTo>
                      <a:cubicBezTo>
                        <a:pt x="1" y="18"/>
                        <a:pt x="0" y="18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17" y="8"/>
                        <a:pt x="17" y="9"/>
                        <a:pt x="17" y="9"/>
                      </a:cubicBezTo>
                      <a:cubicBezTo>
                        <a:pt x="17" y="10"/>
                        <a:pt x="17" y="11"/>
                        <a:pt x="16" y="1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9"/>
                        <a:pt x="3" y="19"/>
                        <a:pt x="2" y="19"/>
                      </a:cubicBezTo>
                      <a:close/>
                      <a:moveTo>
                        <a:pt x="4" y="5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11" y="9"/>
                        <a:pt x="11" y="9"/>
                        <a:pt x="11" y="9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7" name="Freeform 669">
                  <a:extLst>
                    <a:ext uri="{FF2B5EF4-FFF2-40B4-BE49-F238E27FC236}">
                      <a16:creationId xmlns:a16="http://schemas.microsoft.com/office/drawing/2014/main" id="{99ADCCEA-5FA9-4CC9-95BE-86A3D6D1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0" y="1906"/>
                  <a:ext cx="12" cy="15"/>
                </a:xfrm>
                <a:custGeom>
                  <a:avLst/>
                  <a:gdLst>
                    <a:gd name="T0" fmla="*/ 2 w 5"/>
                    <a:gd name="T1" fmla="*/ 6 h 6"/>
                    <a:gd name="T2" fmla="*/ 1 w 5"/>
                    <a:gd name="T3" fmla="*/ 6 h 6"/>
                    <a:gd name="T4" fmla="*/ 1 w 5"/>
                    <a:gd name="T5" fmla="*/ 6 h 6"/>
                    <a:gd name="T6" fmla="*/ 0 w 5"/>
                    <a:gd name="T7" fmla="*/ 4 h 6"/>
                    <a:gd name="T8" fmla="*/ 0 w 5"/>
                    <a:gd name="T9" fmla="*/ 3 h 6"/>
                    <a:gd name="T10" fmla="*/ 1 w 5"/>
                    <a:gd name="T11" fmla="*/ 1 h 6"/>
                    <a:gd name="T12" fmla="*/ 3 w 5"/>
                    <a:gd name="T13" fmla="*/ 1 h 6"/>
                    <a:gd name="T14" fmla="*/ 4 w 5"/>
                    <a:gd name="T15" fmla="*/ 2 h 6"/>
                    <a:gd name="T16" fmla="*/ 5 w 5"/>
                    <a:gd name="T17" fmla="*/ 4 h 6"/>
                    <a:gd name="T18" fmla="*/ 4 w 5"/>
                    <a:gd name="T19" fmla="*/ 5 h 6"/>
                    <a:gd name="T20" fmla="*/ 3 w 5"/>
                    <a:gd name="T21" fmla="*/ 6 h 6"/>
                    <a:gd name="T22" fmla="*/ 2 w 5"/>
                    <a:gd name="T2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6">
                      <a:moveTo>
                        <a:pt x="2" y="6"/>
                      </a:moveTo>
                      <a:cubicBezTo>
                        <a:pt x="2" y="6"/>
                        <a:pt x="1" y="6"/>
                        <a:pt x="1" y="6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6"/>
                        <a:pt x="0" y="5"/>
                        <a:pt x="0" y="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4"/>
                      </a:cubicBezTo>
                      <a:cubicBezTo>
                        <a:pt x="5" y="4"/>
                        <a:pt x="5" y="5"/>
                        <a:pt x="4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2" y="6"/>
                        <a:pt x="2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8" name="Freeform 670">
                  <a:extLst>
                    <a:ext uri="{FF2B5EF4-FFF2-40B4-BE49-F238E27FC236}">
                      <a16:creationId xmlns:a16="http://schemas.microsoft.com/office/drawing/2014/main" id="{513AF9F4-22EA-467E-B070-8B3F3C0E02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1987"/>
                  <a:ext cx="82" cy="170"/>
                </a:xfrm>
                <a:custGeom>
                  <a:avLst/>
                  <a:gdLst>
                    <a:gd name="T0" fmla="*/ 2 w 35"/>
                    <a:gd name="T1" fmla="*/ 72 h 72"/>
                    <a:gd name="T2" fmla="*/ 1 w 35"/>
                    <a:gd name="T3" fmla="*/ 71 h 72"/>
                    <a:gd name="T4" fmla="*/ 0 w 35"/>
                    <a:gd name="T5" fmla="*/ 70 h 72"/>
                    <a:gd name="T6" fmla="*/ 0 w 35"/>
                    <a:gd name="T7" fmla="*/ 19 h 72"/>
                    <a:gd name="T8" fmla="*/ 1 w 35"/>
                    <a:gd name="T9" fmla="*/ 18 h 72"/>
                    <a:gd name="T10" fmla="*/ 32 w 35"/>
                    <a:gd name="T11" fmla="*/ 0 h 72"/>
                    <a:gd name="T12" fmla="*/ 34 w 35"/>
                    <a:gd name="T13" fmla="*/ 0 h 72"/>
                    <a:gd name="T14" fmla="*/ 35 w 35"/>
                    <a:gd name="T15" fmla="*/ 2 h 72"/>
                    <a:gd name="T16" fmla="*/ 35 w 35"/>
                    <a:gd name="T17" fmla="*/ 52 h 72"/>
                    <a:gd name="T18" fmla="*/ 34 w 35"/>
                    <a:gd name="T19" fmla="*/ 54 h 72"/>
                    <a:gd name="T20" fmla="*/ 3 w 35"/>
                    <a:gd name="T21" fmla="*/ 71 h 72"/>
                    <a:gd name="T22" fmla="*/ 2 w 35"/>
                    <a:gd name="T23" fmla="*/ 72 h 72"/>
                    <a:gd name="T24" fmla="*/ 4 w 35"/>
                    <a:gd name="T25" fmla="*/ 21 h 72"/>
                    <a:gd name="T26" fmla="*/ 4 w 35"/>
                    <a:gd name="T27" fmla="*/ 66 h 72"/>
                    <a:gd name="T28" fmla="*/ 31 w 35"/>
                    <a:gd name="T29" fmla="*/ 51 h 72"/>
                    <a:gd name="T30" fmla="*/ 31 w 35"/>
                    <a:gd name="T31" fmla="*/ 5 h 72"/>
                    <a:gd name="T32" fmla="*/ 4 w 35"/>
                    <a:gd name="T33" fmla="*/ 2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72">
                      <a:moveTo>
                        <a:pt x="2" y="72"/>
                      </a:moveTo>
                      <a:cubicBezTo>
                        <a:pt x="1" y="72"/>
                        <a:pt x="1" y="72"/>
                        <a:pt x="1" y="71"/>
                      </a:cubicBezTo>
                      <a:cubicBezTo>
                        <a:pt x="0" y="71"/>
                        <a:pt x="0" y="70"/>
                        <a:pt x="0" y="70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9"/>
                        <a:pt x="0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34" y="0"/>
                        <a:pt x="35" y="1"/>
                        <a:pt x="35" y="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5" y="53"/>
                        <a:pt x="34" y="53"/>
                        <a:pt x="34" y="54"/>
                      </a:cubicBezTo>
                      <a:cubicBezTo>
                        <a:pt x="3" y="71"/>
                        <a:pt x="3" y="71"/>
                        <a:pt x="3" y="71"/>
                      </a:cubicBezTo>
                      <a:cubicBezTo>
                        <a:pt x="3" y="72"/>
                        <a:pt x="2" y="72"/>
                        <a:pt x="2" y="72"/>
                      </a:cubicBezTo>
                      <a:close/>
                      <a:moveTo>
                        <a:pt x="4" y="21"/>
                      </a:moveTo>
                      <a:cubicBezTo>
                        <a:pt x="4" y="66"/>
                        <a:pt x="4" y="66"/>
                        <a:pt x="4" y="66"/>
                      </a:cubicBezTo>
                      <a:cubicBezTo>
                        <a:pt x="31" y="51"/>
                        <a:pt x="31" y="51"/>
                        <a:pt x="31" y="51"/>
                      </a:cubicBezTo>
                      <a:cubicBezTo>
                        <a:pt x="31" y="5"/>
                        <a:pt x="31" y="5"/>
                        <a:pt x="31" y="5"/>
                      </a:cubicBezTo>
                      <a:lnTo>
                        <a:pt x="4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9" name="Freeform 671">
                  <a:extLst>
                    <a:ext uri="{FF2B5EF4-FFF2-40B4-BE49-F238E27FC236}">
                      <a16:creationId xmlns:a16="http://schemas.microsoft.com/office/drawing/2014/main" id="{1AE2BF6E-99E8-4820-BD0A-540722771B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1751"/>
                  <a:ext cx="60" cy="151"/>
                </a:xfrm>
                <a:custGeom>
                  <a:avLst/>
                  <a:gdLst>
                    <a:gd name="T0" fmla="*/ 2 w 25"/>
                    <a:gd name="T1" fmla="*/ 64 h 64"/>
                    <a:gd name="T2" fmla="*/ 1 w 25"/>
                    <a:gd name="T3" fmla="*/ 64 h 64"/>
                    <a:gd name="T4" fmla="*/ 0 w 25"/>
                    <a:gd name="T5" fmla="*/ 62 h 64"/>
                    <a:gd name="T6" fmla="*/ 0 w 25"/>
                    <a:gd name="T7" fmla="*/ 2 h 64"/>
                    <a:gd name="T8" fmla="*/ 1 w 25"/>
                    <a:gd name="T9" fmla="*/ 0 h 64"/>
                    <a:gd name="T10" fmla="*/ 3 w 25"/>
                    <a:gd name="T11" fmla="*/ 0 h 64"/>
                    <a:gd name="T12" fmla="*/ 24 w 25"/>
                    <a:gd name="T13" fmla="*/ 13 h 64"/>
                    <a:gd name="T14" fmla="*/ 25 w 25"/>
                    <a:gd name="T15" fmla="*/ 14 h 64"/>
                    <a:gd name="T16" fmla="*/ 25 w 25"/>
                    <a:gd name="T17" fmla="*/ 50 h 64"/>
                    <a:gd name="T18" fmla="*/ 24 w 25"/>
                    <a:gd name="T19" fmla="*/ 52 h 64"/>
                    <a:gd name="T20" fmla="*/ 3 w 25"/>
                    <a:gd name="T21" fmla="*/ 64 h 64"/>
                    <a:gd name="T22" fmla="*/ 2 w 25"/>
                    <a:gd name="T23" fmla="*/ 64 h 64"/>
                    <a:gd name="T24" fmla="*/ 4 w 25"/>
                    <a:gd name="T25" fmla="*/ 6 h 64"/>
                    <a:gd name="T26" fmla="*/ 4 w 25"/>
                    <a:gd name="T27" fmla="*/ 59 h 64"/>
                    <a:gd name="T28" fmla="*/ 21 w 25"/>
                    <a:gd name="T29" fmla="*/ 49 h 64"/>
                    <a:gd name="T30" fmla="*/ 21 w 25"/>
                    <a:gd name="T31" fmla="*/ 16 h 64"/>
                    <a:gd name="T32" fmla="*/ 4 w 25"/>
                    <a:gd name="T33" fmla="*/ 6 h 64"/>
                    <a:gd name="T34" fmla="*/ 23 w 25"/>
                    <a:gd name="T35" fmla="*/ 50 h 64"/>
                    <a:gd name="T36" fmla="*/ 23 w 25"/>
                    <a:gd name="T37" fmla="*/ 5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64">
                      <a:moveTo>
                        <a:pt x="2" y="64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0" y="64"/>
                        <a:pt x="0" y="63"/>
                        <a:pt x="0" y="6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3"/>
                        <a:pt x="25" y="14"/>
                        <a:pt x="25" y="14"/>
                      </a:cubicBezTo>
                      <a:cubicBezTo>
                        <a:pt x="25" y="50"/>
                        <a:pt x="25" y="50"/>
                        <a:pt x="25" y="50"/>
                      </a:cubicBezTo>
                      <a:cubicBezTo>
                        <a:pt x="25" y="51"/>
                        <a:pt x="24" y="52"/>
                        <a:pt x="24" y="52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2" y="64"/>
                        <a:pt x="2" y="64"/>
                        <a:pt x="2" y="64"/>
                      </a:cubicBezTo>
                      <a:close/>
                      <a:moveTo>
                        <a:pt x="4" y="6"/>
                      </a:move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16"/>
                        <a:pt x="21" y="16"/>
                        <a:pt x="21" y="16"/>
                      </a:cubicBezTo>
                      <a:lnTo>
                        <a:pt x="4" y="6"/>
                      </a:lnTo>
                      <a:close/>
                      <a:moveTo>
                        <a:pt x="23" y="50"/>
                      </a:moveTo>
                      <a:cubicBezTo>
                        <a:pt x="23" y="50"/>
                        <a:pt x="23" y="50"/>
                        <a:pt x="23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0" name="Freeform 672">
                  <a:extLst>
                    <a:ext uri="{FF2B5EF4-FFF2-40B4-BE49-F238E27FC236}">
                      <a16:creationId xmlns:a16="http://schemas.microsoft.com/office/drawing/2014/main" id="{C2F3F831-E38A-489B-879D-0235DB6222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1869"/>
                  <a:ext cx="60" cy="49"/>
                </a:xfrm>
                <a:custGeom>
                  <a:avLst/>
                  <a:gdLst>
                    <a:gd name="T0" fmla="*/ 5 w 25"/>
                    <a:gd name="T1" fmla="*/ 21 h 21"/>
                    <a:gd name="T2" fmla="*/ 4 w 25"/>
                    <a:gd name="T3" fmla="*/ 20 h 21"/>
                    <a:gd name="T4" fmla="*/ 1 w 25"/>
                    <a:gd name="T5" fmla="*/ 18 h 21"/>
                    <a:gd name="T6" fmla="*/ 0 w 25"/>
                    <a:gd name="T7" fmla="*/ 17 h 21"/>
                    <a:gd name="T8" fmla="*/ 0 w 25"/>
                    <a:gd name="T9" fmla="*/ 14 h 21"/>
                    <a:gd name="T10" fmla="*/ 1 w 25"/>
                    <a:gd name="T11" fmla="*/ 13 h 21"/>
                    <a:gd name="T12" fmla="*/ 22 w 25"/>
                    <a:gd name="T13" fmla="*/ 0 h 21"/>
                    <a:gd name="T14" fmla="*/ 24 w 25"/>
                    <a:gd name="T15" fmla="*/ 0 h 21"/>
                    <a:gd name="T16" fmla="*/ 25 w 25"/>
                    <a:gd name="T17" fmla="*/ 2 h 21"/>
                    <a:gd name="T18" fmla="*/ 25 w 25"/>
                    <a:gd name="T19" fmla="*/ 8 h 21"/>
                    <a:gd name="T20" fmla="*/ 24 w 25"/>
                    <a:gd name="T21" fmla="*/ 10 h 21"/>
                    <a:gd name="T22" fmla="*/ 6 w 25"/>
                    <a:gd name="T23" fmla="*/ 20 h 21"/>
                    <a:gd name="T24" fmla="*/ 5 w 25"/>
                    <a:gd name="T25" fmla="*/ 21 h 21"/>
                    <a:gd name="T26" fmla="*/ 4 w 25"/>
                    <a:gd name="T27" fmla="*/ 16 h 21"/>
                    <a:gd name="T28" fmla="*/ 5 w 25"/>
                    <a:gd name="T29" fmla="*/ 16 h 21"/>
                    <a:gd name="T30" fmla="*/ 21 w 25"/>
                    <a:gd name="T31" fmla="*/ 7 h 21"/>
                    <a:gd name="T32" fmla="*/ 21 w 25"/>
                    <a:gd name="T33" fmla="*/ 6 h 21"/>
                    <a:gd name="T34" fmla="*/ 4 w 25"/>
                    <a:gd name="T35" fmla="*/ 16 h 21"/>
                    <a:gd name="T36" fmla="*/ 23 w 25"/>
                    <a:gd name="T37" fmla="*/ 8 h 21"/>
                    <a:gd name="T38" fmla="*/ 23 w 25"/>
                    <a:gd name="T39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5" h="21">
                      <a:moveTo>
                        <a:pt x="5" y="21"/>
                      </a:moveTo>
                      <a:cubicBezTo>
                        <a:pt x="5" y="21"/>
                        <a:pt x="4" y="21"/>
                        <a:pt x="4" y="20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7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4"/>
                        <a:pt x="0" y="13"/>
                        <a:pt x="1" y="13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2" y="0"/>
                        <a:pt x="23" y="0"/>
                        <a:pt x="24" y="0"/>
                      </a:cubicBezTo>
                      <a:cubicBezTo>
                        <a:pt x="24" y="1"/>
                        <a:pt x="25" y="1"/>
                        <a:pt x="25" y="2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9"/>
                        <a:pt x="24" y="10"/>
                        <a:pt x="24" y="1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21"/>
                        <a:pt x="5" y="21"/>
                        <a:pt x="5" y="21"/>
                      </a:cubicBezTo>
                      <a:close/>
                      <a:moveTo>
                        <a:pt x="4" y="16"/>
                      </a:move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21" y="7"/>
                        <a:pt x="21" y="7"/>
                        <a:pt x="21" y="7"/>
                      </a:cubicBezTo>
                      <a:cubicBezTo>
                        <a:pt x="21" y="6"/>
                        <a:pt x="21" y="6"/>
                        <a:pt x="21" y="6"/>
                      </a:cubicBezTo>
                      <a:lnTo>
                        <a:pt x="4" y="16"/>
                      </a:lnTo>
                      <a:close/>
                      <a:moveTo>
                        <a:pt x="23" y="8"/>
                      </a:moveTo>
                      <a:cubicBezTo>
                        <a:pt x="23" y="8"/>
                        <a:pt x="23" y="8"/>
                        <a:pt x="2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1" name="Freeform 673">
                  <a:extLst>
                    <a:ext uri="{FF2B5EF4-FFF2-40B4-BE49-F238E27FC236}">
                      <a16:creationId xmlns:a16="http://schemas.microsoft.com/office/drawing/2014/main" id="{7A93E9A5-6AB0-4DBB-803F-A2B9C67D5D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1684"/>
                  <a:ext cx="153" cy="234"/>
                </a:xfrm>
                <a:custGeom>
                  <a:avLst/>
                  <a:gdLst>
                    <a:gd name="T0" fmla="*/ 2 w 65"/>
                    <a:gd name="T1" fmla="*/ 99 h 99"/>
                    <a:gd name="T2" fmla="*/ 1 w 65"/>
                    <a:gd name="T3" fmla="*/ 99 h 99"/>
                    <a:gd name="T4" fmla="*/ 0 w 65"/>
                    <a:gd name="T5" fmla="*/ 97 h 99"/>
                    <a:gd name="T6" fmla="*/ 0 w 65"/>
                    <a:gd name="T7" fmla="*/ 37 h 99"/>
                    <a:gd name="T8" fmla="*/ 1 w 65"/>
                    <a:gd name="T9" fmla="*/ 35 h 99"/>
                    <a:gd name="T10" fmla="*/ 62 w 65"/>
                    <a:gd name="T11" fmla="*/ 0 h 99"/>
                    <a:gd name="T12" fmla="*/ 64 w 65"/>
                    <a:gd name="T13" fmla="*/ 0 h 99"/>
                    <a:gd name="T14" fmla="*/ 65 w 65"/>
                    <a:gd name="T15" fmla="*/ 2 h 99"/>
                    <a:gd name="T16" fmla="*/ 65 w 65"/>
                    <a:gd name="T17" fmla="*/ 57 h 99"/>
                    <a:gd name="T18" fmla="*/ 64 w 65"/>
                    <a:gd name="T19" fmla="*/ 58 h 99"/>
                    <a:gd name="T20" fmla="*/ 63 w 65"/>
                    <a:gd name="T21" fmla="*/ 59 h 99"/>
                    <a:gd name="T22" fmla="*/ 64 w 65"/>
                    <a:gd name="T23" fmla="*/ 60 h 99"/>
                    <a:gd name="T24" fmla="*/ 65 w 65"/>
                    <a:gd name="T25" fmla="*/ 61 h 99"/>
                    <a:gd name="T26" fmla="*/ 65 w 65"/>
                    <a:gd name="T27" fmla="*/ 62 h 99"/>
                    <a:gd name="T28" fmla="*/ 64 w 65"/>
                    <a:gd name="T29" fmla="*/ 64 h 99"/>
                    <a:gd name="T30" fmla="*/ 15 w 65"/>
                    <a:gd name="T31" fmla="*/ 92 h 99"/>
                    <a:gd name="T32" fmla="*/ 14 w 65"/>
                    <a:gd name="T33" fmla="*/ 93 h 99"/>
                    <a:gd name="T34" fmla="*/ 3 w 65"/>
                    <a:gd name="T35" fmla="*/ 99 h 99"/>
                    <a:gd name="T36" fmla="*/ 2 w 65"/>
                    <a:gd name="T37" fmla="*/ 99 h 99"/>
                    <a:gd name="T38" fmla="*/ 4 w 65"/>
                    <a:gd name="T39" fmla="*/ 38 h 99"/>
                    <a:gd name="T40" fmla="*/ 4 w 65"/>
                    <a:gd name="T41" fmla="*/ 94 h 99"/>
                    <a:gd name="T42" fmla="*/ 13 w 65"/>
                    <a:gd name="T43" fmla="*/ 89 h 99"/>
                    <a:gd name="T44" fmla="*/ 14 w 65"/>
                    <a:gd name="T45" fmla="*/ 88 h 99"/>
                    <a:gd name="T46" fmla="*/ 60 w 65"/>
                    <a:gd name="T47" fmla="*/ 62 h 99"/>
                    <a:gd name="T48" fmla="*/ 58 w 65"/>
                    <a:gd name="T49" fmla="*/ 61 h 99"/>
                    <a:gd name="T50" fmla="*/ 57 w 65"/>
                    <a:gd name="T51" fmla="*/ 59 h 99"/>
                    <a:gd name="T52" fmla="*/ 58 w 65"/>
                    <a:gd name="T53" fmla="*/ 57 h 99"/>
                    <a:gd name="T54" fmla="*/ 61 w 65"/>
                    <a:gd name="T55" fmla="*/ 56 h 99"/>
                    <a:gd name="T56" fmla="*/ 61 w 65"/>
                    <a:gd name="T57" fmla="*/ 5 h 99"/>
                    <a:gd name="T58" fmla="*/ 4 w 65"/>
                    <a:gd name="T59" fmla="*/ 38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5" h="99">
                      <a:moveTo>
                        <a:pt x="2" y="99"/>
                      </a:moveTo>
                      <a:cubicBezTo>
                        <a:pt x="2" y="99"/>
                        <a:pt x="1" y="99"/>
                        <a:pt x="1" y="99"/>
                      </a:cubicBezTo>
                      <a:cubicBezTo>
                        <a:pt x="1" y="99"/>
                        <a:pt x="0" y="98"/>
                        <a:pt x="0" y="97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36"/>
                        <a:pt x="1" y="35"/>
                        <a:pt x="1" y="35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4" y="0"/>
                      </a:cubicBezTo>
                      <a:cubicBezTo>
                        <a:pt x="65" y="0"/>
                        <a:pt x="65" y="1"/>
                        <a:pt x="65" y="2"/>
                      </a:cubicBezTo>
                      <a:cubicBezTo>
                        <a:pt x="65" y="57"/>
                        <a:pt x="65" y="57"/>
                        <a:pt x="65" y="57"/>
                      </a:cubicBezTo>
                      <a:cubicBezTo>
                        <a:pt x="65" y="57"/>
                        <a:pt x="65" y="58"/>
                        <a:pt x="64" y="58"/>
                      </a:cubicBezTo>
                      <a:cubicBezTo>
                        <a:pt x="63" y="59"/>
                        <a:pt x="63" y="59"/>
                        <a:pt x="63" y="59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5" y="60"/>
                        <a:pt x="65" y="61"/>
                        <a:pt x="65" y="61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5" y="63"/>
                        <a:pt x="65" y="64"/>
                        <a:pt x="64" y="64"/>
                      </a:cubicBezTo>
                      <a:cubicBezTo>
                        <a:pt x="15" y="92"/>
                        <a:pt x="15" y="92"/>
                        <a:pt x="15" y="92"/>
                      </a:cubicBezTo>
                      <a:cubicBezTo>
                        <a:pt x="15" y="93"/>
                        <a:pt x="14" y="93"/>
                        <a:pt x="14" y="93"/>
                      </a:cubicBezTo>
                      <a:cubicBezTo>
                        <a:pt x="3" y="99"/>
                        <a:pt x="3" y="99"/>
                        <a:pt x="3" y="99"/>
                      </a:cubicBezTo>
                      <a:cubicBezTo>
                        <a:pt x="3" y="99"/>
                        <a:pt x="3" y="99"/>
                        <a:pt x="2" y="99"/>
                      </a:cubicBezTo>
                      <a:close/>
                      <a:moveTo>
                        <a:pt x="4" y="38"/>
                      </a:moveTo>
                      <a:cubicBezTo>
                        <a:pt x="4" y="94"/>
                        <a:pt x="4" y="94"/>
                        <a:pt x="4" y="94"/>
                      </a:cubicBezTo>
                      <a:cubicBezTo>
                        <a:pt x="13" y="89"/>
                        <a:pt x="13" y="89"/>
                        <a:pt x="13" y="89"/>
                      </a:cubicBezTo>
                      <a:cubicBezTo>
                        <a:pt x="13" y="89"/>
                        <a:pt x="13" y="89"/>
                        <a:pt x="14" y="88"/>
                      </a:cubicBezTo>
                      <a:cubicBezTo>
                        <a:pt x="60" y="62"/>
                        <a:pt x="60" y="62"/>
                        <a:pt x="60" y="62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57" y="60"/>
                        <a:pt x="57" y="60"/>
                        <a:pt x="57" y="59"/>
                      </a:cubicBezTo>
                      <a:cubicBezTo>
                        <a:pt x="57" y="58"/>
                        <a:pt x="57" y="58"/>
                        <a:pt x="58" y="57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"/>
                        <a:pt x="61" y="5"/>
                        <a:pt x="61" y="5"/>
                      </a:cubicBezTo>
                      <a:lnTo>
                        <a:pt x="4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2" name="Freeform 674">
                  <a:extLst>
                    <a:ext uri="{FF2B5EF4-FFF2-40B4-BE49-F238E27FC236}">
                      <a16:creationId xmlns:a16="http://schemas.microsoft.com/office/drawing/2014/main" id="{1C8CCDC6-452F-455B-A1A1-16AC807CD0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0" y="1746"/>
                  <a:ext cx="60" cy="38"/>
                </a:xfrm>
                <a:custGeom>
                  <a:avLst/>
                  <a:gdLst>
                    <a:gd name="T0" fmla="*/ 23 w 25"/>
                    <a:gd name="T1" fmla="*/ 16 h 16"/>
                    <a:gd name="T2" fmla="*/ 22 w 25"/>
                    <a:gd name="T3" fmla="*/ 16 h 16"/>
                    <a:gd name="T4" fmla="*/ 1 w 25"/>
                    <a:gd name="T5" fmla="*/ 4 h 16"/>
                    <a:gd name="T6" fmla="*/ 0 w 25"/>
                    <a:gd name="T7" fmla="*/ 2 h 16"/>
                    <a:gd name="T8" fmla="*/ 0 w 25"/>
                    <a:gd name="T9" fmla="*/ 2 h 16"/>
                    <a:gd name="T10" fmla="*/ 1 w 25"/>
                    <a:gd name="T11" fmla="*/ 0 h 16"/>
                    <a:gd name="T12" fmla="*/ 3 w 25"/>
                    <a:gd name="T13" fmla="*/ 0 h 16"/>
                    <a:gd name="T14" fmla="*/ 24 w 25"/>
                    <a:gd name="T15" fmla="*/ 12 h 16"/>
                    <a:gd name="T16" fmla="*/ 25 w 25"/>
                    <a:gd name="T17" fmla="*/ 14 h 16"/>
                    <a:gd name="T18" fmla="*/ 25 w 25"/>
                    <a:gd name="T19" fmla="*/ 14 h 16"/>
                    <a:gd name="T20" fmla="*/ 24 w 25"/>
                    <a:gd name="T21" fmla="*/ 16 h 16"/>
                    <a:gd name="T22" fmla="*/ 23 w 25"/>
                    <a:gd name="T23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" h="16">
                      <a:moveTo>
                        <a:pt x="23" y="16"/>
                      </a:move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24" y="13"/>
                        <a:pt x="25" y="13"/>
                        <a:pt x="25" y="14"/>
                      </a:cubicBezTo>
                      <a:cubicBezTo>
                        <a:pt x="25" y="14"/>
                        <a:pt x="25" y="14"/>
                        <a:pt x="25" y="14"/>
                      </a:cubicBezTo>
                      <a:cubicBezTo>
                        <a:pt x="25" y="15"/>
                        <a:pt x="24" y="16"/>
                        <a:pt x="24" y="16"/>
                      </a:cubicBezTo>
                      <a:cubicBezTo>
                        <a:pt x="24" y="16"/>
                        <a:pt x="23" y="16"/>
                        <a:pt x="23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3" name="Freeform 675">
                  <a:extLst>
                    <a:ext uri="{FF2B5EF4-FFF2-40B4-BE49-F238E27FC236}">
                      <a16:creationId xmlns:a16="http://schemas.microsoft.com/office/drawing/2014/main" id="{762DE0B0-AFA7-42C9-97CC-AB802CB6F25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927" y="1777"/>
                  <a:ext cx="78" cy="82"/>
                </a:xfrm>
                <a:custGeom>
                  <a:avLst/>
                  <a:gdLst>
                    <a:gd name="T0" fmla="*/ 31 w 33"/>
                    <a:gd name="T1" fmla="*/ 35 h 35"/>
                    <a:gd name="T2" fmla="*/ 30 w 33"/>
                    <a:gd name="T3" fmla="*/ 35 h 35"/>
                    <a:gd name="T4" fmla="*/ 7 w 33"/>
                    <a:gd name="T5" fmla="*/ 21 h 35"/>
                    <a:gd name="T6" fmla="*/ 3 w 33"/>
                    <a:gd name="T7" fmla="*/ 24 h 35"/>
                    <a:gd name="T8" fmla="*/ 1 w 33"/>
                    <a:gd name="T9" fmla="*/ 24 h 35"/>
                    <a:gd name="T10" fmla="*/ 1 w 33"/>
                    <a:gd name="T11" fmla="*/ 23 h 35"/>
                    <a:gd name="T12" fmla="*/ 0 w 33"/>
                    <a:gd name="T13" fmla="*/ 21 h 35"/>
                    <a:gd name="T14" fmla="*/ 0 w 33"/>
                    <a:gd name="T15" fmla="*/ 19 h 35"/>
                    <a:gd name="T16" fmla="*/ 1 w 33"/>
                    <a:gd name="T17" fmla="*/ 17 h 35"/>
                    <a:gd name="T18" fmla="*/ 30 w 33"/>
                    <a:gd name="T19" fmla="*/ 0 h 35"/>
                    <a:gd name="T20" fmla="*/ 32 w 33"/>
                    <a:gd name="T21" fmla="*/ 0 h 35"/>
                    <a:gd name="T22" fmla="*/ 33 w 33"/>
                    <a:gd name="T23" fmla="*/ 2 h 35"/>
                    <a:gd name="T24" fmla="*/ 33 w 33"/>
                    <a:gd name="T25" fmla="*/ 33 h 35"/>
                    <a:gd name="T26" fmla="*/ 32 w 33"/>
                    <a:gd name="T27" fmla="*/ 35 h 35"/>
                    <a:gd name="T28" fmla="*/ 31 w 33"/>
                    <a:gd name="T29" fmla="*/ 35 h 35"/>
                    <a:gd name="T30" fmla="*/ 8 w 33"/>
                    <a:gd name="T31" fmla="*/ 17 h 35"/>
                    <a:gd name="T32" fmla="*/ 8 w 33"/>
                    <a:gd name="T33" fmla="*/ 17 h 35"/>
                    <a:gd name="T34" fmla="*/ 29 w 33"/>
                    <a:gd name="T35" fmla="*/ 29 h 35"/>
                    <a:gd name="T36" fmla="*/ 29 w 33"/>
                    <a:gd name="T37" fmla="*/ 5 h 35"/>
                    <a:gd name="T38" fmla="*/ 8 w 33"/>
                    <a:gd name="T39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3" h="35">
                      <a:moveTo>
                        <a:pt x="31" y="35"/>
                      </a:moveTo>
                      <a:cubicBezTo>
                        <a:pt x="31" y="35"/>
                        <a:pt x="31" y="35"/>
                        <a:pt x="30" y="35"/>
                      </a:cubicBez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3" y="24"/>
                        <a:pt x="2" y="24"/>
                        <a:pt x="1" y="24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8"/>
                        <a:pt x="0" y="17"/>
                        <a:pt x="1" y="17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1" y="0"/>
                        <a:pt x="32" y="0"/>
                        <a:pt x="32" y="0"/>
                      </a:cubicBezTo>
                      <a:cubicBezTo>
                        <a:pt x="33" y="0"/>
                        <a:pt x="33" y="1"/>
                        <a:pt x="33" y="2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3" y="34"/>
                        <a:pt x="33" y="34"/>
                        <a:pt x="32" y="35"/>
                      </a:cubicBezTo>
                      <a:cubicBezTo>
                        <a:pt x="32" y="35"/>
                        <a:pt x="32" y="35"/>
                        <a:pt x="31" y="35"/>
                      </a:cubicBezTo>
                      <a:close/>
                      <a:moveTo>
                        <a:pt x="8" y="17"/>
                      </a:move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29" y="29"/>
                        <a:pt x="29" y="29"/>
                        <a:pt x="29" y="29"/>
                      </a:cubicBezTo>
                      <a:cubicBezTo>
                        <a:pt x="29" y="5"/>
                        <a:pt x="29" y="5"/>
                        <a:pt x="29" y="5"/>
                      </a:cubicBez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4" name="Freeform 676">
                  <a:extLst>
                    <a:ext uri="{FF2B5EF4-FFF2-40B4-BE49-F238E27FC236}">
                      <a16:creationId xmlns:a16="http://schemas.microsoft.com/office/drawing/2014/main" id="{AC358D43-B40C-467E-93B5-ED55CFC891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5" y="1888"/>
                  <a:ext cx="55" cy="61"/>
                </a:xfrm>
                <a:custGeom>
                  <a:avLst/>
                  <a:gdLst>
                    <a:gd name="T0" fmla="*/ 21 w 23"/>
                    <a:gd name="T1" fmla="*/ 26 h 26"/>
                    <a:gd name="T2" fmla="*/ 20 w 23"/>
                    <a:gd name="T3" fmla="*/ 26 h 26"/>
                    <a:gd name="T4" fmla="*/ 1 w 23"/>
                    <a:gd name="T5" fmla="*/ 15 h 26"/>
                    <a:gd name="T6" fmla="*/ 0 w 23"/>
                    <a:gd name="T7" fmla="*/ 13 h 26"/>
                    <a:gd name="T8" fmla="*/ 1 w 23"/>
                    <a:gd name="T9" fmla="*/ 12 h 26"/>
                    <a:gd name="T10" fmla="*/ 20 w 23"/>
                    <a:gd name="T11" fmla="*/ 1 h 26"/>
                    <a:gd name="T12" fmla="*/ 22 w 23"/>
                    <a:gd name="T13" fmla="*/ 1 h 26"/>
                    <a:gd name="T14" fmla="*/ 23 w 23"/>
                    <a:gd name="T15" fmla="*/ 2 h 26"/>
                    <a:gd name="T16" fmla="*/ 23 w 23"/>
                    <a:gd name="T17" fmla="*/ 24 h 26"/>
                    <a:gd name="T18" fmla="*/ 22 w 23"/>
                    <a:gd name="T19" fmla="*/ 26 h 26"/>
                    <a:gd name="T20" fmla="*/ 21 w 23"/>
                    <a:gd name="T21" fmla="*/ 26 h 26"/>
                    <a:gd name="T22" fmla="*/ 6 w 23"/>
                    <a:gd name="T23" fmla="*/ 13 h 26"/>
                    <a:gd name="T24" fmla="*/ 19 w 23"/>
                    <a:gd name="T25" fmla="*/ 21 h 26"/>
                    <a:gd name="T26" fmla="*/ 19 w 23"/>
                    <a:gd name="T27" fmla="*/ 6 h 26"/>
                    <a:gd name="T28" fmla="*/ 6 w 23"/>
                    <a:gd name="T29" fmla="*/ 1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" h="26">
                      <a:moveTo>
                        <a:pt x="21" y="26"/>
                      </a:move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0" y="15"/>
                        <a:pt x="0" y="14"/>
                        <a:pt x="0" y="13"/>
                      </a:cubicBezTo>
                      <a:cubicBezTo>
                        <a:pt x="0" y="13"/>
                        <a:pt x="0" y="12"/>
                        <a:pt x="1" y="12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0"/>
                        <a:pt x="21" y="0"/>
                        <a:pt x="22" y="1"/>
                      </a:cubicBezTo>
                      <a:cubicBezTo>
                        <a:pt x="22" y="1"/>
                        <a:pt x="23" y="2"/>
                        <a:pt x="23" y="2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5"/>
                        <a:pt x="22" y="26"/>
                        <a:pt x="22" y="26"/>
                      </a:cubicBezTo>
                      <a:cubicBezTo>
                        <a:pt x="22" y="26"/>
                        <a:pt x="21" y="26"/>
                        <a:pt x="21" y="26"/>
                      </a:cubicBezTo>
                      <a:close/>
                      <a:moveTo>
                        <a:pt x="6" y="13"/>
                      </a:move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5" name="Freeform 677">
                  <a:extLst>
                    <a:ext uri="{FF2B5EF4-FFF2-40B4-BE49-F238E27FC236}">
                      <a16:creationId xmlns:a16="http://schemas.microsoft.com/office/drawing/2014/main" id="{51752826-4FC0-4DEA-A8F0-8DA0F5D867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829"/>
                  <a:ext cx="288" cy="179"/>
                </a:xfrm>
                <a:custGeom>
                  <a:avLst/>
                  <a:gdLst>
                    <a:gd name="T0" fmla="*/ 58 w 122"/>
                    <a:gd name="T1" fmla="*/ 76 h 76"/>
                    <a:gd name="T2" fmla="*/ 57 w 122"/>
                    <a:gd name="T3" fmla="*/ 76 h 76"/>
                    <a:gd name="T4" fmla="*/ 1 w 122"/>
                    <a:gd name="T5" fmla="*/ 44 h 76"/>
                    <a:gd name="T6" fmla="*/ 0 w 122"/>
                    <a:gd name="T7" fmla="*/ 42 h 76"/>
                    <a:gd name="T8" fmla="*/ 1 w 122"/>
                    <a:gd name="T9" fmla="*/ 40 h 76"/>
                    <a:gd name="T10" fmla="*/ 51 w 122"/>
                    <a:gd name="T11" fmla="*/ 12 h 76"/>
                    <a:gd name="T12" fmla="*/ 51 w 122"/>
                    <a:gd name="T13" fmla="*/ 2 h 76"/>
                    <a:gd name="T14" fmla="*/ 52 w 122"/>
                    <a:gd name="T15" fmla="*/ 1 h 76"/>
                    <a:gd name="T16" fmla="*/ 52 w 122"/>
                    <a:gd name="T17" fmla="*/ 0 h 76"/>
                    <a:gd name="T18" fmla="*/ 54 w 122"/>
                    <a:gd name="T19" fmla="*/ 0 h 76"/>
                    <a:gd name="T20" fmla="*/ 113 w 122"/>
                    <a:gd name="T21" fmla="*/ 34 h 76"/>
                    <a:gd name="T22" fmla="*/ 114 w 122"/>
                    <a:gd name="T23" fmla="*/ 33 h 76"/>
                    <a:gd name="T24" fmla="*/ 116 w 122"/>
                    <a:gd name="T25" fmla="*/ 33 h 76"/>
                    <a:gd name="T26" fmla="*/ 121 w 122"/>
                    <a:gd name="T27" fmla="*/ 36 h 76"/>
                    <a:gd name="T28" fmla="*/ 122 w 122"/>
                    <a:gd name="T29" fmla="*/ 38 h 76"/>
                    <a:gd name="T30" fmla="*/ 122 w 122"/>
                    <a:gd name="T31" fmla="*/ 39 h 76"/>
                    <a:gd name="T32" fmla="*/ 121 w 122"/>
                    <a:gd name="T33" fmla="*/ 40 h 76"/>
                    <a:gd name="T34" fmla="*/ 59 w 122"/>
                    <a:gd name="T35" fmla="*/ 76 h 76"/>
                    <a:gd name="T36" fmla="*/ 58 w 122"/>
                    <a:gd name="T37" fmla="*/ 76 h 76"/>
                    <a:gd name="T38" fmla="*/ 6 w 122"/>
                    <a:gd name="T39" fmla="*/ 42 h 76"/>
                    <a:gd name="T40" fmla="*/ 58 w 122"/>
                    <a:gd name="T41" fmla="*/ 72 h 76"/>
                    <a:gd name="T42" fmla="*/ 116 w 122"/>
                    <a:gd name="T43" fmla="*/ 38 h 76"/>
                    <a:gd name="T44" fmla="*/ 115 w 122"/>
                    <a:gd name="T45" fmla="*/ 38 h 76"/>
                    <a:gd name="T46" fmla="*/ 114 w 122"/>
                    <a:gd name="T47" fmla="*/ 38 h 76"/>
                    <a:gd name="T48" fmla="*/ 112 w 122"/>
                    <a:gd name="T49" fmla="*/ 38 h 76"/>
                    <a:gd name="T50" fmla="*/ 55 w 122"/>
                    <a:gd name="T51" fmla="*/ 5 h 76"/>
                    <a:gd name="T52" fmla="*/ 55 w 122"/>
                    <a:gd name="T53" fmla="*/ 13 h 76"/>
                    <a:gd name="T54" fmla="*/ 54 w 122"/>
                    <a:gd name="T55" fmla="*/ 15 h 76"/>
                    <a:gd name="T56" fmla="*/ 6 w 122"/>
                    <a:gd name="T57" fmla="*/ 42 h 76"/>
                    <a:gd name="T58" fmla="*/ 53 w 122"/>
                    <a:gd name="T59" fmla="*/ 13 h 76"/>
                    <a:gd name="T60" fmla="*/ 53 w 122"/>
                    <a:gd name="T61" fmla="*/ 13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22" h="76">
                      <a:moveTo>
                        <a:pt x="58" y="76"/>
                      </a:moveTo>
                      <a:cubicBezTo>
                        <a:pt x="58" y="76"/>
                        <a:pt x="58" y="76"/>
                        <a:pt x="57" y="76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1" y="43"/>
                        <a:pt x="0" y="43"/>
                        <a:pt x="0" y="42"/>
                      </a:cubicBezTo>
                      <a:cubicBezTo>
                        <a:pt x="0" y="41"/>
                        <a:pt x="1" y="41"/>
                        <a:pt x="1" y="40"/>
                      </a:cubicBezTo>
                      <a:cubicBezTo>
                        <a:pt x="51" y="12"/>
                        <a:pt x="51" y="12"/>
                        <a:pt x="51" y="12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1" y="2"/>
                        <a:pt x="51" y="1"/>
                        <a:pt x="52" y="1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3" y="0"/>
                        <a:pt x="54" y="0"/>
                        <a:pt x="54" y="0"/>
                      </a:cubicBezTo>
                      <a:cubicBezTo>
                        <a:pt x="113" y="34"/>
                        <a:pt x="113" y="34"/>
                        <a:pt x="113" y="34"/>
                      </a:cubicBezTo>
                      <a:cubicBezTo>
                        <a:pt x="114" y="33"/>
                        <a:pt x="114" y="33"/>
                        <a:pt x="114" y="33"/>
                      </a:cubicBezTo>
                      <a:cubicBezTo>
                        <a:pt x="114" y="33"/>
                        <a:pt x="115" y="33"/>
                        <a:pt x="116" y="33"/>
                      </a:cubicBezTo>
                      <a:cubicBezTo>
                        <a:pt x="121" y="36"/>
                        <a:pt x="121" y="36"/>
                        <a:pt x="121" y="36"/>
                      </a:cubicBezTo>
                      <a:cubicBezTo>
                        <a:pt x="122" y="37"/>
                        <a:pt x="122" y="37"/>
                        <a:pt x="122" y="38"/>
                      </a:cubicBezTo>
                      <a:cubicBezTo>
                        <a:pt x="122" y="39"/>
                        <a:pt x="122" y="39"/>
                        <a:pt x="122" y="39"/>
                      </a:cubicBezTo>
                      <a:cubicBezTo>
                        <a:pt x="122" y="39"/>
                        <a:pt x="122" y="40"/>
                        <a:pt x="121" y="40"/>
                      </a:cubicBezTo>
                      <a:cubicBezTo>
                        <a:pt x="59" y="76"/>
                        <a:pt x="59" y="76"/>
                        <a:pt x="59" y="76"/>
                      </a:cubicBezTo>
                      <a:cubicBezTo>
                        <a:pt x="59" y="76"/>
                        <a:pt x="59" y="76"/>
                        <a:pt x="58" y="76"/>
                      </a:cubicBezTo>
                      <a:close/>
                      <a:moveTo>
                        <a:pt x="6" y="42"/>
                      </a:moveTo>
                      <a:cubicBezTo>
                        <a:pt x="58" y="72"/>
                        <a:pt x="58" y="72"/>
                        <a:pt x="58" y="72"/>
                      </a:cubicBezTo>
                      <a:cubicBezTo>
                        <a:pt x="116" y="38"/>
                        <a:pt x="116" y="38"/>
                        <a:pt x="116" y="38"/>
                      </a:cubicBezTo>
                      <a:cubicBezTo>
                        <a:pt x="115" y="38"/>
                        <a:pt x="115" y="38"/>
                        <a:pt x="115" y="38"/>
                      </a:cubicBezTo>
                      <a:cubicBezTo>
                        <a:pt x="114" y="38"/>
                        <a:pt x="114" y="38"/>
                        <a:pt x="114" y="38"/>
                      </a:cubicBezTo>
                      <a:cubicBezTo>
                        <a:pt x="113" y="38"/>
                        <a:pt x="113" y="38"/>
                        <a:pt x="112" y="38"/>
                      </a:cubicBezTo>
                      <a:cubicBezTo>
                        <a:pt x="55" y="5"/>
                        <a:pt x="55" y="5"/>
                        <a:pt x="55" y="5"/>
                      </a:cubicBezTo>
                      <a:cubicBezTo>
                        <a:pt x="55" y="13"/>
                        <a:pt x="55" y="13"/>
                        <a:pt x="55" y="13"/>
                      </a:cubicBezTo>
                      <a:cubicBezTo>
                        <a:pt x="55" y="14"/>
                        <a:pt x="54" y="14"/>
                        <a:pt x="54" y="15"/>
                      </a:cubicBezTo>
                      <a:lnTo>
                        <a:pt x="6" y="42"/>
                      </a:lnTo>
                      <a:close/>
                      <a:moveTo>
                        <a:pt x="53" y="13"/>
                      </a:moveTo>
                      <a:cubicBezTo>
                        <a:pt x="53" y="13"/>
                        <a:pt x="53" y="13"/>
                        <a:pt x="53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6" name="Freeform 678">
                  <a:extLst>
                    <a:ext uri="{FF2B5EF4-FFF2-40B4-BE49-F238E27FC236}">
                      <a16:creationId xmlns:a16="http://schemas.microsoft.com/office/drawing/2014/main" id="{C82A15F5-CA3D-4520-921A-9D54F5BE94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32" y="1821"/>
                  <a:ext cx="147" cy="93"/>
                </a:xfrm>
                <a:custGeom>
                  <a:avLst/>
                  <a:gdLst>
                    <a:gd name="T0" fmla="*/ 60 w 62"/>
                    <a:gd name="T1" fmla="*/ 39 h 39"/>
                    <a:gd name="T2" fmla="*/ 59 w 62"/>
                    <a:gd name="T3" fmla="*/ 39 h 39"/>
                    <a:gd name="T4" fmla="*/ 1 w 62"/>
                    <a:gd name="T5" fmla="*/ 6 h 39"/>
                    <a:gd name="T6" fmla="*/ 0 w 62"/>
                    <a:gd name="T7" fmla="*/ 4 h 39"/>
                    <a:gd name="T8" fmla="*/ 1 w 62"/>
                    <a:gd name="T9" fmla="*/ 2 h 39"/>
                    <a:gd name="T10" fmla="*/ 4 w 62"/>
                    <a:gd name="T11" fmla="*/ 0 h 39"/>
                    <a:gd name="T12" fmla="*/ 6 w 62"/>
                    <a:gd name="T13" fmla="*/ 0 h 39"/>
                    <a:gd name="T14" fmla="*/ 30 w 62"/>
                    <a:gd name="T15" fmla="*/ 14 h 39"/>
                    <a:gd name="T16" fmla="*/ 31 w 62"/>
                    <a:gd name="T17" fmla="*/ 16 h 39"/>
                    <a:gd name="T18" fmla="*/ 31 w 62"/>
                    <a:gd name="T19" fmla="*/ 18 h 39"/>
                    <a:gd name="T20" fmla="*/ 61 w 62"/>
                    <a:gd name="T21" fmla="*/ 36 h 39"/>
                    <a:gd name="T22" fmla="*/ 62 w 62"/>
                    <a:gd name="T23" fmla="*/ 37 h 39"/>
                    <a:gd name="T24" fmla="*/ 61 w 62"/>
                    <a:gd name="T25" fmla="*/ 39 h 39"/>
                    <a:gd name="T26" fmla="*/ 60 w 62"/>
                    <a:gd name="T27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2" h="39">
                      <a:moveTo>
                        <a:pt x="60" y="39"/>
                      </a:moveTo>
                      <a:cubicBezTo>
                        <a:pt x="60" y="39"/>
                        <a:pt x="59" y="39"/>
                        <a:pt x="59" y="39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0"/>
                        <a:pt x="6" y="0"/>
                        <a:pt x="6" y="0"/>
                      </a:cubicBezTo>
                      <a:cubicBezTo>
                        <a:pt x="30" y="14"/>
                        <a:pt x="30" y="14"/>
                        <a:pt x="30" y="14"/>
                      </a:cubicBezTo>
                      <a:cubicBezTo>
                        <a:pt x="31" y="14"/>
                        <a:pt x="31" y="15"/>
                        <a:pt x="31" y="16"/>
                      </a:cubicBezTo>
                      <a:cubicBezTo>
                        <a:pt x="31" y="18"/>
                        <a:pt x="31" y="18"/>
                        <a:pt x="31" y="18"/>
                      </a:cubicBezTo>
                      <a:cubicBezTo>
                        <a:pt x="61" y="36"/>
                        <a:pt x="61" y="36"/>
                        <a:pt x="61" y="36"/>
                      </a:cubicBezTo>
                      <a:cubicBezTo>
                        <a:pt x="62" y="36"/>
                        <a:pt x="62" y="37"/>
                        <a:pt x="62" y="37"/>
                      </a:cubicBezTo>
                      <a:cubicBezTo>
                        <a:pt x="62" y="38"/>
                        <a:pt x="62" y="39"/>
                        <a:pt x="61" y="39"/>
                      </a:cubicBezTo>
                      <a:cubicBezTo>
                        <a:pt x="61" y="39"/>
                        <a:pt x="60" y="39"/>
                        <a:pt x="60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7" name="Freeform 679">
                  <a:extLst>
                    <a:ext uri="{FF2B5EF4-FFF2-40B4-BE49-F238E27FC236}">
                      <a16:creationId xmlns:a16="http://schemas.microsoft.com/office/drawing/2014/main" id="{F3BB7385-9F0B-47CA-81C4-823E4EA60C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01" y="1857"/>
                  <a:ext cx="85" cy="54"/>
                </a:xfrm>
                <a:custGeom>
                  <a:avLst/>
                  <a:gdLst>
                    <a:gd name="T0" fmla="*/ 33 w 36"/>
                    <a:gd name="T1" fmla="*/ 23 h 23"/>
                    <a:gd name="T2" fmla="*/ 32 w 36"/>
                    <a:gd name="T3" fmla="*/ 23 h 23"/>
                    <a:gd name="T4" fmla="*/ 1 w 36"/>
                    <a:gd name="T5" fmla="*/ 5 h 23"/>
                    <a:gd name="T6" fmla="*/ 0 w 36"/>
                    <a:gd name="T7" fmla="*/ 3 h 23"/>
                    <a:gd name="T8" fmla="*/ 0 w 36"/>
                    <a:gd name="T9" fmla="*/ 2 h 23"/>
                    <a:gd name="T10" fmla="*/ 1 w 36"/>
                    <a:gd name="T11" fmla="*/ 0 h 23"/>
                    <a:gd name="T12" fmla="*/ 3 w 36"/>
                    <a:gd name="T13" fmla="*/ 0 h 23"/>
                    <a:gd name="T14" fmla="*/ 35 w 36"/>
                    <a:gd name="T15" fmla="*/ 19 h 23"/>
                    <a:gd name="T16" fmla="*/ 36 w 36"/>
                    <a:gd name="T17" fmla="*/ 20 h 23"/>
                    <a:gd name="T18" fmla="*/ 35 w 36"/>
                    <a:gd name="T19" fmla="*/ 22 h 23"/>
                    <a:gd name="T20" fmla="*/ 34 w 36"/>
                    <a:gd name="T21" fmla="*/ 23 h 23"/>
                    <a:gd name="T22" fmla="*/ 33 w 36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23">
                      <a:moveTo>
                        <a:pt x="33" y="23"/>
                      </a:moveTo>
                      <a:cubicBezTo>
                        <a:pt x="32" y="23"/>
                        <a:pt x="32" y="23"/>
                        <a:pt x="32" y="23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5" y="19"/>
                        <a:pt x="35" y="19"/>
                        <a:pt x="35" y="19"/>
                      </a:cubicBezTo>
                      <a:cubicBezTo>
                        <a:pt x="36" y="19"/>
                        <a:pt x="36" y="20"/>
                        <a:pt x="36" y="20"/>
                      </a:cubicBezTo>
                      <a:cubicBezTo>
                        <a:pt x="36" y="21"/>
                        <a:pt x="36" y="22"/>
                        <a:pt x="35" y="22"/>
                      </a:cubicBezTo>
                      <a:cubicBezTo>
                        <a:pt x="34" y="23"/>
                        <a:pt x="34" y="23"/>
                        <a:pt x="34" y="23"/>
                      </a:cubicBezTo>
                      <a:cubicBezTo>
                        <a:pt x="33" y="23"/>
                        <a:pt x="33" y="23"/>
                        <a:pt x="33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8" name="Freeform 680">
                  <a:extLst>
                    <a:ext uri="{FF2B5EF4-FFF2-40B4-BE49-F238E27FC236}">
                      <a16:creationId xmlns:a16="http://schemas.microsoft.com/office/drawing/2014/main" id="{4066CED4-6B78-4B07-8A11-2303BCF408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1736"/>
                  <a:ext cx="94" cy="173"/>
                </a:xfrm>
                <a:custGeom>
                  <a:avLst/>
                  <a:gdLst>
                    <a:gd name="T0" fmla="*/ 36 w 40"/>
                    <a:gd name="T1" fmla="*/ 73 h 73"/>
                    <a:gd name="T2" fmla="*/ 35 w 40"/>
                    <a:gd name="T3" fmla="*/ 72 h 73"/>
                    <a:gd name="T4" fmla="*/ 1 w 40"/>
                    <a:gd name="T5" fmla="*/ 53 h 73"/>
                    <a:gd name="T6" fmla="*/ 0 w 40"/>
                    <a:gd name="T7" fmla="*/ 51 h 73"/>
                    <a:gd name="T8" fmla="*/ 0 w 40"/>
                    <a:gd name="T9" fmla="*/ 18 h 73"/>
                    <a:gd name="T10" fmla="*/ 1 w 40"/>
                    <a:gd name="T11" fmla="*/ 16 h 73"/>
                    <a:gd name="T12" fmla="*/ 28 w 40"/>
                    <a:gd name="T13" fmla="*/ 0 h 73"/>
                    <a:gd name="T14" fmla="*/ 30 w 40"/>
                    <a:gd name="T15" fmla="*/ 0 h 73"/>
                    <a:gd name="T16" fmla="*/ 39 w 40"/>
                    <a:gd name="T17" fmla="*/ 5 h 73"/>
                    <a:gd name="T18" fmla="*/ 40 w 40"/>
                    <a:gd name="T19" fmla="*/ 7 h 73"/>
                    <a:gd name="T20" fmla="*/ 40 w 40"/>
                    <a:gd name="T21" fmla="*/ 69 h 73"/>
                    <a:gd name="T22" fmla="*/ 39 w 40"/>
                    <a:gd name="T23" fmla="*/ 71 h 73"/>
                    <a:gd name="T24" fmla="*/ 37 w 40"/>
                    <a:gd name="T25" fmla="*/ 72 h 73"/>
                    <a:gd name="T26" fmla="*/ 36 w 40"/>
                    <a:gd name="T27" fmla="*/ 73 h 73"/>
                    <a:gd name="T28" fmla="*/ 4 w 40"/>
                    <a:gd name="T29" fmla="*/ 50 h 73"/>
                    <a:gd name="T30" fmla="*/ 36 w 40"/>
                    <a:gd name="T31" fmla="*/ 68 h 73"/>
                    <a:gd name="T32" fmla="*/ 36 w 40"/>
                    <a:gd name="T33" fmla="*/ 68 h 73"/>
                    <a:gd name="T34" fmla="*/ 36 w 40"/>
                    <a:gd name="T35" fmla="*/ 8 h 73"/>
                    <a:gd name="T36" fmla="*/ 29 w 40"/>
                    <a:gd name="T37" fmla="*/ 4 h 73"/>
                    <a:gd name="T38" fmla="*/ 4 w 40"/>
                    <a:gd name="T39" fmla="*/ 19 h 73"/>
                    <a:gd name="T40" fmla="*/ 4 w 40"/>
                    <a:gd name="T41" fmla="*/ 5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0" h="73">
                      <a:moveTo>
                        <a:pt x="36" y="73"/>
                      </a:moveTo>
                      <a:cubicBezTo>
                        <a:pt x="36" y="73"/>
                        <a:pt x="35" y="72"/>
                        <a:pt x="35" y="72"/>
                      </a:cubicBez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0" y="52"/>
                        <a:pt x="0" y="52"/>
                        <a:pt x="0" y="51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7"/>
                        <a:pt x="0" y="16"/>
                        <a:pt x="1" y="16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0"/>
                        <a:pt x="29" y="0"/>
                        <a:pt x="30" y="0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40" y="6"/>
                        <a:pt x="40" y="6"/>
                        <a:pt x="40" y="7"/>
                      </a:cubicBezTo>
                      <a:cubicBezTo>
                        <a:pt x="40" y="69"/>
                        <a:pt x="40" y="69"/>
                        <a:pt x="40" y="69"/>
                      </a:cubicBezTo>
                      <a:cubicBezTo>
                        <a:pt x="40" y="70"/>
                        <a:pt x="40" y="71"/>
                        <a:pt x="39" y="71"/>
                      </a:cubicBezTo>
                      <a:cubicBezTo>
                        <a:pt x="37" y="72"/>
                        <a:pt x="37" y="72"/>
                        <a:pt x="37" y="72"/>
                      </a:cubicBezTo>
                      <a:cubicBezTo>
                        <a:pt x="37" y="72"/>
                        <a:pt x="36" y="73"/>
                        <a:pt x="36" y="73"/>
                      </a:cubicBezTo>
                      <a:close/>
                      <a:moveTo>
                        <a:pt x="4" y="50"/>
                      </a:moveTo>
                      <a:cubicBezTo>
                        <a:pt x="36" y="68"/>
                        <a:pt x="36" y="68"/>
                        <a:pt x="36" y="68"/>
                      </a:cubicBezTo>
                      <a:cubicBezTo>
                        <a:pt x="36" y="68"/>
                        <a:pt x="36" y="68"/>
                        <a:pt x="36" y="68"/>
                      </a:cubicBezTo>
                      <a:cubicBezTo>
                        <a:pt x="36" y="8"/>
                        <a:pt x="36" y="8"/>
                        <a:pt x="36" y="8"/>
                      </a:cubicBezTo>
                      <a:cubicBezTo>
                        <a:pt x="29" y="4"/>
                        <a:pt x="29" y="4"/>
                        <a:pt x="29" y="4"/>
                      </a:cubicBezTo>
                      <a:cubicBezTo>
                        <a:pt x="4" y="19"/>
                        <a:pt x="4" y="19"/>
                        <a:pt x="4" y="19"/>
                      </a:cubicBezTo>
                      <a:lnTo>
                        <a:pt x="4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9" name="Freeform 681">
                  <a:extLst>
                    <a:ext uri="{FF2B5EF4-FFF2-40B4-BE49-F238E27FC236}">
                      <a16:creationId xmlns:a16="http://schemas.microsoft.com/office/drawing/2014/main" id="{4B103BF1-8122-46BC-9080-4CDC9785124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1699"/>
                  <a:ext cx="68" cy="80"/>
                </a:xfrm>
                <a:custGeom>
                  <a:avLst/>
                  <a:gdLst>
                    <a:gd name="T0" fmla="*/ 2 w 29"/>
                    <a:gd name="T1" fmla="*/ 34 h 34"/>
                    <a:gd name="T2" fmla="*/ 1 w 29"/>
                    <a:gd name="T3" fmla="*/ 34 h 34"/>
                    <a:gd name="T4" fmla="*/ 0 w 29"/>
                    <a:gd name="T5" fmla="*/ 32 h 34"/>
                    <a:gd name="T6" fmla="*/ 0 w 29"/>
                    <a:gd name="T7" fmla="*/ 2 h 34"/>
                    <a:gd name="T8" fmla="*/ 1 w 29"/>
                    <a:gd name="T9" fmla="*/ 1 h 34"/>
                    <a:gd name="T10" fmla="*/ 3 w 29"/>
                    <a:gd name="T11" fmla="*/ 1 h 34"/>
                    <a:gd name="T12" fmla="*/ 28 w 29"/>
                    <a:gd name="T13" fmla="*/ 15 h 34"/>
                    <a:gd name="T14" fmla="*/ 29 w 29"/>
                    <a:gd name="T15" fmla="*/ 17 h 34"/>
                    <a:gd name="T16" fmla="*/ 28 w 29"/>
                    <a:gd name="T17" fmla="*/ 19 h 34"/>
                    <a:gd name="T18" fmla="*/ 3 w 29"/>
                    <a:gd name="T19" fmla="*/ 34 h 34"/>
                    <a:gd name="T20" fmla="*/ 2 w 29"/>
                    <a:gd name="T21" fmla="*/ 34 h 34"/>
                    <a:gd name="T22" fmla="*/ 4 w 29"/>
                    <a:gd name="T23" fmla="*/ 6 h 34"/>
                    <a:gd name="T24" fmla="*/ 4 w 29"/>
                    <a:gd name="T25" fmla="*/ 28 h 34"/>
                    <a:gd name="T26" fmla="*/ 23 w 29"/>
                    <a:gd name="T27" fmla="*/ 17 h 34"/>
                    <a:gd name="T28" fmla="*/ 4 w 29"/>
                    <a:gd name="T29" fmla="*/ 6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34">
                      <a:moveTo>
                        <a:pt x="2" y="34"/>
                      </a:move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3"/>
                        <a:pt x="0" y="33"/>
                        <a:pt x="0" y="3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9" y="16"/>
                        <a:pt x="29" y="16"/>
                        <a:pt x="29" y="17"/>
                      </a:cubicBezTo>
                      <a:cubicBezTo>
                        <a:pt x="29" y="18"/>
                        <a:pt x="29" y="18"/>
                        <a:pt x="28" y="19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3" y="34"/>
                        <a:pt x="2" y="34"/>
                        <a:pt x="2" y="34"/>
                      </a:cubicBezTo>
                      <a:close/>
                      <a:moveTo>
                        <a:pt x="4" y="6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0" name="Freeform 682">
                  <a:extLst>
                    <a:ext uri="{FF2B5EF4-FFF2-40B4-BE49-F238E27FC236}">
                      <a16:creationId xmlns:a16="http://schemas.microsoft.com/office/drawing/2014/main" id="{20B42091-A5E5-47F2-B5E8-FB47F17C90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69" y="1734"/>
                  <a:ext cx="26" cy="19"/>
                </a:xfrm>
                <a:custGeom>
                  <a:avLst/>
                  <a:gdLst>
                    <a:gd name="T0" fmla="*/ 9 w 11"/>
                    <a:gd name="T1" fmla="*/ 8 h 8"/>
                    <a:gd name="T2" fmla="*/ 8 w 11"/>
                    <a:gd name="T3" fmla="*/ 8 h 8"/>
                    <a:gd name="T4" fmla="*/ 1 w 11"/>
                    <a:gd name="T5" fmla="*/ 4 h 8"/>
                    <a:gd name="T6" fmla="*/ 0 w 11"/>
                    <a:gd name="T7" fmla="*/ 2 h 8"/>
                    <a:gd name="T8" fmla="*/ 1 w 11"/>
                    <a:gd name="T9" fmla="*/ 0 h 8"/>
                    <a:gd name="T10" fmla="*/ 1 w 11"/>
                    <a:gd name="T11" fmla="*/ 0 h 8"/>
                    <a:gd name="T12" fmla="*/ 3 w 11"/>
                    <a:gd name="T13" fmla="*/ 0 h 8"/>
                    <a:gd name="T14" fmla="*/ 10 w 11"/>
                    <a:gd name="T15" fmla="*/ 4 h 8"/>
                    <a:gd name="T16" fmla="*/ 11 w 11"/>
                    <a:gd name="T17" fmla="*/ 6 h 8"/>
                    <a:gd name="T18" fmla="*/ 11 w 11"/>
                    <a:gd name="T19" fmla="*/ 6 h 8"/>
                    <a:gd name="T20" fmla="*/ 10 w 11"/>
                    <a:gd name="T21" fmla="*/ 8 h 8"/>
                    <a:gd name="T22" fmla="*/ 9 w 11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8">
                      <a:moveTo>
                        <a:pt x="9" y="8"/>
                      </a:moveTo>
                      <a:cubicBezTo>
                        <a:pt x="9" y="8"/>
                        <a:pt x="8" y="8"/>
                        <a:pt x="8" y="8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3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4"/>
                        <a:pt x="11" y="5"/>
                        <a:pt x="11" y="6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1" y="7"/>
                        <a:pt x="11" y="8"/>
                        <a:pt x="10" y="8"/>
                      </a:cubicBezTo>
                      <a:cubicBezTo>
                        <a:pt x="10" y="8"/>
                        <a:pt x="9" y="8"/>
                        <a:pt x="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1" name="Freeform 683">
                  <a:extLst>
                    <a:ext uri="{FF2B5EF4-FFF2-40B4-BE49-F238E27FC236}">
                      <a16:creationId xmlns:a16="http://schemas.microsoft.com/office/drawing/2014/main" id="{F5F37478-1699-438A-88E3-E2032B0CB9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2013"/>
                  <a:ext cx="133" cy="234"/>
                </a:xfrm>
                <a:custGeom>
                  <a:avLst/>
                  <a:gdLst>
                    <a:gd name="T0" fmla="*/ 28 w 56"/>
                    <a:gd name="T1" fmla="*/ 99 h 99"/>
                    <a:gd name="T2" fmla="*/ 27 w 56"/>
                    <a:gd name="T3" fmla="*/ 98 h 99"/>
                    <a:gd name="T4" fmla="*/ 1 w 56"/>
                    <a:gd name="T5" fmla="*/ 83 h 99"/>
                    <a:gd name="T6" fmla="*/ 0 w 56"/>
                    <a:gd name="T7" fmla="*/ 82 h 99"/>
                    <a:gd name="T8" fmla="*/ 0 w 56"/>
                    <a:gd name="T9" fmla="*/ 32 h 99"/>
                    <a:gd name="T10" fmla="*/ 1 w 56"/>
                    <a:gd name="T11" fmla="*/ 30 h 99"/>
                    <a:gd name="T12" fmla="*/ 53 w 56"/>
                    <a:gd name="T13" fmla="*/ 1 h 99"/>
                    <a:gd name="T14" fmla="*/ 55 w 56"/>
                    <a:gd name="T15" fmla="*/ 1 h 99"/>
                    <a:gd name="T16" fmla="*/ 56 w 56"/>
                    <a:gd name="T17" fmla="*/ 2 h 99"/>
                    <a:gd name="T18" fmla="*/ 56 w 56"/>
                    <a:gd name="T19" fmla="*/ 82 h 99"/>
                    <a:gd name="T20" fmla="*/ 55 w 56"/>
                    <a:gd name="T21" fmla="*/ 83 h 99"/>
                    <a:gd name="T22" fmla="*/ 29 w 56"/>
                    <a:gd name="T23" fmla="*/ 98 h 99"/>
                    <a:gd name="T24" fmla="*/ 28 w 56"/>
                    <a:gd name="T25" fmla="*/ 99 h 99"/>
                    <a:gd name="T26" fmla="*/ 4 w 56"/>
                    <a:gd name="T27" fmla="*/ 80 h 99"/>
                    <a:gd name="T28" fmla="*/ 28 w 56"/>
                    <a:gd name="T29" fmla="*/ 94 h 99"/>
                    <a:gd name="T30" fmla="*/ 52 w 56"/>
                    <a:gd name="T31" fmla="*/ 80 h 99"/>
                    <a:gd name="T32" fmla="*/ 52 w 56"/>
                    <a:gd name="T33" fmla="*/ 6 h 99"/>
                    <a:gd name="T34" fmla="*/ 4 w 56"/>
                    <a:gd name="T35" fmla="*/ 33 h 99"/>
                    <a:gd name="T36" fmla="*/ 4 w 56"/>
                    <a:gd name="T37" fmla="*/ 80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6" h="99">
                      <a:moveTo>
                        <a:pt x="28" y="99"/>
                      </a:moveTo>
                      <a:cubicBezTo>
                        <a:pt x="28" y="99"/>
                        <a:pt x="28" y="98"/>
                        <a:pt x="27" y="98"/>
                      </a:cubicBezTo>
                      <a:cubicBezTo>
                        <a:pt x="1" y="83"/>
                        <a:pt x="1" y="83"/>
                        <a:pt x="1" y="83"/>
                      </a:cubicBezTo>
                      <a:cubicBezTo>
                        <a:pt x="1" y="83"/>
                        <a:pt x="0" y="82"/>
                        <a:pt x="0" y="8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1" y="31"/>
                        <a:pt x="1" y="30"/>
                      </a:cubicBezTo>
                      <a:cubicBezTo>
                        <a:pt x="53" y="1"/>
                        <a:pt x="53" y="1"/>
                        <a:pt x="53" y="1"/>
                      </a:cubicBezTo>
                      <a:cubicBezTo>
                        <a:pt x="54" y="0"/>
                        <a:pt x="54" y="0"/>
                        <a:pt x="55" y="1"/>
                      </a:cubicBezTo>
                      <a:cubicBezTo>
                        <a:pt x="56" y="1"/>
                        <a:pt x="56" y="2"/>
                        <a:pt x="56" y="2"/>
                      </a:cubicBezTo>
                      <a:cubicBezTo>
                        <a:pt x="56" y="82"/>
                        <a:pt x="56" y="82"/>
                        <a:pt x="56" y="82"/>
                      </a:cubicBezTo>
                      <a:cubicBezTo>
                        <a:pt x="56" y="82"/>
                        <a:pt x="56" y="83"/>
                        <a:pt x="55" y="83"/>
                      </a:cubicBezTo>
                      <a:cubicBezTo>
                        <a:pt x="29" y="98"/>
                        <a:pt x="29" y="98"/>
                        <a:pt x="29" y="98"/>
                      </a:cubicBezTo>
                      <a:cubicBezTo>
                        <a:pt x="29" y="98"/>
                        <a:pt x="29" y="99"/>
                        <a:pt x="28" y="99"/>
                      </a:cubicBezTo>
                      <a:close/>
                      <a:moveTo>
                        <a:pt x="4" y="80"/>
                      </a:moveTo>
                      <a:cubicBezTo>
                        <a:pt x="28" y="94"/>
                        <a:pt x="28" y="94"/>
                        <a:pt x="28" y="94"/>
                      </a:cubicBezTo>
                      <a:cubicBezTo>
                        <a:pt x="52" y="80"/>
                        <a:pt x="52" y="80"/>
                        <a:pt x="52" y="80"/>
                      </a:cubicBezTo>
                      <a:cubicBezTo>
                        <a:pt x="52" y="6"/>
                        <a:pt x="52" y="6"/>
                        <a:pt x="52" y="6"/>
                      </a:cubicBezTo>
                      <a:cubicBezTo>
                        <a:pt x="4" y="33"/>
                        <a:pt x="4" y="33"/>
                        <a:pt x="4" y="33"/>
                      </a:cubicBezTo>
                      <a:lnTo>
                        <a:pt x="4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2" name="Freeform 684">
                  <a:extLst>
                    <a:ext uri="{FF2B5EF4-FFF2-40B4-BE49-F238E27FC236}">
                      <a16:creationId xmlns:a16="http://schemas.microsoft.com/office/drawing/2014/main" id="{36723ADB-B8AB-4A2B-80CA-31347442910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24" y="2204"/>
                  <a:ext cx="66" cy="76"/>
                </a:xfrm>
                <a:custGeom>
                  <a:avLst/>
                  <a:gdLst>
                    <a:gd name="T0" fmla="*/ 26 w 28"/>
                    <a:gd name="T1" fmla="*/ 32 h 32"/>
                    <a:gd name="T2" fmla="*/ 25 w 28"/>
                    <a:gd name="T3" fmla="*/ 32 h 32"/>
                    <a:gd name="T4" fmla="*/ 1 w 28"/>
                    <a:gd name="T5" fmla="*/ 18 h 32"/>
                    <a:gd name="T6" fmla="*/ 0 w 28"/>
                    <a:gd name="T7" fmla="*/ 16 h 32"/>
                    <a:gd name="T8" fmla="*/ 1 w 28"/>
                    <a:gd name="T9" fmla="*/ 15 h 32"/>
                    <a:gd name="T10" fmla="*/ 25 w 28"/>
                    <a:gd name="T11" fmla="*/ 1 h 32"/>
                    <a:gd name="T12" fmla="*/ 27 w 28"/>
                    <a:gd name="T13" fmla="*/ 1 h 32"/>
                    <a:gd name="T14" fmla="*/ 28 w 28"/>
                    <a:gd name="T15" fmla="*/ 2 h 32"/>
                    <a:gd name="T16" fmla="*/ 28 w 28"/>
                    <a:gd name="T17" fmla="*/ 30 h 32"/>
                    <a:gd name="T18" fmla="*/ 27 w 28"/>
                    <a:gd name="T19" fmla="*/ 32 h 32"/>
                    <a:gd name="T20" fmla="*/ 26 w 28"/>
                    <a:gd name="T21" fmla="*/ 32 h 32"/>
                    <a:gd name="T22" fmla="*/ 6 w 28"/>
                    <a:gd name="T23" fmla="*/ 16 h 32"/>
                    <a:gd name="T24" fmla="*/ 24 w 28"/>
                    <a:gd name="T25" fmla="*/ 27 h 32"/>
                    <a:gd name="T26" fmla="*/ 24 w 28"/>
                    <a:gd name="T27" fmla="*/ 6 h 32"/>
                    <a:gd name="T28" fmla="*/ 6 w 28"/>
                    <a:gd name="T29" fmla="*/ 1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" h="32">
                      <a:moveTo>
                        <a:pt x="26" y="32"/>
                      </a:moveTo>
                      <a:cubicBezTo>
                        <a:pt x="26" y="32"/>
                        <a:pt x="25" y="32"/>
                        <a:pt x="25" y="32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6"/>
                      </a:cubicBezTo>
                      <a:cubicBezTo>
                        <a:pt x="0" y="16"/>
                        <a:pt x="0" y="15"/>
                        <a:pt x="1" y="15"/>
                      </a:cubicBezTo>
                      <a:cubicBezTo>
                        <a:pt x="25" y="1"/>
                        <a:pt x="25" y="1"/>
                        <a:pt x="25" y="1"/>
                      </a:cubicBezTo>
                      <a:cubicBezTo>
                        <a:pt x="26" y="0"/>
                        <a:pt x="26" y="0"/>
                        <a:pt x="27" y="1"/>
                      </a:cubicBezTo>
                      <a:cubicBezTo>
                        <a:pt x="28" y="1"/>
                        <a:pt x="28" y="2"/>
                        <a:pt x="28" y="2"/>
                      </a:cubicBezTo>
                      <a:cubicBezTo>
                        <a:pt x="28" y="30"/>
                        <a:pt x="28" y="30"/>
                        <a:pt x="28" y="30"/>
                      </a:cubicBezTo>
                      <a:cubicBezTo>
                        <a:pt x="28" y="31"/>
                        <a:pt x="28" y="32"/>
                        <a:pt x="27" y="32"/>
                      </a:cubicBezTo>
                      <a:cubicBezTo>
                        <a:pt x="27" y="32"/>
                        <a:pt x="26" y="32"/>
                        <a:pt x="26" y="32"/>
                      </a:cubicBezTo>
                      <a:close/>
                      <a:moveTo>
                        <a:pt x="6" y="16"/>
                      </a:move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6"/>
                        <a:pt x="24" y="6"/>
                        <a:pt x="24" y="6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3" name="Freeform 685">
                  <a:extLst>
                    <a:ext uri="{FF2B5EF4-FFF2-40B4-BE49-F238E27FC236}">
                      <a16:creationId xmlns:a16="http://schemas.microsoft.com/office/drawing/2014/main" id="{B610036B-A571-4865-B129-02C002C78A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38" y="2277"/>
                  <a:ext cx="52" cy="62"/>
                </a:xfrm>
                <a:custGeom>
                  <a:avLst/>
                  <a:gdLst>
                    <a:gd name="T0" fmla="*/ 20 w 22"/>
                    <a:gd name="T1" fmla="*/ 26 h 26"/>
                    <a:gd name="T2" fmla="*/ 19 w 22"/>
                    <a:gd name="T3" fmla="*/ 25 h 26"/>
                    <a:gd name="T4" fmla="*/ 1 w 22"/>
                    <a:gd name="T5" fmla="*/ 15 h 26"/>
                    <a:gd name="T6" fmla="*/ 0 w 22"/>
                    <a:gd name="T7" fmla="*/ 13 h 26"/>
                    <a:gd name="T8" fmla="*/ 1 w 22"/>
                    <a:gd name="T9" fmla="*/ 11 h 26"/>
                    <a:gd name="T10" fmla="*/ 19 w 22"/>
                    <a:gd name="T11" fmla="*/ 1 h 26"/>
                    <a:gd name="T12" fmla="*/ 21 w 22"/>
                    <a:gd name="T13" fmla="*/ 1 h 26"/>
                    <a:gd name="T14" fmla="*/ 22 w 22"/>
                    <a:gd name="T15" fmla="*/ 2 h 26"/>
                    <a:gd name="T16" fmla="*/ 22 w 22"/>
                    <a:gd name="T17" fmla="*/ 24 h 26"/>
                    <a:gd name="T18" fmla="*/ 21 w 22"/>
                    <a:gd name="T19" fmla="*/ 25 h 26"/>
                    <a:gd name="T20" fmla="*/ 20 w 22"/>
                    <a:gd name="T21" fmla="*/ 26 h 26"/>
                    <a:gd name="T22" fmla="*/ 6 w 22"/>
                    <a:gd name="T23" fmla="*/ 13 h 26"/>
                    <a:gd name="T24" fmla="*/ 18 w 22"/>
                    <a:gd name="T25" fmla="*/ 20 h 26"/>
                    <a:gd name="T26" fmla="*/ 18 w 22"/>
                    <a:gd name="T27" fmla="*/ 6 h 26"/>
                    <a:gd name="T28" fmla="*/ 6 w 22"/>
                    <a:gd name="T29" fmla="*/ 1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" h="26">
                      <a:moveTo>
                        <a:pt x="20" y="26"/>
                      </a:moveTo>
                      <a:cubicBezTo>
                        <a:pt x="20" y="26"/>
                        <a:pt x="19" y="25"/>
                        <a:pt x="19" y="25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0" y="14"/>
                        <a:pt x="0" y="14"/>
                        <a:pt x="0" y="13"/>
                      </a:cubicBezTo>
                      <a:cubicBezTo>
                        <a:pt x="0" y="12"/>
                        <a:pt x="0" y="12"/>
                        <a:pt x="1" y="11"/>
                      </a:cubicBezTo>
                      <a:cubicBezTo>
                        <a:pt x="19" y="1"/>
                        <a:pt x="19" y="1"/>
                        <a:pt x="19" y="1"/>
                      </a:cubicBezTo>
                      <a:cubicBezTo>
                        <a:pt x="20" y="0"/>
                        <a:pt x="20" y="0"/>
                        <a:pt x="21" y="1"/>
                      </a:cubicBezTo>
                      <a:cubicBezTo>
                        <a:pt x="22" y="1"/>
                        <a:pt x="22" y="2"/>
                        <a:pt x="22" y="2"/>
                      </a:cubicBezTo>
                      <a:cubicBezTo>
                        <a:pt x="22" y="24"/>
                        <a:pt x="22" y="24"/>
                        <a:pt x="22" y="24"/>
                      </a:cubicBezTo>
                      <a:cubicBezTo>
                        <a:pt x="22" y="24"/>
                        <a:pt x="22" y="25"/>
                        <a:pt x="21" y="25"/>
                      </a:cubicBezTo>
                      <a:cubicBezTo>
                        <a:pt x="21" y="25"/>
                        <a:pt x="20" y="26"/>
                        <a:pt x="20" y="26"/>
                      </a:cubicBezTo>
                      <a:close/>
                      <a:moveTo>
                        <a:pt x="6" y="13"/>
                      </a:moveTo>
                      <a:cubicBezTo>
                        <a:pt x="18" y="20"/>
                        <a:pt x="18" y="20"/>
                        <a:pt x="18" y="20"/>
                      </a:cubicBezTo>
                      <a:cubicBezTo>
                        <a:pt x="18" y="6"/>
                        <a:pt x="18" y="6"/>
                        <a:pt x="18" y="6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4" name="Freeform 686">
                  <a:extLst>
                    <a:ext uri="{FF2B5EF4-FFF2-40B4-BE49-F238E27FC236}">
                      <a16:creationId xmlns:a16="http://schemas.microsoft.com/office/drawing/2014/main" id="{B1DF4C4C-8B0B-4117-B439-04A9AC0EAE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16" y="1947"/>
                  <a:ext cx="34" cy="37"/>
                </a:xfrm>
                <a:custGeom>
                  <a:avLst/>
                  <a:gdLst>
                    <a:gd name="T0" fmla="*/ 12 w 14"/>
                    <a:gd name="T1" fmla="*/ 16 h 16"/>
                    <a:gd name="T2" fmla="*/ 11 w 14"/>
                    <a:gd name="T3" fmla="*/ 16 h 16"/>
                    <a:gd name="T4" fmla="*/ 1 w 14"/>
                    <a:gd name="T5" fmla="*/ 10 h 16"/>
                    <a:gd name="T6" fmla="*/ 0 w 14"/>
                    <a:gd name="T7" fmla="*/ 8 h 16"/>
                    <a:gd name="T8" fmla="*/ 1 w 14"/>
                    <a:gd name="T9" fmla="*/ 6 h 16"/>
                    <a:gd name="T10" fmla="*/ 11 w 14"/>
                    <a:gd name="T11" fmla="*/ 1 h 16"/>
                    <a:gd name="T12" fmla="*/ 13 w 14"/>
                    <a:gd name="T13" fmla="*/ 1 h 16"/>
                    <a:gd name="T14" fmla="*/ 14 w 14"/>
                    <a:gd name="T15" fmla="*/ 2 h 16"/>
                    <a:gd name="T16" fmla="*/ 14 w 14"/>
                    <a:gd name="T17" fmla="*/ 14 h 16"/>
                    <a:gd name="T18" fmla="*/ 13 w 14"/>
                    <a:gd name="T19" fmla="*/ 16 h 16"/>
                    <a:gd name="T20" fmla="*/ 12 w 14"/>
                    <a:gd name="T21" fmla="*/ 16 h 16"/>
                    <a:gd name="T22" fmla="*/ 6 w 14"/>
                    <a:gd name="T23" fmla="*/ 8 h 16"/>
                    <a:gd name="T24" fmla="*/ 10 w 14"/>
                    <a:gd name="T25" fmla="*/ 11 h 16"/>
                    <a:gd name="T26" fmla="*/ 10 w 14"/>
                    <a:gd name="T27" fmla="*/ 6 h 16"/>
                    <a:gd name="T28" fmla="*/ 6 w 14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6">
                      <a:moveTo>
                        <a:pt x="12" y="16"/>
                      </a:move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8"/>
                        <a:pt x="0" y="7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13" y="1"/>
                        <a:pt x="14" y="2"/>
                        <a:pt x="14" y="2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4" y="15"/>
                        <a:pt x="13" y="16"/>
                        <a:pt x="13" y="16"/>
                      </a:cubicBezTo>
                      <a:cubicBezTo>
                        <a:pt x="13" y="16"/>
                        <a:pt x="12" y="16"/>
                        <a:pt x="12" y="16"/>
                      </a:cubicBezTo>
                      <a:close/>
                      <a:moveTo>
                        <a:pt x="6" y="8"/>
                      </a:move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5" name="Freeform 687">
                  <a:extLst>
                    <a:ext uri="{FF2B5EF4-FFF2-40B4-BE49-F238E27FC236}">
                      <a16:creationId xmlns:a16="http://schemas.microsoft.com/office/drawing/2014/main" id="{4FE046CE-269B-4E42-BC1B-AD6F1CE2DA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00" y="1826"/>
                  <a:ext cx="274" cy="267"/>
                </a:xfrm>
                <a:custGeom>
                  <a:avLst/>
                  <a:gdLst>
                    <a:gd name="T0" fmla="*/ 114 w 116"/>
                    <a:gd name="T1" fmla="*/ 113 h 113"/>
                    <a:gd name="T2" fmla="*/ 113 w 116"/>
                    <a:gd name="T3" fmla="*/ 112 h 113"/>
                    <a:gd name="T4" fmla="*/ 48 w 116"/>
                    <a:gd name="T5" fmla="*/ 75 h 113"/>
                    <a:gd name="T6" fmla="*/ 39 w 116"/>
                    <a:gd name="T7" fmla="*/ 80 h 113"/>
                    <a:gd name="T8" fmla="*/ 37 w 116"/>
                    <a:gd name="T9" fmla="*/ 80 h 113"/>
                    <a:gd name="T10" fmla="*/ 36 w 116"/>
                    <a:gd name="T11" fmla="*/ 78 h 113"/>
                    <a:gd name="T12" fmla="*/ 36 w 116"/>
                    <a:gd name="T13" fmla="*/ 53 h 113"/>
                    <a:gd name="T14" fmla="*/ 1 w 116"/>
                    <a:gd name="T15" fmla="*/ 32 h 113"/>
                    <a:gd name="T16" fmla="*/ 0 w 116"/>
                    <a:gd name="T17" fmla="*/ 31 h 113"/>
                    <a:gd name="T18" fmla="*/ 1 w 116"/>
                    <a:gd name="T19" fmla="*/ 29 h 113"/>
                    <a:gd name="T20" fmla="*/ 50 w 116"/>
                    <a:gd name="T21" fmla="*/ 0 h 113"/>
                    <a:gd name="T22" fmla="*/ 52 w 116"/>
                    <a:gd name="T23" fmla="*/ 0 h 113"/>
                    <a:gd name="T24" fmla="*/ 112 w 116"/>
                    <a:gd name="T25" fmla="*/ 35 h 113"/>
                    <a:gd name="T26" fmla="*/ 113 w 116"/>
                    <a:gd name="T27" fmla="*/ 34 h 113"/>
                    <a:gd name="T28" fmla="*/ 115 w 116"/>
                    <a:gd name="T29" fmla="*/ 34 h 113"/>
                    <a:gd name="T30" fmla="*/ 116 w 116"/>
                    <a:gd name="T31" fmla="*/ 36 h 113"/>
                    <a:gd name="T32" fmla="*/ 116 w 116"/>
                    <a:gd name="T33" fmla="*/ 111 h 113"/>
                    <a:gd name="T34" fmla="*/ 115 w 116"/>
                    <a:gd name="T35" fmla="*/ 112 h 113"/>
                    <a:gd name="T36" fmla="*/ 114 w 116"/>
                    <a:gd name="T37" fmla="*/ 113 h 113"/>
                    <a:gd name="T38" fmla="*/ 48 w 116"/>
                    <a:gd name="T39" fmla="*/ 71 h 113"/>
                    <a:gd name="T40" fmla="*/ 49 w 116"/>
                    <a:gd name="T41" fmla="*/ 71 h 113"/>
                    <a:gd name="T42" fmla="*/ 112 w 116"/>
                    <a:gd name="T43" fmla="*/ 107 h 113"/>
                    <a:gd name="T44" fmla="*/ 112 w 116"/>
                    <a:gd name="T45" fmla="*/ 39 h 113"/>
                    <a:gd name="T46" fmla="*/ 111 w 116"/>
                    <a:gd name="T47" fmla="*/ 39 h 113"/>
                    <a:gd name="T48" fmla="*/ 51 w 116"/>
                    <a:gd name="T49" fmla="*/ 4 h 113"/>
                    <a:gd name="T50" fmla="*/ 6 w 116"/>
                    <a:gd name="T51" fmla="*/ 31 h 113"/>
                    <a:gd name="T52" fmla="*/ 39 w 116"/>
                    <a:gd name="T53" fmla="*/ 50 h 113"/>
                    <a:gd name="T54" fmla="*/ 40 w 116"/>
                    <a:gd name="T55" fmla="*/ 51 h 113"/>
                    <a:gd name="T56" fmla="*/ 40 w 116"/>
                    <a:gd name="T57" fmla="*/ 75 h 113"/>
                    <a:gd name="T58" fmla="*/ 47 w 116"/>
                    <a:gd name="T59" fmla="*/ 71 h 113"/>
                    <a:gd name="T60" fmla="*/ 48 w 116"/>
                    <a:gd name="T61" fmla="*/ 71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6" h="113">
                      <a:moveTo>
                        <a:pt x="114" y="113"/>
                      </a:moveTo>
                      <a:cubicBezTo>
                        <a:pt x="114" y="113"/>
                        <a:pt x="113" y="113"/>
                        <a:pt x="113" y="112"/>
                      </a:cubicBezTo>
                      <a:cubicBezTo>
                        <a:pt x="48" y="75"/>
                        <a:pt x="48" y="75"/>
                        <a:pt x="48" y="75"/>
                      </a:cubicBezTo>
                      <a:cubicBezTo>
                        <a:pt x="39" y="80"/>
                        <a:pt x="39" y="80"/>
                        <a:pt x="39" y="80"/>
                      </a:cubicBezTo>
                      <a:cubicBezTo>
                        <a:pt x="38" y="80"/>
                        <a:pt x="37" y="80"/>
                        <a:pt x="37" y="80"/>
                      </a:cubicBezTo>
                      <a:cubicBezTo>
                        <a:pt x="36" y="80"/>
                        <a:pt x="36" y="79"/>
                        <a:pt x="36" y="78"/>
                      </a:cubicBezTo>
                      <a:cubicBezTo>
                        <a:pt x="36" y="53"/>
                        <a:pt x="36" y="53"/>
                        <a:pt x="36" y="53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1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2" y="0"/>
                        <a:pt x="52" y="0"/>
                      </a:cubicBezTo>
                      <a:cubicBezTo>
                        <a:pt x="112" y="35"/>
                        <a:pt x="112" y="35"/>
                        <a:pt x="112" y="35"/>
                      </a:cubicBezTo>
                      <a:cubicBezTo>
                        <a:pt x="113" y="34"/>
                        <a:pt x="113" y="34"/>
                        <a:pt x="113" y="34"/>
                      </a:cubicBezTo>
                      <a:cubicBezTo>
                        <a:pt x="114" y="34"/>
                        <a:pt x="114" y="34"/>
                        <a:pt x="115" y="34"/>
                      </a:cubicBezTo>
                      <a:cubicBezTo>
                        <a:pt x="116" y="35"/>
                        <a:pt x="116" y="35"/>
                        <a:pt x="116" y="36"/>
                      </a:cubicBezTo>
                      <a:cubicBezTo>
                        <a:pt x="116" y="111"/>
                        <a:pt x="116" y="111"/>
                        <a:pt x="116" y="111"/>
                      </a:cubicBezTo>
                      <a:cubicBezTo>
                        <a:pt x="116" y="111"/>
                        <a:pt x="116" y="112"/>
                        <a:pt x="115" y="112"/>
                      </a:cubicBezTo>
                      <a:cubicBezTo>
                        <a:pt x="115" y="113"/>
                        <a:pt x="114" y="113"/>
                        <a:pt x="114" y="113"/>
                      </a:cubicBezTo>
                      <a:close/>
                      <a:moveTo>
                        <a:pt x="48" y="71"/>
                      </a:moveTo>
                      <a:cubicBezTo>
                        <a:pt x="48" y="71"/>
                        <a:pt x="49" y="71"/>
                        <a:pt x="49" y="71"/>
                      </a:cubicBezTo>
                      <a:cubicBezTo>
                        <a:pt x="112" y="107"/>
                        <a:pt x="112" y="107"/>
                        <a:pt x="112" y="107"/>
                      </a:cubicBezTo>
                      <a:cubicBezTo>
                        <a:pt x="112" y="39"/>
                        <a:pt x="112" y="39"/>
                        <a:pt x="112" y="39"/>
                      </a:cubicBezTo>
                      <a:cubicBezTo>
                        <a:pt x="112" y="39"/>
                        <a:pt x="112" y="39"/>
                        <a:pt x="111" y="39"/>
                      </a:cubicBezTo>
                      <a:cubicBezTo>
                        <a:pt x="51" y="4"/>
                        <a:pt x="51" y="4"/>
                        <a:pt x="51" y="4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39" y="50"/>
                        <a:pt x="39" y="50"/>
                        <a:pt x="39" y="50"/>
                      </a:cubicBezTo>
                      <a:cubicBezTo>
                        <a:pt x="39" y="50"/>
                        <a:pt x="40" y="51"/>
                        <a:pt x="40" y="51"/>
                      </a:cubicBezTo>
                      <a:cubicBezTo>
                        <a:pt x="40" y="75"/>
                        <a:pt x="40" y="75"/>
                        <a:pt x="40" y="75"/>
                      </a:cubicBezTo>
                      <a:cubicBezTo>
                        <a:pt x="47" y="71"/>
                        <a:pt x="47" y="71"/>
                        <a:pt x="47" y="71"/>
                      </a:cubicBezTo>
                      <a:cubicBezTo>
                        <a:pt x="47" y="71"/>
                        <a:pt x="48" y="71"/>
                        <a:pt x="48" y="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6" name="Freeform 688">
                  <a:extLst>
                    <a:ext uri="{FF2B5EF4-FFF2-40B4-BE49-F238E27FC236}">
                      <a16:creationId xmlns:a16="http://schemas.microsoft.com/office/drawing/2014/main" id="{722C292D-94C5-4C32-93CC-D0F71349AC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1895"/>
                  <a:ext cx="133" cy="193"/>
                </a:xfrm>
                <a:custGeom>
                  <a:avLst/>
                  <a:gdLst>
                    <a:gd name="T0" fmla="*/ 2 w 56"/>
                    <a:gd name="T1" fmla="*/ 82 h 82"/>
                    <a:gd name="T2" fmla="*/ 1 w 56"/>
                    <a:gd name="T3" fmla="*/ 82 h 82"/>
                    <a:gd name="T4" fmla="*/ 0 w 56"/>
                    <a:gd name="T5" fmla="*/ 80 h 82"/>
                    <a:gd name="T6" fmla="*/ 0 w 56"/>
                    <a:gd name="T7" fmla="*/ 12 h 82"/>
                    <a:gd name="T8" fmla="*/ 1 w 56"/>
                    <a:gd name="T9" fmla="*/ 10 h 82"/>
                    <a:gd name="T10" fmla="*/ 17 w 56"/>
                    <a:gd name="T11" fmla="*/ 1 h 82"/>
                    <a:gd name="T12" fmla="*/ 19 w 56"/>
                    <a:gd name="T13" fmla="*/ 1 h 82"/>
                    <a:gd name="T14" fmla="*/ 55 w 56"/>
                    <a:gd name="T15" fmla="*/ 22 h 82"/>
                    <a:gd name="T16" fmla="*/ 56 w 56"/>
                    <a:gd name="T17" fmla="*/ 23 h 82"/>
                    <a:gd name="T18" fmla="*/ 56 w 56"/>
                    <a:gd name="T19" fmla="*/ 50 h 82"/>
                    <a:gd name="T20" fmla="*/ 55 w 56"/>
                    <a:gd name="T21" fmla="*/ 52 h 82"/>
                    <a:gd name="T22" fmla="*/ 3 w 56"/>
                    <a:gd name="T23" fmla="*/ 82 h 82"/>
                    <a:gd name="T24" fmla="*/ 2 w 56"/>
                    <a:gd name="T25" fmla="*/ 82 h 82"/>
                    <a:gd name="T26" fmla="*/ 4 w 56"/>
                    <a:gd name="T27" fmla="*/ 13 h 82"/>
                    <a:gd name="T28" fmla="*/ 4 w 56"/>
                    <a:gd name="T29" fmla="*/ 77 h 82"/>
                    <a:gd name="T30" fmla="*/ 52 w 56"/>
                    <a:gd name="T31" fmla="*/ 49 h 82"/>
                    <a:gd name="T32" fmla="*/ 52 w 56"/>
                    <a:gd name="T33" fmla="*/ 25 h 82"/>
                    <a:gd name="T34" fmla="*/ 18 w 56"/>
                    <a:gd name="T35" fmla="*/ 5 h 82"/>
                    <a:gd name="T36" fmla="*/ 4 w 56"/>
                    <a:gd name="T37" fmla="*/ 13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6" h="82">
                      <a:moveTo>
                        <a:pt x="2" y="82"/>
                      </a:moveTo>
                      <a:cubicBezTo>
                        <a:pt x="2" y="82"/>
                        <a:pt x="2" y="82"/>
                        <a:pt x="1" y="82"/>
                      </a:cubicBezTo>
                      <a:cubicBezTo>
                        <a:pt x="1" y="82"/>
                        <a:pt x="0" y="81"/>
                        <a:pt x="0" y="80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1"/>
                        <a:pt x="1" y="10"/>
                        <a:pt x="1" y="10"/>
                      </a:cubicBezTo>
                      <a:cubicBezTo>
                        <a:pt x="17" y="1"/>
                        <a:pt x="17" y="1"/>
                        <a:pt x="17" y="1"/>
                      </a:cubicBezTo>
                      <a:cubicBezTo>
                        <a:pt x="18" y="0"/>
                        <a:pt x="18" y="0"/>
                        <a:pt x="19" y="1"/>
                      </a:cubicBezTo>
                      <a:cubicBezTo>
                        <a:pt x="55" y="22"/>
                        <a:pt x="55" y="22"/>
                        <a:pt x="55" y="22"/>
                      </a:cubicBezTo>
                      <a:cubicBezTo>
                        <a:pt x="56" y="22"/>
                        <a:pt x="56" y="23"/>
                        <a:pt x="56" y="23"/>
                      </a:cubicBezTo>
                      <a:cubicBezTo>
                        <a:pt x="56" y="50"/>
                        <a:pt x="56" y="50"/>
                        <a:pt x="56" y="50"/>
                      </a:cubicBezTo>
                      <a:cubicBezTo>
                        <a:pt x="56" y="51"/>
                        <a:pt x="56" y="52"/>
                        <a:pt x="55" y="52"/>
                      </a:cubicBezTo>
                      <a:cubicBezTo>
                        <a:pt x="3" y="82"/>
                        <a:pt x="3" y="82"/>
                        <a:pt x="3" y="82"/>
                      </a:cubicBezTo>
                      <a:cubicBezTo>
                        <a:pt x="3" y="82"/>
                        <a:pt x="3" y="82"/>
                        <a:pt x="2" y="82"/>
                      </a:cubicBezTo>
                      <a:close/>
                      <a:moveTo>
                        <a:pt x="4" y="13"/>
                      </a:moveTo>
                      <a:cubicBezTo>
                        <a:pt x="4" y="77"/>
                        <a:pt x="4" y="77"/>
                        <a:pt x="4" y="77"/>
                      </a:cubicBezTo>
                      <a:cubicBezTo>
                        <a:pt x="52" y="49"/>
                        <a:pt x="52" y="49"/>
                        <a:pt x="52" y="49"/>
                      </a:cubicBezTo>
                      <a:cubicBezTo>
                        <a:pt x="52" y="25"/>
                        <a:pt x="52" y="25"/>
                        <a:pt x="52" y="25"/>
                      </a:cubicBezTo>
                      <a:cubicBezTo>
                        <a:pt x="18" y="5"/>
                        <a:pt x="18" y="5"/>
                        <a:pt x="18" y="5"/>
                      </a:cubicBezTo>
                      <a:lnTo>
                        <a:pt x="4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7" name="Freeform 689">
                  <a:extLst>
                    <a:ext uri="{FF2B5EF4-FFF2-40B4-BE49-F238E27FC236}">
                      <a16:creationId xmlns:a16="http://schemas.microsoft.com/office/drawing/2014/main" id="{0BFDB1C1-7F6A-466A-BC35-891F27309C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999" y="1637"/>
                  <a:ext cx="291" cy="173"/>
                </a:xfrm>
                <a:custGeom>
                  <a:avLst/>
                  <a:gdLst>
                    <a:gd name="T0" fmla="*/ 17 w 123"/>
                    <a:gd name="T1" fmla="*/ 73 h 73"/>
                    <a:gd name="T2" fmla="*/ 16 w 123"/>
                    <a:gd name="T3" fmla="*/ 72 h 73"/>
                    <a:gd name="T4" fmla="*/ 1 w 123"/>
                    <a:gd name="T5" fmla="*/ 64 h 73"/>
                    <a:gd name="T6" fmla="*/ 0 w 123"/>
                    <a:gd name="T7" fmla="*/ 62 h 73"/>
                    <a:gd name="T8" fmla="*/ 1 w 123"/>
                    <a:gd name="T9" fmla="*/ 60 h 73"/>
                    <a:gd name="T10" fmla="*/ 105 w 123"/>
                    <a:gd name="T11" fmla="*/ 0 h 73"/>
                    <a:gd name="T12" fmla="*/ 107 w 123"/>
                    <a:gd name="T13" fmla="*/ 0 h 73"/>
                    <a:gd name="T14" fmla="*/ 122 w 123"/>
                    <a:gd name="T15" fmla="*/ 9 h 73"/>
                    <a:gd name="T16" fmla="*/ 123 w 123"/>
                    <a:gd name="T17" fmla="*/ 10 h 73"/>
                    <a:gd name="T18" fmla="*/ 122 w 123"/>
                    <a:gd name="T19" fmla="*/ 12 h 73"/>
                    <a:gd name="T20" fmla="*/ 18 w 123"/>
                    <a:gd name="T21" fmla="*/ 72 h 73"/>
                    <a:gd name="T22" fmla="*/ 17 w 123"/>
                    <a:gd name="T23" fmla="*/ 73 h 73"/>
                    <a:gd name="T24" fmla="*/ 6 w 123"/>
                    <a:gd name="T25" fmla="*/ 62 h 73"/>
                    <a:gd name="T26" fmla="*/ 17 w 123"/>
                    <a:gd name="T27" fmla="*/ 68 h 73"/>
                    <a:gd name="T28" fmla="*/ 117 w 123"/>
                    <a:gd name="T29" fmla="*/ 10 h 73"/>
                    <a:gd name="T30" fmla="*/ 106 w 123"/>
                    <a:gd name="T31" fmla="*/ 4 h 73"/>
                    <a:gd name="T32" fmla="*/ 6 w 123"/>
                    <a:gd name="T33" fmla="*/ 62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3" h="73">
                      <a:moveTo>
                        <a:pt x="17" y="73"/>
                      </a:moveTo>
                      <a:cubicBezTo>
                        <a:pt x="17" y="73"/>
                        <a:pt x="17" y="72"/>
                        <a:pt x="16" y="72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3"/>
                        <a:pt x="0" y="63"/>
                        <a:pt x="0" y="62"/>
                      </a:cubicBezTo>
                      <a:cubicBezTo>
                        <a:pt x="0" y="61"/>
                        <a:pt x="1" y="61"/>
                        <a:pt x="1" y="60"/>
                      </a:cubicBezTo>
                      <a:cubicBezTo>
                        <a:pt x="105" y="0"/>
                        <a:pt x="105" y="0"/>
                        <a:pt x="105" y="0"/>
                      </a:cubicBezTo>
                      <a:cubicBezTo>
                        <a:pt x="106" y="0"/>
                        <a:pt x="107" y="0"/>
                        <a:pt x="107" y="0"/>
                      </a:cubicBezTo>
                      <a:cubicBezTo>
                        <a:pt x="122" y="9"/>
                        <a:pt x="122" y="9"/>
                        <a:pt x="122" y="9"/>
                      </a:cubicBezTo>
                      <a:cubicBezTo>
                        <a:pt x="123" y="9"/>
                        <a:pt x="123" y="10"/>
                        <a:pt x="123" y="10"/>
                      </a:cubicBezTo>
                      <a:cubicBezTo>
                        <a:pt x="123" y="11"/>
                        <a:pt x="123" y="12"/>
                        <a:pt x="122" y="12"/>
                      </a:cubicBezTo>
                      <a:cubicBezTo>
                        <a:pt x="18" y="72"/>
                        <a:pt x="18" y="72"/>
                        <a:pt x="18" y="72"/>
                      </a:cubicBezTo>
                      <a:cubicBezTo>
                        <a:pt x="18" y="72"/>
                        <a:pt x="18" y="73"/>
                        <a:pt x="17" y="73"/>
                      </a:cubicBezTo>
                      <a:close/>
                      <a:moveTo>
                        <a:pt x="6" y="62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17" y="10"/>
                        <a:pt x="117" y="10"/>
                        <a:pt x="117" y="10"/>
                      </a:cubicBezTo>
                      <a:cubicBezTo>
                        <a:pt x="106" y="4"/>
                        <a:pt x="106" y="4"/>
                        <a:pt x="106" y="4"/>
                      </a:cubicBezTo>
                      <a:lnTo>
                        <a:pt x="6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8" name="Freeform 690">
                  <a:extLst>
                    <a:ext uri="{FF2B5EF4-FFF2-40B4-BE49-F238E27FC236}">
                      <a16:creationId xmlns:a16="http://schemas.microsoft.com/office/drawing/2014/main" id="{8EB52347-47A7-40DD-B531-813A810457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1250"/>
                  <a:ext cx="90" cy="101"/>
                </a:xfrm>
                <a:custGeom>
                  <a:avLst/>
                  <a:gdLst>
                    <a:gd name="T0" fmla="*/ 2 w 38"/>
                    <a:gd name="T1" fmla="*/ 43 h 43"/>
                    <a:gd name="T2" fmla="*/ 1 w 38"/>
                    <a:gd name="T3" fmla="*/ 43 h 43"/>
                    <a:gd name="T4" fmla="*/ 0 w 38"/>
                    <a:gd name="T5" fmla="*/ 41 h 43"/>
                    <a:gd name="T6" fmla="*/ 0 w 38"/>
                    <a:gd name="T7" fmla="*/ 2 h 43"/>
                    <a:gd name="T8" fmla="*/ 1 w 38"/>
                    <a:gd name="T9" fmla="*/ 1 h 43"/>
                    <a:gd name="T10" fmla="*/ 3 w 38"/>
                    <a:gd name="T11" fmla="*/ 1 h 43"/>
                    <a:gd name="T12" fmla="*/ 37 w 38"/>
                    <a:gd name="T13" fmla="*/ 20 h 43"/>
                    <a:gd name="T14" fmla="*/ 38 w 38"/>
                    <a:gd name="T15" fmla="*/ 22 h 43"/>
                    <a:gd name="T16" fmla="*/ 37 w 38"/>
                    <a:gd name="T17" fmla="*/ 23 h 43"/>
                    <a:gd name="T18" fmla="*/ 3 w 38"/>
                    <a:gd name="T19" fmla="*/ 43 h 43"/>
                    <a:gd name="T20" fmla="*/ 2 w 38"/>
                    <a:gd name="T21" fmla="*/ 43 h 43"/>
                    <a:gd name="T22" fmla="*/ 4 w 38"/>
                    <a:gd name="T23" fmla="*/ 6 h 43"/>
                    <a:gd name="T24" fmla="*/ 4 w 38"/>
                    <a:gd name="T25" fmla="*/ 37 h 43"/>
                    <a:gd name="T26" fmla="*/ 32 w 38"/>
                    <a:gd name="T27" fmla="*/ 22 h 43"/>
                    <a:gd name="T28" fmla="*/ 4 w 38"/>
                    <a:gd name="T29" fmla="*/ 6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8" h="43">
                      <a:moveTo>
                        <a:pt x="2" y="43"/>
                      </a:moveTo>
                      <a:cubicBezTo>
                        <a:pt x="2" y="43"/>
                        <a:pt x="1" y="43"/>
                        <a:pt x="1" y="43"/>
                      </a:cubicBezTo>
                      <a:cubicBezTo>
                        <a:pt x="0" y="42"/>
                        <a:pt x="0" y="42"/>
                        <a:pt x="0" y="4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2"/>
                      </a:cubicBezTo>
                      <a:cubicBezTo>
                        <a:pt x="38" y="22"/>
                        <a:pt x="37" y="23"/>
                        <a:pt x="37" y="23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3" y="43"/>
                        <a:pt x="2" y="43"/>
                        <a:pt x="2" y="43"/>
                      </a:cubicBezTo>
                      <a:close/>
                      <a:moveTo>
                        <a:pt x="4" y="6"/>
                      </a:move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9" name="Freeform 691">
                  <a:extLst>
                    <a:ext uri="{FF2B5EF4-FFF2-40B4-BE49-F238E27FC236}">
                      <a16:creationId xmlns:a16="http://schemas.microsoft.com/office/drawing/2014/main" id="{77536C33-0B7D-4F13-90C3-22FD9A0207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2095"/>
                  <a:ext cx="64" cy="43"/>
                </a:xfrm>
                <a:custGeom>
                  <a:avLst/>
                  <a:gdLst>
                    <a:gd name="T0" fmla="*/ 14 w 27"/>
                    <a:gd name="T1" fmla="*/ 18 h 18"/>
                    <a:gd name="T2" fmla="*/ 13 w 27"/>
                    <a:gd name="T3" fmla="*/ 18 h 18"/>
                    <a:gd name="T4" fmla="*/ 1 w 27"/>
                    <a:gd name="T5" fmla="*/ 11 h 18"/>
                    <a:gd name="T6" fmla="*/ 0 w 27"/>
                    <a:gd name="T7" fmla="*/ 9 h 18"/>
                    <a:gd name="T8" fmla="*/ 0 w 27"/>
                    <a:gd name="T9" fmla="*/ 7 h 18"/>
                    <a:gd name="T10" fmla="*/ 1 w 27"/>
                    <a:gd name="T11" fmla="*/ 5 h 18"/>
                    <a:gd name="T12" fmla="*/ 10 w 27"/>
                    <a:gd name="T13" fmla="*/ 0 h 18"/>
                    <a:gd name="T14" fmla="*/ 12 w 27"/>
                    <a:gd name="T15" fmla="*/ 0 h 18"/>
                    <a:gd name="T16" fmla="*/ 26 w 27"/>
                    <a:gd name="T17" fmla="*/ 8 h 18"/>
                    <a:gd name="T18" fmla="*/ 27 w 27"/>
                    <a:gd name="T19" fmla="*/ 10 h 18"/>
                    <a:gd name="T20" fmla="*/ 26 w 27"/>
                    <a:gd name="T21" fmla="*/ 11 h 18"/>
                    <a:gd name="T22" fmla="*/ 15 w 27"/>
                    <a:gd name="T23" fmla="*/ 18 h 18"/>
                    <a:gd name="T24" fmla="*/ 14 w 27"/>
                    <a:gd name="T25" fmla="*/ 18 h 18"/>
                    <a:gd name="T26" fmla="*/ 4 w 27"/>
                    <a:gd name="T27" fmla="*/ 8 h 18"/>
                    <a:gd name="T28" fmla="*/ 14 w 27"/>
                    <a:gd name="T29" fmla="*/ 14 h 18"/>
                    <a:gd name="T30" fmla="*/ 21 w 27"/>
                    <a:gd name="T31" fmla="*/ 10 h 18"/>
                    <a:gd name="T32" fmla="*/ 11 w 27"/>
                    <a:gd name="T33" fmla="*/ 4 h 18"/>
                    <a:gd name="T34" fmla="*/ 4 w 27"/>
                    <a:gd name="T35" fmla="*/ 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7" h="18">
                      <a:moveTo>
                        <a:pt x="14" y="18"/>
                      </a:moveTo>
                      <a:cubicBezTo>
                        <a:pt x="14" y="18"/>
                        <a:pt x="13" y="18"/>
                        <a:pt x="13" y="18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0"/>
                        <a:pt x="0" y="10"/>
                        <a:pt x="0" y="9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1" y="0"/>
                        <a:pt x="11" y="0"/>
                        <a:pt x="12" y="0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27" y="8"/>
                        <a:pt x="27" y="9"/>
                        <a:pt x="27" y="10"/>
                      </a:cubicBezTo>
                      <a:cubicBezTo>
                        <a:pt x="27" y="10"/>
                        <a:pt x="27" y="11"/>
                        <a:pt x="26" y="11"/>
                      </a:cubicBezTo>
                      <a:cubicBezTo>
                        <a:pt x="15" y="18"/>
                        <a:pt x="15" y="18"/>
                        <a:pt x="15" y="18"/>
                      </a:cubicBezTo>
                      <a:cubicBezTo>
                        <a:pt x="15" y="18"/>
                        <a:pt x="14" y="18"/>
                        <a:pt x="14" y="18"/>
                      </a:cubicBezTo>
                      <a:close/>
                      <a:moveTo>
                        <a:pt x="4" y="8"/>
                      </a:move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11" y="4"/>
                        <a:pt x="11" y="4"/>
                        <a:pt x="11" y="4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0" name="Freeform 692">
                  <a:extLst>
                    <a:ext uri="{FF2B5EF4-FFF2-40B4-BE49-F238E27FC236}">
                      <a16:creationId xmlns:a16="http://schemas.microsoft.com/office/drawing/2014/main" id="{FB3C4CA0-22CC-4433-8FF2-A22289213F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85" y="1831"/>
                  <a:ext cx="654" cy="633"/>
                </a:xfrm>
                <a:custGeom>
                  <a:avLst/>
                  <a:gdLst>
                    <a:gd name="T0" fmla="*/ 80 w 277"/>
                    <a:gd name="T1" fmla="*/ 268 h 268"/>
                    <a:gd name="T2" fmla="*/ 79 w 277"/>
                    <a:gd name="T3" fmla="*/ 267 h 268"/>
                    <a:gd name="T4" fmla="*/ 1 w 277"/>
                    <a:gd name="T5" fmla="*/ 223 h 268"/>
                    <a:gd name="T6" fmla="*/ 0 w 277"/>
                    <a:gd name="T7" fmla="*/ 221 h 268"/>
                    <a:gd name="T8" fmla="*/ 0 w 277"/>
                    <a:gd name="T9" fmla="*/ 215 h 268"/>
                    <a:gd name="T10" fmla="*/ 1 w 277"/>
                    <a:gd name="T11" fmla="*/ 214 h 268"/>
                    <a:gd name="T12" fmla="*/ 3 w 277"/>
                    <a:gd name="T13" fmla="*/ 214 h 268"/>
                    <a:gd name="T14" fmla="*/ 12 w 277"/>
                    <a:gd name="T15" fmla="*/ 219 h 268"/>
                    <a:gd name="T16" fmla="*/ 61 w 277"/>
                    <a:gd name="T17" fmla="*/ 191 h 268"/>
                    <a:gd name="T18" fmla="*/ 63 w 277"/>
                    <a:gd name="T19" fmla="*/ 191 h 268"/>
                    <a:gd name="T20" fmla="*/ 126 w 277"/>
                    <a:gd name="T21" fmla="*/ 227 h 268"/>
                    <a:gd name="T22" fmla="*/ 201 w 277"/>
                    <a:gd name="T23" fmla="*/ 184 h 268"/>
                    <a:gd name="T24" fmla="*/ 144 w 277"/>
                    <a:gd name="T25" fmla="*/ 151 h 268"/>
                    <a:gd name="T26" fmla="*/ 143 w 277"/>
                    <a:gd name="T27" fmla="*/ 149 h 268"/>
                    <a:gd name="T28" fmla="*/ 143 w 277"/>
                    <a:gd name="T29" fmla="*/ 77 h 268"/>
                    <a:gd name="T30" fmla="*/ 90 w 277"/>
                    <a:gd name="T31" fmla="*/ 46 h 268"/>
                    <a:gd name="T32" fmla="*/ 89 w 277"/>
                    <a:gd name="T33" fmla="*/ 44 h 268"/>
                    <a:gd name="T34" fmla="*/ 90 w 277"/>
                    <a:gd name="T35" fmla="*/ 42 h 268"/>
                    <a:gd name="T36" fmla="*/ 145 w 277"/>
                    <a:gd name="T37" fmla="*/ 11 h 268"/>
                    <a:gd name="T38" fmla="*/ 145 w 277"/>
                    <a:gd name="T39" fmla="*/ 2 h 268"/>
                    <a:gd name="T40" fmla="*/ 146 w 277"/>
                    <a:gd name="T41" fmla="*/ 1 h 268"/>
                    <a:gd name="T42" fmla="*/ 148 w 277"/>
                    <a:gd name="T43" fmla="*/ 1 h 268"/>
                    <a:gd name="T44" fmla="*/ 208 w 277"/>
                    <a:gd name="T45" fmla="*/ 36 h 268"/>
                    <a:gd name="T46" fmla="*/ 209 w 277"/>
                    <a:gd name="T47" fmla="*/ 37 h 268"/>
                    <a:gd name="T48" fmla="*/ 208 w 277"/>
                    <a:gd name="T49" fmla="*/ 39 h 268"/>
                    <a:gd name="T50" fmla="*/ 157 w 277"/>
                    <a:gd name="T51" fmla="*/ 69 h 268"/>
                    <a:gd name="T52" fmla="*/ 157 w 277"/>
                    <a:gd name="T53" fmla="*/ 142 h 268"/>
                    <a:gd name="T54" fmla="*/ 209 w 277"/>
                    <a:gd name="T55" fmla="*/ 113 h 268"/>
                    <a:gd name="T56" fmla="*/ 211 w 277"/>
                    <a:gd name="T57" fmla="*/ 113 h 268"/>
                    <a:gd name="T58" fmla="*/ 211 w 277"/>
                    <a:gd name="T59" fmla="*/ 113 h 268"/>
                    <a:gd name="T60" fmla="*/ 276 w 277"/>
                    <a:gd name="T61" fmla="*/ 151 h 268"/>
                    <a:gd name="T62" fmla="*/ 277 w 277"/>
                    <a:gd name="T63" fmla="*/ 153 h 268"/>
                    <a:gd name="T64" fmla="*/ 276 w 277"/>
                    <a:gd name="T65" fmla="*/ 154 h 268"/>
                    <a:gd name="T66" fmla="*/ 81 w 277"/>
                    <a:gd name="T67" fmla="*/ 267 h 268"/>
                    <a:gd name="T68" fmla="*/ 80 w 277"/>
                    <a:gd name="T69" fmla="*/ 268 h 268"/>
                    <a:gd name="T70" fmla="*/ 4 w 277"/>
                    <a:gd name="T71" fmla="*/ 220 h 268"/>
                    <a:gd name="T72" fmla="*/ 80 w 277"/>
                    <a:gd name="T73" fmla="*/ 263 h 268"/>
                    <a:gd name="T74" fmla="*/ 271 w 277"/>
                    <a:gd name="T75" fmla="*/ 153 h 268"/>
                    <a:gd name="T76" fmla="*/ 209 w 277"/>
                    <a:gd name="T77" fmla="*/ 117 h 268"/>
                    <a:gd name="T78" fmla="*/ 156 w 277"/>
                    <a:gd name="T79" fmla="*/ 147 h 268"/>
                    <a:gd name="T80" fmla="*/ 154 w 277"/>
                    <a:gd name="T81" fmla="*/ 147 h 268"/>
                    <a:gd name="T82" fmla="*/ 153 w 277"/>
                    <a:gd name="T83" fmla="*/ 146 h 268"/>
                    <a:gd name="T84" fmla="*/ 153 w 277"/>
                    <a:gd name="T85" fmla="*/ 67 h 268"/>
                    <a:gd name="T86" fmla="*/ 154 w 277"/>
                    <a:gd name="T87" fmla="*/ 66 h 268"/>
                    <a:gd name="T88" fmla="*/ 203 w 277"/>
                    <a:gd name="T89" fmla="*/ 37 h 268"/>
                    <a:gd name="T90" fmla="*/ 149 w 277"/>
                    <a:gd name="T91" fmla="*/ 6 h 268"/>
                    <a:gd name="T92" fmla="*/ 149 w 277"/>
                    <a:gd name="T93" fmla="*/ 12 h 268"/>
                    <a:gd name="T94" fmla="*/ 148 w 277"/>
                    <a:gd name="T95" fmla="*/ 14 h 268"/>
                    <a:gd name="T96" fmla="*/ 95 w 277"/>
                    <a:gd name="T97" fmla="*/ 44 h 268"/>
                    <a:gd name="T98" fmla="*/ 146 w 277"/>
                    <a:gd name="T99" fmla="*/ 74 h 268"/>
                    <a:gd name="T100" fmla="*/ 147 w 277"/>
                    <a:gd name="T101" fmla="*/ 76 h 268"/>
                    <a:gd name="T102" fmla="*/ 147 w 277"/>
                    <a:gd name="T103" fmla="*/ 148 h 268"/>
                    <a:gd name="T104" fmla="*/ 206 w 277"/>
                    <a:gd name="T105" fmla="*/ 182 h 268"/>
                    <a:gd name="T106" fmla="*/ 207 w 277"/>
                    <a:gd name="T107" fmla="*/ 184 h 268"/>
                    <a:gd name="T108" fmla="*/ 206 w 277"/>
                    <a:gd name="T109" fmla="*/ 186 h 268"/>
                    <a:gd name="T110" fmla="*/ 127 w 277"/>
                    <a:gd name="T111" fmla="*/ 231 h 268"/>
                    <a:gd name="T112" fmla="*/ 125 w 277"/>
                    <a:gd name="T113" fmla="*/ 231 h 268"/>
                    <a:gd name="T114" fmla="*/ 62 w 277"/>
                    <a:gd name="T115" fmla="*/ 195 h 268"/>
                    <a:gd name="T116" fmla="*/ 13 w 277"/>
                    <a:gd name="T117" fmla="*/ 223 h 268"/>
                    <a:gd name="T118" fmla="*/ 11 w 277"/>
                    <a:gd name="T119" fmla="*/ 223 h 268"/>
                    <a:gd name="T120" fmla="*/ 4 w 277"/>
                    <a:gd name="T121" fmla="*/ 219 h 268"/>
                    <a:gd name="T122" fmla="*/ 4 w 277"/>
                    <a:gd name="T123" fmla="*/ 220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7" h="268">
                      <a:moveTo>
                        <a:pt x="80" y="268"/>
                      </a:moveTo>
                      <a:cubicBezTo>
                        <a:pt x="79" y="268"/>
                        <a:pt x="79" y="268"/>
                        <a:pt x="79" y="267"/>
                      </a:cubicBezTo>
                      <a:cubicBezTo>
                        <a:pt x="1" y="223"/>
                        <a:pt x="1" y="223"/>
                        <a:pt x="1" y="223"/>
                      </a:cubicBezTo>
                      <a:cubicBezTo>
                        <a:pt x="0" y="222"/>
                        <a:pt x="0" y="222"/>
                        <a:pt x="0" y="221"/>
                      </a:cubicBezTo>
                      <a:cubicBezTo>
                        <a:pt x="0" y="215"/>
                        <a:pt x="0" y="215"/>
                        <a:pt x="0" y="215"/>
                      </a:cubicBezTo>
                      <a:cubicBezTo>
                        <a:pt x="0" y="215"/>
                        <a:pt x="0" y="214"/>
                        <a:pt x="1" y="214"/>
                      </a:cubicBezTo>
                      <a:cubicBezTo>
                        <a:pt x="1" y="213"/>
                        <a:pt x="2" y="213"/>
                        <a:pt x="3" y="214"/>
                      </a:cubicBezTo>
                      <a:cubicBezTo>
                        <a:pt x="12" y="219"/>
                        <a:pt x="12" y="219"/>
                        <a:pt x="12" y="219"/>
                      </a:cubicBezTo>
                      <a:cubicBezTo>
                        <a:pt x="61" y="191"/>
                        <a:pt x="61" y="191"/>
                        <a:pt x="61" y="191"/>
                      </a:cubicBezTo>
                      <a:cubicBezTo>
                        <a:pt x="62" y="190"/>
                        <a:pt x="62" y="190"/>
                        <a:pt x="63" y="191"/>
                      </a:cubicBezTo>
                      <a:cubicBezTo>
                        <a:pt x="126" y="227"/>
                        <a:pt x="126" y="227"/>
                        <a:pt x="126" y="227"/>
                      </a:cubicBezTo>
                      <a:cubicBezTo>
                        <a:pt x="201" y="184"/>
                        <a:pt x="201" y="184"/>
                        <a:pt x="201" y="184"/>
                      </a:cubicBezTo>
                      <a:cubicBezTo>
                        <a:pt x="144" y="151"/>
                        <a:pt x="144" y="151"/>
                        <a:pt x="144" y="151"/>
                      </a:cubicBezTo>
                      <a:cubicBezTo>
                        <a:pt x="144" y="151"/>
                        <a:pt x="143" y="150"/>
                        <a:pt x="143" y="149"/>
                      </a:cubicBezTo>
                      <a:cubicBezTo>
                        <a:pt x="143" y="77"/>
                        <a:pt x="143" y="77"/>
                        <a:pt x="143" y="77"/>
                      </a:cubicBezTo>
                      <a:cubicBezTo>
                        <a:pt x="90" y="46"/>
                        <a:pt x="90" y="46"/>
                        <a:pt x="90" y="46"/>
                      </a:cubicBezTo>
                      <a:cubicBezTo>
                        <a:pt x="89" y="46"/>
                        <a:pt x="89" y="45"/>
                        <a:pt x="89" y="44"/>
                      </a:cubicBezTo>
                      <a:cubicBezTo>
                        <a:pt x="89" y="43"/>
                        <a:pt x="89" y="43"/>
                        <a:pt x="90" y="42"/>
                      </a:cubicBezTo>
                      <a:cubicBezTo>
                        <a:pt x="145" y="11"/>
                        <a:pt x="145" y="11"/>
                        <a:pt x="145" y="11"/>
                      </a:cubicBezTo>
                      <a:cubicBezTo>
                        <a:pt x="145" y="2"/>
                        <a:pt x="145" y="2"/>
                        <a:pt x="145" y="2"/>
                      </a:cubicBezTo>
                      <a:cubicBezTo>
                        <a:pt x="145" y="2"/>
                        <a:pt x="145" y="1"/>
                        <a:pt x="146" y="1"/>
                      </a:cubicBezTo>
                      <a:cubicBezTo>
                        <a:pt x="146" y="0"/>
                        <a:pt x="147" y="0"/>
                        <a:pt x="148" y="1"/>
                      </a:cubicBezTo>
                      <a:cubicBezTo>
                        <a:pt x="208" y="36"/>
                        <a:pt x="208" y="36"/>
                        <a:pt x="208" y="36"/>
                      </a:cubicBezTo>
                      <a:cubicBezTo>
                        <a:pt x="209" y="36"/>
                        <a:pt x="209" y="37"/>
                        <a:pt x="209" y="37"/>
                      </a:cubicBezTo>
                      <a:cubicBezTo>
                        <a:pt x="209" y="38"/>
                        <a:pt x="209" y="39"/>
                        <a:pt x="208" y="39"/>
                      </a:cubicBezTo>
                      <a:cubicBezTo>
                        <a:pt x="157" y="69"/>
                        <a:pt x="157" y="69"/>
                        <a:pt x="157" y="69"/>
                      </a:cubicBezTo>
                      <a:cubicBezTo>
                        <a:pt x="157" y="142"/>
                        <a:pt x="157" y="142"/>
                        <a:pt x="157" y="142"/>
                      </a:cubicBezTo>
                      <a:cubicBezTo>
                        <a:pt x="209" y="113"/>
                        <a:pt x="209" y="113"/>
                        <a:pt x="209" y="113"/>
                      </a:cubicBezTo>
                      <a:cubicBezTo>
                        <a:pt x="209" y="112"/>
                        <a:pt x="210" y="112"/>
                        <a:pt x="211" y="113"/>
                      </a:cubicBezTo>
                      <a:cubicBezTo>
                        <a:pt x="211" y="113"/>
                        <a:pt x="211" y="113"/>
                        <a:pt x="211" y="113"/>
                      </a:cubicBezTo>
                      <a:cubicBezTo>
                        <a:pt x="276" y="151"/>
                        <a:pt x="276" y="151"/>
                        <a:pt x="276" y="151"/>
                      </a:cubicBezTo>
                      <a:cubicBezTo>
                        <a:pt x="277" y="151"/>
                        <a:pt x="277" y="152"/>
                        <a:pt x="277" y="153"/>
                      </a:cubicBezTo>
                      <a:cubicBezTo>
                        <a:pt x="277" y="153"/>
                        <a:pt x="277" y="154"/>
                        <a:pt x="276" y="154"/>
                      </a:cubicBezTo>
                      <a:cubicBezTo>
                        <a:pt x="81" y="267"/>
                        <a:pt x="81" y="267"/>
                        <a:pt x="81" y="267"/>
                      </a:cubicBezTo>
                      <a:cubicBezTo>
                        <a:pt x="80" y="268"/>
                        <a:pt x="80" y="268"/>
                        <a:pt x="80" y="268"/>
                      </a:cubicBezTo>
                      <a:close/>
                      <a:moveTo>
                        <a:pt x="4" y="220"/>
                      </a:moveTo>
                      <a:cubicBezTo>
                        <a:pt x="80" y="263"/>
                        <a:pt x="80" y="263"/>
                        <a:pt x="80" y="263"/>
                      </a:cubicBezTo>
                      <a:cubicBezTo>
                        <a:pt x="271" y="153"/>
                        <a:pt x="271" y="153"/>
                        <a:pt x="271" y="153"/>
                      </a:cubicBezTo>
                      <a:cubicBezTo>
                        <a:pt x="209" y="117"/>
                        <a:pt x="209" y="117"/>
                        <a:pt x="209" y="117"/>
                      </a:cubicBezTo>
                      <a:cubicBezTo>
                        <a:pt x="156" y="147"/>
                        <a:pt x="156" y="147"/>
                        <a:pt x="156" y="147"/>
                      </a:cubicBezTo>
                      <a:cubicBezTo>
                        <a:pt x="156" y="148"/>
                        <a:pt x="155" y="148"/>
                        <a:pt x="154" y="147"/>
                      </a:cubicBezTo>
                      <a:cubicBezTo>
                        <a:pt x="154" y="147"/>
                        <a:pt x="153" y="146"/>
                        <a:pt x="153" y="146"/>
                      </a:cubicBezTo>
                      <a:cubicBezTo>
                        <a:pt x="153" y="67"/>
                        <a:pt x="153" y="67"/>
                        <a:pt x="153" y="67"/>
                      </a:cubicBezTo>
                      <a:cubicBezTo>
                        <a:pt x="153" y="67"/>
                        <a:pt x="154" y="66"/>
                        <a:pt x="154" y="66"/>
                      </a:cubicBezTo>
                      <a:cubicBezTo>
                        <a:pt x="203" y="37"/>
                        <a:pt x="203" y="37"/>
                        <a:pt x="203" y="37"/>
                      </a:cubicBezTo>
                      <a:cubicBezTo>
                        <a:pt x="149" y="6"/>
                        <a:pt x="149" y="6"/>
                        <a:pt x="149" y="6"/>
                      </a:cubicBezTo>
                      <a:cubicBezTo>
                        <a:pt x="149" y="12"/>
                        <a:pt x="149" y="12"/>
                        <a:pt x="149" y="12"/>
                      </a:cubicBezTo>
                      <a:cubicBezTo>
                        <a:pt x="149" y="13"/>
                        <a:pt x="148" y="13"/>
                        <a:pt x="148" y="14"/>
                      </a:cubicBezTo>
                      <a:cubicBezTo>
                        <a:pt x="95" y="44"/>
                        <a:pt x="95" y="44"/>
                        <a:pt x="95" y="44"/>
                      </a:cubicBezTo>
                      <a:cubicBezTo>
                        <a:pt x="146" y="74"/>
                        <a:pt x="146" y="74"/>
                        <a:pt x="146" y="74"/>
                      </a:cubicBezTo>
                      <a:cubicBezTo>
                        <a:pt x="147" y="74"/>
                        <a:pt x="147" y="75"/>
                        <a:pt x="147" y="76"/>
                      </a:cubicBezTo>
                      <a:cubicBezTo>
                        <a:pt x="147" y="148"/>
                        <a:pt x="147" y="148"/>
                        <a:pt x="147" y="148"/>
                      </a:cubicBezTo>
                      <a:cubicBezTo>
                        <a:pt x="206" y="182"/>
                        <a:pt x="206" y="182"/>
                        <a:pt x="206" y="182"/>
                      </a:cubicBezTo>
                      <a:cubicBezTo>
                        <a:pt x="207" y="183"/>
                        <a:pt x="207" y="183"/>
                        <a:pt x="207" y="184"/>
                      </a:cubicBezTo>
                      <a:cubicBezTo>
                        <a:pt x="207" y="185"/>
                        <a:pt x="207" y="185"/>
                        <a:pt x="206" y="186"/>
                      </a:cubicBezTo>
                      <a:cubicBezTo>
                        <a:pt x="127" y="231"/>
                        <a:pt x="127" y="231"/>
                        <a:pt x="127" y="231"/>
                      </a:cubicBezTo>
                      <a:cubicBezTo>
                        <a:pt x="127" y="232"/>
                        <a:pt x="126" y="232"/>
                        <a:pt x="125" y="231"/>
                      </a:cubicBezTo>
                      <a:cubicBezTo>
                        <a:pt x="62" y="195"/>
                        <a:pt x="62" y="195"/>
                        <a:pt x="62" y="195"/>
                      </a:cubicBezTo>
                      <a:cubicBezTo>
                        <a:pt x="13" y="223"/>
                        <a:pt x="13" y="223"/>
                        <a:pt x="13" y="223"/>
                      </a:cubicBezTo>
                      <a:cubicBezTo>
                        <a:pt x="12" y="223"/>
                        <a:pt x="12" y="223"/>
                        <a:pt x="11" y="223"/>
                      </a:cubicBezTo>
                      <a:cubicBezTo>
                        <a:pt x="4" y="219"/>
                        <a:pt x="4" y="219"/>
                        <a:pt x="4" y="219"/>
                      </a:cubicBezTo>
                      <a:lnTo>
                        <a:pt x="4" y="2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1" name="Freeform 693">
                  <a:extLst>
                    <a:ext uri="{FF2B5EF4-FFF2-40B4-BE49-F238E27FC236}">
                      <a16:creationId xmlns:a16="http://schemas.microsoft.com/office/drawing/2014/main" id="{5730860F-FCA5-48A4-A24B-F12E9903BCA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1963"/>
                  <a:ext cx="74" cy="158"/>
                </a:xfrm>
                <a:custGeom>
                  <a:avLst/>
                  <a:gdLst>
                    <a:gd name="T0" fmla="*/ 27 w 31"/>
                    <a:gd name="T1" fmla="*/ 67 h 67"/>
                    <a:gd name="T2" fmla="*/ 26 w 31"/>
                    <a:gd name="T3" fmla="*/ 66 h 67"/>
                    <a:gd name="T4" fmla="*/ 11 w 31"/>
                    <a:gd name="T5" fmla="*/ 58 h 67"/>
                    <a:gd name="T6" fmla="*/ 3 w 31"/>
                    <a:gd name="T7" fmla="*/ 63 h 67"/>
                    <a:gd name="T8" fmla="*/ 1 w 31"/>
                    <a:gd name="T9" fmla="*/ 63 h 67"/>
                    <a:gd name="T10" fmla="*/ 0 w 31"/>
                    <a:gd name="T11" fmla="*/ 61 h 67"/>
                    <a:gd name="T12" fmla="*/ 0 w 31"/>
                    <a:gd name="T13" fmla="*/ 11 h 67"/>
                    <a:gd name="T14" fmla="*/ 1 w 31"/>
                    <a:gd name="T15" fmla="*/ 9 h 67"/>
                    <a:gd name="T16" fmla="*/ 16 w 31"/>
                    <a:gd name="T17" fmla="*/ 0 h 67"/>
                    <a:gd name="T18" fmla="*/ 18 w 31"/>
                    <a:gd name="T19" fmla="*/ 0 h 67"/>
                    <a:gd name="T20" fmla="*/ 30 w 31"/>
                    <a:gd name="T21" fmla="*/ 7 h 67"/>
                    <a:gd name="T22" fmla="*/ 31 w 31"/>
                    <a:gd name="T23" fmla="*/ 9 h 67"/>
                    <a:gd name="T24" fmla="*/ 31 w 31"/>
                    <a:gd name="T25" fmla="*/ 63 h 67"/>
                    <a:gd name="T26" fmla="*/ 30 w 31"/>
                    <a:gd name="T27" fmla="*/ 65 h 67"/>
                    <a:gd name="T28" fmla="*/ 28 w 31"/>
                    <a:gd name="T29" fmla="*/ 66 h 67"/>
                    <a:gd name="T30" fmla="*/ 27 w 31"/>
                    <a:gd name="T31" fmla="*/ 67 h 67"/>
                    <a:gd name="T32" fmla="*/ 11 w 31"/>
                    <a:gd name="T33" fmla="*/ 54 h 67"/>
                    <a:gd name="T34" fmla="*/ 12 w 31"/>
                    <a:gd name="T35" fmla="*/ 54 h 67"/>
                    <a:gd name="T36" fmla="*/ 27 w 31"/>
                    <a:gd name="T37" fmla="*/ 62 h 67"/>
                    <a:gd name="T38" fmla="*/ 27 w 31"/>
                    <a:gd name="T39" fmla="*/ 62 h 67"/>
                    <a:gd name="T40" fmla="*/ 27 w 31"/>
                    <a:gd name="T41" fmla="*/ 10 h 67"/>
                    <a:gd name="T42" fmla="*/ 17 w 31"/>
                    <a:gd name="T43" fmla="*/ 4 h 67"/>
                    <a:gd name="T44" fmla="*/ 4 w 31"/>
                    <a:gd name="T45" fmla="*/ 12 h 67"/>
                    <a:gd name="T46" fmla="*/ 4 w 31"/>
                    <a:gd name="T47" fmla="*/ 58 h 67"/>
                    <a:gd name="T48" fmla="*/ 10 w 31"/>
                    <a:gd name="T49" fmla="*/ 54 h 67"/>
                    <a:gd name="T50" fmla="*/ 11 w 31"/>
                    <a:gd name="T51" fmla="*/ 54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1" h="67">
                      <a:moveTo>
                        <a:pt x="27" y="67"/>
                      </a:moveTo>
                      <a:cubicBezTo>
                        <a:pt x="26" y="67"/>
                        <a:pt x="26" y="67"/>
                        <a:pt x="26" y="66"/>
                      </a:cubicBezTo>
                      <a:cubicBezTo>
                        <a:pt x="11" y="58"/>
                        <a:pt x="11" y="58"/>
                        <a:pt x="11" y="58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2" y="63"/>
                        <a:pt x="1" y="63"/>
                      </a:cubicBezTo>
                      <a:cubicBezTo>
                        <a:pt x="1" y="62"/>
                        <a:pt x="0" y="62"/>
                        <a:pt x="0" y="6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0"/>
                        <a:pt x="1" y="9"/>
                        <a:pt x="1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7" y="0"/>
                        <a:pt x="17" y="0"/>
                        <a:pt x="18" y="0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0" y="8"/>
                        <a:pt x="31" y="8"/>
                        <a:pt x="31" y="9"/>
                      </a:cubicBezTo>
                      <a:cubicBezTo>
                        <a:pt x="31" y="63"/>
                        <a:pt x="31" y="63"/>
                        <a:pt x="31" y="63"/>
                      </a:cubicBezTo>
                      <a:cubicBezTo>
                        <a:pt x="31" y="64"/>
                        <a:pt x="30" y="65"/>
                        <a:pt x="30" y="65"/>
                      </a:cubicBezTo>
                      <a:cubicBezTo>
                        <a:pt x="28" y="66"/>
                        <a:pt x="28" y="66"/>
                        <a:pt x="28" y="66"/>
                      </a:cubicBezTo>
                      <a:cubicBezTo>
                        <a:pt x="27" y="67"/>
                        <a:pt x="27" y="67"/>
                        <a:pt x="27" y="67"/>
                      </a:cubicBezTo>
                      <a:close/>
                      <a:moveTo>
                        <a:pt x="11" y="54"/>
                      </a:moveTo>
                      <a:cubicBezTo>
                        <a:pt x="11" y="54"/>
                        <a:pt x="12" y="54"/>
                        <a:pt x="12" y="54"/>
                      </a:cubicBezTo>
                      <a:cubicBezTo>
                        <a:pt x="27" y="62"/>
                        <a:pt x="27" y="62"/>
                        <a:pt x="27" y="62"/>
                      </a:cubicBezTo>
                      <a:cubicBezTo>
                        <a:pt x="27" y="62"/>
                        <a:pt x="27" y="62"/>
                        <a:pt x="27" y="62"/>
                      </a:cubicBezTo>
                      <a:cubicBezTo>
                        <a:pt x="27" y="10"/>
                        <a:pt x="27" y="10"/>
                        <a:pt x="27" y="10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4" y="12"/>
                        <a:pt x="4" y="12"/>
                        <a:pt x="4" y="12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10" y="54"/>
                        <a:pt x="11" y="54"/>
                        <a:pt x="11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2" name="Freeform 694">
                  <a:extLst>
                    <a:ext uri="{FF2B5EF4-FFF2-40B4-BE49-F238E27FC236}">
                      <a16:creationId xmlns:a16="http://schemas.microsoft.com/office/drawing/2014/main" id="{EB829223-9E99-48F7-97DD-F0E8614522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09" y="2117"/>
                  <a:ext cx="123" cy="90"/>
                </a:xfrm>
                <a:custGeom>
                  <a:avLst/>
                  <a:gdLst>
                    <a:gd name="T0" fmla="*/ 50 w 52"/>
                    <a:gd name="T1" fmla="*/ 38 h 38"/>
                    <a:gd name="T2" fmla="*/ 49 w 52"/>
                    <a:gd name="T3" fmla="*/ 38 h 38"/>
                    <a:gd name="T4" fmla="*/ 1 w 52"/>
                    <a:gd name="T5" fmla="*/ 10 h 38"/>
                    <a:gd name="T6" fmla="*/ 0 w 52"/>
                    <a:gd name="T7" fmla="*/ 8 h 38"/>
                    <a:gd name="T8" fmla="*/ 1 w 52"/>
                    <a:gd name="T9" fmla="*/ 6 h 38"/>
                    <a:gd name="T10" fmla="*/ 12 w 52"/>
                    <a:gd name="T11" fmla="*/ 0 h 38"/>
                    <a:gd name="T12" fmla="*/ 14 w 52"/>
                    <a:gd name="T13" fmla="*/ 0 h 38"/>
                    <a:gd name="T14" fmla="*/ 51 w 52"/>
                    <a:gd name="T15" fmla="*/ 22 h 38"/>
                    <a:gd name="T16" fmla="*/ 52 w 52"/>
                    <a:gd name="T17" fmla="*/ 23 h 38"/>
                    <a:gd name="T18" fmla="*/ 52 w 52"/>
                    <a:gd name="T19" fmla="*/ 36 h 38"/>
                    <a:gd name="T20" fmla="*/ 51 w 52"/>
                    <a:gd name="T21" fmla="*/ 38 h 38"/>
                    <a:gd name="T22" fmla="*/ 50 w 52"/>
                    <a:gd name="T23" fmla="*/ 38 h 38"/>
                    <a:gd name="T24" fmla="*/ 6 w 52"/>
                    <a:gd name="T25" fmla="*/ 8 h 38"/>
                    <a:gd name="T26" fmla="*/ 48 w 52"/>
                    <a:gd name="T27" fmla="*/ 32 h 38"/>
                    <a:gd name="T28" fmla="*/ 48 w 52"/>
                    <a:gd name="T29" fmla="*/ 24 h 38"/>
                    <a:gd name="T30" fmla="*/ 13 w 52"/>
                    <a:gd name="T31" fmla="*/ 4 h 38"/>
                    <a:gd name="T32" fmla="*/ 6 w 52"/>
                    <a:gd name="T33" fmla="*/ 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38">
                      <a:moveTo>
                        <a:pt x="50" y="38"/>
                      </a:moveTo>
                      <a:cubicBezTo>
                        <a:pt x="50" y="38"/>
                        <a:pt x="49" y="38"/>
                        <a:pt x="49" y="38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9"/>
                        <a:pt x="0" y="9"/>
                        <a:pt x="0" y="8"/>
                      </a:cubicBez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51" y="22"/>
                        <a:pt x="51" y="22"/>
                        <a:pt x="51" y="22"/>
                      </a:cubicBezTo>
                      <a:cubicBezTo>
                        <a:pt x="52" y="22"/>
                        <a:pt x="52" y="23"/>
                        <a:pt x="52" y="23"/>
                      </a:cubicBezTo>
                      <a:cubicBezTo>
                        <a:pt x="52" y="36"/>
                        <a:pt x="52" y="36"/>
                        <a:pt x="52" y="36"/>
                      </a:cubicBezTo>
                      <a:cubicBezTo>
                        <a:pt x="52" y="37"/>
                        <a:pt x="52" y="37"/>
                        <a:pt x="51" y="38"/>
                      </a:cubicBezTo>
                      <a:cubicBezTo>
                        <a:pt x="51" y="38"/>
                        <a:pt x="50" y="38"/>
                        <a:pt x="50" y="38"/>
                      </a:cubicBezTo>
                      <a:close/>
                      <a:moveTo>
                        <a:pt x="6" y="8"/>
                      </a:move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13" y="4"/>
                        <a:pt x="13" y="4"/>
                        <a:pt x="13" y="4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3" name="Freeform 695">
                  <a:extLst>
                    <a:ext uri="{FF2B5EF4-FFF2-40B4-BE49-F238E27FC236}">
                      <a16:creationId xmlns:a16="http://schemas.microsoft.com/office/drawing/2014/main" id="{9AB44356-6D72-433A-94FE-F0340FB061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2110"/>
                  <a:ext cx="108" cy="87"/>
                </a:xfrm>
                <a:custGeom>
                  <a:avLst/>
                  <a:gdLst>
                    <a:gd name="T0" fmla="*/ 2 w 46"/>
                    <a:gd name="T1" fmla="*/ 37 h 37"/>
                    <a:gd name="T2" fmla="*/ 1 w 46"/>
                    <a:gd name="T3" fmla="*/ 37 h 37"/>
                    <a:gd name="T4" fmla="*/ 0 w 46"/>
                    <a:gd name="T5" fmla="*/ 35 h 37"/>
                    <a:gd name="T6" fmla="*/ 0 w 46"/>
                    <a:gd name="T7" fmla="*/ 20 h 37"/>
                    <a:gd name="T8" fmla="*/ 1 w 46"/>
                    <a:gd name="T9" fmla="*/ 18 h 37"/>
                    <a:gd name="T10" fmla="*/ 32 w 46"/>
                    <a:gd name="T11" fmla="*/ 0 h 37"/>
                    <a:gd name="T12" fmla="*/ 34 w 46"/>
                    <a:gd name="T13" fmla="*/ 0 h 37"/>
                    <a:gd name="T14" fmla="*/ 35 w 46"/>
                    <a:gd name="T15" fmla="*/ 2 h 37"/>
                    <a:gd name="T16" fmla="*/ 35 w 46"/>
                    <a:gd name="T17" fmla="*/ 3 h 37"/>
                    <a:gd name="T18" fmla="*/ 45 w 46"/>
                    <a:gd name="T19" fmla="*/ 9 h 37"/>
                    <a:gd name="T20" fmla="*/ 46 w 46"/>
                    <a:gd name="T21" fmla="*/ 11 h 37"/>
                    <a:gd name="T22" fmla="*/ 45 w 46"/>
                    <a:gd name="T23" fmla="*/ 13 h 37"/>
                    <a:gd name="T24" fmla="*/ 3 w 46"/>
                    <a:gd name="T25" fmla="*/ 37 h 37"/>
                    <a:gd name="T26" fmla="*/ 2 w 46"/>
                    <a:gd name="T27" fmla="*/ 37 h 37"/>
                    <a:gd name="T28" fmla="*/ 4 w 46"/>
                    <a:gd name="T29" fmla="*/ 21 h 37"/>
                    <a:gd name="T30" fmla="*/ 4 w 46"/>
                    <a:gd name="T31" fmla="*/ 32 h 37"/>
                    <a:gd name="T32" fmla="*/ 40 w 46"/>
                    <a:gd name="T33" fmla="*/ 11 h 37"/>
                    <a:gd name="T34" fmla="*/ 32 w 46"/>
                    <a:gd name="T35" fmla="*/ 6 h 37"/>
                    <a:gd name="T36" fmla="*/ 31 w 46"/>
                    <a:gd name="T37" fmla="*/ 5 h 37"/>
                    <a:gd name="T38" fmla="*/ 4 w 46"/>
                    <a:gd name="T39" fmla="*/ 2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6" h="37">
                      <a:moveTo>
                        <a:pt x="2" y="37"/>
                      </a:moveTo>
                      <a:cubicBezTo>
                        <a:pt x="1" y="37"/>
                        <a:pt x="1" y="37"/>
                        <a:pt x="1" y="37"/>
                      </a:cubicBezTo>
                      <a:cubicBezTo>
                        <a:pt x="0" y="37"/>
                        <a:pt x="0" y="36"/>
                        <a:pt x="0" y="35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9"/>
                        <a:pt x="0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34" y="0"/>
                        <a:pt x="35" y="1"/>
                        <a:pt x="35" y="2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6" y="10"/>
                        <a:pt x="46" y="10"/>
                        <a:pt x="46" y="11"/>
                      </a:cubicBezTo>
                      <a:cubicBezTo>
                        <a:pt x="46" y="12"/>
                        <a:pt x="46" y="12"/>
                        <a:pt x="45" y="13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37"/>
                        <a:pt x="2" y="37"/>
                        <a:pt x="2" y="37"/>
                      </a:cubicBezTo>
                      <a:close/>
                      <a:moveTo>
                        <a:pt x="4" y="21"/>
                      </a:move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32" y="6"/>
                        <a:pt x="32" y="6"/>
                        <a:pt x="32" y="6"/>
                      </a:cubicBezTo>
                      <a:cubicBezTo>
                        <a:pt x="31" y="6"/>
                        <a:pt x="31" y="5"/>
                        <a:pt x="31" y="5"/>
                      </a:cubicBezTo>
                      <a:lnTo>
                        <a:pt x="4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4" name="Freeform 696">
                  <a:extLst>
                    <a:ext uri="{FF2B5EF4-FFF2-40B4-BE49-F238E27FC236}">
                      <a16:creationId xmlns:a16="http://schemas.microsoft.com/office/drawing/2014/main" id="{D7838AC5-1DF7-4189-B6CC-22CD4EBA1B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916"/>
                  <a:ext cx="340" cy="279"/>
                </a:xfrm>
                <a:custGeom>
                  <a:avLst/>
                  <a:gdLst>
                    <a:gd name="T0" fmla="*/ 56 w 144"/>
                    <a:gd name="T1" fmla="*/ 118 h 118"/>
                    <a:gd name="T2" fmla="*/ 55 w 144"/>
                    <a:gd name="T3" fmla="*/ 118 h 118"/>
                    <a:gd name="T4" fmla="*/ 54 w 144"/>
                    <a:gd name="T5" fmla="*/ 116 h 118"/>
                    <a:gd name="T6" fmla="*/ 54 w 144"/>
                    <a:gd name="T7" fmla="*/ 41 h 118"/>
                    <a:gd name="T8" fmla="*/ 1 w 144"/>
                    <a:gd name="T9" fmla="*/ 10 h 118"/>
                    <a:gd name="T10" fmla="*/ 0 w 144"/>
                    <a:gd name="T11" fmla="*/ 8 h 118"/>
                    <a:gd name="T12" fmla="*/ 0 w 144"/>
                    <a:gd name="T13" fmla="*/ 7 h 118"/>
                    <a:gd name="T14" fmla="*/ 1 w 144"/>
                    <a:gd name="T15" fmla="*/ 5 h 118"/>
                    <a:gd name="T16" fmla="*/ 3 w 144"/>
                    <a:gd name="T17" fmla="*/ 5 h 118"/>
                    <a:gd name="T18" fmla="*/ 58 w 144"/>
                    <a:gd name="T19" fmla="*/ 37 h 118"/>
                    <a:gd name="T20" fmla="*/ 119 w 144"/>
                    <a:gd name="T21" fmla="*/ 2 h 118"/>
                    <a:gd name="T22" fmla="*/ 119 w 144"/>
                    <a:gd name="T23" fmla="*/ 2 h 118"/>
                    <a:gd name="T24" fmla="*/ 121 w 144"/>
                    <a:gd name="T25" fmla="*/ 1 h 118"/>
                    <a:gd name="T26" fmla="*/ 123 w 144"/>
                    <a:gd name="T27" fmla="*/ 1 h 118"/>
                    <a:gd name="T28" fmla="*/ 143 w 144"/>
                    <a:gd name="T29" fmla="*/ 12 h 118"/>
                    <a:gd name="T30" fmla="*/ 144 w 144"/>
                    <a:gd name="T31" fmla="*/ 14 h 118"/>
                    <a:gd name="T32" fmla="*/ 143 w 144"/>
                    <a:gd name="T33" fmla="*/ 16 h 118"/>
                    <a:gd name="T34" fmla="*/ 132 w 144"/>
                    <a:gd name="T35" fmla="*/ 22 h 118"/>
                    <a:gd name="T36" fmla="*/ 130 w 144"/>
                    <a:gd name="T37" fmla="*/ 22 h 118"/>
                    <a:gd name="T38" fmla="*/ 117 w 144"/>
                    <a:gd name="T39" fmla="*/ 14 h 118"/>
                    <a:gd name="T40" fmla="*/ 117 w 144"/>
                    <a:gd name="T41" fmla="*/ 30 h 118"/>
                    <a:gd name="T42" fmla="*/ 116 w 144"/>
                    <a:gd name="T43" fmla="*/ 31 h 118"/>
                    <a:gd name="T44" fmla="*/ 84 w 144"/>
                    <a:gd name="T45" fmla="*/ 50 h 118"/>
                    <a:gd name="T46" fmla="*/ 84 w 144"/>
                    <a:gd name="T47" fmla="*/ 101 h 118"/>
                    <a:gd name="T48" fmla="*/ 83 w 144"/>
                    <a:gd name="T49" fmla="*/ 102 h 118"/>
                    <a:gd name="T50" fmla="*/ 57 w 144"/>
                    <a:gd name="T51" fmla="*/ 118 h 118"/>
                    <a:gd name="T52" fmla="*/ 56 w 144"/>
                    <a:gd name="T53" fmla="*/ 118 h 118"/>
                    <a:gd name="T54" fmla="*/ 58 w 144"/>
                    <a:gd name="T55" fmla="*/ 41 h 118"/>
                    <a:gd name="T56" fmla="*/ 58 w 144"/>
                    <a:gd name="T57" fmla="*/ 112 h 118"/>
                    <a:gd name="T58" fmla="*/ 80 w 144"/>
                    <a:gd name="T59" fmla="*/ 99 h 118"/>
                    <a:gd name="T60" fmla="*/ 80 w 144"/>
                    <a:gd name="T61" fmla="*/ 48 h 118"/>
                    <a:gd name="T62" fmla="*/ 81 w 144"/>
                    <a:gd name="T63" fmla="*/ 47 h 118"/>
                    <a:gd name="T64" fmla="*/ 113 w 144"/>
                    <a:gd name="T65" fmla="*/ 29 h 118"/>
                    <a:gd name="T66" fmla="*/ 113 w 144"/>
                    <a:gd name="T67" fmla="*/ 11 h 118"/>
                    <a:gd name="T68" fmla="*/ 113 w 144"/>
                    <a:gd name="T69" fmla="*/ 10 h 118"/>
                    <a:gd name="T70" fmla="*/ 59 w 144"/>
                    <a:gd name="T71" fmla="*/ 41 h 118"/>
                    <a:gd name="T72" fmla="*/ 58 w 144"/>
                    <a:gd name="T73" fmla="*/ 41 h 118"/>
                    <a:gd name="T74" fmla="*/ 115 w 144"/>
                    <a:gd name="T75" fmla="*/ 9 h 118"/>
                    <a:gd name="T76" fmla="*/ 116 w 144"/>
                    <a:gd name="T77" fmla="*/ 9 h 118"/>
                    <a:gd name="T78" fmla="*/ 131 w 144"/>
                    <a:gd name="T79" fmla="*/ 18 h 118"/>
                    <a:gd name="T80" fmla="*/ 138 w 144"/>
                    <a:gd name="T81" fmla="*/ 14 h 118"/>
                    <a:gd name="T82" fmla="*/ 122 w 144"/>
                    <a:gd name="T83" fmla="*/ 5 h 118"/>
                    <a:gd name="T84" fmla="*/ 121 w 144"/>
                    <a:gd name="T85" fmla="*/ 5 h 118"/>
                    <a:gd name="T86" fmla="*/ 121 w 144"/>
                    <a:gd name="T87" fmla="*/ 5 h 118"/>
                    <a:gd name="T88" fmla="*/ 115 w 144"/>
                    <a:gd name="T89" fmla="*/ 9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44" h="118">
                      <a:moveTo>
                        <a:pt x="56" y="118"/>
                      </a:moveTo>
                      <a:cubicBezTo>
                        <a:pt x="56" y="118"/>
                        <a:pt x="55" y="118"/>
                        <a:pt x="55" y="118"/>
                      </a:cubicBezTo>
                      <a:cubicBezTo>
                        <a:pt x="54" y="117"/>
                        <a:pt x="54" y="117"/>
                        <a:pt x="54" y="116"/>
                      </a:cubicBezTo>
                      <a:cubicBezTo>
                        <a:pt x="54" y="41"/>
                        <a:pt x="54" y="41"/>
                        <a:pt x="54" y="41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1" y="4"/>
                        <a:pt x="2" y="4"/>
                        <a:pt x="3" y="5"/>
                      </a:cubicBezTo>
                      <a:cubicBezTo>
                        <a:pt x="58" y="37"/>
                        <a:pt x="58" y="37"/>
                        <a:pt x="58" y="37"/>
                      </a:cubicBezTo>
                      <a:cubicBezTo>
                        <a:pt x="119" y="2"/>
                        <a:pt x="119" y="2"/>
                        <a:pt x="119" y="2"/>
                      </a:cubicBezTo>
                      <a:cubicBezTo>
                        <a:pt x="119" y="2"/>
                        <a:pt x="119" y="2"/>
                        <a:pt x="119" y="2"/>
                      </a:cubicBezTo>
                      <a:cubicBezTo>
                        <a:pt x="121" y="1"/>
                        <a:pt x="121" y="1"/>
                        <a:pt x="121" y="1"/>
                      </a:cubicBezTo>
                      <a:cubicBezTo>
                        <a:pt x="122" y="0"/>
                        <a:pt x="122" y="0"/>
                        <a:pt x="123" y="1"/>
                      </a:cubicBezTo>
                      <a:cubicBezTo>
                        <a:pt x="143" y="12"/>
                        <a:pt x="143" y="12"/>
                        <a:pt x="143" y="12"/>
                      </a:cubicBezTo>
                      <a:cubicBezTo>
                        <a:pt x="144" y="13"/>
                        <a:pt x="144" y="13"/>
                        <a:pt x="144" y="14"/>
                      </a:cubicBezTo>
                      <a:cubicBezTo>
                        <a:pt x="144" y="15"/>
                        <a:pt x="144" y="15"/>
                        <a:pt x="143" y="16"/>
                      </a:cubicBezTo>
                      <a:cubicBezTo>
                        <a:pt x="132" y="22"/>
                        <a:pt x="132" y="22"/>
                        <a:pt x="132" y="22"/>
                      </a:cubicBezTo>
                      <a:cubicBezTo>
                        <a:pt x="131" y="22"/>
                        <a:pt x="131" y="22"/>
                        <a:pt x="130" y="22"/>
                      </a:cubicBezTo>
                      <a:cubicBezTo>
                        <a:pt x="117" y="14"/>
                        <a:pt x="117" y="14"/>
                        <a:pt x="117" y="14"/>
                      </a:cubicBezTo>
                      <a:cubicBezTo>
                        <a:pt x="117" y="30"/>
                        <a:pt x="117" y="30"/>
                        <a:pt x="117" y="30"/>
                      </a:cubicBezTo>
                      <a:cubicBezTo>
                        <a:pt x="117" y="30"/>
                        <a:pt x="116" y="31"/>
                        <a:pt x="116" y="31"/>
                      </a:cubicBezTo>
                      <a:cubicBezTo>
                        <a:pt x="84" y="50"/>
                        <a:pt x="84" y="50"/>
                        <a:pt x="84" y="50"/>
                      </a:cubicBezTo>
                      <a:cubicBezTo>
                        <a:pt x="84" y="101"/>
                        <a:pt x="84" y="101"/>
                        <a:pt x="84" y="101"/>
                      </a:cubicBezTo>
                      <a:cubicBezTo>
                        <a:pt x="84" y="101"/>
                        <a:pt x="84" y="102"/>
                        <a:pt x="83" y="102"/>
                      </a:cubicBezTo>
                      <a:cubicBezTo>
                        <a:pt x="57" y="118"/>
                        <a:pt x="57" y="118"/>
                        <a:pt x="57" y="118"/>
                      </a:cubicBezTo>
                      <a:cubicBezTo>
                        <a:pt x="57" y="118"/>
                        <a:pt x="56" y="118"/>
                        <a:pt x="56" y="118"/>
                      </a:cubicBezTo>
                      <a:close/>
                      <a:moveTo>
                        <a:pt x="58" y="41"/>
                      </a:moveTo>
                      <a:cubicBezTo>
                        <a:pt x="58" y="112"/>
                        <a:pt x="58" y="112"/>
                        <a:pt x="58" y="112"/>
                      </a:cubicBezTo>
                      <a:cubicBezTo>
                        <a:pt x="80" y="99"/>
                        <a:pt x="80" y="99"/>
                        <a:pt x="80" y="99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80" y="48"/>
                        <a:pt x="81" y="47"/>
                        <a:pt x="81" y="47"/>
                      </a:cubicBezTo>
                      <a:cubicBezTo>
                        <a:pt x="113" y="29"/>
                        <a:pt x="113" y="29"/>
                        <a:pt x="113" y="29"/>
                      </a:cubicBezTo>
                      <a:cubicBezTo>
                        <a:pt x="113" y="11"/>
                        <a:pt x="113" y="11"/>
                        <a:pt x="113" y="11"/>
                      </a:cubicBezTo>
                      <a:cubicBezTo>
                        <a:pt x="113" y="11"/>
                        <a:pt x="113" y="10"/>
                        <a:pt x="113" y="10"/>
                      </a:cubicBezTo>
                      <a:cubicBezTo>
                        <a:pt x="59" y="41"/>
                        <a:pt x="59" y="41"/>
                        <a:pt x="59" y="41"/>
                      </a:cubicBezTo>
                      <a:cubicBezTo>
                        <a:pt x="59" y="41"/>
                        <a:pt x="58" y="41"/>
                        <a:pt x="58" y="41"/>
                      </a:cubicBezTo>
                      <a:close/>
                      <a:moveTo>
                        <a:pt x="115" y="9"/>
                      </a:moveTo>
                      <a:cubicBezTo>
                        <a:pt x="115" y="9"/>
                        <a:pt x="115" y="9"/>
                        <a:pt x="116" y="9"/>
                      </a:cubicBezTo>
                      <a:cubicBezTo>
                        <a:pt x="131" y="18"/>
                        <a:pt x="131" y="18"/>
                        <a:pt x="131" y="18"/>
                      </a:cubicBezTo>
                      <a:cubicBezTo>
                        <a:pt x="138" y="14"/>
                        <a:pt x="138" y="14"/>
                        <a:pt x="138" y="14"/>
                      </a:cubicBezTo>
                      <a:cubicBezTo>
                        <a:pt x="122" y="5"/>
                        <a:pt x="122" y="5"/>
                        <a:pt x="122" y="5"/>
                      </a:cubicBezTo>
                      <a:cubicBezTo>
                        <a:pt x="121" y="5"/>
                        <a:pt x="121" y="5"/>
                        <a:pt x="121" y="5"/>
                      </a:cubicBezTo>
                      <a:cubicBezTo>
                        <a:pt x="121" y="5"/>
                        <a:pt x="121" y="5"/>
                        <a:pt x="121" y="5"/>
                      </a:cubicBezTo>
                      <a:lnTo>
                        <a:pt x="115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5" name="Freeform 697">
                  <a:extLst>
                    <a:ext uri="{FF2B5EF4-FFF2-40B4-BE49-F238E27FC236}">
                      <a16:creationId xmlns:a16="http://schemas.microsoft.com/office/drawing/2014/main" id="{8F05DEC5-19B7-431E-B9CB-67C04F6D24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16" y="1094"/>
                  <a:ext cx="196" cy="139"/>
                </a:xfrm>
                <a:custGeom>
                  <a:avLst/>
                  <a:gdLst>
                    <a:gd name="T0" fmla="*/ 81 w 83"/>
                    <a:gd name="T1" fmla="*/ 59 h 59"/>
                    <a:gd name="T2" fmla="*/ 80 w 83"/>
                    <a:gd name="T3" fmla="*/ 59 h 59"/>
                    <a:gd name="T4" fmla="*/ 70 w 83"/>
                    <a:gd name="T5" fmla="*/ 53 h 59"/>
                    <a:gd name="T6" fmla="*/ 69 w 83"/>
                    <a:gd name="T7" fmla="*/ 51 h 59"/>
                    <a:gd name="T8" fmla="*/ 69 w 83"/>
                    <a:gd name="T9" fmla="*/ 49 h 59"/>
                    <a:gd name="T10" fmla="*/ 67 w 83"/>
                    <a:gd name="T11" fmla="*/ 50 h 59"/>
                    <a:gd name="T12" fmla="*/ 65 w 83"/>
                    <a:gd name="T13" fmla="*/ 50 h 59"/>
                    <a:gd name="T14" fmla="*/ 1 w 83"/>
                    <a:gd name="T15" fmla="*/ 13 h 59"/>
                    <a:gd name="T16" fmla="*/ 0 w 83"/>
                    <a:gd name="T17" fmla="*/ 11 h 59"/>
                    <a:gd name="T18" fmla="*/ 1 w 83"/>
                    <a:gd name="T19" fmla="*/ 10 h 59"/>
                    <a:gd name="T20" fmla="*/ 18 w 83"/>
                    <a:gd name="T21" fmla="*/ 0 h 59"/>
                    <a:gd name="T22" fmla="*/ 20 w 83"/>
                    <a:gd name="T23" fmla="*/ 0 h 59"/>
                    <a:gd name="T24" fmla="*/ 82 w 83"/>
                    <a:gd name="T25" fmla="*/ 36 h 59"/>
                    <a:gd name="T26" fmla="*/ 83 w 83"/>
                    <a:gd name="T27" fmla="*/ 38 h 59"/>
                    <a:gd name="T28" fmla="*/ 83 w 83"/>
                    <a:gd name="T29" fmla="*/ 57 h 59"/>
                    <a:gd name="T30" fmla="*/ 82 w 83"/>
                    <a:gd name="T31" fmla="*/ 59 h 59"/>
                    <a:gd name="T32" fmla="*/ 81 w 83"/>
                    <a:gd name="T33" fmla="*/ 59 h 59"/>
                    <a:gd name="T34" fmla="*/ 73 w 83"/>
                    <a:gd name="T35" fmla="*/ 50 h 59"/>
                    <a:gd name="T36" fmla="*/ 79 w 83"/>
                    <a:gd name="T37" fmla="*/ 54 h 59"/>
                    <a:gd name="T38" fmla="*/ 79 w 83"/>
                    <a:gd name="T39" fmla="*/ 39 h 59"/>
                    <a:gd name="T40" fmla="*/ 19 w 83"/>
                    <a:gd name="T41" fmla="*/ 4 h 59"/>
                    <a:gd name="T42" fmla="*/ 6 w 83"/>
                    <a:gd name="T43" fmla="*/ 11 h 59"/>
                    <a:gd name="T44" fmla="*/ 66 w 83"/>
                    <a:gd name="T45" fmla="*/ 46 h 59"/>
                    <a:gd name="T46" fmla="*/ 70 w 83"/>
                    <a:gd name="T47" fmla="*/ 44 h 59"/>
                    <a:gd name="T48" fmla="*/ 72 w 83"/>
                    <a:gd name="T49" fmla="*/ 44 h 59"/>
                    <a:gd name="T50" fmla="*/ 73 w 83"/>
                    <a:gd name="T51" fmla="*/ 45 h 59"/>
                    <a:gd name="T52" fmla="*/ 73 w 83"/>
                    <a:gd name="T53" fmla="*/ 5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3" h="59">
                      <a:moveTo>
                        <a:pt x="81" y="59"/>
                      </a:moveTo>
                      <a:cubicBezTo>
                        <a:pt x="81" y="59"/>
                        <a:pt x="81" y="59"/>
                        <a:pt x="80" y="59"/>
                      </a:cubicBezTo>
                      <a:cubicBezTo>
                        <a:pt x="70" y="53"/>
                        <a:pt x="70" y="53"/>
                        <a:pt x="70" y="53"/>
                      </a:cubicBezTo>
                      <a:cubicBezTo>
                        <a:pt x="70" y="53"/>
                        <a:pt x="69" y="52"/>
                        <a:pt x="69" y="51"/>
                      </a:cubicBezTo>
                      <a:cubicBezTo>
                        <a:pt x="69" y="49"/>
                        <a:pt x="69" y="49"/>
                        <a:pt x="69" y="49"/>
                      </a:cubicBez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6" y="50"/>
                        <a:pt x="66" y="50"/>
                        <a:pt x="65" y="50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" y="13"/>
                        <a:pt x="0" y="12"/>
                        <a:pt x="0" y="11"/>
                      </a:cubicBezTo>
                      <a:cubicBezTo>
                        <a:pt x="0" y="11"/>
                        <a:pt x="1" y="10"/>
                        <a:pt x="1" y="1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9" y="0"/>
                        <a:pt x="19" y="0"/>
                        <a:pt x="20" y="0"/>
                      </a:cubicBezTo>
                      <a:cubicBezTo>
                        <a:pt x="82" y="36"/>
                        <a:pt x="82" y="36"/>
                        <a:pt x="82" y="36"/>
                      </a:cubicBezTo>
                      <a:cubicBezTo>
                        <a:pt x="83" y="36"/>
                        <a:pt x="83" y="37"/>
                        <a:pt x="83" y="38"/>
                      </a:cubicBezTo>
                      <a:cubicBezTo>
                        <a:pt x="83" y="57"/>
                        <a:pt x="83" y="57"/>
                        <a:pt x="83" y="57"/>
                      </a:cubicBezTo>
                      <a:cubicBezTo>
                        <a:pt x="83" y="58"/>
                        <a:pt x="83" y="58"/>
                        <a:pt x="82" y="59"/>
                      </a:cubicBezTo>
                      <a:cubicBezTo>
                        <a:pt x="82" y="59"/>
                        <a:pt x="82" y="59"/>
                        <a:pt x="81" y="59"/>
                      </a:cubicBezTo>
                      <a:close/>
                      <a:moveTo>
                        <a:pt x="73" y="50"/>
                      </a:moveTo>
                      <a:cubicBezTo>
                        <a:pt x="79" y="54"/>
                        <a:pt x="79" y="54"/>
                        <a:pt x="79" y="54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66" y="46"/>
                        <a:pt x="66" y="46"/>
                        <a:pt x="66" y="46"/>
                      </a:cubicBezTo>
                      <a:cubicBezTo>
                        <a:pt x="70" y="44"/>
                        <a:pt x="70" y="44"/>
                        <a:pt x="70" y="44"/>
                      </a:cubicBezTo>
                      <a:cubicBezTo>
                        <a:pt x="71" y="43"/>
                        <a:pt x="72" y="43"/>
                        <a:pt x="72" y="44"/>
                      </a:cubicBezTo>
                      <a:cubicBezTo>
                        <a:pt x="73" y="44"/>
                        <a:pt x="73" y="45"/>
                        <a:pt x="73" y="45"/>
                      </a:cubicBezTo>
                      <a:lnTo>
                        <a:pt x="73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6" name="Freeform 698">
                  <a:extLst>
                    <a:ext uri="{FF2B5EF4-FFF2-40B4-BE49-F238E27FC236}">
                      <a16:creationId xmlns:a16="http://schemas.microsoft.com/office/drawing/2014/main" id="{8ACE8898-FFCA-4A81-B204-E610B32A412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607"/>
                  <a:ext cx="156" cy="159"/>
                </a:xfrm>
                <a:custGeom>
                  <a:avLst/>
                  <a:gdLst>
                    <a:gd name="T0" fmla="*/ 64 w 66"/>
                    <a:gd name="T1" fmla="*/ 67 h 67"/>
                    <a:gd name="T2" fmla="*/ 63 w 66"/>
                    <a:gd name="T3" fmla="*/ 67 h 67"/>
                    <a:gd name="T4" fmla="*/ 1 w 66"/>
                    <a:gd name="T5" fmla="*/ 31 h 67"/>
                    <a:gd name="T6" fmla="*/ 0 w 66"/>
                    <a:gd name="T7" fmla="*/ 29 h 67"/>
                    <a:gd name="T8" fmla="*/ 0 w 66"/>
                    <a:gd name="T9" fmla="*/ 23 h 67"/>
                    <a:gd name="T10" fmla="*/ 1 w 66"/>
                    <a:gd name="T11" fmla="*/ 22 h 67"/>
                    <a:gd name="T12" fmla="*/ 38 w 66"/>
                    <a:gd name="T13" fmla="*/ 1 h 67"/>
                    <a:gd name="T14" fmla="*/ 40 w 66"/>
                    <a:gd name="T15" fmla="*/ 1 h 67"/>
                    <a:gd name="T16" fmla="*/ 65 w 66"/>
                    <a:gd name="T17" fmla="*/ 15 h 67"/>
                    <a:gd name="T18" fmla="*/ 66 w 66"/>
                    <a:gd name="T19" fmla="*/ 17 h 67"/>
                    <a:gd name="T20" fmla="*/ 66 w 66"/>
                    <a:gd name="T21" fmla="*/ 65 h 67"/>
                    <a:gd name="T22" fmla="*/ 65 w 66"/>
                    <a:gd name="T23" fmla="*/ 67 h 67"/>
                    <a:gd name="T24" fmla="*/ 64 w 66"/>
                    <a:gd name="T25" fmla="*/ 67 h 67"/>
                    <a:gd name="T26" fmla="*/ 4 w 66"/>
                    <a:gd name="T27" fmla="*/ 28 h 67"/>
                    <a:gd name="T28" fmla="*/ 62 w 66"/>
                    <a:gd name="T29" fmla="*/ 62 h 67"/>
                    <a:gd name="T30" fmla="*/ 62 w 66"/>
                    <a:gd name="T31" fmla="*/ 18 h 67"/>
                    <a:gd name="T32" fmla="*/ 39 w 66"/>
                    <a:gd name="T33" fmla="*/ 5 h 67"/>
                    <a:gd name="T34" fmla="*/ 4 w 66"/>
                    <a:gd name="T35" fmla="*/ 24 h 67"/>
                    <a:gd name="T36" fmla="*/ 4 w 66"/>
                    <a:gd name="T37" fmla="*/ 28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6" h="67">
                      <a:moveTo>
                        <a:pt x="64" y="67"/>
                      </a:moveTo>
                      <a:cubicBezTo>
                        <a:pt x="64" y="67"/>
                        <a:pt x="63" y="67"/>
                        <a:pt x="63" y="67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29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38" y="1"/>
                        <a:pt x="38" y="1"/>
                        <a:pt x="38" y="1"/>
                      </a:cubicBezTo>
                      <a:cubicBezTo>
                        <a:pt x="38" y="0"/>
                        <a:pt x="39" y="0"/>
                        <a:pt x="40" y="1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6" y="16"/>
                        <a:pt x="66" y="16"/>
                        <a:pt x="66" y="17"/>
                      </a:cubicBezTo>
                      <a:cubicBezTo>
                        <a:pt x="66" y="65"/>
                        <a:pt x="66" y="65"/>
                        <a:pt x="66" y="65"/>
                      </a:cubicBezTo>
                      <a:cubicBezTo>
                        <a:pt x="66" y="66"/>
                        <a:pt x="66" y="66"/>
                        <a:pt x="65" y="67"/>
                      </a:cubicBezTo>
                      <a:cubicBezTo>
                        <a:pt x="65" y="67"/>
                        <a:pt x="64" y="67"/>
                        <a:pt x="64" y="67"/>
                      </a:cubicBezTo>
                      <a:close/>
                      <a:moveTo>
                        <a:pt x="4" y="28"/>
                      </a:moveTo>
                      <a:cubicBezTo>
                        <a:pt x="62" y="62"/>
                        <a:pt x="62" y="62"/>
                        <a:pt x="62" y="62"/>
                      </a:cubicBezTo>
                      <a:cubicBezTo>
                        <a:pt x="62" y="18"/>
                        <a:pt x="62" y="18"/>
                        <a:pt x="62" y="18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4" y="24"/>
                        <a:pt x="4" y="24"/>
                        <a:pt x="4" y="24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7" name="Freeform 699">
                  <a:extLst>
                    <a:ext uri="{FF2B5EF4-FFF2-40B4-BE49-F238E27FC236}">
                      <a16:creationId xmlns:a16="http://schemas.microsoft.com/office/drawing/2014/main" id="{194B3395-3348-47D9-A998-7C1B17F4A27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55" y="3631"/>
                  <a:ext cx="57" cy="64"/>
                </a:xfrm>
                <a:custGeom>
                  <a:avLst/>
                  <a:gdLst>
                    <a:gd name="T0" fmla="*/ 22 w 24"/>
                    <a:gd name="T1" fmla="*/ 27 h 27"/>
                    <a:gd name="T2" fmla="*/ 21 w 24"/>
                    <a:gd name="T3" fmla="*/ 26 h 27"/>
                    <a:gd name="T4" fmla="*/ 1 w 24"/>
                    <a:gd name="T5" fmla="*/ 15 h 27"/>
                    <a:gd name="T6" fmla="*/ 0 w 24"/>
                    <a:gd name="T7" fmla="*/ 13 h 27"/>
                    <a:gd name="T8" fmla="*/ 1 w 24"/>
                    <a:gd name="T9" fmla="*/ 11 h 27"/>
                    <a:gd name="T10" fmla="*/ 21 w 24"/>
                    <a:gd name="T11" fmla="*/ 0 h 27"/>
                    <a:gd name="T12" fmla="*/ 23 w 24"/>
                    <a:gd name="T13" fmla="*/ 0 h 27"/>
                    <a:gd name="T14" fmla="*/ 24 w 24"/>
                    <a:gd name="T15" fmla="*/ 2 h 27"/>
                    <a:gd name="T16" fmla="*/ 24 w 24"/>
                    <a:gd name="T17" fmla="*/ 25 h 27"/>
                    <a:gd name="T18" fmla="*/ 23 w 24"/>
                    <a:gd name="T19" fmla="*/ 26 h 27"/>
                    <a:gd name="T20" fmla="*/ 22 w 24"/>
                    <a:gd name="T21" fmla="*/ 27 h 27"/>
                    <a:gd name="T22" fmla="*/ 6 w 24"/>
                    <a:gd name="T23" fmla="*/ 13 h 27"/>
                    <a:gd name="T24" fmla="*/ 20 w 24"/>
                    <a:gd name="T25" fmla="*/ 21 h 27"/>
                    <a:gd name="T26" fmla="*/ 20 w 24"/>
                    <a:gd name="T27" fmla="*/ 5 h 27"/>
                    <a:gd name="T28" fmla="*/ 6 w 24"/>
                    <a:gd name="T29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7">
                      <a:moveTo>
                        <a:pt x="22" y="27"/>
                      </a:moveTo>
                      <a:cubicBezTo>
                        <a:pt x="22" y="27"/>
                        <a:pt x="22" y="27"/>
                        <a:pt x="21" y="26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1" y="14"/>
                        <a:pt x="0" y="14"/>
                        <a:pt x="0" y="13"/>
                      </a:cubicBezTo>
                      <a:cubicBezTo>
                        <a:pt x="0" y="12"/>
                        <a:pt x="1" y="12"/>
                        <a:pt x="1" y="11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2" y="0"/>
                        <a:pt x="23" y="0"/>
                        <a:pt x="23" y="0"/>
                      </a:cubicBezTo>
                      <a:cubicBezTo>
                        <a:pt x="24" y="0"/>
                        <a:pt x="24" y="1"/>
                        <a:pt x="24" y="2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4" y="25"/>
                        <a:pt x="24" y="26"/>
                        <a:pt x="23" y="26"/>
                      </a:cubicBezTo>
                      <a:cubicBezTo>
                        <a:pt x="23" y="27"/>
                        <a:pt x="23" y="27"/>
                        <a:pt x="22" y="27"/>
                      </a:cubicBezTo>
                      <a:close/>
                      <a:moveTo>
                        <a:pt x="6" y="13"/>
                      </a:moveTo>
                      <a:cubicBezTo>
                        <a:pt x="20" y="21"/>
                        <a:pt x="20" y="21"/>
                        <a:pt x="20" y="21"/>
                      </a:cubicBezTo>
                      <a:cubicBezTo>
                        <a:pt x="20" y="5"/>
                        <a:pt x="20" y="5"/>
                        <a:pt x="20" y="5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8" name="Freeform 700">
                  <a:extLst>
                    <a:ext uri="{FF2B5EF4-FFF2-40B4-BE49-F238E27FC236}">
                      <a16:creationId xmlns:a16="http://schemas.microsoft.com/office/drawing/2014/main" id="{09ABA0B2-FA0D-4973-A38D-6C4F797315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525"/>
                  <a:ext cx="140" cy="87"/>
                </a:xfrm>
                <a:custGeom>
                  <a:avLst/>
                  <a:gdLst>
                    <a:gd name="T0" fmla="*/ 39 w 59"/>
                    <a:gd name="T1" fmla="*/ 37 h 37"/>
                    <a:gd name="T2" fmla="*/ 38 w 59"/>
                    <a:gd name="T3" fmla="*/ 37 h 37"/>
                    <a:gd name="T4" fmla="*/ 1 w 59"/>
                    <a:gd name="T5" fmla="*/ 16 h 37"/>
                    <a:gd name="T6" fmla="*/ 0 w 59"/>
                    <a:gd name="T7" fmla="*/ 14 h 37"/>
                    <a:gd name="T8" fmla="*/ 0 w 59"/>
                    <a:gd name="T9" fmla="*/ 11 h 37"/>
                    <a:gd name="T10" fmla="*/ 1 w 59"/>
                    <a:gd name="T11" fmla="*/ 10 h 37"/>
                    <a:gd name="T12" fmla="*/ 17 w 59"/>
                    <a:gd name="T13" fmla="*/ 0 h 37"/>
                    <a:gd name="T14" fmla="*/ 19 w 59"/>
                    <a:gd name="T15" fmla="*/ 0 h 37"/>
                    <a:gd name="T16" fmla="*/ 58 w 59"/>
                    <a:gd name="T17" fmla="*/ 23 h 37"/>
                    <a:gd name="T18" fmla="*/ 59 w 59"/>
                    <a:gd name="T19" fmla="*/ 25 h 37"/>
                    <a:gd name="T20" fmla="*/ 58 w 59"/>
                    <a:gd name="T21" fmla="*/ 26 h 37"/>
                    <a:gd name="T22" fmla="*/ 40 w 59"/>
                    <a:gd name="T23" fmla="*/ 37 h 37"/>
                    <a:gd name="T24" fmla="*/ 39 w 59"/>
                    <a:gd name="T25" fmla="*/ 37 h 37"/>
                    <a:gd name="T26" fmla="*/ 4 w 59"/>
                    <a:gd name="T27" fmla="*/ 13 h 37"/>
                    <a:gd name="T28" fmla="*/ 39 w 59"/>
                    <a:gd name="T29" fmla="*/ 33 h 37"/>
                    <a:gd name="T30" fmla="*/ 53 w 59"/>
                    <a:gd name="T31" fmla="*/ 25 h 37"/>
                    <a:gd name="T32" fmla="*/ 18 w 59"/>
                    <a:gd name="T33" fmla="*/ 4 h 37"/>
                    <a:gd name="T34" fmla="*/ 4 w 59"/>
                    <a:gd name="T35" fmla="*/ 1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9" h="37">
                      <a:moveTo>
                        <a:pt x="39" y="37"/>
                      </a:moveTo>
                      <a:cubicBezTo>
                        <a:pt x="38" y="37"/>
                        <a:pt x="38" y="37"/>
                        <a:pt x="38" y="37"/>
                      </a:cubicBezTo>
                      <a:cubicBezTo>
                        <a:pt x="1" y="16"/>
                        <a:pt x="1" y="16"/>
                        <a:pt x="1" y="16"/>
                      </a:cubicBezTo>
                      <a:cubicBezTo>
                        <a:pt x="0" y="16"/>
                        <a:pt x="0" y="15"/>
                        <a:pt x="0" y="14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1"/>
                        <a:pt x="0" y="10"/>
                        <a:pt x="1" y="1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8" y="0"/>
                        <a:pt x="19" y="0"/>
                        <a:pt x="19" y="0"/>
                      </a:cubicBez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59" y="23"/>
                        <a:pt x="59" y="24"/>
                        <a:pt x="59" y="25"/>
                      </a:cubicBezTo>
                      <a:cubicBezTo>
                        <a:pt x="59" y="25"/>
                        <a:pt x="59" y="26"/>
                        <a:pt x="58" y="26"/>
                      </a:cubicBezTo>
                      <a:cubicBezTo>
                        <a:pt x="40" y="37"/>
                        <a:pt x="40" y="37"/>
                        <a:pt x="40" y="37"/>
                      </a:cubicBezTo>
                      <a:cubicBezTo>
                        <a:pt x="39" y="37"/>
                        <a:pt x="39" y="37"/>
                        <a:pt x="39" y="37"/>
                      </a:cubicBezTo>
                      <a:close/>
                      <a:moveTo>
                        <a:pt x="4" y="13"/>
                      </a:move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53" y="25"/>
                        <a:pt x="53" y="25"/>
                        <a:pt x="53" y="25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4" y="13"/>
                        <a:pt x="4" y="13"/>
                        <a:pt x="4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9" name="Freeform 701">
                  <a:extLst>
                    <a:ext uri="{FF2B5EF4-FFF2-40B4-BE49-F238E27FC236}">
                      <a16:creationId xmlns:a16="http://schemas.microsoft.com/office/drawing/2014/main" id="{CEDF77F3-4AF0-452A-90C0-A5A0F457AC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515"/>
                  <a:ext cx="45" cy="36"/>
                </a:xfrm>
                <a:custGeom>
                  <a:avLst/>
                  <a:gdLst>
                    <a:gd name="T0" fmla="*/ 2 w 19"/>
                    <a:gd name="T1" fmla="*/ 15 h 15"/>
                    <a:gd name="T2" fmla="*/ 1 w 19"/>
                    <a:gd name="T3" fmla="*/ 15 h 15"/>
                    <a:gd name="T4" fmla="*/ 0 w 19"/>
                    <a:gd name="T5" fmla="*/ 13 h 15"/>
                    <a:gd name="T6" fmla="*/ 0 w 19"/>
                    <a:gd name="T7" fmla="*/ 7 h 15"/>
                    <a:gd name="T8" fmla="*/ 1 w 19"/>
                    <a:gd name="T9" fmla="*/ 5 h 15"/>
                    <a:gd name="T10" fmla="*/ 7 w 19"/>
                    <a:gd name="T11" fmla="*/ 1 h 15"/>
                    <a:gd name="T12" fmla="*/ 8 w 19"/>
                    <a:gd name="T13" fmla="*/ 1 h 15"/>
                    <a:gd name="T14" fmla="*/ 9 w 19"/>
                    <a:gd name="T15" fmla="*/ 0 h 15"/>
                    <a:gd name="T16" fmla="*/ 9 w 19"/>
                    <a:gd name="T17" fmla="*/ 0 h 15"/>
                    <a:gd name="T18" fmla="*/ 12 w 19"/>
                    <a:gd name="T19" fmla="*/ 0 h 15"/>
                    <a:gd name="T20" fmla="*/ 18 w 19"/>
                    <a:gd name="T21" fmla="*/ 3 h 15"/>
                    <a:gd name="T22" fmla="*/ 19 w 19"/>
                    <a:gd name="T23" fmla="*/ 5 h 15"/>
                    <a:gd name="T24" fmla="*/ 18 w 19"/>
                    <a:gd name="T25" fmla="*/ 7 h 15"/>
                    <a:gd name="T26" fmla="*/ 3 w 19"/>
                    <a:gd name="T27" fmla="*/ 15 h 15"/>
                    <a:gd name="T28" fmla="*/ 2 w 19"/>
                    <a:gd name="T29" fmla="*/ 15 h 15"/>
                    <a:gd name="T30" fmla="*/ 4 w 19"/>
                    <a:gd name="T31" fmla="*/ 8 h 15"/>
                    <a:gd name="T32" fmla="*/ 4 w 19"/>
                    <a:gd name="T33" fmla="*/ 10 h 15"/>
                    <a:gd name="T34" fmla="*/ 13 w 19"/>
                    <a:gd name="T35" fmla="*/ 5 h 15"/>
                    <a:gd name="T36" fmla="*/ 12 w 19"/>
                    <a:gd name="T37" fmla="*/ 5 h 15"/>
                    <a:gd name="T38" fmla="*/ 11 w 19"/>
                    <a:gd name="T39" fmla="*/ 5 h 15"/>
                    <a:gd name="T40" fmla="*/ 9 w 19"/>
                    <a:gd name="T41" fmla="*/ 5 h 15"/>
                    <a:gd name="T42" fmla="*/ 8 w 19"/>
                    <a:gd name="T43" fmla="*/ 5 h 15"/>
                    <a:gd name="T44" fmla="*/ 4 w 19"/>
                    <a:gd name="T45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9" h="15">
                      <a:moveTo>
                        <a:pt x="2" y="15"/>
                      </a:moveTo>
                      <a:cubicBezTo>
                        <a:pt x="2" y="15"/>
                        <a:pt x="1" y="15"/>
                        <a:pt x="1" y="15"/>
                      </a:cubicBezTo>
                      <a:cubicBezTo>
                        <a:pt x="0" y="15"/>
                        <a:pt x="0" y="14"/>
                        <a:pt x="0" y="13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8" y="1"/>
                        <a:pt x="9" y="0"/>
                        <a:pt x="9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2" y="0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8" y="4"/>
                        <a:pt x="19" y="4"/>
                        <a:pt x="19" y="5"/>
                      </a:cubicBezTo>
                      <a:cubicBezTo>
                        <a:pt x="19" y="6"/>
                        <a:pt x="18" y="7"/>
                        <a:pt x="18" y="7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3" y="15"/>
                        <a:pt x="2" y="15"/>
                        <a:pt x="2" y="15"/>
                      </a:cubicBezTo>
                      <a:close/>
                      <a:moveTo>
                        <a:pt x="4" y="8"/>
                      </a:move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1" y="5"/>
                        <a:pt x="11" y="5"/>
                      </a:cubicBezTo>
                      <a:cubicBezTo>
                        <a:pt x="10" y="6"/>
                        <a:pt x="10" y="6"/>
                        <a:pt x="9" y="5"/>
                      </a:cubicBezTo>
                      <a:cubicBezTo>
                        <a:pt x="8" y="5"/>
                        <a:pt x="8" y="5"/>
                        <a:pt x="8" y="5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0" name="Freeform 702">
                  <a:extLst>
                    <a:ext uri="{FF2B5EF4-FFF2-40B4-BE49-F238E27FC236}">
                      <a16:creationId xmlns:a16="http://schemas.microsoft.com/office/drawing/2014/main" id="{647CFFB3-78E3-494D-B988-7E61D2E902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15" y="3466"/>
                  <a:ext cx="97" cy="198"/>
                </a:xfrm>
                <a:custGeom>
                  <a:avLst/>
                  <a:gdLst>
                    <a:gd name="T0" fmla="*/ 18 w 41"/>
                    <a:gd name="T1" fmla="*/ 84 h 84"/>
                    <a:gd name="T2" fmla="*/ 17 w 41"/>
                    <a:gd name="T3" fmla="*/ 84 h 84"/>
                    <a:gd name="T4" fmla="*/ 1 w 41"/>
                    <a:gd name="T5" fmla="*/ 75 h 84"/>
                    <a:gd name="T6" fmla="*/ 0 w 41"/>
                    <a:gd name="T7" fmla="*/ 73 h 84"/>
                    <a:gd name="T8" fmla="*/ 0 w 41"/>
                    <a:gd name="T9" fmla="*/ 55 h 84"/>
                    <a:gd name="T10" fmla="*/ 1 w 41"/>
                    <a:gd name="T11" fmla="*/ 54 h 84"/>
                    <a:gd name="T12" fmla="*/ 28 w 41"/>
                    <a:gd name="T13" fmla="*/ 38 h 84"/>
                    <a:gd name="T14" fmla="*/ 3 w 41"/>
                    <a:gd name="T15" fmla="*/ 24 h 84"/>
                    <a:gd name="T16" fmla="*/ 2 w 41"/>
                    <a:gd name="T17" fmla="*/ 22 h 84"/>
                    <a:gd name="T18" fmla="*/ 3 w 41"/>
                    <a:gd name="T19" fmla="*/ 20 h 84"/>
                    <a:gd name="T20" fmla="*/ 38 w 41"/>
                    <a:gd name="T21" fmla="*/ 0 h 84"/>
                    <a:gd name="T22" fmla="*/ 40 w 41"/>
                    <a:gd name="T23" fmla="*/ 0 h 84"/>
                    <a:gd name="T24" fmla="*/ 41 w 41"/>
                    <a:gd name="T25" fmla="*/ 2 h 84"/>
                    <a:gd name="T26" fmla="*/ 41 w 41"/>
                    <a:gd name="T27" fmla="*/ 70 h 84"/>
                    <a:gd name="T28" fmla="*/ 40 w 41"/>
                    <a:gd name="T29" fmla="*/ 71 h 84"/>
                    <a:gd name="T30" fmla="*/ 19 w 41"/>
                    <a:gd name="T31" fmla="*/ 84 h 84"/>
                    <a:gd name="T32" fmla="*/ 18 w 41"/>
                    <a:gd name="T33" fmla="*/ 84 h 84"/>
                    <a:gd name="T34" fmla="*/ 4 w 41"/>
                    <a:gd name="T35" fmla="*/ 72 h 84"/>
                    <a:gd name="T36" fmla="*/ 18 w 41"/>
                    <a:gd name="T37" fmla="*/ 80 h 84"/>
                    <a:gd name="T38" fmla="*/ 37 w 41"/>
                    <a:gd name="T39" fmla="*/ 69 h 84"/>
                    <a:gd name="T40" fmla="*/ 37 w 41"/>
                    <a:gd name="T41" fmla="*/ 5 h 84"/>
                    <a:gd name="T42" fmla="*/ 8 w 41"/>
                    <a:gd name="T43" fmla="*/ 22 h 84"/>
                    <a:gd name="T44" fmla="*/ 33 w 41"/>
                    <a:gd name="T45" fmla="*/ 36 h 84"/>
                    <a:gd name="T46" fmla="*/ 34 w 41"/>
                    <a:gd name="T47" fmla="*/ 38 h 84"/>
                    <a:gd name="T48" fmla="*/ 33 w 41"/>
                    <a:gd name="T49" fmla="*/ 40 h 84"/>
                    <a:gd name="T50" fmla="*/ 4 w 41"/>
                    <a:gd name="T51" fmla="*/ 57 h 84"/>
                    <a:gd name="T52" fmla="*/ 4 w 41"/>
                    <a:gd name="T53" fmla="*/ 7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1" h="84">
                      <a:moveTo>
                        <a:pt x="18" y="84"/>
                      </a:move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0" y="74"/>
                        <a:pt x="0" y="74"/>
                        <a:pt x="0" y="73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55"/>
                        <a:pt x="0" y="54"/>
                        <a:pt x="1" y="54"/>
                      </a:cubicBezTo>
                      <a:cubicBezTo>
                        <a:pt x="28" y="38"/>
                        <a:pt x="28" y="38"/>
                        <a:pt x="28" y="38"/>
                      </a:cubicBez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3" y="23"/>
                        <a:pt x="2" y="23"/>
                        <a:pt x="2" y="22"/>
                      </a:cubicBezTo>
                      <a:cubicBezTo>
                        <a:pt x="2" y="21"/>
                        <a:pt x="3" y="20"/>
                        <a:pt x="3" y="2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9" y="0"/>
                        <a:pt x="40" y="0"/>
                        <a:pt x="40" y="0"/>
                      </a:cubicBezTo>
                      <a:cubicBezTo>
                        <a:pt x="41" y="0"/>
                        <a:pt x="41" y="1"/>
                        <a:pt x="41" y="2"/>
                      </a:cubicBezTo>
                      <a:cubicBezTo>
                        <a:pt x="41" y="70"/>
                        <a:pt x="41" y="70"/>
                        <a:pt x="41" y="70"/>
                      </a:cubicBezTo>
                      <a:cubicBezTo>
                        <a:pt x="41" y="70"/>
                        <a:pt x="41" y="71"/>
                        <a:pt x="40" y="71"/>
                      </a:cubicBezTo>
                      <a:cubicBezTo>
                        <a:pt x="19" y="84"/>
                        <a:pt x="19" y="84"/>
                        <a:pt x="19" y="84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lose/>
                      <a:moveTo>
                        <a:pt x="4" y="72"/>
                      </a:moveTo>
                      <a:cubicBezTo>
                        <a:pt x="18" y="80"/>
                        <a:pt x="18" y="80"/>
                        <a:pt x="18" y="80"/>
                      </a:cubicBezTo>
                      <a:cubicBezTo>
                        <a:pt x="37" y="69"/>
                        <a:pt x="37" y="69"/>
                        <a:pt x="37" y="69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33" y="36"/>
                        <a:pt x="33" y="36"/>
                        <a:pt x="33" y="36"/>
                      </a:cubicBezTo>
                      <a:cubicBezTo>
                        <a:pt x="34" y="36"/>
                        <a:pt x="34" y="37"/>
                        <a:pt x="34" y="38"/>
                      </a:cubicBezTo>
                      <a:cubicBezTo>
                        <a:pt x="34" y="39"/>
                        <a:pt x="34" y="39"/>
                        <a:pt x="33" y="40"/>
                      </a:cubicBezTo>
                      <a:cubicBezTo>
                        <a:pt x="4" y="57"/>
                        <a:pt x="4" y="57"/>
                        <a:pt x="4" y="57"/>
                      </a:cubicBezTo>
                      <a:lnTo>
                        <a:pt x="4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1" name="Freeform 703">
                  <a:extLst>
                    <a:ext uri="{FF2B5EF4-FFF2-40B4-BE49-F238E27FC236}">
                      <a16:creationId xmlns:a16="http://schemas.microsoft.com/office/drawing/2014/main" id="{2076B89E-D2E1-456D-9290-6CEC668B38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15" y="3515"/>
                  <a:ext cx="73" cy="83"/>
                </a:xfrm>
                <a:custGeom>
                  <a:avLst/>
                  <a:gdLst>
                    <a:gd name="T0" fmla="*/ 2 w 31"/>
                    <a:gd name="T1" fmla="*/ 35 h 35"/>
                    <a:gd name="T2" fmla="*/ 1 w 31"/>
                    <a:gd name="T3" fmla="*/ 34 h 35"/>
                    <a:gd name="T4" fmla="*/ 0 w 31"/>
                    <a:gd name="T5" fmla="*/ 33 h 35"/>
                    <a:gd name="T6" fmla="*/ 0 w 31"/>
                    <a:gd name="T7" fmla="*/ 2 h 35"/>
                    <a:gd name="T8" fmla="*/ 1 w 31"/>
                    <a:gd name="T9" fmla="*/ 1 h 35"/>
                    <a:gd name="T10" fmla="*/ 2 w 31"/>
                    <a:gd name="T11" fmla="*/ 0 h 35"/>
                    <a:gd name="T12" fmla="*/ 4 w 31"/>
                    <a:gd name="T13" fmla="*/ 0 h 35"/>
                    <a:gd name="T14" fmla="*/ 30 w 31"/>
                    <a:gd name="T15" fmla="*/ 15 h 35"/>
                    <a:gd name="T16" fmla="*/ 31 w 31"/>
                    <a:gd name="T17" fmla="*/ 17 h 35"/>
                    <a:gd name="T18" fmla="*/ 30 w 31"/>
                    <a:gd name="T19" fmla="*/ 19 h 35"/>
                    <a:gd name="T20" fmla="*/ 3 w 31"/>
                    <a:gd name="T21" fmla="*/ 34 h 35"/>
                    <a:gd name="T22" fmla="*/ 2 w 31"/>
                    <a:gd name="T23" fmla="*/ 35 h 35"/>
                    <a:gd name="T24" fmla="*/ 4 w 31"/>
                    <a:gd name="T25" fmla="*/ 5 h 35"/>
                    <a:gd name="T26" fmla="*/ 4 w 31"/>
                    <a:gd name="T27" fmla="*/ 29 h 35"/>
                    <a:gd name="T28" fmla="*/ 25 w 31"/>
                    <a:gd name="T29" fmla="*/ 17 h 35"/>
                    <a:gd name="T30" fmla="*/ 4 w 31"/>
                    <a:gd name="T31" fmla="*/ 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1" h="35">
                      <a:moveTo>
                        <a:pt x="2" y="35"/>
                      </a:moveTo>
                      <a:cubicBezTo>
                        <a:pt x="1" y="35"/>
                        <a:pt x="1" y="35"/>
                        <a:pt x="1" y="34"/>
                      </a:cubicBezTo>
                      <a:cubicBezTo>
                        <a:pt x="0" y="34"/>
                        <a:pt x="0" y="33"/>
                        <a:pt x="0" y="3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3" y="0"/>
                        <a:pt x="4" y="0"/>
                      </a:cubicBezTo>
                      <a:cubicBezTo>
                        <a:pt x="30" y="15"/>
                        <a:pt x="30" y="15"/>
                        <a:pt x="30" y="15"/>
                      </a:cubicBezTo>
                      <a:cubicBezTo>
                        <a:pt x="30" y="15"/>
                        <a:pt x="31" y="16"/>
                        <a:pt x="31" y="17"/>
                      </a:cubicBezTo>
                      <a:cubicBezTo>
                        <a:pt x="31" y="18"/>
                        <a:pt x="30" y="18"/>
                        <a:pt x="30" y="19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2" y="35"/>
                        <a:pt x="2" y="35"/>
                        <a:pt x="2" y="35"/>
                      </a:cubicBezTo>
                      <a:close/>
                      <a:moveTo>
                        <a:pt x="4" y="5"/>
                      </a:move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25" y="17"/>
                        <a:pt x="25" y="17"/>
                        <a:pt x="25" y="1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2" name="Freeform 704">
                  <a:extLst>
                    <a:ext uri="{FF2B5EF4-FFF2-40B4-BE49-F238E27FC236}">
                      <a16:creationId xmlns:a16="http://schemas.microsoft.com/office/drawing/2014/main" id="{7208B800-C14C-41A0-99C0-AB56E6AC6E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15" y="3638"/>
                  <a:ext cx="42" cy="47"/>
                </a:xfrm>
                <a:custGeom>
                  <a:avLst/>
                  <a:gdLst>
                    <a:gd name="T0" fmla="*/ 2 w 18"/>
                    <a:gd name="T1" fmla="*/ 20 h 20"/>
                    <a:gd name="T2" fmla="*/ 1 w 18"/>
                    <a:gd name="T3" fmla="*/ 20 h 20"/>
                    <a:gd name="T4" fmla="*/ 0 w 18"/>
                    <a:gd name="T5" fmla="*/ 18 h 20"/>
                    <a:gd name="T6" fmla="*/ 0 w 18"/>
                    <a:gd name="T7" fmla="*/ 2 h 20"/>
                    <a:gd name="T8" fmla="*/ 1 w 18"/>
                    <a:gd name="T9" fmla="*/ 0 h 20"/>
                    <a:gd name="T10" fmla="*/ 3 w 18"/>
                    <a:gd name="T11" fmla="*/ 0 h 20"/>
                    <a:gd name="T12" fmla="*/ 17 w 18"/>
                    <a:gd name="T13" fmla="*/ 8 h 20"/>
                    <a:gd name="T14" fmla="*/ 18 w 18"/>
                    <a:gd name="T15" fmla="*/ 10 h 20"/>
                    <a:gd name="T16" fmla="*/ 17 w 18"/>
                    <a:gd name="T17" fmla="*/ 12 h 20"/>
                    <a:gd name="T18" fmla="*/ 3 w 18"/>
                    <a:gd name="T19" fmla="*/ 20 h 20"/>
                    <a:gd name="T20" fmla="*/ 2 w 18"/>
                    <a:gd name="T21" fmla="*/ 20 h 20"/>
                    <a:gd name="T22" fmla="*/ 4 w 18"/>
                    <a:gd name="T23" fmla="*/ 5 h 20"/>
                    <a:gd name="T24" fmla="*/ 4 w 18"/>
                    <a:gd name="T25" fmla="*/ 15 h 20"/>
                    <a:gd name="T26" fmla="*/ 12 w 18"/>
                    <a:gd name="T27" fmla="*/ 10 h 20"/>
                    <a:gd name="T28" fmla="*/ 4 w 18"/>
                    <a:gd name="T29" fmla="*/ 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20">
                      <a:moveTo>
                        <a:pt x="2" y="20"/>
                      </a:move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0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8" y="9"/>
                        <a:pt x="18" y="9"/>
                        <a:pt x="18" y="10"/>
                      </a:cubicBezTo>
                      <a:cubicBezTo>
                        <a:pt x="18" y="11"/>
                        <a:pt x="18" y="11"/>
                        <a:pt x="17" y="12"/>
                      </a:cubicBezTo>
                      <a:cubicBezTo>
                        <a:pt x="3" y="20"/>
                        <a:pt x="3" y="20"/>
                        <a:pt x="3" y="20"/>
                      </a:cubicBezTo>
                      <a:cubicBezTo>
                        <a:pt x="2" y="20"/>
                        <a:pt x="2" y="20"/>
                        <a:pt x="2" y="20"/>
                      </a:cubicBezTo>
                      <a:close/>
                      <a:moveTo>
                        <a:pt x="4" y="5"/>
                      </a:move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3" name="Freeform 705">
                  <a:extLst>
                    <a:ext uri="{FF2B5EF4-FFF2-40B4-BE49-F238E27FC236}">
                      <a16:creationId xmlns:a16="http://schemas.microsoft.com/office/drawing/2014/main" id="{C95A5F12-6AC0-498E-91D2-2948C5C07A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3553"/>
                  <a:ext cx="12" cy="114"/>
                </a:xfrm>
                <a:custGeom>
                  <a:avLst/>
                  <a:gdLst>
                    <a:gd name="T0" fmla="*/ 2 w 5"/>
                    <a:gd name="T1" fmla="*/ 48 h 48"/>
                    <a:gd name="T2" fmla="*/ 1 w 5"/>
                    <a:gd name="T3" fmla="*/ 48 h 48"/>
                    <a:gd name="T4" fmla="*/ 0 w 5"/>
                    <a:gd name="T5" fmla="*/ 46 h 48"/>
                    <a:gd name="T6" fmla="*/ 0 w 5"/>
                    <a:gd name="T7" fmla="*/ 2 h 48"/>
                    <a:gd name="T8" fmla="*/ 1 w 5"/>
                    <a:gd name="T9" fmla="*/ 1 h 48"/>
                    <a:gd name="T10" fmla="*/ 3 w 5"/>
                    <a:gd name="T11" fmla="*/ 1 h 48"/>
                    <a:gd name="T12" fmla="*/ 4 w 5"/>
                    <a:gd name="T13" fmla="*/ 2 h 48"/>
                    <a:gd name="T14" fmla="*/ 5 w 5"/>
                    <a:gd name="T15" fmla="*/ 3 h 48"/>
                    <a:gd name="T16" fmla="*/ 5 w 5"/>
                    <a:gd name="T17" fmla="*/ 45 h 48"/>
                    <a:gd name="T18" fmla="*/ 4 w 5"/>
                    <a:gd name="T19" fmla="*/ 47 h 48"/>
                    <a:gd name="T20" fmla="*/ 3 w 5"/>
                    <a:gd name="T21" fmla="*/ 48 h 48"/>
                    <a:gd name="T22" fmla="*/ 2 w 5"/>
                    <a:gd name="T2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48">
                      <a:moveTo>
                        <a:pt x="2" y="48"/>
                      </a:moveTo>
                      <a:cubicBezTo>
                        <a:pt x="1" y="48"/>
                        <a:pt x="1" y="48"/>
                        <a:pt x="1" y="48"/>
                      </a:cubicBezTo>
                      <a:cubicBezTo>
                        <a:pt x="0" y="48"/>
                        <a:pt x="0" y="47"/>
                        <a:pt x="0" y="4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3"/>
                      </a:cubicBezTo>
                      <a:cubicBezTo>
                        <a:pt x="5" y="45"/>
                        <a:pt x="5" y="45"/>
                        <a:pt x="5" y="45"/>
                      </a:cubicBezTo>
                      <a:cubicBezTo>
                        <a:pt x="5" y="46"/>
                        <a:pt x="5" y="47"/>
                        <a:pt x="4" y="47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4" name="Freeform 706">
                  <a:extLst>
                    <a:ext uri="{FF2B5EF4-FFF2-40B4-BE49-F238E27FC236}">
                      <a16:creationId xmlns:a16="http://schemas.microsoft.com/office/drawing/2014/main" id="{0920F30D-5CF7-4D7F-8620-FD6497FF25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95" y="3265"/>
                  <a:ext cx="135" cy="255"/>
                </a:xfrm>
                <a:custGeom>
                  <a:avLst/>
                  <a:gdLst>
                    <a:gd name="T0" fmla="*/ 3 w 57"/>
                    <a:gd name="T1" fmla="*/ 108 h 108"/>
                    <a:gd name="T2" fmla="*/ 1 w 57"/>
                    <a:gd name="T3" fmla="*/ 108 h 108"/>
                    <a:gd name="T4" fmla="*/ 1 w 57"/>
                    <a:gd name="T5" fmla="*/ 107 h 108"/>
                    <a:gd name="T6" fmla="*/ 0 w 57"/>
                    <a:gd name="T7" fmla="*/ 106 h 108"/>
                    <a:gd name="T8" fmla="*/ 0 w 57"/>
                    <a:gd name="T9" fmla="*/ 32 h 108"/>
                    <a:gd name="T10" fmla="*/ 1 w 57"/>
                    <a:gd name="T11" fmla="*/ 30 h 108"/>
                    <a:gd name="T12" fmla="*/ 54 w 57"/>
                    <a:gd name="T13" fmla="*/ 0 h 108"/>
                    <a:gd name="T14" fmla="*/ 56 w 57"/>
                    <a:gd name="T15" fmla="*/ 0 h 108"/>
                    <a:gd name="T16" fmla="*/ 57 w 57"/>
                    <a:gd name="T17" fmla="*/ 2 h 108"/>
                    <a:gd name="T18" fmla="*/ 57 w 57"/>
                    <a:gd name="T19" fmla="*/ 76 h 108"/>
                    <a:gd name="T20" fmla="*/ 56 w 57"/>
                    <a:gd name="T21" fmla="*/ 77 h 108"/>
                    <a:gd name="T22" fmla="*/ 4 w 57"/>
                    <a:gd name="T23" fmla="*/ 108 h 108"/>
                    <a:gd name="T24" fmla="*/ 3 w 57"/>
                    <a:gd name="T25" fmla="*/ 108 h 108"/>
                    <a:gd name="T26" fmla="*/ 4 w 57"/>
                    <a:gd name="T27" fmla="*/ 33 h 108"/>
                    <a:gd name="T28" fmla="*/ 4 w 57"/>
                    <a:gd name="T29" fmla="*/ 103 h 108"/>
                    <a:gd name="T30" fmla="*/ 53 w 57"/>
                    <a:gd name="T31" fmla="*/ 74 h 108"/>
                    <a:gd name="T32" fmla="*/ 53 w 57"/>
                    <a:gd name="T33" fmla="*/ 5 h 108"/>
                    <a:gd name="T34" fmla="*/ 4 w 57"/>
                    <a:gd name="T35" fmla="*/ 33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7" h="108">
                      <a:moveTo>
                        <a:pt x="3" y="108"/>
                      </a:moveTo>
                      <a:cubicBezTo>
                        <a:pt x="2" y="108"/>
                        <a:pt x="2" y="108"/>
                        <a:pt x="1" y="108"/>
                      </a:cubicBezTo>
                      <a:cubicBezTo>
                        <a:pt x="1" y="107"/>
                        <a:pt x="1" y="107"/>
                        <a:pt x="1" y="107"/>
                      </a:cubicBezTo>
                      <a:cubicBezTo>
                        <a:pt x="0" y="107"/>
                        <a:pt x="0" y="106"/>
                        <a:pt x="0" y="106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0" y="31"/>
                        <a:pt x="1" y="30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54" y="0"/>
                        <a:pt x="55" y="0"/>
                        <a:pt x="56" y="0"/>
                      </a:cubicBezTo>
                      <a:cubicBezTo>
                        <a:pt x="56" y="0"/>
                        <a:pt x="57" y="1"/>
                        <a:pt x="57" y="2"/>
                      </a:cubicBezTo>
                      <a:cubicBezTo>
                        <a:pt x="57" y="76"/>
                        <a:pt x="57" y="76"/>
                        <a:pt x="57" y="76"/>
                      </a:cubicBezTo>
                      <a:cubicBezTo>
                        <a:pt x="57" y="76"/>
                        <a:pt x="56" y="77"/>
                        <a:pt x="56" y="77"/>
                      </a:cubicBezTo>
                      <a:cubicBezTo>
                        <a:pt x="4" y="108"/>
                        <a:pt x="4" y="108"/>
                        <a:pt x="4" y="108"/>
                      </a:cubicBezTo>
                      <a:cubicBezTo>
                        <a:pt x="3" y="108"/>
                        <a:pt x="3" y="108"/>
                        <a:pt x="3" y="108"/>
                      </a:cubicBezTo>
                      <a:close/>
                      <a:moveTo>
                        <a:pt x="4" y="33"/>
                      </a:moveTo>
                      <a:cubicBezTo>
                        <a:pt x="4" y="103"/>
                        <a:pt x="4" y="103"/>
                        <a:pt x="4" y="103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5"/>
                        <a:pt x="53" y="5"/>
                        <a:pt x="53" y="5"/>
                      </a:cubicBezTo>
                      <a:lnTo>
                        <a:pt x="4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5" name="Freeform 707">
                  <a:extLst>
                    <a:ext uri="{FF2B5EF4-FFF2-40B4-BE49-F238E27FC236}">
                      <a16:creationId xmlns:a16="http://schemas.microsoft.com/office/drawing/2014/main" id="{39FF55DA-AF44-40DE-8EF5-16BF2F3E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3504"/>
                  <a:ext cx="12" cy="33"/>
                </a:xfrm>
                <a:custGeom>
                  <a:avLst/>
                  <a:gdLst>
                    <a:gd name="T0" fmla="*/ 2 w 5"/>
                    <a:gd name="T1" fmla="*/ 14 h 14"/>
                    <a:gd name="T2" fmla="*/ 1 w 5"/>
                    <a:gd name="T3" fmla="*/ 13 h 14"/>
                    <a:gd name="T4" fmla="*/ 0 w 5"/>
                    <a:gd name="T5" fmla="*/ 12 h 14"/>
                    <a:gd name="T6" fmla="*/ 0 w 5"/>
                    <a:gd name="T7" fmla="*/ 2 h 14"/>
                    <a:gd name="T8" fmla="*/ 1 w 5"/>
                    <a:gd name="T9" fmla="*/ 1 h 14"/>
                    <a:gd name="T10" fmla="*/ 3 w 5"/>
                    <a:gd name="T11" fmla="*/ 1 h 14"/>
                    <a:gd name="T12" fmla="*/ 4 w 5"/>
                    <a:gd name="T13" fmla="*/ 1 h 14"/>
                    <a:gd name="T14" fmla="*/ 5 w 5"/>
                    <a:gd name="T15" fmla="*/ 3 h 14"/>
                    <a:gd name="T16" fmla="*/ 5 w 5"/>
                    <a:gd name="T17" fmla="*/ 11 h 14"/>
                    <a:gd name="T18" fmla="*/ 4 w 5"/>
                    <a:gd name="T19" fmla="*/ 12 h 14"/>
                    <a:gd name="T20" fmla="*/ 3 w 5"/>
                    <a:gd name="T21" fmla="*/ 13 h 14"/>
                    <a:gd name="T22" fmla="*/ 2 w 5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4">
                      <a:moveTo>
                        <a:pt x="2" y="14"/>
                      </a:moveTo>
                      <a:cubicBezTo>
                        <a:pt x="1" y="14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2"/>
                        <a:pt x="5" y="3"/>
                        <a:pt x="5" y="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1"/>
                        <a:pt x="5" y="12"/>
                        <a:pt x="4" y="12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2" y="13"/>
                        <a:pt x="2" y="14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6" name="Freeform 708">
                  <a:extLst>
                    <a:ext uri="{FF2B5EF4-FFF2-40B4-BE49-F238E27FC236}">
                      <a16:creationId xmlns:a16="http://schemas.microsoft.com/office/drawing/2014/main" id="{6945AC3D-9FCB-4E74-9DF9-059E07518F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2" y="3548"/>
                  <a:ext cx="9" cy="12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5 h 5"/>
                    <a:gd name="T4" fmla="*/ 1 w 4"/>
                    <a:gd name="T5" fmla="*/ 5 h 5"/>
                    <a:gd name="T6" fmla="*/ 0 w 4"/>
                    <a:gd name="T7" fmla="*/ 3 h 5"/>
                    <a:gd name="T8" fmla="*/ 1 w 4"/>
                    <a:gd name="T9" fmla="*/ 1 h 5"/>
                    <a:gd name="T10" fmla="*/ 1 w 4"/>
                    <a:gd name="T11" fmla="*/ 1 h 5"/>
                    <a:gd name="T12" fmla="*/ 3 w 4"/>
                    <a:gd name="T13" fmla="*/ 1 h 5"/>
                    <a:gd name="T14" fmla="*/ 4 w 4"/>
                    <a:gd name="T15" fmla="*/ 2 h 5"/>
                    <a:gd name="T16" fmla="*/ 4 w 4"/>
                    <a:gd name="T17" fmla="*/ 3 h 5"/>
                    <a:gd name="T18" fmla="*/ 3 w 4"/>
                    <a:gd name="T19" fmla="*/ 5 h 5"/>
                    <a:gd name="T20" fmla="*/ 2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2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4"/>
                        <a:pt x="0" y="4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4"/>
                        <a:pt x="4" y="5"/>
                        <a:pt x="3" y="5"/>
                      </a:cubicBezTo>
                      <a:cubicBezTo>
                        <a:pt x="3" y="5"/>
                        <a:pt x="3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7" name="Freeform 709">
                  <a:extLst>
                    <a:ext uri="{FF2B5EF4-FFF2-40B4-BE49-F238E27FC236}">
                      <a16:creationId xmlns:a16="http://schemas.microsoft.com/office/drawing/2014/main" id="{832682CA-C197-417E-A1DE-FD84DE785A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3527"/>
                  <a:ext cx="12" cy="28"/>
                </a:xfrm>
                <a:custGeom>
                  <a:avLst/>
                  <a:gdLst>
                    <a:gd name="T0" fmla="*/ 2 w 5"/>
                    <a:gd name="T1" fmla="*/ 12 h 12"/>
                    <a:gd name="T2" fmla="*/ 1 w 5"/>
                    <a:gd name="T3" fmla="*/ 12 h 12"/>
                    <a:gd name="T4" fmla="*/ 0 w 5"/>
                    <a:gd name="T5" fmla="*/ 10 h 12"/>
                    <a:gd name="T6" fmla="*/ 0 w 5"/>
                    <a:gd name="T7" fmla="*/ 3 h 12"/>
                    <a:gd name="T8" fmla="*/ 1 w 5"/>
                    <a:gd name="T9" fmla="*/ 2 h 12"/>
                    <a:gd name="T10" fmla="*/ 2 w 5"/>
                    <a:gd name="T11" fmla="*/ 1 h 12"/>
                    <a:gd name="T12" fmla="*/ 4 w 5"/>
                    <a:gd name="T13" fmla="*/ 1 h 12"/>
                    <a:gd name="T14" fmla="*/ 5 w 5"/>
                    <a:gd name="T15" fmla="*/ 2 h 12"/>
                    <a:gd name="T16" fmla="*/ 5 w 5"/>
                    <a:gd name="T17" fmla="*/ 9 h 12"/>
                    <a:gd name="T18" fmla="*/ 4 w 5"/>
                    <a:gd name="T19" fmla="*/ 11 h 12"/>
                    <a:gd name="T20" fmla="*/ 3 w 5"/>
                    <a:gd name="T21" fmla="*/ 12 h 12"/>
                    <a:gd name="T22" fmla="*/ 2 w 5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2">
                      <a:moveTo>
                        <a:pt x="2" y="12"/>
                      </a:move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10"/>
                        <a:pt x="5" y="11"/>
                        <a:pt x="4" y="11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2" y="12"/>
                        <a:pt x="2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8" name="Freeform 710">
                  <a:extLst>
                    <a:ext uri="{FF2B5EF4-FFF2-40B4-BE49-F238E27FC236}">
                      <a16:creationId xmlns:a16="http://schemas.microsoft.com/office/drawing/2014/main" id="{4A12FB5D-91B2-40F3-AD02-099D14F019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69" y="3338"/>
                  <a:ext cx="31" cy="180"/>
                </a:xfrm>
                <a:custGeom>
                  <a:avLst/>
                  <a:gdLst>
                    <a:gd name="T0" fmla="*/ 11 w 13"/>
                    <a:gd name="T1" fmla="*/ 76 h 76"/>
                    <a:gd name="T2" fmla="*/ 10 w 13"/>
                    <a:gd name="T3" fmla="*/ 75 h 76"/>
                    <a:gd name="T4" fmla="*/ 5 w 13"/>
                    <a:gd name="T5" fmla="*/ 72 h 76"/>
                    <a:gd name="T6" fmla="*/ 4 w 13"/>
                    <a:gd name="T7" fmla="*/ 73 h 76"/>
                    <a:gd name="T8" fmla="*/ 2 w 13"/>
                    <a:gd name="T9" fmla="*/ 73 h 76"/>
                    <a:gd name="T10" fmla="*/ 1 w 13"/>
                    <a:gd name="T11" fmla="*/ 72 h 76"/>
                    <a:gd name="T12" fmla="*/ 0 w 13"/>
                    <a:gd name="T13" fmla="*/ 70 h 76"/>
                    <a:gd name="T14" fmla="*/ 0 w 13"/>
                    <a:gd name="T15" fmla="*/ 8 h 76"/>
                    <a:gd name="T16" fmla="*/ 1 w 13"/>
                    <a:gd name="T17" fmla="*/ 6 h 76"/>
                    <a:gd name="T18" fmla="*/ 10 w 13"/>
                    <a:gd name="T19" fmla="*/ 0 h 76"/>
                    <a:gd name="T20" fmla="*/ 12 w 13"/>
                    <a:gd name="T21" fmla="*/ 0 h 76"/>
                    <a:gd name="T22" fmla="*/ 13 w 13"/>
                    <a:gd name="T23" fmla="*/ 2 h 76"/>
                    <a:gd name="T24" fmla="*/ 13 w 13"/>
                    <a:gd name="T25" fmla="*/ 74 h 76"/>
                    <a:gd name="T26" fmla="*/ 12 w 13"/>
                    <a:gd name="T27" fmla="*/ 75 h 76"/>
                    <a:gd name="T28" fmla="*/ 11 w 13"/>
                    <a:gd name="T29" fmla="*/ 76 h 76"/>
                    <a:gd name="T30" fmla="*/ 4 w 13"/>
                    <a:gd name="T31" fmla="*/ 67 h 76"/>
                    <a:gd name="T32" fmla="*/ 4 w 13"/>
                    <a:gd name="T33" fmla="*/ 67 h 76"/>
                    <a:gd name="T34" fmla="*/ 9 w 13"/>
                    <a:gd name="T35" fmla="*/ 70 h 76"/>
                    <a:gd name="T36" fmla="*/ 9 w 13"/>
                    <a:gd name="T37" fmla="*/ 6 h 76"/>
                    <a:gd name="T38" fmla="*/ 4 w 13"/>
                    <a:gd name="T39" fmla="*/ 9 h 76"/>
                    <a:gd name="T40" fmla="*/ 4 w 13"/>
                    <a:gd name="T41" fmla="*/ 67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76">
                      <a:moveTo>
                        <a:pt x="11" y="76"/>
                      </a:moveTo>
                      <a:cubicBezTo>
                        <a:pt x="11" y="76"/>
                        <a:pt x="11" y="75"/>
                        <a:pt x="10" y="75"/>
                      </a:cubicBezTo>
                      <a:cubicBezTo>
                        <a:pt x="5" y="72"/>
                        <a:pt x="5" y="72"/>
                        <a:pt x="5" y="72"/>
                      </a:cubicBezTo>
                      <a:cubicBezTo>
                        <a:pt x="5" y="73"/>
                        <a:pt x="5" y="73"/>
                        <a:pt x="4" y="73"/>
                      </a:cubicBezTo>
                      <a:cubicBezTo>
                        <a:pt x="4" y="73"/>
                        <a:pt x="3" y="73"/>
                        <a:pt x="2" y="73"/>
                      </a:cubicBezTo>
                      <a:cubicBezTo>
                        <a:pt x="1" y="72"/>
                        <a:pt x="1" y="72"/>
                        <a:pt x="1" y="72"/>
                      </a:cubicBezTo>
                      <a:cubicBezTo>
                        <a:pt x="0" y="72"/>
                        <a:pt x="0" y="71"/>
                        <a:pt x="0" y="70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7"/>
                        <a:pt x="0" y="6"/>
                        <a:pt x="1" y="6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1" y="0"/>
                        <a:pt x="12" y="0"/>
                        <a:pt x="12" y="0"/>
                      </a:cubicBezTo>
                      <a:cubicBezTo>
                        <a:pt x="13" y="1"/>
                        <a:pt x="13" y="1"/>
                        <a:pt x="13" y="2"/>
                      </a:cubicBezTo>
                      <a:cubicBezTo>
                        <a:pt x="13" y="74"/>
                        <a:pt x="13" y="74"/>
                        <a:pt x="13" y="74"/>
                      </a:cubicBezTo>
                      <a:cubicBezTo>
                        <a:pt x="13" y="74"/>
                        <a:pt x="13" y="75"/>
                        <a:pt x="12" y="75"/>
                      </a:cubicBezTo>
                      <a:cubicBezTo>
                        <a:pt x="12" y="75"/>
                        <a:pt x="12" y="76"/>
                        <a:pt x="11" y="76"/>
                      </a:cubicBezTo>
                      <a:close/>
                      <a:moveTo>
                        <a:pt x="4" y="67"/>
                      </a:moveTo>
                      <a:cubicBezTo>
                        <a:pt x="4" y="67"/>
                        <a:pt x="4" y="67"/>
                        <a:pt x="4" y="67"/>
                      </a:cubicBezTo>
                      <a:cubicBezTo>
                        <a:pt x="9" y="70"/>
                        <a:pt x="9" y="70"/>
                        <a:pt x="9" y="70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lnTo>
                        <a:pt x="4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9" name="Freeform 711">
                  <a:extLst>
                    <a:ext uri="{FF2B5EF4-FFF2-40B4-BE49-F238E27FC236}">
                      <a16:creationId xmlns:a16="http://schemas.microsoft.com/office/drawing/2014/main" id="{62ACEB78-A71B-415F-AF71-9C84AC0A81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27" y="2696"/>
                  <a:ext cx="12" cy="14"/>
                </a:xfrm>
                <a:custGeom>
                  <a:avLst/>
                  <a:gdLst>
                    <a:gd name="T0" fmla="*/ 2 w 5"/>
                    <a:gd name="T1" fmla="*/ 6 h 6"/>
                    <a:gd name="T2" fmla="*/ 1 w 5"/>
                    <a:gd name="T3" fmla="*/ 6 h 6"/>
                    <a:gd name="T4" fmla="*/ 0 w 5"/>
                    <a:gd name="T5" fmla="*/ 4 h 6"/>
                    <a:gd name="T6" fmla="*/ 0 w 5"/>
                    <a:gd name="T7" fmla="*/ 2 h 6"/>
                    <a:gd name="T8" fmla="*/ 1 w 5"/>
                    <a:gd name="T9" fmla="*/ 0 h 6"/>
                    <a:gd name="T10" fmla="*/ 3 w 5"/>
                    <a:gd name="T11" fmla="*/ 0 h 6"/>
                    <a:gd name="T12" fmla="*/ 4 w 5"/>
                    <a:gd name="T13" fmla="*/ 1 h 6"/>
                    <a:gd name="T14" fmla="*/ 5 w 5"/>
                    <a:gd name="T15" fmla="*/ 3 h 6"/>
                    <a:gd name="T16" fmla="*/ 4 w 5"/>
                    <a:gd name="T17" fmla="*/ 5 h 6"/>
                    <a:gd name="T18" fmla="*/ 3 w 5"/>
                    <a:gd name="T19" fmla="*/ 6 h 6"/>
                    <a:gd name="T20" fmla="*/ 2 w 5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6">
                      <a:moveTo>
                        <a:pt x="2" y="6"/>
                      </a:moveTo>
                      <a:cubicBezTo>
                        <a:pt x="2" y="6"/>
                        <a:pt x="1" y="6"/>
                        <a:pt x="1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2"/>
                        <a:pt x="5" y="2"/>
                        <a:pt x="5" y="3"/>
                      </a:cubicBezTo>
                      <a:cubicBezTo>
                        <a:pt x="5" y="4"/>
                        <a:pt x="5" y="4"/>
                        <a:pt x="4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2" y="6"/>
                        <a:pt x="2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0" name="Freeform 712">
                  <a:extLst>
                    <a:ext uri="{FF2B5EF4-FFF2-40B4-BE49-F238E27FC236}">
                      <a16:creationId xmlns:a16="http://schemas.microsoft.com/office/drawing/2014/main" id="{A9D33CF9-502D-41D8-A120-140623A443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39" y="3248"/>
                  <a:ext cx="159" cy="258"/>
                </a:xfrm>
                <a:custGeom>
                  <a:avLst/>
                  <a:gdLst>
                    <a:gd name="T0" fmla="*/ 55 w 67"/>
                    <a:gd name="T1" fmla="*/ 109 h 109"/>
                    <a:gd name="T2" fmla="*/ 54 w 67"/>
                    <a:gd name="T3" fmla="*/ 109 h 109"/>
                    <a:gd name="T4" fmla="*/ 1 w 67"/>
                    <a:gd name="T5" fmla="*/ 78 h 109"/>
                    <a:gd name="T6" fmla="*/ 0 w 67"/>
                    <a:gd name="T7" fmla="*/ 77 h 109"/>
                    <a:gd name="T8" fmla="*/ 0 w 67"/>
                    <a:gd name="T9" fmla="*/ 2 h 109"/>
                    <a:gd name="T10" fmla="*/ 1 w 67"/>
                    <a:gd name="T11" fmla="*/ 1 h 109"/>
                    <a:gd name="T12" fmla="*/ 3 w 67"/>
                    <a:gd name="T13" fmla="*/ 1 h 109"/>
                    <a:gd name="T14" fmla="*/ 66 w 67"/>
                    <a:gd name="T15" fmla="*/ 37 h 109"/>
                    <a:gd name="T16" fmla="*/ 67 w 67"/>
                    <a:gd name="T17" fmla="*/ 39 h 109"/>
                    <a:gd name="T18" fmla="*/ 66 w 67"/>
                    <a:gd name="T19" fmla="*/ 41 h 109"/>
                    <a:gd name="T20" fmla="*/ 57 w 67"/>
                    <a:gd name="T21" fmla="*/ 46 h 109"/>
                    <a:gd name="T22" fmla="*/ 57 w 67"/>
                    <a:gd name="T23" fmla="*/ 107 h 109"/>
                    <a:gd name="T24" fmla="*/ 56 w 67"/>
                    <a:gd name="T25" fmla="*/ 109 h 109"/>
                    <a:gd name="T26" fmla="*/ 55 w 67"/>
                    <a:gd name="T27" fmla="*/ 109 h 109"/>
                    <a:gd name="T28" fmla="*/ 4 w 67"/>
                    <a:gd name="T29" fmla="*/ 76 h 109"/>
                    <a:gd name="T30" fmla="*/ 53 w 67"/>
                    <a:gd name="T31" fmla="*/ 104 h 109"/>
                    <a:gd name="T32" fmla="*/ 53 w 67"/>
                    <a:gd name="T33" fmla="*/ 45 h 109"/>
                    <a:gd name="T34" fmla="*/ 54 w 67"/>
                    <a:gd name="T35" fmla="*/ 43 h 109"/>
                    <a:gd name="T36" fmla="*/ 61 w 67"/>
                    <a:gd name="T37" fmla="*/ 39 h 109"/>
                    <a:gd name="T38" fmla="*/ 4 w 67"/>
                    <a:gd name="T39" fmla="*/ 6 h 109"/>
                    <a:gd name="T40" fmla="*/ 4 w 67"/>
                    <a:gd name="T41" fmla="*/ 7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7" h="109">
                      <a:moveTo>
                        <a:pt x="55" y="109"/>
                      </a:moveTo>
                      <a:cubicBezTo>
                        <a:pt x="55" y="109"/>
                        <a:pt x="54" y="109"/>
                        <a:pt x="54" y="109"/>
                      </a:cubicBezTo>
                      <a:cubicBezTo>
                        <a:pt x="1" y="78"/>
                        <a:pt x="1" y="78"/>
                        <a:pt x="1" y="78"/>
                      </a:cubicBezTo>
                      <a:cubicBezTo>
                        <a:pt x="0" y="78"/>
                        <a:pt x="0" y="77"/>
                        <a:pt x="0" y="7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66" y="37"/>
                        <a:pt x="66" y="37"/>
                        <a:pt x="66" y="37"/>
                      </a:cubicBezTo>
                      <a:cubicBezTo>
                        <a:pt x="67" y="38"/>
                        <a:pt x="67" y="38"/>
                        <a:pt x="67" y="39"/>
                      </a:cubicBezTo>
                      <a:cubicBezTo>
                        <a:pt x="67" y="40"/>
                        <a:pt x="67" y="40"/>
                        <a:pt x="66" y="41"/>
                      </a:cubicBezTo>
                      <a:cubicBezTo>
                        <a:pt x="57" y="46"/>
                        <a:pt x="57" y="46"/>
                        <a:pt x="57" y="46"/>
                      </a:cubicBezTo>
                      <a:cubicBezTo>
                        <a:pt x="57" y="107"/>
                        <a:pt x="57" y="107"/>
                        <a:pt x="57" y="107"/>
                      </a:cubicBezTo>
                      <a:cubicBezTo>
                        <a:pt x="57" y="108"/>
                        <a:pt x="57" y="109"/>
                        <a:pt x="56" y="109"/>
                      </a:cubicBezTo>
                      <a:cubicBezTo>
                        <a:pt x="56" y="109"/>
                        <a:pt x="55" y="109"/>
                        <a:pt x="55" y="109"/>
                      </a:cubicBezTo>
                      <a:close/>
                      <a:moveTo>
                        <a:pt x="4" y="76"/>
                      </a:moveTo>
                      <a:cubicBezTo>
                        <a:pt x="53" y="104"/>
                        <a:pt x="53" y="104"/>
                        <a:pt x="53" y="104"/>
                      </a:cubicBezTo>
                      <a:cubicBezTo>
                        <a:pt x="53" y="45"/>
                        <a:pt x="53" y="45"/>
                        <a:pt x="53" y="45"/>
                      </a:cubicBezTo>
                      <a:cubicBezTo>
                        <a:pt x="53" y="44"/>
                        <a:pt x="54" y="43"/>
                        <a:pt x="54" y="43"/>
                      </a:cubicBezTo>
                      <a:cubicBezTo>
                        <a:pt x="61" y="39"/>
                        <a:pt x="61" y="39"/>
                        <a:pt x="61" y="39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7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1" name="Freeform 713">
                  <a:extLst>
                    <a:ext uri="{FF2B5EF4-FFF2-40B4-BE49-F238E27FC236}">
                      <a16:creationId xmlns:a16="http://schemas.microsoft.com/office/drawing/2014/main" id="{5B4CA3DF-AF1F-446E-AED8-98D2137DE5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19" y="3461"/>
                  <a:ext cx="203" cy="158"/>
                </a:xfrm>
                <a:custGeom>
                  <a:avLst/>
                  <a:gdLst>
                    <a:gd name="T0" fmla="*/ 68 w 86"/>
                    <a:gd name="T1" fmla="*/ 67 h 67"/>
                    <a:gd name="T2" fmla="*/ 67 w 86"/>
                    <a:gd name="T3" fmla="*/ 67 h 67"/>
                    <a:gd name="T4" fmla="*/ 42 w 86"/>
                    <a:gd name="T5" fmla="*/ 52 h 67"/>
                    <a:gd name="T6" fmla="*/ 40 w 86"/>
                    <a:gd name="T7" fmla="*/ 52 h 67"/>
                    <a:gd name="T8" fmla="*/ 1 w 86"/>
                    <a:gd name="T9" fmla="*/ 30 h 67"/>
                    <a:gd name="T10" fmla="*/ 0 w 86"/>
                    <a:gd name="T11" fmla="*/ 28 h 67"/>
                    <a:gd name="T12" fmla="*/ 1 w 86"/>
                    <a:gd name="T13" fmla="*/ 26 h 67"/>
                    <a:gd name="T14" fmla="*/ 46 w 86"/>
                    <a:gd name="T15" fmla="*/ 1 h 67"/>
                    <a:gd name="T16" fmla="*/ 48 w 86"/>
                    <a:gd name="T17" fmla="*/ 1 h 67"/>
                    <a:gd name="T18" fmla="*/ 85 w 86"/>
                    <a:gd name="T19" fmla="*/ 22 h 67"/>
                    <a:gd name="T20" fmla="*/ 86 w 86"/>
                    <a:gd name="T21" fmla="*/ 24 h 67"/>
                    <a:gd name="T22" fmla="*/ 85 w 86"/>
                    <a:gd name="T23" fmla="*/ 26 h 67"/>
                    <a:gd name="T24" fmla="*/ 85 w 86"/>
                    <a:gd name="T25" fmla="*/ 26 h 67"/>
                    <a:gd name="T26" fmla="*/ 85 w 86"/>
                    <a:gd name="T27" fmla="*/ 57 h 67"/>
                    <a:gd name="T28" fmla="*/ 84 w 86"/>
                    <a:gd name="T29" fmla="*/ 58 h 67"/>
                    <a:gd name="T30" fmla="*/ 69 w 86"/>
                    <a:gd name="T31" fmla="*/ 67 h 67"/>
                    <a:gd name="T32" fmla="*/ 68 w 86"/>
                    <a:gd name="T33" fmla="*/ 67 h 67"/>
                    <a:gd name="T34" fmla="*/ 42 w 86"/>
                    <a:gd name="T35" fmla="*/ 48 h 67"/>
                    <a:gd name="T36" fmla="*/ 43 w 86"/>
                    <a:gd name="T37" fmla="*/ 48 h 67"/>
                    <a:gd name="T38" fmla="*/ 68 w 86"/>
                    <a:gd name="T39" fmla="*/ 63 h 67"/>
                    <a:gd name="T40" fmla="*/ 81 w 86"/>
                    <a:gd name="T41" fmla="*/ 55 h 67"/>
                    <a:gd name="T42" fmla="*/ 81 w 86"/>
                    <a:gd name="T43" fmla="*/ 24 h 67"/>
                    <a:gd name="T44" fmla="*/ 81 w 86"/>
                    <a:gd name="T45" fmla="*/ 24 h 67"/>
                    <a:gd name="T46" fmla="*/ 47 w 86"/>
                    <a:gd name="T47" fmla="*/ 5 h 67"/>
                    <a:gd name="T48" fmla="*/ 6 w 86"/>
                    <a:gd name="T49" fmla="*/ 28 h 67"/>
                    <a:gd name="T50" fmla="*/ 41 w 86"/>
                    <a:gd name="T51" fmla="*/ 48 h 67"/>
                    <a:gd name="T52" fmla="*/ 42 w 86"/>
                    <a:gd name="T53" fmla="*/ 48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6" h="67">
                      <a:moveTo>
                        <a:pt x="68" y="67"/>
                      </a:moveTo>
                      <a:cubicBezTo>
                        <a:pt x="68" y="67"/>
                        <a:pt x="67" y="67"/>
                        <a:pt x="67" y="67"/>
                      </a:cubicBezTo>
                      <a:cubicBezTo>
                        <a:pt x="42" y="52"/>
                        <a:pt x="42" y="52"/>
                        <a:pt x="42" y="52"/>
                      </a:cubicBezTo>
                      <a:cubicBezTo>
                        <a:pt x="41" y="53"/>
                        <a:pt x="40" y="53"/>
                        <a:pt x="40" y="52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29"/>
                        <a:pt x="0" y="28"/>
                      </a:cubicBezTo>
                      <a:cubicBezTo>
                        <a:pt x="0" y="27"/>
                        <a:pt x="0" y="27"/>
                        <a:pt x="1" y="26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6" y="0"/>
                        <a:pt x="47" y="0"/>
                        <a:pt x="48" y="1"/>
                      </a:cubicBezTo>
                      <a:cubicBezTo>
                        <a:pt x="85" y="22"/>
                        <a:pt x="85" y="22"/>
                        <a:pt x="85" y="22"/>
                      </a:cubicBezTo>
                      <a:cubicBezTo>
                        <a:pt x="86" y="22"/>
                        <a:pt x="86" y="23"/>
                        <a:pt x="86" y="24"/>
                      </a:cubicBezTo>
                      <a:cubicBezTo>
                        <a:pt x="86" y="25"/>
                        <a:pt x="86" y="25"/>
                        <a:pt x="85" y="26"/>
                      </a:cubicBezTo>
                      <a:cubicBezTo>
                        <a:pt x="85" y="26"/>
                        <a:pt x="85" y="26"/>
                        <a:pt x="85" y="26"/>
                      </a:cubicBezTo>
                      <a:cubicBezTo>
                        <a:pt x="85" y="57"/>
                        <a:pt x="85" y="57"/>
                        <a:pt x="85" y="57"/>
                      </a:cubicBezTo>
                      <a:cubicBezTo>
                        <a:pt x="85" y="57"/>
                        <a:pt x="85" y="58"/>
                        <a:pt x="84" y="58"/>
                      </a:cubicBezTo>
                      <a:cubicBezTo>
                        <a:pt x="69" y="67"/>
                        <a:pt x="69" y="67"/>
                        <a:pt x="69" y="67"/>
                      </a:cubicBezTo>
                      <a:cubicBezTo>
                        <a:pt x="69" y="67"/>
                        <a:pt x="68" y="67"/>
                        <a:pt x="68" y="67"/>
                      </a:cubicBezTo>
                      <a:close/>
                      <a:moveTo>
                        <a:pt x="42" y="48"/>
                      </a:moveTo>
                      <a:cubicBezTo>
                        <a:pt x="42" y="48"/>
                        <a:pt x="42" y="48"/>
                        <a:pt x="43" y="48"/>
                      </a:cubicBezTo>
                      <a:cubicBezTo>
                        <a:pt x="68" y="63"/>
                        <a:pt x="68" y="63"/>
                        <a:pt x="68" y="6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24"/>
                        <a:pt x="81" y="24"/>
                        <a:pt x="81" y="24"/>
                      </a:cubicBezTo>
                      <a:cubicBezTo>
                        <a:pt x="81" y="24"/>
                        <a:pt x="81" y="24"/>
                        <a:pt x="81" y="24"/>
                      </a:cubicBezTo>
                      <a:cubicBezTo>
                        <a:pt x="47" y="5"/>
                        <a:pt x="47" y="5"/>
                        <a:pt x="47" y="5"/>
                      </a:cubicBezTo>
                      <a:cubicBezTo>
                        <a:pt x="6" y="28"/>
                        <a:pt x="6" y="28"/>
                        <a:pt x="6" y="28"/>
                      </a:cubicBezTo>
                      <a:cubicBezTo>
                        <a:pt x="41" y="48"/>
                        <a:pt x="41" y="48"/>
                        <a:pt x="41" y="48"/>
                      </a:cubicBezTo>
                      <a:cubicBezTo>
                        <a:pt x="41" y="48"/>
                        <a:pt x="41" y="48"/>
                        <a:pt x="42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2" name="Freeform 714">
                  <a:extLst>
                    <a:ext uri="{FF2B5EF4-FFF2-40B4-BE49-F238E27FC236}">
                      <a16:creationId xmlns:a16="http://schemas.microsoft.com/office/drawing/2014/main" id="{A9271B53-B00F-43A4-AA31-8533C5BB39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803"/>
                  <a:ext cx="33" cy="45"/>
                </a:xfrm>
                <a:custGeom>
                  <a:avLst/>
                  <a:gdLst>
                    <a:gd name="T0" fmla="*/ 2 w 14"/>
                    <a:gd name="T1" fmla="*/ 19 h 19"/>
                    <a:gd name="T2" fmla="*/ 1 w 14"/>
                    <a:gd name="T3" fmla="*/ 18 h 19"/>
                    <a:gd name="T4" fmla="*/ 0 w 14"/>
                    <a:gd name="T5" fmla="*/ 17 h 19"/>
                    <a:gd name="T6" fmla="*/ 0 w 14"/>
                    <a:gd name="T7" fmla="*/ 2 h 19"/>
                    <a:gd name="T8" fmla="*/ 1 w 14"/>
                    <a:gd name="T9" fmla="*/ 0 h 19"/>
                    <a:gd name="T10" fmla="*/ 3 w 14"/>
                    <a:gd name="T11" fmla="*/ 0 h 19"/>
                    <a:gd name="T12" fmla="*/ 10 w 14"/>
                    <a:gd name="T13" fmla="*/ 4 h 19"/>
                    <a:gd name="T14" fmla="*/ 11 w 14"/>
                    <a:gd name="T15" fmla="*/ 6 h 19"/>
                    <a:gd name="T16" fmla="*/ 10 w 14"/>
                    <a:gd name="T17" fmla="*/ 8 h 19"/>
                    <a:gd name="T18" fmla="*/ 13 w 14"/>
                    <a:gd name="T19" fmla="*/ 9 h 19"/>
                    <a:gd name="T20" fmla="*/ 14 w 14"/>
                    <a:gd name="T21" fmla="*/ 11 h 19"/>
                    <a:gd name="T22" fmla="*/ 13 w 14"/>
                    <a:gd name="T23" fmla="*/ 13 h 19"/>
                    <a:gd name="T24" fmla="*/ 3 w 14"/>
                    <a:gd name="T25" fmla="*/ 18 h 19"/>
                    <a:gd name="T26" fmla="*/ 2 w 14"/>
                    <a:gd name="T27" fmla="*/ 19 h 19"/>
                    <a:gd name="T28" fmla="*/ 4 w 14"/>
                    <a:gd name="T29" fmla="*/ 6 h 19"/>
                    <a:gd name="T30" fmla="*/ 4 w 14"/>
                    <a:gd name="T31" fmla="*/ 13 h 19"/>
                    <a:gd name="T32" fmla="*/ 8 w 14"/>
                    <a:gd name="T33" fmla="*/ 11 h 19"/>
                    <a:gd name="T34" fmla="*/ 5 w 14"/>
                    <a:gd name="T35" fmla="*/ 10 h 19"/>
                    <a:gd name="T36" fmla="*/ 4 w 14"/>
                    <a:gd name="T37" fmla="*/ 8 h 19"/>
                    <a:gd name="T38" fmla="*/ 5 w 14"/>
                    <a:gd name="T39" fmla="*/ 6 h 19"/>
                    <a:gd name="T40" fmla="*/ 4 w 14"/>
                    <a:gd name="T41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4" h="19">
                      <a:moveTo>
                        <a:pt x="2" y="19"/>
                      </a:moveTo>
                      <a:cubicBezTo>
                        <a:pt x="2" y="19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5"/>
                        <a:pt x="11" y="5"/>
                        <a:pt x="11" y="6"/>
                      </a:cubicBezTo>
                      <a:cubicBezTo>
                        <a:pt x="11" y="7"/>
                        <a:pt x="11" y="7"/>
                        <a:pt x="10" y="8"/>
                      </a:cubicBezTo>
                      <a:cubicBezTo>
                        <a:pt x="13" y="9"/>
                        <a:pt x="13" y="9"/>
                        <a:pt x="13" y="9"/>
                      </a:cubicBezTo>
                      <a:cubicBezTo>
                        <a:pt x="13" y="10"/>
                        <a:pt x="14" y="10"/>
                        <a:pt x="14" y="11"/>
                      </a:cubicBezTo>
                      <a:cubicBezTo>
                        <a:pt x="14" y="12"/>
                        <a:pt x="13" y="12"/>
                        <a:pt x="13" y="13"/>
                      </a:cubicBezTo>
                      <a:cubicBezTo>
                        <a:pt x="3" y="18"/>
                        <a:pt x="3" y="18"/>
                        <a:pt x="3" y="18"/>
                      </a:cubicBezTo>
                      <a:cubicBezTo>
                        <a:pt x="3" y="18"/>
                        <a:pt x="2" y="19"/>
                        <a:pt x="2" y="19"/>
                      </a:cubicBezTo>
                      <a:close/>
                      <a:moveTo>
                        <a:pt x="4" y="6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4" y="9"/>
                        <a:pt x="4" y="9"/>
                        <a:pt x="4" y="8"/>
                      </a:cubicBezTo>
                      <a:cubicBezTo>
                        <a:pt x="4" y="7"/>
                        <a:pt x="4" y="6"/>
                        <a:pt x="5" y="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3" name="Freeform 715">
                  <a:extLst>
                    <a:ext uri="{FF2B5EF4-FFF2-40B4-BE49-F238E27FC236}">
                      <a16:creationId xmlns:a16="http://schemas.microsoft.com/office/drawing/2014/main" id="{C28771D7-2A57-4869-86A6-E7BEF05156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24" y="813"/>
                  <a:ext cx="11" cy="11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4 h 5"/>
                    <a:gd name="T4" fmla="*/ 1 w 5"/>
                    <a:gd name="T5" fmla="*/ 4 h 5"/>
                    <a:gd name="T6" fmla="*/ 0 w 5"/>
                    <a:gd name="T7" fmla="*/ 2 h 5"/>
                    <a:gd name="T8" fmla="*/ 1 w 5"/>
                    <a:gd name="T9" fmla="*/ 0 h 5"/>
                    <a:gd name="T10" fmla="*/ 2 w 5"/>
                    <a:gd name="T11" fmla="*/ 0 h 5"/>
                    <a:gd name="T12" fmla="*/ 4 w 5"/>
                    <a:gd name="T13" fmla="*/ 0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4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3" y="5"/>
                        <a:pt x="2" y="4"/>
                        <a:pt x="2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3" y="0"/>
                        <a:pt x="3" y="0"/>
                        <a:pt x="4" y="0"/>
                      </a:cubicBezTo>
                      <a:cubicBezTo>
                        <a:pt x="5" y="0"/>
                        <a:pt x="5" y="1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5" y="4"/>
                        <a:pt x="4" y="4"/>
                      </a:cubicBezTo>
                      <a:cubicBezTo>
                        <a:pt x="4" y="4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4" name="Freeform 716">
                  <a:extLst>
                    <a:ext uri="{FF2B5EF4-FFF2-40B4-BE49-F238E27FC236}">
                      <a16:creationId xmlns:a16="http://schemas.microsoft.com/office/drawing/2014/main" id="{1E0DF6A9-6BD9-46F2-9A72-279BCC4977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550"/>
                  <a:ext cx="144" cy="168"/>
                </a:xfrm>
                <a:custGeom>
                  <a:avLst/>
                  <a:gdLst>
                    <a:gd name="T0" fmla="*/ 2 w 61"/>
                    <a:gd name="T1" fmla="*/ 71 h 71"/>
                    <a:gd name="T2" fmla="*/ 1 w 61"/>
                    <a:gd name="T3" fmla="*/ 70 h 71"/>
                    <a:gd name="T4" fmla="*/ 0 w 61"/>
                    <a:gd name="T5" fmla="*/ 69 h 71"/>
                    <a:gd name="T6" fmla="*/ 0 w 61"/>
                    <a:gd name="T7" fmla="*/ 2 h 71"/>
                    <a:gd name="T8" fmla="*/ 1 w 61"/>
                    <a:gd name="T9" fmla="*/ 0 h 71"/>
                    <a:gd name="T10" fmla="*/ 3 w 61"/>
                    <a:gd name="T11" fmla="*/ 0 h 71"/>
                    <a:gd name="T12" fmla="*/ 60 w 61"/>
                    <a:gd name="T13" fmla="*/ 34 h 71"/>
                    <a:gd name="T14" fmla="*/ 61 w 61"/>
                    <a:gd name="T15" fmla="*/ 35 h 71"/>
                    <a:gd name="T16" fmla="*/ 60 w 61"/>
                    <a:gd name="T17" fmla="*/ 37 h 71"/>
                    <a:gd name="T18" fmla="*/ 3 w 61"/>
                    <a:gd name="T19" fmla="*/ 70 h 71"/>
                    <a:gd name="T20" fmla="*/ 2 w 61"/>
                    <a:gd name="T21" fmla="*/ 71 h 71"/>
                    <a:gd name="T22" fmla="*/ 4 w 61"/>
                    <a:gd name="T23" fmla="*/ 6 h 71"/>
                    <a:gd name="T24" fmla="*/ 4 w 61"/>
                    <a:gd name="T25" fmla="*/ 65 h 71"/>
                    <a:gd name="T26" fmla="*/ 55 w 61"/>
                    <a:gd name="T27" fmla="*/ 35 h 71"/>
                    <a:gd name="T28" fmla="*/ 4 w 61"/>
                    <a:gd name="T29" fmla="*/ 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71">
                      <a:moveTo>
                        <a:pt x="2" y="71"/>
                      </a:moveTo>
                      <a:cubicBezTo>
                        <a:pt x="1" y="71"/>
                        <a:pt x="1" y="71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60" y="34"/>
                        <a:pt x="60" y="34"/>
                        <a:pt x="60" y="34"/>
                      </a:cubicBezTo>
                      <a:cubicBezTo>
                        <a:pt x="61" y="34"/>
                        <a:pt x="61" y="35"/>
                        <a:pt x="61" y="35"/>
                      </a:cubicBezTo>
                      <a:cubicBezTo>
                        <a:pt x="61" y="36"/>
                        <a:pt x="61" y="37"/>
                        <a:pt x="60" y="37"/>
                      </a:cubicBez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2" y="71"/>
                        <a:pt x="2" y="71"/>
                        <a:pt x="2" y="71"/>
                      </a:cubicBezTo>
                      <a:close/>
                      <a:moveTo>
                        <a:pt x="4" y="6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55" y="35"/>
                        <a:pt x="55" y="35"/>
                        <a:pt x="55" y="35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5" name="Freeform 717">
                  <a:extLst>
                    <a:ext uri="{FF2B5EF4-FFF2-40B4-BE49-F238E27FC236}">
                      <a16:creationId xmlns:a16="http://schemas.microsoft.com/office/drawing/2014/main" id="{0A7141E3-0442-4C80-B7D9-ED98867FDF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647"/>
                  <a:ext cx="35" cy="173"/>
                </a:xfrm>
                <a:custGeom>
                  <a:avLst/>
                  <a:gdLst>
                    <a:gd name="T0" fmla="*/ 11 w 15"/>
                    <a:gd name="T1" fmla="*/ 73 h 73"/>
                    <a:gd name="T2" fmla="*/ 10 w 15"/>
                    <a:gd name="T3" fmla="*/ 73 h 73"/>
                    <a:gd name="T4" fmla="*/ 1 w 15"/>
                    <a:gd name="T5" fmla="*/ 68 h 73"/>
                    <a:gd name="T6" fmla="*/ 0 w 15"/>
                    <a:gd name="T7" fmla="*/ 66 h 73"/>
                    <a:gd name="T8" fmla="*/ 0 w 15"/>
                    <a:gd name="T9" fmla="*/ 9 h 73"/>
                    <a:gd name="T10" fmla="*/ 1 w 15"/>
                    <a:gd name="T11" fmla="*/ 7 h 73"/>
                    <a:gd name="T12" fmla="*/ 12 w 15"/>
                    <a:gd name="T13" fmla="*/ 0 h 73"/>
                    <a:gd name="T14" fmla="*/ 14 w 15"/>
                    <a:gd name="T15" fmla="*/ 0 h 73"/>
                    <a:gd name="T16" fmla="*/ 15 w 15"/>
                    <a:gd name="T17" fmla="*/ 2 h 73"/>
                    <a:gd name="T18" fmla="*/ 15 w 15"/>
                    <a:gd name="T19" fmla="*/ 70 h 73"/>
                    <a:gd name="T20" fmla="*/ 14 w 15"/>
                    <a:gd name="T21" fmla="*/ 72 h 73"/>
                    <a:gd name="T22" fmla="*/ 12 w 15"/>
                    <a:gd name="T23" fmla="*/ 73 h 73"/>
                    <a:gd name="T24" fmla="*/ 11 w 15"/>
                    <a:gd name="T25" fmla="*/ 73 h 73"/>
                    <a:gd name="T26" fmla="*/ 4 w 15"/>
                    <a:gd name="T27" fmla="*/ 65 h 73"/>
                    <a:gd name="T28" fmla="*/ 11 w 15"/>
                    <a:gd name="T29" fmla="*/ 69 h 73"/>
                    <a:gd name="T30" fmla="*/ 11 w 15"/>
                    <a:gd name="T31" fmla="*/ 69 h 73"/>
                    <a:gd name="T32" fmla="*/ 11 w 15"/>
                    <a:gd name="T33" fmla="*/ 6 h 73"/>
                    <a:gd name="T34" fmla="*/ 4 w 15"/>
                    <a:gd name="T35" fmla="*/ 10 h 73"/>
                    <a:gd name="T36" fmla="*/ 4 w 15"/>
                    <a:gd name="T37" fmla="*/ 6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73">
                      <a:moveTo>
                        <a:pt x="11" y="73"/>
                      </a:moveTo>
                      <a:cubicBezTo>
                        <a:pt x="10" y="73"/>
                        <a:pt x="10" y="73"/>
                        <a:pt x="10" y="73"/>
                      </a:cubicBezTo>
                      <a:cubicBezTo>
                        <a:pt x="1" y="68"/>
                        <a:pt x="1" y="68"/>
                        <a:pt x="1" y="68"/>
                      </a:cubicBezTo>
                      <a:cubicBezTo>
                        <a:pt x="0" y="68"/>
                        <a:pt x="0" y="67"/>
                        <a:pt x="0" y="66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4" y="0"/>
                      </a:cubicBezTo>
                      <a:cubicBezTo>
                        <a:pt x="15" y="1"/>
                        <a:pt x="15" y="1"/>
                        <a:pt x="15" y="2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15" y="71"/>
                        <a:pt x="15" y="71"/>
                        <a:pt x="14" y="72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1" y="73"/>
                        <a:pt x="11" y="73"/>
                        <a:pt x="11" y="73"/>
                      </a:cubicBezTo>
                      <a:close/>
                      <a:moveTo>
                        <a:pt x="4" y="65"/>
                      </a:move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6" name="Freeform 718">
                  <a:extLst>
                    <a:ext uri="{FF2B5EF4-FFF2-40B4-BE49-F238E27FC236}">
                      <a16:creationId xmlns:a16="http://schemas.microsoft.com/office/drawing/2014/main" id="{D663C876-6A4F-4A0E-AEC5-22F969A34E2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04" y="732"/>
                  <a:ext cx="47" cy="38"/>
                </a:xfrm>
                <a:custGeom>
                  <a:avLst/>
                  <a:gdLst>
                    <a:gd name="T0" fmla="*/ 9 w 20"/>
                    <a:gd name="T1" fmla="*/ 16 h 16"/>
                    <a:gd name="T2" fmla="*/ 8 w 20"/>
                    <a:gd name="T3" fmla="*/ 16 h 16"/>
                    <a:gd name="T4" fmla="*/ 1 w 20"/>
                    <a:gd name="T5" fmla="*/ 12 h 16"/>
                    <a:gd name="T6" fmla="*/ 0 w 20"/>
                    <a:gd name="T7" fmla="*/ 11 h 16"/>
                    <a:gd name="T8" fmla="*/ 1 w 20"/>
                    <a:gd name="T9" fmla="*/ 9 h 16"/>
                    <a:gd name="T10" fmla="*/ 17 w 20"/>
                    <a:gd name="T11" fmla="*/ 0 h 16"/>
                    <a:gd name="T12" fmla="*/ 19 w 20"/>
                    <a:gd name="T13" fmla="*/ 0 h 16"/>
                    <a:gd name="T14" fmla="*/ 20 w 20"/>
                    <a:gd name="T15" fmla="*/ 2 h 16"/>
                    <a:gd name="T16" fmla="*/ 20 w 20"/>
                    <a:gd name="T17" fmla="*/ 10 h 16"/>
                    <a:gd name="T18" fmla="*/ 19 w 20"/>
                    <a:gd name="T19" fmla="*/ 11 h 16"/>
                    <a:gd name="T20" fmla="*/ 10 w 20"/>
                    <a:gd name="T21" fmla="*/ 16 h 16"/>
                    <a:gd name="T22" fmla="*/ 9 w 20"/>
                    <a:gd name="T23" fmla="*/ 16 h 16"/>
                    <a:gd name="T24" fmla="*/ 6 w 20"/>
                    <a:gd name="T25" fmla="*/ 11 h 16"/>
                    <a:gd name="T26" fmla="*/ 9 w 20"/>
                    <a:gd name="T27" fmla="*/ 12 h 16"/>
                    <a:gd name="T28" fmla="*/ 16 w 20"/>
                    <a:gd name="T29" fmla="*/ 8 h 16"/>
                    <a:gd name="T30" fmla="*/ 16 w 20"/>
                    <a:gd name="T31" fmla="*/ 5 h 16"/>
                    <a:gd name="T32" fmla="*/ 6 w 20"/>
                    <a:gd name="T33" fmla="*/ 1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" h="16">
                      <a:moveTo>
                        <a:pt x="9" y="16"/>
                      </a:moveTo>
                      <a:cubicBezTo>
                        <a:pt x="9" y="16"/>
                        <a:pt x="8" y="16"/>
                        <a:pt x="8" y="16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2"/>
                        <a:pt x="0" y="11"/>
                        <a:pt x="0" y="11"/>
                      </a:cubicBezTo>
                      <a:cubicBezTo>
                        <a:pt x="0" y="10"/>
                        <a:pt x="1" y="9"/>
                        <a:pt x="1" y="9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8" y="0"/>
                        <a:pt x="19" y="0"/>
                      </a:cubicBezTo>
                      <a:cubicBezTo>
                        <a:pt x="19" y="0"/>
                        <a:pt x="20" y="1"/>
                        <a:pt x="20" y="2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0" y="10"/>
                        <a:pt x="19" y="11"/>
                        <a:pt x="19" y="11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6"/>
                        <a:pt x="9" y="16"/>
                        <a:pt x="9" y="16"/>
                      </a:cubicBezTo>
                      <a:close/>
                      <a:moveTo>
                        <a:pt x="6" y="11"/>
                      </a:move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5"/>
                        <a:pt x="16" y="5"/>
                        <a:pt x="16" y="5"/>
                      </a:cubicBez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7" name="Freeform 719">
                  <a:extLst>
                    <a:ext uri="{FF2B5EF4-FFF2-40B4-BE49-F238E27FC236}">
                      <a16:creationId xmlns:a16="http://schemas.microsoft.com/office/drawing/2014/main" id="{42BFBFDF-3517-48C2-941B-760BE69844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76" y="1011"/>
                  <a:ext cx="29" cy="28"/>
                </a:xfrm>
                <a:custGeom>
                  <a:avLst/>
                  <a:gdLst>
                    <a:gd name="T0" fmla="*/ 2 w 12"/>
                    <a:gd name="T1" fmla="*/ 12 h 12"/>
                    <a:gd name="T2" fmla="*/ 1 w 12"/>
                    <a:gd name="T3" fmla="*/ 12 h 12"/>
                    <a:gd name="T4" fmla="*/ 0 w 12"/>
                    <a:gd name="T5" fmla="*/ 10 h 12"/>
                    <a:gd name="T6" fmla="*/ 0 w 12"/>
                    <a:gd name="T7" fmla="*/ 7 h 12"/>
                    <a:gd name="T8" fmla="*/ 1 w 12"/>
                    <a:gd name="T9" fmla="*/ 5 h 12"/>
                    <a:gd name="T10" fmla="*/ 9 w 12"/>
                    <a:gd name="T11" fmla="*/ 0 h 12"/>
                    <a:gd name="T12" fmla="*/ 11 w 12"/>
                    <a:gd name="T13" fmla="*/ 0 h 12"/>
                    <a:gd name="T14" fmla="*/ 12 w 12"/>
                    <a:gd name="T15" fmla="*/ 2 h 12"/>
                    <a:gd name="T16" fmla="*/ 12 w 12"/>
                    <a:gd name="T17" fmla="*/ 5 h 12"/>
                    <a:gd name="T18" fmla="*/ 11 w 12"/>
                    <a:gd name="T19" fmla="*/ 7 h 12"/>
                    <a:gd name="T20" fmla="*/ 3 w 12"/>
                    <a:gd name="T21" fmla="*/ 12 h 12"/>
                    <a:gd name="T22" fmla="*/ 2 w 12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2">
                      <a:moveTo>
                        <a:pt x="2" y="12"/>
                      </a:moveTo>
                      <a:cubicBezTo>
                        <a:pt x="2" y="12"/>
                        <a:pt x="2" y="12"/>
                        <a:pt x="1" y="12"/>
                      </a:cubicBezTo>
                      <a:cubicBezTo>
                        <a:pt x="1" y="11"/>
                        <a:pt x="0" y="11"/>
                        <a:pt x="0" y="1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12" y="1"/>
                        <a:pt x="12" y="1"/>
                        <a:pt x="12" y="2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6"/>
                        <a:pt x="12" y="7"/>
                        <a:pt x="11" y="7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8" name="Freeform 720">
                  <a:extLst>
                    <a:ext uri="{FF2B5EF4-FFF2-40B4-BE49-F238E27FC236}">
                      <a16:creationId xmlns:a16="http://schemas.microsoft.com/office/drawing/2014/main" id="{534245A9-F43F-4CAE-A2AB-E825D596AC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902"/>
                  <a:ext cx="29" cy="126"/>
                </a:xfrm>
                <a:custGeom>
                  <a:avLst/>
                  <a:gdLst>
                    <a:gd name="T0" fmla="*/ 2 w 12"/>
                    <a:gd name="T1" fmla="*/ 53 h 53"/>
                    <a:gd name="T2" fmla="*/ 1 w 12"/>
                    <a:gd name="T3" fmla="*/ 53 h 53"/>
                    <a:gd name="T4" fmla="*/ 0 w 12"/>
                    <a:gd name="T5" fmla="*/ 51 h 53"/>
                    <a:gd name="T6" fmla="*/ 0 w 12"/>
                    <a:gd name="T7" fmla="*/ 3 h 53"/>
                    <a:gd name="T8" fmla="*/ 1 w 12"/>
                    <a:gd name="T9" fmla="*/ 1 h 53"/>
                    <a:gd name="T10" fmla="*/ 3 w 12"/>
                    <a:gd name="T11" fmla="*/ 1 h 53"/>
                    <a:gd name="T12" fmla="*/ 11 w 12"/>
                    <a:gd name="T13" fmla="*/ 5 h 53"/>
                    <a:gd name="T14" fmla="*/ 12 w 12"/>
                    <a:gd name="T15" fmla="*/ 7 h 53"/>
                    <a:gd name="T16" fmla="*/ 12 w 12"/>
                    <a:gd name="T17" fmla="*/ 46 h 53"/>
                    <a:gd name="T18" fmla="*/ 11 w 12"/>
                    <a:gd name="T19" fmla="*/ 48 h 53"/>
                    <a:gd name="T20" fmla="*/ 3 w 12"/>
                    <a:gd name="T21" fmla="*/ 53 h 53"/>
                    <a:gd name="T22" fmla="*/ 2 w 12"/>
                    <a:gd name="T23" fmla="*/ 53 h 53"/>
                    <a:gd name="T24" fmla="*/ 4 w 12"/>
                    <a:gd name="T25" fmla="*/ 6 h 53"/>
                    <a:gd name="T26" fmla="*/ 4 w 12"/>
                    <a:gd name="T27" fmla="*/ 47 h 53"/>
                    <a:gd name="T28" fmla="*/ 8 w 12"/>
                    <a:gd name="T29" fmla="*/ 45 h 53"/>
                    <a:gd name="T30" fmla="*/ 8 w 12"/>
                    <a:gd name="T31" fmla="*/ 8 h 53"/>
                    <a:gd name="T32" fmla="*/ 4 w 12"/>
                    <a:gd name="T33" fmla="*/ 6 h 53"/>
                    <a:gd name="T34" fmla="*/ 10 w 12"/>
                    <a:gd name="T35" fmla="*/ 46 h 53"/>
                    <a:gd name="T36" fmla="*/ 10 w 12"/>
                    <a:gd name="T37" fmla="*/ 46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" h="53">
                      <a:moveTo>
                        <a:pt x="2" y="53"/>
                      </a:moveTo>
                      <a:cubicBezTo>
                        <a:pt x="2" y="53"/>
                        <a:pt x="2" y="53"/>
                        <a:pt x="1" y="53"/>
                      </a:cubicBezTo>
                      <a:cubicBezTo>
                        <a:pt x="1" y="52"/>
                        <a:pt x="0" y="52"/>
                        <a:pt x="0" y="5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6"/>
                        <a:pt x="12" y="7"/>
                        <a:pt x="12" y="7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2" y="47"/>
                        <a:pt x="12" y="48"/>
                        <a:pt x="11" y="48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3"/>
                        <a:pt x="3" y="53"/>
                        <a:pt x="2" y="53"/>
                      </a:cubicBezTo>
                      <a:close/>
                      <a:moveTo>
                        <a:pt x="4" y="6"/>
                      </a:moveTo>
                      <a:cubicBezTo>
                        <a:pt x="4" y="47"/>
                        <a:pt x="4" y="47"/>
                        <a:pt x="4" y="47"/>
                      </a:cubicBezTo>
                      <a:cubicBezTo>
                        <a:pt x="8" y="45"/>
                        <a:pt x="8" y="45"/>
                        <a:pt x="8" y="4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4" y="6"/>
                      </a:lnTo>
                      <a:close/>
                      <a:moveTo>
                        <a:pt x="10" y="46"/>
                      </a:moveTo>
                      <a:cubicBezTo>
                        <a:pt x="10" y="46"/>
                        <a:pt x="10" y="46"/>
                        <a:pt x="10" y="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9" name="Freeform 721">
                  <a:extLst>
                    <a:ext uri="{FF2B5EF4-FFF2-40B4-BE49-F238E27FC236}">
                      <a16:creationId xmlns:a16="http://schemas.microsoft.com/office/drawing/2014/main" id="{062D6104-CC42-4179-9A1A-2F95E24160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608" y="829"/>
                  <a:ext cx="113" cy="130"/>
                </a:xfrm>
                <a:custGeom>
                  <a:avLst/>
                  <a:gdLst>
                    <a:gd name="T0" fmla="*/ 46 w 48"/>
                    <a:gd name="T1" fmla="*/ 55 h 55"/>
                    <a:gd name="T2" fmla="*/ 45 w 48"/>
                    <a:gd name="T3" fmla="*/ 54 h 55"/>
                    <a:gd name="T4" fmla="*/ 1 w 48"/>
                    <a:gd name="T5" fmla="*/ 29 h 55"/>
                    <a:gd name="T6" fmla="*/ 0 w 48"/>
                    <a:gd name="T7" fmla="*/ 27 h 55"/>
                    <a:gd name="T8" fmla="*/ 1 w 48"/>
                    <a:gd name="T9" fmla="*/ 25 h 55"/>
                    <a:gd name="T10" fmla="*/ 45 w 48"/>
                    <a:gd name="T11" fmla="*/ 0 h 55"/>
                    <a:gd name="T12" fmla="*/ 47 w 48"/>
                    <a:gd name="T13" fmla="*/ 0 h 55"/>
                    <a:gd name="T14" fmla="*/ 48 w 48"/>
                    <a:gd name="T15" fmla="*/ 2 h 55"/>
                    <a:gd name="T16" fmla="*/ 48 w 48"/>
                    <a:gd name="T17" fmla="*/ 53 h 55"/>
                    <a:gd name="T18" fmla="*/ 47 w 48"/>
                    <a:gd name="T19" fmla="*/ 54 h 55"/>
                    <a:gd name="T20" fmla="*/ 46 w 48"/>
                    <a:gd name="T21" fmla="*/ 55 h 55"/>
                    <a:gd name="T22" fmla="*/ 6 w 48"/>
                    <a:gd name="T23" fmla="*/ 27 h 55"/>
                    <a:gd name="T24" fmla="*/ 44 w 48"/>
                    <a:gd name="T25" fmla="*/ 49 h 55"/>
                    <a:gd name="T26" fmla="*/ 44 w 48"/>
                    <a:gd name="T27" fmla="*/ 5 h 55"/>
                    <a:gd name="T28" fmla="*/ 6 w 48"/>
                    <a:gd name="T29" fmla="*/ 27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55">
                      <a:moveTo>
                        <a:pt x="46" y="55"/>
                      </a:moveTo>
                      <a:cubicBezTo>
                        <a:pt x="46" y="55"/>
                        <a:pt x="46" y="54"/>
                        <a:pt x="45" y="54"/>
                      </a:cubicBez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1" y="29"/>
                        <a:pt x="0" y="28"/>
                        <a:pt x="0" y="27"/>
                      </a:cubicBezTo>
                      <a:cubicBezTo>
                        <a:pt x="0" y="26"/>
                        <a:pt x="1" y="26"/>
                        <a:pt x="1" y="25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6" y="0"/>
                        <a:pt x="47" y="0"/>
                        <a:pt x="47" y="0"/>
                      </a:cubicBezTo>
                      <a:cubicBezTo>
                        <a:pt x="48" y="0"/>
                        <a:pt x="48" y="1"/>
                        <a:pt x="48" y="2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48" y="53"/>
                        <a:pt x="48" y="54"/>
                        <a:pt x="47" y="54"/>
                      </a:cubicBezTo>
                      <a:cubicBezTo>
                        <a:pt x="47" y="54"/>
                        <a:pt x="47" y="55"/>
                        <a:pt x="46" y="55"/>
                      </a:cubicBezTo>
                      <a:close/>
                      <a:moveTo>
                        <a:pt x="6" y="27"/>
                      </a:moveTo>
                      <a:cubicBezTo>
                        <a:pt x="44" y="49"/>
                        <a:pt x="44" y="49"/>
                        <a:pt x="44" y="49"/>
                      </a:cubicBezTo>
                      <a:cubicBezTo>
                        <a:pt x="44" y="5"/>
                        <a:pt x="44" y="5"/>
                        <a:pt x="44" y="5"/>
                      </a:cubicBezTo>
                      <a:lnTo>
                        <a:pt x="6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0" name="Freeform 722">
                  <a:extLst>
                    <a:ext uri="{FF2B5EF4-FFF2-40B4-BE49-F238E27FC236}">
                      <a16:creationId xmlns:a16="http://schemas.microsoft.com/office/drawing/2014/main" id="{BF38E7C3-FAB8-48F7-9230-1B2487E390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62" y="2750"/>
                  <a:ext cx="26" cy="28"/>
                </a:xfrm>
                <a:custGeom>
                  <a:avLst/>
                  <a:gdLst>
                    <a:gd name="T0" fmla="*/ 2 w 11"/>
                    <a:gd name="T1" fmla="*/ 12 h 12"/>
                    <a:gd name="T2" fmla="*/ 1 w 11"/>
                    <a:gd name="T3" fmla="*/ 11 h 12"/>
                    <a:gd name="T4" fmla="*/ 0 w 11"/>
                    <a:gd name="T5" fmla="*/ 10 h 12"/>
                    <a:gd name="T6" fmla="*/ 0 w 11"/>
                    <a:gd name="T7" fmla="*/ 2 h 12"/>
                    <a:gd name="T8" fmla="*/ 1 w 11"/>
                    <a:gd name="T9" fmla="*/ 0 h 12"/>
                    <a:gd name="T10" fmla="*/ 3 w 11"/>
                    <a:gd name="T11" fmla="*/ 0 h 12"/>
                    <a:gd name="T12" fmla="*/ 10 w 11"/>
                    <a:gd name="T13" fmla="*/ 4 h 12"/>
                    <a:gd name="T14" fmla="*/ 11 w 11"/>
                    <a:gd name="T15" fmla="*/ 6 h 12"/>
                    <a:gd name="T16" fmla="*/ 10 w 11"/>
                    <a:gd name="T17" fmla="*/ 7 h 12"/>
                    <a:gd name="T18" fmla="*/ 3 w 11"/>
                    <a:gd name="T19" fmla="*/ 11 h 12"/>
                    <a:gd name="T20" fmla="*/ 2 w 11"/>
                    <a:gd name="T21" fmla="*/ 12 h 12"/>
                    <a:gd name="T22" fmla="*/ 4 w 11"/>
                    <a:gd name="T23" fmla="*/ 5 h 12"/>
                    <a:gd name="T24" fmla="*/ 4 w 11"/>
                    <a:gd name="T25" fmla="*/ 6 h 12"/>
                    <a:gd name="T26" fmla="*/ 5 w 11"/>
                    <a:gd name="T27" fmla="*/ 6 h 12"/>
                    <a:gd name="T28" fmla="*/ 4 w 11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2" y="12"/>
                      </a:moveTo>
                      <a:cubicBezTo>
                        <a:pt x="2" y="12"/>
                        <a:pt x="1" y="11"/>
                        <a:pt x="1" y="11"/>
                      </a:cubicBezTo>
                      <a:cubicBezTo>
                        <a:pt x="0" y="11"/>
                        <a:pt x="0" y="10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0" y="4"/>
                        <a:pt x="11" y="5"/>
                        <a:pt x="11" y="6"/>
                      </a:cubicBezTo>
                      <a:cubicBezTo>
                        <a:pt x="11" y="6"/>
                        <a:pt x="10" y="7"/>
                        <a:pt x="10" y="7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2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1" name="Freeform 723">
                  <a:extLst>
                    <a:ext uri="{FF2B5EF4-FFF2-40B4-BE49-F238E27FC236}">
                      <a16:creationId xmlns:a16="http://schemas.microsoft.com/office/drawing/2014/main" id="{3AD6BBA5-F8C7-4C04-B8FB-0BAF35A679E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27" y="1068"/>
                  <a:ext cx="50" cy="54"/>
                </a:xfrm>
                <a:custGeom>
                  <a:avLst/>
                  <a:gdLst>
                    <a:gd name="T0" fmla="*/ 2 w 21"/>
                    <a:gd name="T1" fmla="*/ 23 h 23"/>
                    <a:gd name="T2" fmla="*/ 1 w 21"/>
                    <a:gd name="T3" fmla="*/ 23 h 23"/>
                    <a:gd name="T4" fmla="*/ 0 w 21"/>
                    <a:gd name="T5" fmla="*/ 21 h 23"/>
                    <a:gd name="T6" fmla="*/ 0 w 21"/>
                    <a:gd name="T7" fmla="*/ 2 h 23"/>
                    <a:gd name="T8" fmla="*/ 1 w 21"/>
                    <a:gd name="T9" fmla="*/ 0 h 23"/>
                    <a:gd name="T10" fmla="*/ 3 w 21"/>
                    <a:gd name="T11" fmla="*/ 0 h 23"/>
                    <a:gd name="T12" fmla="*/ 20 w 21"/>
                    <a:gd name="T13" fmla="*/ 10 h 23"/>
                    <a:gd name="T14" fmla="*/ 21 w 21"/>
                    <a:gd name="T15" fmla="*/ 12 h 23"/>
                    <a:gd name="T16" fmla="*/ 20 w 21"/>
                    <a:gd name="T17" fmla="*/ 13 h 23"/>
                    <a:gd name="T18" fmla="*/ 3 w 21"/>
                    <a:gd name="T19" fmla="*/ 23 h 23"/>
                    <a:gd name="T20" fmla="*/ 2 w 21"/>
                    <a:gd name="T21" fmla="*/ 23 h 23"/>
                    <a:gd name="T22" fmla="*/ 4 w 21"/>
                    <a:gd name="T23" fmla="*/ 5 h 23"/>
                    <a:gd name="T24" fmla="*/ 4 w 21"/>
                    <a:gd name="T25" fmla="*/ 18 h 23"/>
                    <a:gd name="T26" fmla="*/ 15 w 21"/>
                    <a:gd name="T27" fmla="*/ 12 h 23"/>
                    <a:gd name="T28" fmla="*/ 4 w 21"/>
                    <a:gd name="T29" fmla="*/ 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23">
                      <a:moveTo>
                        <a:pt x="2" y="23"/>
                      </a:move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0" y="10"/>
                        <a:pt x="21" y="11"/>
                        <a:pt x="21" y="12"/>
                      </a:cubicBezTo>
                      <a:cubicBezTo>
                        <a:pt x="21" y="12"/>
                        <a:pt x="20" y="13"/>
                        <a:pt x="20" y="13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2" y="23"/>
                        <a:pt x="2" y="23"/>
                        <a:pt x="2" y="23"/>
                      </a:cubicBezTo>
                      <a:close/>
                      <a:moveTo>
                        <a:pt x="4" y="5"/>
                      </a:move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2" name="Freeform 724">
                  <a:extLst>
                    <a:ext uri="{FF2B5EF4-FFF2-40B4-BE49-F238E27FC236}">
                      <a16:creationId xmlns:a16="http://schemas.microsoft.com/office/drawing/2014/main" id="{551620D8-FA6B-483E-B7BD-341A869290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83" y="2774"/>
                  <a:ext cx="12" cy="11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5 h 5"/>
                    <a:gd name="T4" fmla="*/ 1 w 5"/>
                    <a:gd name="T5" fmla="*/ 4 h 5"/>
                    <a:gd name="T6" fmla="*/ 0 w 5"/>
                    <a:gd name="T7" fmla="*/ 3 h 5"/>
                    <a:gd name="T8" fmla="*/ 1 w 5"/>
                    <a:gd name="T9" fmla="*/ 1 h 5"/>
                    <a:gd name="T10" fmla="*/ 2 w 5"/>
                    <a:gd name="T11" fmla="*/ 1 h 5"/>
                    <a:gd name="T12" fmla="*/ 4 w 5"/>
                    <a:gd name="T13" fmla="*/ 1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5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3" y="0"/>
                        <a:pt x="4" y="1"/>
                      </a:cubicBezTo>
                      <a:cubicBezTo>
                        <a:pt x="4" y="1"/>
                        <a:pt x="5" y="2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4"/>
                        <a:pt x="4" y="4"/>
                        <a:pt x="4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3" name="Freeform 725">
                  <a:extLst>
                    <a:ext uri="{FF2B5EF4-FFF2-40B4-BE49-F238E27FC236}">
                      <a16:creationId xmlns:a16="http://schemas.microsoft.com/office/drawing/2014/main" id="{C6A81C09-6A04-4904-8922-3E691FEE22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2809"/>
                  <a:ext cx="19" cy="305"/>
                </a:xfrm>
                <a:custGeom>
                  <a:avLst/>
                  <a:gdLst>
                    <a:gd name="T0" fmla="*/ 2 w 8"/>
                    <a:gd name="T1" fmla="*/ 129 h 129"/>
                    <a:gd name="T2" fmla="*/ 1 w 8"/>
                    <a:gd name="T3" fmla="*/ 129 h 129"/>
                    <a:gd name="T4" fmla="*/ 0 w 8"/>
                    <a:gd name="T5" fmla="*/ 127 h 129"/>
                    <a:gd name="T6" fmla="*/ 0 w 8"/>
                    <a:gd name="T7" fmla="*/ 2 h 129"/>
                    <a:gd name="T8" fmla="*/ 1 w 8"/>
                    <a:gd name="T9" fmla="*/ 1 h 129"/>
                    <a:gd name="T10" fmla="*/ 3 w 8"/>
                    <a:gd name="T11" fmla="*/ 1 h 129"/>
                    <a:gd name="T12" fmla="*/ 7 w 8"/>
                    <a:gd name="T13" fmla="*/ 3 h 129"/>
                    <a:gd name="T14" fmla="*/ 8 w 8"/>
                    <a:gd name="T15" fmla="*/ 4 h 129"/>
                    <a:gd name="T16" fmla="*/ 8 w 8"/>
                    <a:gd name="T17" fmla="*/ 125 h 129"/>
                    <a:gd name="T18" fmla="*/ 7 w 8"/>
                    <a:gd name="T19" fmla="*/ 127 h 129"/>
                    <a:gd name="T20" fmla="*/ 3 w 8"/>
                    <a:gd name="T21" fmla="*/ 129 h 129"/>
                    <a:gd name="T22" fmla="*/ 2 w 8"/>
                    <a:gd name="T23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29">
                      <a:moveTo>
                        <a:pt x="2" y="129"/>
                      </a:moveTo>
                      <a:cubicBezTo>
                        <a:pt x="2" y="129"/>
                        <a:pt x="2" y="129"/>
                        <a:pt x="1" y="129"/>
                      </a:cubicBezTo>
                      <a:cubicBezTo>
                        <a:pt x="1" y="129"/>
                        <a:pt x="0" y="128"/>
                        <a:pt x="0" y="12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8" y="4"/>
                        <a:pt x="8" y="4"/>
                      </a:cubicBezTo>
                      <a:cubicBezTo>
                        <a:pt x="8" y="125"/>
                        <a:pt x="8" y="125"/>
                        <a:pt x="8" y="125"/>
                      </a:cubicBezTo>
                      <a:cubicBezTo>
                        <a:pt x="8" y="126"/>
                        <a:pt x="7" y="127"/>
                        <a:pt x="7" y="127"/>
                      </a:cubicBezTo>
                      <a:cubicBezTo>
                        <a:pt x="3" y="129"/>
                        <a:pt x="3" y="129"/>
                        <a:pt x="3" y="129"/>
                      </a:cubicBezTo>
                      <a:cubicBezTo>
                        <a:pt x="3" y="129"/>
                        <a:pt x="3" y="129"/>
                        <a:pt x="2" y="1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4" name="Freeform 726">
                  <a:extLst>
                    <a:ext uri="{FF2B5EF4-FFF2-40B4-BE49-F238E27FC236}">
                      <a16:creationId xmlns:a16="http://schemas.microsoft.com/office/drawing/2014/main" id="{D5889868-9700-4A33-9FA7-99F5993ED97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954"/>
                  <a:ext cx="149" cy="142"/>
                </a:xfrm>
                <a:custGeom>
                  <a:avLst/>
                  <a:gdLst>
                    <a:gd name="T0" fmla="*/ 2 w 63"/>
                    <a:gd name="T1" fmla="*/ 60 h 60"/>
                    <a:gd name="T2" fmla="*/ 1 w 63"/>
                    <a:gd name="T3" fmla="*/ 60 h 60"/>
                    <a:gd name="T4" fmla="*/ 0 w 63"/>
                    <a:gd name="T5" fmla="*/ 58 h 60"/>
                    <a:gd name="T6" fmla="*/ 0 w 63"/>
                    <a:gd name="T7" fmla="*/ 36 h 60"/>
                    <a:gd name="T8" fmla="*/ 1 w 63"/>
                    <a:gd name="T9" fmla="*/ 35 h 60"/>
                    <a:gd name="T10" fmla="*/ 60 w 63"/>
                    <a:gd name="T11" fmla="*/ 1 h 60"/>
                    <a:gd name="T12" fmla="*/ 62 w 63"/>
                    <a:gd name="T13" fmla="*/ 1 h 60"/>
                    <a:gd name="T14" fmla="*/ 63 w 63"/>
                    <a:gd name="T15" fmla="*/ 2 h 60"/>
                    <a:gd name="T16" fmla="*/ 63 w 63"/>
                    <a:gd name="T17" fmla="*/ 24 h 60"/>
                    <a:gd name="T18" fmla="*/ 62 w 63"/>
                    <a:gd name="T19" fmla="*/ 26 h 60"/>
                    <a:gd name="T20" fmla="*/ 3 w 63"/>
                    <a:gd name="T21" fmla="*/ 60 h 60"/>
                    <a:gd name="T22" fmla="*/ 2 w 63"/>
                    <a:gd name="T23" fmla="*/ 60 h 60"/>
                    <a:gd name="T24" fmla="*/ 4 w 63"/>
                    <a:gd name="T25" fmla="*/ 38 h 60"/>
                    <a:gd name="T26" fmla="*/ 4 w 63"/>
                    <a:gd name="T27" fmla="*/ 55 h 60"/>
                    <a:gd name="T28" fmla="*/ 59 w 63"/>
                    <a:gd name="T29" fmla="*/ 23 h 60"/>
                    <a:gd name="T30" fmla="*/ 59 w 63"/>
                    <a:gd name="T31" fmla="*/ 6 h 60"/>
                    <a:gd name="T32" fmla="*/ 4 w 63"/>
                    <a:gd name="T33" fmla="*/ 38 h 60"/>
                    <a:gd name="T34" fmla="*/ 61 w 63"/>
                    <a:gd name="T35" fmla="*/ 24 h 60"/>
                    <a:gd name="T36" fmla="*/ 61 w 63"/>
                    <a:gd name="T37" fmla="*/ 2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3" h="60">
                      <a:moveTo>
                        <a:pt x="2" y="60"/>
                      </a:moveTo>
                      <a:cubicBezTo>
                        <a:pt x="2" y="60"/>
                        <a:pt x="2" y="60"/>
                        <a:pt x="1" y="60"/>
                      </a:cubicBezTo>
                      <a:cubicBezTo>
                        <a:pt x="1" y="59"/>
                        <a:pt x="0" y="59"/>
                        <a:pt x="0" y="58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1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1" y="0"/>
                        <a:pt x="62" y="0"/>
                        <a:pt x="62" y="1"/>
                      </a:cubicBezTo>
                      <a:cubicBezTo>
                        <a:pt x="63" y="1"/>
                        <a:pt x="63" y="2"/>
                        <a:pt x="63" y="2"/>
                      </a:cubicBezTo>
                      <a:cubicBezTo>
                        <a:pt x="63" y="24"/>
                        <a:pt x="63" y="24"/>
                        <a:pt x="63" y="24"/>
                      </a:cubicBezTo>
                      <a:cubicBezTo>
                        <a:pt x="63" y="25"/>
                        <a:pt x="63" y="25"/>
                        <a:pt x="62" y="26"/>
                      </a:cubicBezTo>
                      <a:cubicBezTo>
                        <a:pt x="3" y="60"/>
                        <a:pt x="3" y="60"/>
                        <a:pt x="3" y="60"/>
                      </a:cubicBezTo>
                      <a:cubicBezTo>
                        <a:pt x="3" y="60"/>
                        <a:pt x="3" y="60"/>
                        <a:pt x="2" y="60"/>
                      </a:cubicBezTo>
                      <a:close/>
                      <a:moveTo>
                        <a:pt x="4" y="38"/>
                      </a:moveTo>
                      <a:cubicBezTo>
                        <a:pt x="4" y="55"/>
                        <a:pt x="4" y="55"/>
                        <a:pt x="4" y="55"/>
                      </a:cubicBezTo>
                      <a:cubicBezTo>
                        <a:pt x="59" y="23"/>
                        <a:pt x="59" y="23"/>
                        <a:pt x="59" y="23"/>
                      </a:cubicBezTo>
                      <a:cubicBezTo>
                        <a:pt x="59" y="6"/>
                        <a:pt x="59" y="6"/>
                        <a:pt x="59" y="6"/>
                      </a:cubicBezTo>
                      <a:lnTo>
                        <a:pt x="4" y="38"/>
                      </a:lnTo>
                      <a:close/>
                      <a:moveTo>
                        <a:pt x="61" y="24"/>
                      </a:moveTo>
                      <a:cubicBezTo>
                        <a:pt x="61" y="24"/>
                        <a:pt x="61" y="24"/>
                        <a:pt x="61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5" name="Freeform 727">
                  <a:extLst>
                    <a:ext uri="{FF2B5EF4-FFF2-40B4-BE49-F238E27FC236}">
                      <a16:creationId xmlns:a16="http://schemas.microsoft.com/office/drawing/2014/main" id="{BE635B23-F5CA-4DE5-87B8-0507C5FDF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1011"/>
                  <a:ext cx="149" cy="196"/>
                </a:xfrm>
                <a:custGeom>
                  <a:avLst/>
                  <a:gdLst>
                    <a:gd name="T0" fmla="*/ 2 w 63"/>
                    <a:gd name="T1" fmla="*/ 83 h 83"/>
                    <a:gd name="T2" fmla="*/ 1 w 63"/>
                    <a:gd name="T3" fmla="*/ 82 h 83"/>
                    <a:gd name="T4" fmla="*/ 0 w 63"/>
                    <a:gd name="T5" fmla="*/ 81 h 83"/>
                    <a:gd name="T6" fmla="*/ 0 w 63"/>
                    <a:gd name="T7" fmla="*/ 36 h 83"/>
                    <a:gd name="T8" fmla="*/ 1 w 63"/>
                    <a:gd name="T9" fmla="*/ 34 h 83"/>
                    <a:gd name="T10" fmla="*/ 60 w 63"/>
                    <a:gd name="T11" fmla="*/ 0 h 83"/>
                    <a:gd name="T12" fmla="*/ 62 w 63"/>
                    <a:gd name="T13" fmla="*/ 0 h 83"/>
                    <a:gd name="T14" fmla="*/ 63 w 63"/>
                    <a:gd name="T15" fmla="*/ 2 h 83"/>
                    <a:gd name="T16" fmla="*/ 63 w 63"/>
                    <a:gd name="T17" fmla="*/ 46 h 83"/>
                    <a:gd name="T18" fmla="*/ 62 w 63"/>
                    <a:gd name="T19" fmla="*/ 48 h 83"/>
                    <a:gd name="T20" fmla="*/ 3 w 63"/>
                    <a:gd name="T21" fmla="*/ 82 h 83"/>
                    <a:gd name="T22" fmla="*/ 2 w 63"/>
                    <a:gd name="T23" fmla="*/ 83 h 83"/>
                    <a:gd name="T24" fmla="*/ 4 w 63"/>
                    <a:gd name="T25" fmla="*/ 37 h 83"/>
                    <a:gd name="T26" fmla="*/ 4 w 63"/>
                    <a:gd name="T27" fmla="*/ 77 h 83"/>
                    <a:gd name="T28" fmla="*/ 59 w 63"/>
                    <a:gd name="T29" fmla="*/ 45 h 83"/>
                    <a:gd name="T30" fmla="*/ 59 w 63"/>
                    <a:gd name="T31" fmla="*/ 5 h 83"/>
                    <a:gd name="T32" fmla="*/ 4 w 63"/>
                    <a:gd name="T33" fmla="*/ 37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3" h="83">
                      <a:moveTo>
                        <a:pt x="2" y="83"/>
                      </a:moveTo>
                      <a:cubicBezTo>
                        <a:pt x="2" y="83"/>
                        <a:pt x="2" y="82"/>
                        <a:pt x="1" y="82"/>
                      </a:cubicBezTo>
                      <a:cubicBezTo>
                        <a:pt x="1" y="82"/>
                        <a:pt x="0" y="81"/>
                        <a:pt x="0" y="81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5"/>
                        <a:pt x="1" y="35"/>
                        <a:pt x="1" y="34"/>
                      </a:cubicBezTo>
                      <a:cubicBezTo>
                        <a:pt x="60" y="0"/>
                        <a:pt x="60" y="0"/>
                        <a:pt x="60" y="0"/>
                      </a:cubicBezTo>
                      <a:cubicBezTo>
                        <a:pt x="61" y="0"/>
                        <a:pt x="62" y="0"/>
                        <a:pt x="62" y="0"/>
                      </a:cubicBezTo>
                      <a:cubicBezTo>
                        <a:pt x="63" y="1"/>
                        <a:pt x="63" y="1"/>
                        <a:pt x="63" y="2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7"/>
                        <a:pt x="63" y="48"/>
                        <a:pt x="62" y="48"/>
                      </a:cubicBezTo>
                      <a:cubicBezTo>
                        <a:pt x="3" y="82"/>
                        <a:pt x="3" y="82"/>
                        <a:pt x="3" y="82"/>
                      </a:cubicBezTo>
                      <a:cubicBezTo>
                        <a:pt x="3" y="82"/>
                        <a:pt x="3" y="83"/>
                        <a:pt x="2" y="83"/>
                      </a:cubicBezTo>
                      <a:close/>
                      <a:moveTo>
                        <a:pt x="4" y="37"/>
                      </a:moveTo>
                      <a:cubicBezTo>
                        <a:pt x="4" y="77"/>
                        <a:pt x="4" y="77"/>
                        <a:pt x="4" y="77"/>
                      </a:cubicBezTo>
                      <a:cubicBezTo>
                        <a:pt x="59" y="45"/>
                        <a:pt x="59" y="45"/>
                        <a:pt x="59" y="45"/>
                      </a:cubicBezTo>
                      <a:cubicBezTo>
                        <a:pt x="59" y="5"/>
                        <a:pt x="59" y="5"/>
                        <a:pt x="59" y="5"/>
                      </a:cubicBezTo>
                      <a:lnTo>
                        <a:pt x="4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6" name="Freeform 728">
                  <a:extLst>
                    <a:ext uri="{FF2B5EF4-FFF2-40B4-BE49-F238E27FC236}">
                      <a16:creationId xmlns:a16="http://schemas.microsoft.com/office/drawing/2014/main" id="{94349C8C-0CB4-4484-ABE7-A29A57F1AE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425"/>
                  <a:ext cx="80" cy="92"/>
                </a:xfrm>
                <a:custGeom>
                  <a:avLst/>
                  <a:gdLst>
                    <a:gd name="T0" fmla="*/ 2 w 34"/>
                    <a:gd name="T1" fmla="*/ 39 h 39"/>
                    <a:gd name="T2" fmla="*/ 1 w 34"/>
                    <a:gd name="T3" fmla="*/ 39 h 39"/>
                    <a:gd name="T4" fmla="*/ 0 w 34"/>
                    <a:gd name="T5" fmla="*/ 37 h 39"/>
                    <a:gd name="T6" fmla="*/ 0 w 34"/>
                    <a:gd name="T7" fmla="*/ 2 h 39"/>
                    <a:gd name="T8" fmla="*/ 1 w 34"/>
                    <a:gd name="T9" fmla="*/ 1 h 39"/>
                    <a:gd name="T10" fmla="*/ 3 w 34"/>
                    <a:gd name="T11" fmla="*/ 1 h 39"/>
                    <a:gd name="T12" fmla="*/ 33 w 34"/>
                    <a:gd name="T13" fmla="*/ 18 h 39"/>
                    <a:gd name="T14" fmla="*/ 34 w 34"/>
                    <a:gd name="T15" fmla="*/ 20 h 39"/>
                    <a:gd name="T16" fmla="*/ 33 w 34"/>
                    <a:gd name="T17" fmla="*/ 21 h 39"/>
                    <a:gd name="T18" fmla="*/ 3 w 34"/>
                    <a:gd name="T19" fmla="*/ 39 h 39"/>
                    <a:gd name="T20" fmla="*/ 2 w 34"/>
                    <a:gd name="T21" fmla="*/ 39 h 39"/>
                    <a:gd name="T22" fmla="*/ 4 w 34"/>
                    <a:gd name="T23" fmla="*/ 6 h 39"/>
                    <a:gd name="T24" fmla="*/ 4 w 34"/>
                    <a:gd name="T25" fmla="*/ 34 h 39"/>
                    <a:gd name="T26" fmla="*/ 28 w 34"/>
                    <a:gd name="T27" fmla="*/ 20 h 39"/>
                    <a:gd name="T28" fmla="*/ 4 w 34"/>
                    <a:gd name="T29" fmla="*/ 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9">
                      <a:moveTo>
                        <a:pt x="2" y="39"/>
                      </a:moveTo>
                      <a:cubicBezTo>
                        <a:pt x="2" y="39"/>
                        <a:pt x="2" y="39"/>
                        <a:pt x="1" y="39"/>
                      </a:cubicBezTo>
                      <a:cubicBezTo>
                        <a:pt x="1" y="38"/>
                        <a:pt x="0" y="38"/>
                        <a:pt x="0" y="3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8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3" y="21"/>
                      </a:cubicBez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9"/>
                        <a:pt x="3" y="39"/>
                        <a:pt x="2" y="39"/>
                      </a:cubicBezTo>
                      <a:close/>
                      <a:moveTo>
                        <a:pt x="4" y="6"/>
                      </a:moveTo>
                      <a:cubicBezTo>
                        <a:pt x="4" y="34"/>
                        <a:pt x="4" y="34"/>
                        <a:pt x="4" y="34"/>
                      </a:cubicBezTo>
                      <a:cubicBezTo>
                        <a:pt x="28" y="20"/>
                        <a:pt x="28" y="20"/>
                        <a:pt x="28" y="20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7" name="Freeform 729">
                  <a:extLst>
                    <a:ext uri="{FF2B5EF4-FFF2-40B4-BE49-F238E27FC236}">
                      <a16:creationId xmlns:a16="http://schemas.microsoft.com/office/drawing/2014/main" id="{8A6BFADC-4A69-4875-8A63-6A54D951A1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60" y="2261"/>
                  <a:ext cx="319" cy="541"/>
                </a:xfrm>
                <a:custGeom>
                  <a:avLst/>
                  <a:gdLst>
                    <a:gd name="T0" fmla="*/ 133 w 135"/>
                    <a:gd name="T1" fmla="*/ 229 h 229"/>
                    <a:gd name="T2" fmla="*/ 132 w 135"/>
                    <a:gd name="T3" fmla="*/ 229 h 229"/>
                    <a:gd name="T4" fmla="*/ 1 w 135"/>
                    <a:gd name="T5" fmla="*/ 154 h 229"/>
                    <a:gd name="T6" fmla="*/ 0 w 135"/>
                    <a:gd name="T7" fmla="*/ 152 h 229"/>
                    <a:gd name="T8" fmla="*/ 0 w 135"/>
                    <a:gd name="T9" fmla="*/ 2 h 229"/>
                    <a:gd name="T10" fmla="*/ 1 w 135"/>
                    <a:gd name="T11" fmla="*/ 0 h 229"/>
                    <a:gd name="T12" fmla="*/ 3 w 135"/>
                    <a:gd name="T13" fmla="*/ 0 h 229"/>
                    <a:gd name="T14" fmla="*/ 134 w 135"/>
                    <a:gd name="T15" fmla="*/ 75 h 229"/>
                    <a:gd name="T16" fmla="*/ 135 w 135"/>
                    <a:gd name="T17" fmla="*/ 77 h 229"/>
                    <a:gd name="T18" fmla="*/ 135 w 135"/>
                    <a:gd name="T19" fmla="*/ 227 h 229"/>
                    <a:gd name="T20" fmla="*/ 134 w 135"/>
                    <a:gd name="T21" fmla="*/ 229 h 229"/>
                    <a:gd name="T22" fmla="*/ 133 w 135"/>
                    <a:gd name="T23" fmla="*/ 229 h 229"/>
                    <a:gd name="T24" fmla="*/ 4 w 135"/>
                    <a:gd name="T25" fmla="*/ 151 h 229"/>
                    <a:gd name="T26" fmla="*/ 131 w 135"/>
                    <a:gd name="T27" fmla="*/ 224 h 229"/>
                    <a:gd name="T28" fmla="*/ 131 w 135"/>
                    <a:gd name="T29" fmla="*/ 78 h 229"/>
                    <a:gd name="T30" fmla="*/ 4 w 135"/>
                    <a:gd name="T31" fmla="*/ 5 h 229"/>
                    <a:gd name="T32" fmla="*/ 4 w 135"/>
                    <a:gd name="T33" fmla="*/ 151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5" h="229">
                      <a:moveTo>
                        <a:pt x="133" y="229"/>
                      </a:moveTo>
                      <a:cubicBezTo>
                        <a:pt x="132" y="229"/>
                        <a:pt x="132" y="229"/>
                        <a:pt x="132" y="229"/>
                      </a:cubicBezTo>
                      <a:cubicBezTo>
                        <a:pt x="1" y="154"/>
                        <a:pt x="1" y="154"/>
                        <a:pt x="1" y="154"/>
                      </a:cubicBezTo>
                      <a:cubicBezTo>
                        <a:pt x="1" y="153"/>
                        <a:pt x="0" y="153"/>
                        <a:pt x="0" y="15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4" y="75"/>
                        <a:pt x="134" y="75"/>
                        <a:pt x="134" y="75"/>
                      </a:cubicBezTo>
                      <a:cubicBezTo>
                        <a:pt x="134" y="75"/>
                        <a:pt x="135" y="76"/>
                        <a:pt x="135" y="77"/>
                      </a:cubicBezTo>
                      <a:cubicBezTo>
                        <a:pt x="135" y="227"/>
                        <a:pt x="135" y="227"/>
                        <a:pt x="135" y="227"/>
                      </a:cubicBezTo>
                      <a:cubicBezTo>
                        <a:pt x="135" y="228"/>
                        <a:pt x="134" y="229"/>
                        <a:pt x="134" y="229"/>
                      </a:cubicBezTo>
                      <a:cubicBezTo>
                        <a:pt x="133" y="229"/>
                        <a:pt x="133" y="229"/>
                        <a:pt x="133" y="229"/>
                      </a:cubicBezTo>
                      <a:close/>
                      <a:moveTo>
                        <a:pt x="4" y="151"/>
                      </a:moveTo>
                      <a:cubicBezTo>
                        <a:pt x="131" y="224"/>
                        <a:pt x="131" y="224"/>
                        <a:pt x="131" y="224"/>
                      </a:cubicBezTo>
                      <a:cubicBezTo>
                        <a:pt x="131" y="78"/>
                        <a:pt x="131" y="78"/>
                        <a:pt x="131" y="78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8" name="Freeform 730">
                  <a:extLst>
                    <a:ext uri="{FF2B5EF4-FFF2-40B4-BE49-F238E27FC236}">
                      <a16:creationId xmlns:a16="http://schemas.microsoft.com/office/drawing/2014/main" id="{DB699BDB-C859-4881-8C72-42CBF3974F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53" y="3315"/>
                  <a:ext cx="35" cy="28"/>
                </a:xfrm>
                <a:custGeom>
                  <a:avLst/>
                  <a:gdLst>
                    <a:gd name="T0" fmla="*/ 13 w 15"/>
                    <a:gd name="T1" fmla="*/ 12 h 12"/>
                    <a:gd name="T2" fmla="*/ 12 w 15"/>
                    <a:gd name="T3" fmla="*/ 11 h 12"/>
                    <a:gd name="T4" fmla="*/ 1 w 15"/>
                    <a:gd name="T5" fmla="*/ 5 h 12"/>
                    <a:gd name="T6" fmla="*/ 0 w 15"/>
                    <a:gd name="T7" fmla="*/ 3 h 12"/>
                    <a:gd name="T8" fmla="*/ 1 w 15"/>
                    <a:gd name="T9" fmla="*/ 1 h 12"/>
                    <a:gd name="T10" fmla="*/ 2 w 15"/>
                    <a:gd name="T11" fmla="*/ 1 h 12"/>
                    <a:gd name="T12" fmla="*/ 4 w 15"/>
                    <a:gd name="T13" fmla="*/ 1 h 12"/>
                    <a:gd name="T14" fmla="*/ 14 w 15"/>
                    <a:gd name="T15" fmla="*/ 6 h 12"/>
                    <a:gd name="T16" fmla="*/ 15 w 15"/>
                    <a:gd name="T17" fmla="*/ 8 h 12"/>
                    <a:gd name="T18" fmla="*/ 15 w 15"/>
                    <a:gd name="T19" fmla="*/ 10 h 12"/>
                    <a:gd name="T20" fmla="*/ 14 w 15"/>
                    <a:gd name="T21" fmla="*/ 11 h 12"/>
                    <a:gd name="T22" fmla="*/ 13 w 15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12">
                      <a:moveTo>
                        <a:pt x="13" y="12"/>
                      </a:moveTo>
                      <a:cubicBezTo>
                        <a:pt x="13" y="12"/>
                        <a:pt x="13" y="12"/>
                        <a:pt x="12" y="11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5" y="7"/>
                        <a:pt x="15" y="7"/>
                        <a:pt x="15" y="8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10"/>
                        <a:pt x="15" y="11"/>
                        <a:pt x="14" y="11"/>
                      </a:cubicBezTo>
                      <a:cubicBezTo>
                        <a:pt x="14" y="12"/>
                        <a:pt x="14" y="12"/>
                        <a:pt x="1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9" name="Freeform 731">
                  <a:extLst>
                    <a:ext uri="{FF2B5EF4-FFF2-40B4-BE49-F238E27FC236}">
                      <a16:creationId xmlns:a16="http://schemas.microsoft.com/office/drawing/2014/main" id="{619D7BA6-5A6B-444B-BF5C-8B95BD9235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29" y="3456"/>
                  <a:ext cx="36" cy="38"/>
                </a:xfrm>
                <a:custGeom>
                  <a:avLst/>
                  <a:gdLst>
                    <a:gd name="T0" fmla="*/ 13 w 15"/>
                    <a:gd name="T1" fmla="*/ 16 h 16"/>
                    <a:gd name="T2" fmla="*/ 12 w 15"/>
                    <a:gd name="T3" fmla="*/ 16 h 16"/>
                    <a:gd name="T4" fmla="*/ 1 w 15"/>
                    <a:gd name="T5" fmla="*/ 10 h 16"/>
                    <a:gd name="T6" fmla="*/ 0 w 15"/>
                    <a:gd name="T7" fmla="*/ 8 h 16"/>
                    <a:gd name="T8" fmla="*/ 1 w 15"/>
                    <a:gd name="T9" fmla="*/ 7 h 16"/>
                    <a:gd name="T10" fmla="*/ 12 w 15"/>
                    <a:gd name="T11" fmla="*/ 1 h 16"/>
                    <a:gd name="T12" fmla="*/ 14 w 15"/>
                    <a:gd name="T13" fmla="*/ 1 h 16"/>
                    <a:gd name="T14" fmla="*/ 15 w 15"/>
                    <a:gd name="T15" fmla="*/ 2 h 16"/>
                    <a:gd name="T16" fmla="*/ 15 w 15"/>
                    <a:gd name="T17" fmla="*/ 14 h 16"/>
                    <a:gd name="T18" fmla="*/ 14 w 15"/>
                    <a:gd name="T19" fmla="*/ 16 h 16"/>
                    <a:gd name="T20" fmla="*/ 13 w 15"/>
                    <a:gd name="T21" fmla="*/ 16 h 16"/>
                    <a:gd name="T22" fmla="*/ 6 w 15"/>
                    <a:gd name="T23" fmla="*/ 8 h 16"/>
                    <a:gd name="T24" fmla="*/ 11 w 15"/>
                    <a:gd name="T25" fmla="*/ 11 h 16"/>
                    <a:gd name="T26" fmla="*/ 11 w 15"/>
                    <a:gd name="T27" fmla="*/ 6 h 16"/>
                    <a:gd name="T28" fmla="*/ 6 w 15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6">
                      <a:moveTo>
                        <a:pt x="13" y="16"/>
                      </a:move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1" y="10"/>
                        <a:pt x="0" y="9"/>
                        <a:pt x="0" y="8"/>
                      </a:cubicBezTo>
                      <a:cubicBezTo>
                        <a:pt x="0" y="8"/>
                        <a:pt x="1" y="7"/>
                        <a:pt x="1" y="7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3" y="0"/>
                        <a:pt x="14" y="1"/>
                      </a:cubicBezTo>
                      <a:cubicBezTo>
                        <a:pt x="14" y="1"/>
                        <a:pt x="15" y="2"/>
                        <a:pt x="15" y="2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5"/>
                        <a:pt x="14" y="16"/>
                        <a:pt x="14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lose/>
                      <a:moveTo>
                        <a:pt x="6" y="8"/>
                      </a:move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1" y="6"/>
                        <a:pt x="11" y="6"/>
                        <a:pt x="11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0" name="Freeform 732">
                  <a:extLst>
                    <a:ext uri="{FF2B5EF4-FFF2-40B4-BE49-F238E27FC236}">
                      <a16:creationId xmlns:a16="http://schemas.microsoft.com/office/drawing/2014/main" id="{F298E440-274B-49AC-A294-14763BA14B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76" y="3504"/>
                  <a:ext cx="22" cy="21"/>
                </a:xfrm>
                <a:custGeom>
                  <a:avLst/>
                  <a:gdLst>
                    <a:gd name="T0" fmla="*/ 2 w 9"/>
                    <a:gd name="T1" fmla="*/ 9 h 9"/>
                    <a:gd name="T2" fmla="*/ 1 w 9"/>
                    <a:gd name="T3" fmla="*/ 9 h 9"/>
                    <a:gd name="T4" fmla="*/ 0 w 9"/>
                    <a:gd name="T5" fmla="*/ 7 h 9"/>
                    <a:gd name="T6" fmla="*/ 0 w 9"/>
                    <a:gd name="T7" fmla="*/ 2 h 9"/>
                    <a:gd name="T8" fmla="*/ 1 w 9"/>
                    <a:gd name="T9" fmla="*/ 0 h 9"/>
                    <a:gd name="T10" fmla="*/ 3 w 9"/>
                    <a:gd name="T11" fmla="*/ 0 h 9"/>
                    <a:gd name="T12" fmla="*/ 8 w 9"/>
                    <a:gd name="T13" fmla="*/ 3 h 9"/>
                    <a:gd name="T14" fmla="*/ 9 w 9"/>
                    <a:gd name="T15" fmla="*/ 4 h 9"/>
                    <a:gd name="T16" fmla="*/ 8 w 9"/>
                    <a:gd name="T17" fmla="*/ 6 h 9"/>
                    <a:gd name="T18" fmla="*/ 3 w 9"/>
                    <a:gd name="T19" fmla="*/ 9 h 9"/>
                    <a:gd name="T20" fmla="*/ 2 w 9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9">
                      <a:moveTo>
                        <a:pt x="2" y="9"/>
                      </a:moveTo>
                      <a:cubicBezTo>
                        <a:pt x="2" y="9"/>
                        <a:pt x="1" y="9"/>
                        <a:pt x="1" y="9"/>
                      </a:cubicBezTo>
                      <a:cubicBezTo>
                        <a:pt x="0" y="9"/>
                        <a:pt x="0" y="8"/>
                        <a:pt x="0" y="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3"/>
                        <a:pt x="9" y="4"/>
                        <a:pt x="9" y="4"/>
                      </a:cubicBezTo>
                      <a:cubicBezTo>
                        <a:pt x="9" y="5"/>
                        <a:pt x="8" y="6"/>
                        <a:pt x="8" y="6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2" y="9"/>
                        <a:pt x="2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1" name="Freeform 733">
                  <a:extLst>
                    <a:ext uri="{FF2B5EF4-FFF2-40B4-BE49-F238E27FC236}">
                      <a16:creationId xmlns:a16="http://schemas.microsoft.com/office/drawing/2014/main" id="{272987D3-F927-42D2-B0D7-FF4F48F65F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04" y="1477"/>
                  <a:ext cx="300" cy="344"/>
                </a:xfrm>
                <a:custGeom>
                  <a:avLst/>
                  <a:gdLst>
                    <a:gd name="T0" fmla="*/ 125 w 127"/>
                    <a:gd name="T1" fmla="*/ 146 h 146"/>
                    <a:gd name="T2" fmla="*/ 124 w 127"/>
                    <a:gd name="T3" fmla="*/ 145 h 146"/>
                    <a:gd name="T4" fmla="*/ 1 w 127"/>
                    <a:gd name="T5" fmla="*/ 74 h 146"/>
                    <a:gd name="T6" fmla="*/ 0 w 127"/>
                    <a:gd name="T7" fmla="*/ 73 h 146"/>
                    <a:gd name="T8" fmla="*/ 1 w 127"/>
                    <a:gd name="T9" fmla="*/ 71 h 146"/>
                    <a:gd name="T10" fmla="*/ 124 w 127"/>
                    <a:gd name="T11" fmla="*/ 0 h 146"/>
                    <a:gd name="T12" fmla="*/ 126 w 127"/>
                    <a:gd name="T13" fmla="*/ 0 h 146"/>
                    <a:gd name="T14" fmla="*/ 127 w 127"/>
                    <a:gd name="T15" fmla="*/ 2 h 146"/>
                    <a:gd name="T16" fmla="*/ 127 w 127"/>
                    <a:gd name="T17" fmla="*/ 144 h 146"/>
                    <a:gd name="T18" fmla="*/ 126 w 127"/>
                    <a:gd name="T19" fmla="*/ 145 h 146"/>
                    <a:gd name="T20" fmla="*/ 125 w 127"/>
                    <a:gd name="T21" fmla="*/ 146 h 146"/>
                    <a:gd name="T22" fmla="*/ 6 w 127"/>
                    <a:gd name="T23" fmla="*/ 73 h 146"/>
                    <a:gd name="T24" fmla="*/ 123 w 127"/>
                    <a:gd name="T25" fmla="*/ 140 h 146"/>
                    <a:gd name="T26" fmla="*/ 123 w 127"/>
                    <a:gd name="T27" fmla="*/ 5 h 146"/>
                    <a:gd name="T28" fmla="*/ 6 w 127"/>
                    <a:gd name="T29" fmla="*/ 73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7" h="146">
                      <a:moveTo>
                        <a:pt x="125" y="146"/>
                      </a:moveTo>
                      <a:cubicBezTo>
                        <a:pt x="125" y="146"/>
                        <a:pt x="124" y="146"/>
                        <a:pt x="124" y="145"/>
                      </a:cubicBezTo>
                      <a:cubicBezTo>
                        <a:pt x="1" y="74"/>
                        <a:pt x="1" y="74"/>
                        <a:pt x="1" y="74"/>
                      </a:cubicBezTo>
                      <a:cubicBezTo>
                        <a:pt x="0" y="74"/>
                        <a:pt x="0" y="73"/>
                        <a:pt x="0" y="73"/>
                      </a:cubicBezTo>
                      <a:cubicBezTo>
                        <a:pt x="0" y="72"/>
                        <a:pt x="0" y="71"/>
                        <a:pt x="1" y="71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5" y="0"/>
                        <a:pt x="126" y="0"/>
                      </a:cubicBezTo>
                      <a:cubicBezTo>
                        <a:pt x="126" y="0"/>
                        <a:pt x="127" y="1"/>
                        <a:pt x="127" y="2"/>
                      </a:cubicBezTo>
                      <a:cubicBezTo>
                        <a:pt x="127" y="144"/>
                        <a:pt x="127" y="144"/>
                        <a:pt x="127" y="144"/>
                      </a:cubicBezTo>
                      <a:cubicBezTo>
                        <a:pt x="127" y="144"/>
                        <a:pt x="126" y="145"/>
                        <a:pt x="126" y="145"/>
                      </a:cubicBezTo>
                      <a:cubicBezTo>
                        <a:pt x="126" y="146"/>
                        <a:pt x="125" y="146"/>
                        <a:pt x="125" y="146"/>
                      </a:cubicBezTo>
                      <a:close/>
                      <a:moveTo>
                        <a:pt x="6" y="73"/>
                      </a:moveTo>
                      <a:cubicBezTo>
                        <a:pt x="123" y="140"/>
                        <a:pt x="123" y="140"/>
                        <a:pt x="123" y="140"/>
                      </a:cubicBezTo>
                      <a:cubicBezTo>
                        <a:pt x="123" y="5"/>
                        <a:pt x="123" y="5"/>
                        <a:pt x="123" y="5"/>
                      </a:cubicBezTo>
                      <a:lnTo>
                        <a:pt x="6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2" name="Freeform 734">
                  <a:extLst>
                    <a:ext uri="{FF2B5EF4-FFF2-40B4-BE49-F238E27FC236}">
                      <a16:creationId xmlns:a16="http://schemas.microsoft.com/office/drawing/2014/main" id="{EC926889-00C1-4AA0-BE4F-7F560F45A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3423"/>
                  <a:ext cx="93" cy="71"/>
                </a:xfrm>
                <a:custGeom>
                  <a:avLst/>
                  <a:gdLst>
                    <a:gd name="T0" fmla="*/ 2 w 39"/>
                    <a:gd name="T1" fmla="*/ 30 h 30"/>
                    <a:gd name="T2" fmla="*/ 1 w 39"/>
                    <a:gd name="T3" fmla="*/ 30 h 30"/>
                    <a:gd name="T4" fmla="*/ 0 w 39"/>
                    <a:gd name="T5" fmla="*/ 28 h 30"/>
                    <a:gd name="T6" fmla="*/ 0 w 39"/>
                    <a:gd name="T7" fmla="*/ 16 h 30"/>
                    <a:gd name="T8" fmla="*/ 1 w 39"/>
                    <a:gd name="T9" fmla="*/ 14 h 30"/>
                    <a:gd name="T10" fmla="*/ 25 w 39"/>
                    <a:gd name="T11" fmla="*/ 0 h 30"/>
                    <a:gd name="T12" fmla="*/ 27 w 39"/>
                    <a:gd name="T13" fmla="*/ 0 h 30"/>
                    <a:gd name="T14" fmla="*/ 38 w 39"/>
                    <a:gd name="T15" fmla="*/ 7 h 30"/>
                    <a:gd name="T16" fmla="*/ 39 w 39"/>
                    <a:gd name="T17" fmla="*/ 9 h 30"/>
                    <a:gd name="T18" fmla="*/ 38 w 39"/>
                    <a:gd name="T19" fmla="*/ 10 h 30"/>
                    <a:gd name="T20" fmla="*/ 3 w 39"/>
                    <a:gd name="T21" fmla="*/ 30 h 30"/>
                    <a:gd name="T22" fmla="*/ 2 w 39"/>
                    <a:gd name="T23" fmla="*/ 30 h 30"/>
                    <a:gd name="T24" fmla="*/ 4 w 39"/>
                    <a:gd name="T25" fmla="*/ 17 h 30"/>
                    <a:gd name="T26" fmla="*/ 4 w 39"/>
                    <a:gd name="T27" fmla="*/ 25 h 30"/>
                    <a:gd name="T28" fmla="*/ 33 w 39"/>
                    <a:gd name="T29" fmla="*/ 9 h 30"/>
                    <a:gd name="T30" fmla="*/ 26 w 39"/>
                    <a:gd name="T31" fmla="*/ 4 h 30"/>
                    <a:gd name="T32" fmla="*/ 4 w 39"/>
                    <a:gd name="T33" fmla="*/ 1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30">
                      <a:moveTo>
                        <a:pt x="2" y="30"/>
                      </a:moveTo>
                      <a:cubicBezTo>
                        <a:pt x="2" y="30"/>
                        <a:pt x="2" y="30"/>
                        <a:pt x="1" y="30"/>
                      </a:cubicBezTo>
                      <a:cubicBezTo>
                        <a:pt x="1" y="30"/>
                        <a:pt x="0" y="29"/>
                        <a:pt x="0" y="28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5"/>
                        <a:pt x="1" y="14"/>
                        <a:pt x="1" y="14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6" y="0"/>
                        <a:pt x="27" y="0"/>
                      </a:cubicBezTo>
                      <a:cubicBezTo>
                        <a:pt x="38" y="7"/>
                        <a:pt x="38" y="7"/>
                        <a:pt x="38" y="7"/>
                      </a:cubicBezTo>
                      <a:cubicBezTo>
                        <a:pt x="38" y="7"/>
                        <a:pt x="39" y="8"/>
                        <a:pt x="39" y="9"/>
                      </a:cubicBezTo>
                      <a:cubicBezTo>
                        <a:pt x="39" y="9"/>
                        <a:pt x="38" y="10"/>
                        <a:pt x="38" y="1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2" y="30"/>
                      </a:cubicBezTo>
                      <a:close/>
                      <a:moveTo>
                        <a:pt x="4" y="17"/>
                      </a:move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33" y="9"/>
                        <a:pt x="33" y="9"/>
                        <a:pt x="33" y="9"/>
                      </a:cubicBezTo>
                      <a:cubicBezTo>
                        <a:pt x="26" y="4"/>
                        <a:pt x="26" y="4"/>
                        <a:pt x="26" y="4"/>
                      </a:cubicBezTo>
                      <a:lnTo>
                        <a:pt x="4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3" name="Freeform 735">
                  <a:extLst>
                    <a:ext uri="{FF2B5EF4-FFF2-40B4-BE49-F238E27FC236}">
                      <a16:creationId xmlns:a16="http://schemas.microsoft.com/office/drawing/2014/main" id="{47629347-54C2-4E4F-B32B-E8F60820B1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3511"/>
                  <a:ext cx="137" cy="130"/>
                </a:xfrm>
                <a:custGeom>
                  <a:avLst/>
                  <a:gdLst>
                    <a:gd name="T0" fmla="*/ 18 w 58"/>
                    <a:gd name="T1" fmla="*/ 55 h 55"/>
                    <a:gd name="T2" fmla="*/ 17 w 58"/>
                    <a:gd name="T3" fmla="*/ 54 h 55"/>
                    <a:gd name="T4" fmla="*/ 1 w 58"/>
                    <a:gd name="T5" fmla="*/ 45 h 55"/>
                    <a:gd name="T6" fmla="*/ 0 w 58"/>
                    <a:gd name="T7" fmla="*/ 44 h 55"/>
                    <a:gd name="T8" fmla="*/ 0 w 58"/>
                    <a:gd name="T9" fmla="*/ 6 h 55"/>
                    <a:gd name="T10" fmla="*/ 1 w 58"/>
                    <a:gd name="T11" fmla="*/ 4 h 55"/>
                    <a:gd name="T12" fmla="*/ 7 w 58"/>
                    <a:gd name="T13" fmla="*/ 1 h 55"/>
                    <a:gd name="T14" fmla="*/ 9 w 58"/>
                    <a:gd name="T15" fmla="*/ 1 h 55"/>
                    <a:gd name="T16" fmla="*/ 57 w 58"/>
                    <a:gd name="T17" fmla="*/ 28 h 55"/>
                    <a:gd name="T18" fmla="*/ 58 w 58"/>
                    <a:gd name="T19" fmla="*/ 30 h 55"/>
                    <a:gd name="T20" fmla="*/ 57 w 58"/>
                    <a:gd name="T21" fmla="*/ 32 h 55"/>
                    <a:gd name="T22" fmla="*/ 19 w 58"/>
                    <a:gd name="T23" fmla="*/ 54 h 55"/>
                    <a:gd name="T24" fmla="*/ 18 w 58"/>
                    <a:gd name="T25" fmla="*/ 55 h 55"/>
                    <a:gd name="T26" fmla="*/ 4 w 58"/>
                    <a:gd name="T27" fmla="*/ 42 h 55"/>
                    <a:gd name="T28" fmla="*/ 18 w 58"/>
                    <a:gd name="T29" fmla="*/ 50 h 55"/>
                    <a:gd name="T30" fmla="*/ 52 w 58"/>
                    <a:gd name="T31" fmla="*/ 30 h 55"/>
                    <a:gd name="T32" fmla="*/ 8 w 58"/>
                    <a:gd name="T33" fmla="*/ 5 h 55"/>
                    <a:gd name="T34" fmla="*/ 4 w 58"/>
                    <a:gd name="T35" fmla="*/ 7 h 55"/>
                    <a:gd name="T36" fmla="*/ 4 w 58"/>
                    <a:gd name="T37" fmla="*/ 4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8" h="55">
                      <a:moveTo>
                        <a:pt x="18" y="55"/>
                      </a:moveTo>
                      <a:cubicBezTo>
                        <a:pt x="17" y="55"/>
                        <a:pt x="17" y="54"/>
                        <a:pt x="17" y="54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5"/>
                        <a:pt x="0" y="44"/>
                        <a:pt x="0" y="44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5"/>
                        <a:pt x="0" y="5"/>
                        <a:pt x="1" y="4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8" y="0"/>
                        <a:pt x="9" y="0"/>
                        <a:pt x="9" y="1"/>
                      </a:cubicBezTo>
                      <a:cubicBezTo>
                        <a:pt x="57" y="28"/>
                        <a:pt x="57" y="28"/>
                        <a:pt x="57" y="28"/>
                      </a:cubicBezTo>
                      <a:cubicBezTo>
                        <a:pt x="58" y="29"/>
                        <a:pt x="58" y="29"/>
                        <a:pt x="58" y="30"/>
                      </a:cubicBezTo>
                      <a:cubicBezTo>
                        <a:pt x="58" y="31"/>
                        <a:pt x="58" y="32"/>
                        <a:pt x="57" y="32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8" y="54"/>
                        <a:pt x="18" y="55"/>
                        <a:pt x="18" y="55"/>
                      </a:cubicBezTo>
                      <a:close/>
                      <a:moveTo>
                        <a:pt x="4" y="42"/>
                      </a:moveTo>
                      <a:cubicBezTo>
                        <a:pt x="18" y="50"/>
                        <a:pt x="18" y="50"/>
                        <a:pt x="18" y="5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4" y="7"/>
                        <a:pt x="4" y="7"/>
                        <a:pt x="4" y="7"/>
                      </a:cubicBezTo>
                      <a:lnTo>
                        <a:pt x="4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4" name="Freeform 736">
                  <a:extLst>
                    <a:ext uri="{FF2B5EF4-FFF2-40B4-BE49-F238E27FC236}">
                      <a16:creationId xmlns:a16="http://schemas.microsoft.com/office/drawing/2014/main" id="{934C8EF2-45F8-4DCF-A9CC-17D497678F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83" y="2984"/>
                  <a:ext cx="36" cy="40"/>
                </a:xfrm>
                <a:custGeom>
                  <a:avLst/>
                  <a:gdLst>
                    <a:gd name="T0" fmla="*/ 2 w 15"/>
                    <a:gd name="T1" fmla="*/ 17 h 17"/>
                    <a:gd name="T2" fmla="*/ 1 w 15"/>
                    <a:gd name="T3" fmla="*/ 17 h 17"/>
                    <a:gd name="T4" fmla="*/ 0 w 15"/>
                    <a:gd name="T5" fmla="*/ 15 h 17"/>
                    <a:gd name="T6" fmla="*/ 0 w 15"/>
                    <a:gd name="T7" fmla="*/ 2 h 17"/>
                    <a:gd name="T8" fmla="*/ 1 w 15"/>
                    <a:gd name="T9" fmla="*/ 1 h 17"/>
                    <a:gd name="T10" fmla="*/ 3 w 15"/>
                    <a:gd name="T11" fmla="*/ 1 h 17"/>
                    <a:gd name="T12" fmla="*/ 14 w 15"/>
                    <a:gd name="T13" fmla="*/ 7 h 17"/>
                    <a:gd name="T14" fmla="*/ 15 w 15"/>
                    <a:gd name="T15" fmla="*/ 9 h 17"/>
                    <a:gd name="T16" fmla="*/ 14 w 15"/>
                    <a:gd name="T17" fmla="*/ 10 h 17"/>
                    <a:gd name="T18" fmla="*/ 3 w 15"/>
                    <a:gd name="T19" fmla="*/ 17 h 17"/>
                    <a:gd name="T20" fmla="*/ 2 w 15"/>
                    <a:gd name="T21" fmla="*/ 17 h 17"/>
                    <a:gd name="T22" fmla="*/ 4 w 15"/>
                    <a:gd name="T23" fmla="*/ 6 h 17"/>
                    <a:gd name="T24" fmla="*/ 4 w 15"/>
                    <a:gd name="T25" fmla="*/ 11 h 17"/>
                    <a:gd name="T26" fmla="*/ 9 w 15"/>
                    <a:gd name="T27" fmla="*/ 9 h 17"/>
                    <a:gd name="T28" fmla="*/ 4 w 15"/>
                    <a:gd name="T29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7">
                      <a:moveTo>
                        <a:pt x="2" y="17"/>
                      </a:moveTo>
                      <a:cubicBezTo>
                        <a:pt x="2" y="17"/>
                        <a:pt x="1" y="17"/>
                        <a:pt x="1" y="17"/>
                      </a:cubicBezTo>
                      <a:cubicBezTo>
                        <a:pt x="0" y="16"/>
                        <a:pt x="0" y="16"/>
                        <a:pt x="0" y="1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5" y="7"/>
                        <a:pt x="15" y="8"/>
                        <a:pt x="15" y="9"/>
                      </a:cubicBezTo>
                      <a:cubicBezTo>
                        <a:pt x="15" y="9"/>
                        <a:pt x="15" y="10"/>
                        <a:pt x="14" y="10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2" y="17"/>
                        <a:pt x="2" y="17"/>
                      </a:cubicBezTo>
                      <a:close/>
                      <a:moveTo>
                        <a:pt x="4" y="6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9" y="9"/>
                        <a:pt x="9" y="9"/>
                        <a:pt x="9" y="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5" name="Freeform 737">
                  <a:extLst>
                    <a:ext uri="{FF2B5EF4-FFF2-40B4-BE49-F238E27FC236}">
                      <a16:creationId xmlns:a16="http://schemas.microsoft.com/office/drawing/2014/main" id="{6C4926AF-3361-4F7D-BD92-0B2EB2D12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61" y="1025"/>
                  <a:ext cx="122" cy="78"/>
                </a:xfrm>
                <a:custGeom>
                  <a:avLst/>
                  <a:gdLst>
                    <a:gd name="T0" fmla="*/ 4 w 52"/>
                    <a:gd name="T1" fmla="*/ 33 h 33"/>
                    <a:gd name="T2" fmla="*/ 3 w 52"/>
                    <a:gd name="T3" fmla="*/ 33 h 33"/>
                    <a:gd name="T4" fmla="*/ 1 w 52"/>
                    <a:gd name="T5" fmla="*/ 31 h 33"/>
                    <a:gd name="T6" fmla="*/ 0 w 52"/>
                    <a:gd name="T7" fmla="*/ 30 h 33"/>
                    <a:gd name="T8" fmla="*/ 1 w 52"/>
                    <a:gd name="T9" fmla="*/ 28 h 33"/>
                    <a:gd name="T10" fmla="*/ 49 w 52"/>
                    <a:gd name="T11" fmla="*/ 0 h 33"/>
                    <a:gd name="T12" fmla="*/ 51 w 52"/>
                    <a:gd name="T13" fmla="*/ 0 h 33"/>
                    <a:gd name="T14" fmla="*/ 52 w 52"/>
                    <a:gd name="T15" fmla="*/ 2 h 33"/>
                    <a:gd name="T16" fmla="*/ 52 w 52"/>
                    <a:gd name="T17" fmla="*/ 5 h 33"/>
                    <a:gd name="T18" fmla="*/ 51 w 52"/>
                    <a:gd name="T19" fmla="*/ 7 h 33"/>
                    <a:gd name="T20" fmla="*/ 5 w 52"/>
                    <a:gd name="T21" fmla="*/ 33 h 33"/>
                    <a:gd name="T22" fmla="*/ 4 w 52"/>
                    <a:gd name="T23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2" h="33">
                      <a:moveTo>
                        <a:pt x="4" y="33"/>
                      </a:moveTo>
                      <a:cubicBezTo>
                        <a:pt x="4" y="33"/>
                        <a:pt x="4" y="33"/>
                        <a:pt x="3" y="33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30"/>
                      </a:cubicBezTo>
                      <a:cubicBezTo>
                        <a:pt x="0" y="29"/>
                        <a:pt x="0" y="28"/>
                        <a:pt x="1" y="28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50" y="0"/>
                        <a:pt x="51" y="0"/>
                      </a:cubicBezTo>
                      <a:cubicBezTo>
                        <a:pt x="51" y="0"/>
                        <a:pt x="52" y="1"/>
                        <a:pt x="52" y="2"/>
                      </a:cubicBezTo>
                      <a:cubicBezTo>
                        <a:pt x="52" y="5"/>
                        <a:pt x="52" y="5"/>
                        <a:pt x="52" y="5"/>
                      </a:cubicBezTo>
                      <a:cubicBezTo>
                        <a:pt x="52" y="6"/>
                        <a:pt x="51" y="6"/>
                        <a:pt x="51" y="7"/>
                      </a:cubicBezTo>
                      <a:cubicBezTo>
                        <a:pt x="5" y="33"/>
                        <a:pt x="5" y="33"/>
                        <a:pt x="5" y="33"/>
                      </a:cubicBezTo>
                      <a:cubicBezTo>
                        <a:pt x="5" y="33"/>
                        <a:pt x="5" y="33"/>
                        <a:pt x="4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6" name="Freeform 738">
                  <a:extLst>
                    <a:ext uri="{FF2B5EF4-FFF2-40B4-BE49-F238E27FC236}">
                      <a16:creationId xmlns:a16="http://schemas.microsoft.com/office/drawing/2014/main" id="{2DF5A86A-049C-4516-B7D9-AF959C9958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27" y="2863"/>
                  <a:ext cx="26" cy="31"/>
                </a:xfrm>
                <a:custGeom>
                  <a:avLst/>
                  <a:gdLst>
                    <a:gd name="T0" fmla="*/ 2 w 11"/>
                    <a:gd name="T1" fmla="*/ 13 h 13"/>
                    <a:gd name="T2" fmla="*/ 1 w 11"/>
                    <a:gd name="T3" fmla="*/ 12 h 13"/>
                    <a:gd name="T4" fmla="*/ 0 w 11"/>
                    <a:gd name="T5" fmla="*/ 11 h 13"/>
                    <a:gd name="T6" fmla="*/ 0 w 11"/>
                    <a:gd name="T7" fmla="*/ 2 h 13"/>
                    <a:gd name="T8" fmla="*/ 1 w 11"/>
                    <a:gd name="T9" fmla="*/ 1 h 13"/>
                    <a:gd name="T10" fmla="*/ 3 w 11"/>
                    <a:gd name="T11" fmla="*/ 1 h 13"/>
                    <a:gd name="T12" fmla="*/ 10 w 11"/>
                    <a:gd name="T13" fmla="*/ 5 h 13"/>
                    <a:gd name="T14" fmla="*/ 11 w 11"/>
                    <a:gd name="T15" fmla="*/ 6 h 13"/>
                    <a:gd name="T16" fmla="*/ 10 w 11"/>
                    <a:gd name="T17" fmla="*/ 8 h 13"/>
                    <a:gd name="T18" fmla="*/ 3 w 11"/>
                    <a:gd name="T19" fmla="*/ 12 h 13"/>
                    <a:gd name="T20" fmla="*/ 2 w 11"/>
                    <a:gd name="T21" fmla="*/ 13 h 13"/>
                    <a:gd name="T22" fmla="*/ 4 w 11"/>
                    <a:gd name="T23" fmla="*/ 6 h 13"/>
                    <a:gd name="T24" fmla="*/ 4 w 11"/>
                    <a:gd name="T25" fmla="*/ 7 h 13"/>
                    <a:gd name="T26" fmla="*/ 5 w 11"/>
                    <a:gd name="T27" fmla="*/ 6 h 13"/>
                    <a:gd name="T28" fmla="*/ 4 w 11"/>
                    <a:gd name="T29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2" y="13"/>
                      </a:moveTo>
                      <a:cubicBezTo>
                        <a:pt x="2" y="13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1" y="5"/>
                        <a:pt x="11" y="6"/>
                        <a:pt x="11" y="6"/>
                      </a:cubicBezTo>
                      <a:cubicBezTo>
                        <a:pt x="11" y="7"/>
                        <a:pt x="11" y="8"/>
                        <a:pt x="10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2" y="13"/>
                        <a:pt x="2" y="13"/>
                      </a:cubicBezTo>
                      <a:close/>
                      <a:moveTo>
                        <a:pt x="4" y="6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7" name="Freeform 739">
                  <a:extLst>
                    <a:ext uri="{FF2B5EF4-FFF2-40B4-BE49-F238E27FC236}">
                      <a16:creationId xmlns:a16="http://schemas.microsoft.com/office/drawing/2014/main" id="{04865FC0-1D03-4999-ACAF-3ACBBCDD8D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3891"/>
                  <a:ext cx="316" cy="541"/>
                </a:xfrm>
                <a:custGeom>
                  <a:avLst/>
                  <a:gdLst>
                    <a:gd name="T0" fmla="*/ 2 w 134"/>
                    <a:gd name="T1" fmla="*/ 229 h 229"/>
                    <a:gd name="T2" fmla="*/ 1 w 134"/>
                    <a:gd name="T3" fmla="*/ 229 h 229"/>
                    <a:gd name="T4" fmla="*/ 0 w 134"/>
                    <a:gd name="T5" fmla="*/ 227 h 229"/>
                    <a:gd name="T6" fmla="*/ 0 w 134"/>
                    <a:gd name="T7" fmla="*/ 77 h 229"/>
                    <a:gd name="T8" fmla="*/ 1 w 134"/>
                    <a:gd name="T9" fmla="*/ 75 h 229"/>
                    <a:gd name="T10" fmla="*/ 131 w 134"/>
                    <a:gd name="T11" fmla="*/ 0 h 229"/>
                    <a:gd name="T12" fmla="*/ 133 w 134"/>
                    <a:gd name="T13" fmla="*/ 0 h 229"/>
                    <a:gd name="T14" fmla="*/ 134 w 134"/>
                    <a:gd name="T15" fmla="*/ 2 h 229"/>
                    <a:gd name="T16" fmla="*/ 134 w 134"/>
                    <a:gd name="T17" fmla="*/ 152 h 229"/>
                    <a:gd name="T18" fmla="*/ 133 w 134"/>
                    <a:gd name="T19" fmla="*/ 154 h 229"/>
                    <a:gd name="T20" fmla="*/ 3 w 134"/>
                    <a:gd name="T21" fmla="*/ 229 h 229"/>
                    <a:gd name="T22" fmla="*/ 2 w 134"/>
                    <a:gd name="T23" fmla="*/ 229 h 229"/>
                    <a:gd name="T24" fmla="*/ 4 w 134"/>
                    <a:gd name="T25" fmla="*/ 78 h 229"/>
                    <a:gd name="T26" fmla="*/ 4 w 134"/>
                    <a:gd name="T27" fmla="*/ 223 h 229"/>
                    <a:gd name="T28" fmla="*/ 130 w 134"/>
                    <a:gd name="T29" fmla="*/ 151 h 229"/>
                    <a:gd name="T30" fmla="*/ 130 w 134"/>
                    <a:gd name="T31" fmla="*/ 6 h 229"/>
                    <a:gd name="T32" fmla="*/ 4 w 134"/>
                    <a:gd name="T33" fmla="*/ 78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4" h="229">
                      <a:moveTo>
                        <a:pt x="2" y="229"/>
                      </a:moveTo>
                      <a:cubicBezTo>
                        <a:pt x="2" y="229"/>
                        <a:pt x="1" y="229"/>
                        <a:pt x="1" y="229"/>
                      </a:cubicBezTo>
                      <a:cubicBezTo>
                        <a:pt x="1" y="228"/>
                        <a:pt x="0" y="228"/>
                        <a:pt x="0" y="227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6"/>
                        <a:pt x="1" y="76"/>
                        <a:pt x="1" y="75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2" y="0"/>
                        <a:pt x="133" y="0"/>
                      </a:cubicBezTo>
                      <a:cubicBezTo>
                        <a:pt x="134" y="1"/>
                        <a:pt x="134" y="1"/>
                        <a:pt x="134" y="2"/>
                      </a:cubicBezTo>
                      <a:cubicBezTo>
                        <a:pt x="134" y="152"/>
                        <a:pt x="134" y="152"/>
                        <a:pt x="134" y="152"/>
                      </a:cubicBezTo>
                      <a:cubicBezTo>
                        <a:pt x="134" y="153"/>
                        <a:pt x="134" y="153"/>
                        <a:pt x="133" y="154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29"/>
                        <a:pt x="3" y="229"/>
                        <a:pt x="2" y="229"/>
                      </a:cubicBezTo>
                      <a:close/>
                      <a:moveTo>
                        <a:pt x="4" y="78"/>
                      </a:moveTo>
                      <a:cubicBezTo>
                        <a:pt x="4" y="223"/>
                        <a:pt x="4" y="223"/>
                        <a:pt x="4" y="223"/>
                      </a:cubicBezTo>
                      <a:cubicBezTo>
                        <a:pt x="130" y="151"/>
                        <a:pt x="130" y="151"/>
                        <a:pt x="130" y="151"/>
                      </a:cubicBezTo>
                      <a:cubicBezTo>
                        <a:pt x="130" y="6"/>
                        <a:pt x="130" y="6"/>
                        <a:pt x="130" y="6"/>
                      </a:cubicBezTo>
                      <a:lnTo>
                        <a:pt x="4" y="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8" name="Freeform 740">
                  <a:extLst>
                    <a:ext uri="{FF2B5EF4-FFF2-40B4-BE49-F238E27FC236}">
                      <a16:creationId xmlns:a16="http://schemas.microsoft.com/office/drawing/2014/main" id="{46A577B3-91E5-4265-A13B-B9C9D306254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71" y="454"/>
                  <a:ext cx="626" cy="370"/>
                </a:xfrm>
                <a:custGeom>
                  <a:avLst/>
                  <a:gdLst>
                    <a:gd name="T0" fmla="*/ 131 w 265"/>
                    <a:gd name="T1" fmla="*/ 157 h 157"/>
                    <a:gd name="T2" fmla="*/ 130 w 265"/>
                    <a:gd name="T3" fmla="*/ 157 h 157"/>
                    <a:gd name="T4" fmla="*/ 1 w 265"/>
                    <a:gd name="T5" fmla="*/ 82 h 157"/>
                    <a:gd name="T6" fmla="*/ 0 w 265"/>
                    <a:gd name="T7" fmla="*/ 81 h 157"/>
                    <a:gd name="T8" fmla="*/ 1 w 265"/>
                    <a:gd name="T9" fmla="*/ 79 h 157"/>
                    <a:gd name="T10" fmla="*/ 115 w 265"/>
                    <a:gd name="T11" fmla="*/ 14 h 157"/>
                    <a:gd name="T12" fmla="*/ 115 w 265"/>
                    <a:gd name="T13" fmla="*/ 11 h 157"/>
                    <a:gd name="T14" fmla="*/ 116 w 265"/>
                    <a:gd name="T15" fmla="*/ 9 h 157"/>
                    <a:gd name="T16" fmla="*/ 130 w 265"/>
                    <a:gd name="T17" fmla="*/ 1 h 157"/>
                    <a:gd name="T18" fmla="*/ 132 w 265"/>
                    <a:gd name="T19" fmla="*/ 1 h 157"/>
                    <a:gd name="T20" fmla="*/ 264 w 265"/>
                    <a:gd name="T21" fmla="*/ 77 h 157"/>
                    <a:gd name="T22" fmla="*/ 265 w 265"/>
                    <a:gd name="T23" fmla="*/ 79 h 157"/>
                    <a:gd name="T24" fmla="*/ 264 w 265"/>
                    <a:gd name="T25" fmla="*/ 80 h 157"/>
                    <a:gd name="T26" fmla="*/ 132 w 265"/>
                    <a:gd name="T27" fmla="*/ 157 h 157"/>
                    <a:gd name="T28" fmla="*/ 131 w 265"/>
                    <a:gd name="T29" fmla="*/ 157 h 157"/>
                    <a:gd name="T30" fmla="*/ 6 w 265"/>
                    <a:gd name="T31" fmla="*/ 81 h 157"/>
                    <a:gd name="T32" fmla="*/ 131 w 265"/>
                    <a:gd name="T33" fmla="*/ 153 h 157"/>
                    <a:gd name="T34" fmla="*/ 259 w 265"/>
                    <a:gd name="T35" fmla="*/ 79 h 157"/>
                    <a:gd name="T36" fmla="*/ 131 w 265"/>
                    <a:gd name="T37" fmla="*/ 5 h 157"/>
                    <a:gd name="T38" fmla="*/ 119 w 265"/>
                    <a:gd name="T39" fmla="*/ 12 h 157"/>
                    <a:gd name="T40" fmla="*/ 119 w 265"/>
                    <a:gd name="T41" fmla="*/ 15 h 157"/>
                    <a:gd name="T42" fmla="*/ 118 w 265"/>
                    <a:gd name="T43" fmla="*/ 16 h 157"/>
                    <a:gd name="T44" fmla="*/ 6 w 265"/>
                    <a:gd name="T45" fmla="*/ 81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65" h="157">
                      <a:moveTo>
                        <a:pt x="131" y="157"/>
                      </a:moveTo>
                      <a:cubicBezTo>
                        <a:pt x="131" y="157"/>
                        <a:pt x="130" y="157"/>
                        <a:pt x="130" y="157"/>
                      </a:cubicBezTo>
                      <a:cubicBezTo>
                        <a:pt x="1" y="82"/>
                        <a:pt x="1" y="82"/>
                        <a:pt x="1" y="82"/>
                      </a:cubicBezTo>
                      <a:cubicBezTo>
                        <a:pt x="1" y="82"/>
                        <a:pt x="0" y="81"/>
                        <a:pt x="0" y="81"/>
                      </a:cubicBezTo>
                      <a:cubicBezTo>
                        <a:pt x="0" y="80"/>
                        <a:pt x="1" y="79"/>
                        <a:pt x="1" y="79"/>
                      </a:cubicBezTo>
                      <a:cubicBezTo>
                        <a:pt x="115" y="14"/>
                        <a:pt x="115" y="14"/>
                        <a:pt x="115" y="14"/>
                      </a:cubicBezTo>
                      <a:cubicBezTo>
                        <a:pt x="115" y="11"/>
                        <a:pt x="115" y="11"/>
                        <a:pt x="115" y="11"/>
                      </a:cubicBezTo>
                      <a:cubicBezTo>
                        <a:pt x="115" y="10"/>
                        <a:pt x="115" y="9"/>
                        <a:pt x="116" y="9"/>
                      </a:cubicBezTo>
                      <a:cubicBezTo>
                        <a:pt x="130" y="1"/>
                        <a:pt x="130" y="1"/>
                        <a:pt x="130" y="1"/>
                      </a:cubicBezTo>
                      <a:cubicBezTo>
                        <a:pt x="131" y="0"/>
                        <a:pt x="132" y="0"/>
                        <a:pt x="132" y="1"/>
                      </a:cubicBezTo>
                      <a:cubicBezTo>
                        <a:pt x="264" y="77"/>
                        <a:pt x="264" y="77"/>
                        <a:pt x="264" y="77"/>
                      </a:cubicBezTo>
                      <a:cubicBezTo>
                        <a:pt x="265" y="77"/>
                        <a:pt x="265" y="78"/>
                        <a:pt x="265" y="79"/>
                      </a:cubicBezTo>
                      <a:cubicBezTo>
                        <a:pt x="265" y="79"/>
                        <a:pt x="265" y="80"/>
                        <a:pt x="264" y="80"/>
                      </a:cubicBezTo>
                      <a:cubicBezTo>
                        <a:pt x="132" y="157"/>
                        <a:pt x="132" y="157"/>
                        <a:pt x="132" y="157"/>
                      </a:cubicBezTo>
                      <a:cubicBezTo>
                        <a:pt x="132" y="157"/>
                        <a:pt x="131" y="157"/>
                        <a:pt x="131" y="157"/>
                      </a:cubicBezTo>
                      <a:close/>
                      <a:moveTo>
                        <a:pt x="6" y="81"/>
                      </a:moveTo>
                      <a:cubicBezTo>
                        <a:pt x="131" y="153"/>
                        <a:pt x="131" y="153"/>
                        <a:pt x="131" y="153"/>
                      </a:cubicBezTo>
                      <a:cubicBezTo>
                        <a:pt x="259" y="79"/>
                        <a:pt x="259" y="79"/>
                        <a:pt x="259" y="79"/>
                      </a:cubicBezTo>
                      <a:cubicBezTo>
                        <a:pt x="131" y="5"/>
                        <a:pt x="131" y="5"/>
                        <a:pt x="131" y="5"/>
                      </a:cubicBezTo>
                      <a:cubicBezTo>
                        <a:pt x="119" y="12"/>
                        <a:pt x="119" y="12"/>
                        <a:pt x="119" y="12"/>
                      </a:cubicBezTo>
                      <a:cubicBezTo>
                        <a:pt x="119" y="15"/>
                        <a:pt x="119" y="15"/>
                        <a:pt x="119" y="15"/>
                      </a:cubicBezTo>
                      <a:cubicBezTo>
                        <a:pt x="119" y="15"/>
                        <a:pt x="118" y="16"/>
                        <a:pt x="118" y="16"/>
                      </a:cubicBezTo>
                      <a:lnTo>
                        <a:pt x="6" y="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9" name="Freeform 741">
                  <a:extLst>
                    <a:ext uri="{FF2B5EF4-FFF2-40B4-BE49-F238E27FC236}">
                      <a16:creationId xmlns:a16="http://schemas.microsoft.com/office/drawing/2014/main" id="{AD02906B-8F44-4835-95D1-CD69F4E3D7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128"/>
                  <a:ext cx="316" cy="541"/>
                </a:xfrm>
                <a:custGeom>
                  <a:avLst/>
                  <a:gdLst>
                    <a:gd name="T0" fmla="*/ 2 w 134"/>
                    <a:gd name="T1" fmla="*/ 229 h 229"/>
                    <a:gd name="T2" fmla="*/ 1 w 134"/>
                    <a:gd name="T3" fmla="*/ 228 h 229"/>
                    <a:gd name="T4" fmla="*/ 0 w 134"/>
                    <a:gd name="T5" fmla="*/ 227 h 229"/>
                    <a:gd name="T6" fmla="*/ 0 w 134"/>
                    <a:gd name="T7" fmla="*/ 165 h 229"/>
                    <a:gd name="T8" fmla="*/ 1 w 134"/>
                    <a:gd name="T9" fmla="*/ 163 h 229"/>
                    <a:gd name="T10" fmla="*/ 31 w 134"/>
                    <a:gd name="T11" fmla="*/ 146 h 229"/>
                    <a:gd name="T12" fmla="*/ 1 w 134"/>
                    <a:gd name="T13" fmla="*/ 128 h 229"/>
                    <a:gd name="T14" fmla="*/ 0 w 134"/>
                    <a:gd name="T15" fmla="*/ 126 h 229"/>
                    <a:gd name="T16" fmla="*/ 0 w 134"/>
                    <a:gd name="T17" fmla="*/ 77 h 229"/>
                    <a:gd name="T18" fmla="*/ 1 w 134"/>
                    <a:gd name="T19" fmla="*/ 75 h 229"/>
                    <a:gd name="T20" fmla="*/ 131 w 134"/>
                    <a:gd name="T21" fmla="*/ 0 h 229"/>
                    <a:gd name="T22" fmla="*/ 133 w 134"/>
                    <a:gd name="T23" fmla="*/ 0 h 229"/>
                    <a:gd name="T24" fmla="*/ 134 w 134"/>
                    <a:gd name="T25" fmla="*/ 2 h 229"/>
                    <a:gd name="T26" fmla="*/ 134 w 134"/>
                    <a:gd name="T27" fmla="*/ 148 h 229"/>
                    <a:gd name="T28" fmla="*/ 133 w 134"/>
                    <a:gd name="T29" fmla="*/ 150 h 229"/>
                    <a:gd name="T30" fmla="*/ 17 w 134"/>
                    <a:gd name="T31" fmla="*/ 217 h 229"/>
                    <a:gd name="T32" fmla="*/ 17 w 134"/>
                    <a:gd name="T33" fmla="*/ 217 h 229"/>
                    <a:gd name="T34" fmla="*/ 18 w 134"/>
                    <a:gd name="T35" fmla="*/ 219 h 229"/>
                    <a:gd name="T36" fmla="*/ 17 w 134"/>
                    <a:gd name="T37" fmla="*/ 220 h 229"/>
                    <a:gd name="T38" fmla="*/ 3 w 134"/>
                    <a:gd name="T39" fmla="*/ 228 h 229"/>
                    <a:gd name="T40" fmla="*/ 2 w 134"/>
                    <a:gd name="T41" fmla="*/ 229 h 229"/>
                    <a:gd name="T42" fmla="*/ 4 w 134"/>
                    <a:gd name="T43" fmla="*/ 166 h 229"/>
                    <a:gd name="T44" fmla="*/ 4 w 134"/>
                    <a:gd name="T45" fmla="*/ 223 h 229"/>
                    <a:gd name="T46" fmla="*/ 12 w 134"/>
                    <a:gd name="T47" fmla="*/ 219 h 229"/>
                    <a:gd name="T48" fmla="*/ 12 w 134"/>
                    <a:gd name="T49" fmla="*/ 218 h 229"/>
                    <a:gd name="T50" fmla="*/ 11 w 134"/>
                    <a:gd name="T51" fmla="*/ 217 h 229"/>
                    <a:gd name="T52" fmla="*/ 12 w 134"/>
                    <a:gd name="T53" fmla="*/ 215 h 229"/>
                    <a:gd name="T54" fmla="*/ 130 w 134"/>
                    <a:gd name="T55" fmla="*/ 147 h 229"/>
                    <a:gd name="T56" fmla="*/ 130 w 134"/>
                    <a:gd name="T57" fmla="*/ 5 h 229"/>
                    <a:gd name="T58" fmla="*/ 4 w 134"/>
                    <a:gd name="T59" fmla="*/ 78 h 229"/>
                    <a:gd name="T60" fmla="*/ 4 w 134"/>
                    <a:gd name="T61" fmla="*/ 125 h 229"/>
                    <a:gd name="T62" fmla="*/ 36 w 134"/>
                    <a:gd name="T63" fmla="*/ 144 h 229"/>
                    <a:gd name="T64" fmla="*/ 37 w 134"/>
                    <a:gd name="T65" fmla="*/ 146 h 229"/>
                    <a:gd name="T66" fmla="*/ 36 w 134"/>
                    <a:gd name="T67" fmla="*/ 147 h 229"/>
                    <a:gd name="T68" fmla="*/ 4 w 134"/>
                    <a:gd name="T69" fmla="*/ 166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4" h="229">
                      <a:moveTo>
                        <a:pt x="2" y="229"/>
                      </a:moveTo>
                      <a:cubicBezTo>
                        <a:pt x="2" y="229"/>
                        <a:pt x="2" y="229"/>
                        <a:pt x="1" y="228"/>
                      </a:cubicBezTo>
                      <a:cubicBezTo>
                        <a:pt x="1" y="228"/>
                        <a:pt x="0" y="227"/>
                        <a:pt x="0" y="227"/>
                      </a:cubicBezTo>
                      <a:cubicBezTo>
                        <a:pt x="0" y="165"/>
                        <a:pt x="0" y="165"/>
                        <a:pt x="0" y="165"/>
                      </a:cubicBezTo>
                      <a:cubicBezTo>
                        <a:pt x="0" y="164"/>
                        <a:pt x="1" y="163"/>
                        <a:pt x="1" y="163"/>
                      </a:cubicBezTo>
                      <a:cubicBezTo>
                        <a:pt x="31" y="146"/>
                        <a:pt x="31" y="146"/>
                        <a:pt x="31" y="146"/>
                      </a:cubicBezTo>
                      <a:cubicBezTo>
                        <a:pt x="1" y="128"/>
                        <a:pt x="1" y="128"/>
                        <a:pt x="1" y="128"/>
                      </a:cubicBezTo>
                      <a:cubicBezTo>
                        <a:pt x="1" y="128"/>
                        <a:pt x="0" y="127"/>
                        <a:pt x="0" y="126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6"/>
                        <a:pt x="1" y="75"/>
                        <a:pt x="1" y="75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2" y="0"/>
                        <a:pt x="133" y="0"/>
                      </a:cubicBezTo>
                      <a:cubicBezTo>
                        <a:pt x="134" y="1"/>
                        <a:pt x="134" y="1"/>
                        <a:pt x="134" y="2"/>
                      </a:cubicBezTo>
                      <a:cubicBezTo>
                        <a:pt x="134" y="148"/>
                        <a:pt x="134" y="148"/>
                        <a:pt x="134" y="148"/>
                      </a:cubicBezTo>
                      <a:cubicBezTo>
                        <a:pt x="134" y="149"/>
                        <a:pt x="134" y="149"/>
                        <a:pt x="133" y="150"/>
                      </a:cubicBezTo>
                      <a:cubicBezTo>
                        <a:pt x="17" y="217"/>
                        <a:pt x="17" y="217"/>
                        <a:pt x="17" y="217"/>
                      </a:cubicBezTo>
                      <a:cubicBezTo>
                        <a:pt x="17" y="217"/>
                        <a:pt x="17" y="217"/>
                        <a:pt x="17" y="217"/>
                      </a:cubicBezTo>
                      <a:cubicBezTo>
                        <a:pt x="18" y="217"/>
                        <a:pt x="18" y="218"/>
                        <a:pt x="18" y="219"/>
                      </a:cubicBezTo>
                      <a:cubicBezTo>
                        <a:pt x="18" y="219"/>
                        <a:pt x="18" y="220"/>
                        <a:pt x="17" y="220"/>
                      </a:cubicBezTo>
                      <a:cubicBezTo>
                        <a:pt x="3" y="228"/>
                        <a:pt x="3" y="228"/>
                        <a:pt x="3" y="228"/>
                      </a:cubicBezTo>
                      <a:cubicBezTo>
                        <a:pt x="3" y="229"/>
                        <a:pt x="3" y="229"/>
                        <a:pt x="2" y="229"/>
                      </a:cubicBezTo>
                      <a:close/>
                      <a:moveTo>
                        <a:pt x="4" y="166"/>
                      </a:moveTo>
                      <a:cubicBezTo>
                        <a:pt x="4" y="223"/>
                        <a:pt x="4" y="223"/>
                        <a:pt x="4" y="223"/>
                      </a:cubicBezTo>
                      <a:cubicBezTo>
                        <a:pt x="12" y="219"/>
                        <a:pt x="12" y="219"/>
                        <a:pt x="12" y="219"/>
                      </a:cubicBezTo>
                      <a:cubicBezTo>
                        <a:pt x="12" y="218"/>
                        <a:pt x="12" y="218"/>
                        <a:pt x="12" y="218"/>
                      </a:cubicBezTo>
                      <a:cubicBezTo>
                        <a:pt x="11" y="218"/>
                        <a:pt x="11" y="217"/>
                        <a:pt x="11" y="217"/>
                      </a:cubicBezTo>
                      <a:cubicBezTo>
                        <a:pt x="11" y="216"/>
                        <a:pt x="11" y="215"/>
                        <a:pt x="12" y="215"/>
                      </a:cubicBezTo>
                      <a:cubicBezTo>
                        <a:pt x="130" y="147"/>
                        <a:pt x="130" y="147"/>
                        <a:pt x="130" y="147"/>
                      </a:cubicBezTo>
                      <a:cubicBezTo>
                        <a:pt x="130" y="5"/>
                        <a:pt x="130" y="5"/>
                        <a:pt x="130" y="5"/>
                      </a:cubicBez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4" y="125"/>
                        <a:pt x="4" y="125"/>
                        <a:pt x="4" y="125"/>
                      </a:cubicBezTo>
                      <a:cubicBezTo>
                        <a:pt x="36" y="144"/>
                        <a:pt x="36" y="144"/>
                        <a:pt x="36" y="144"/>
                      </a:cubicBezTo>
                      <a:cubicBezTo>
                        <a:pt x="37" y="144"/>
                        <a:pt x="37" y="145"/>
                        <a:pt x="37" y="146"/>
                      </a:cubicBezTo>
                      <a:cubicBezTo>
                        <a:pt x="37" y="146"/>
                        <a:pt x="37" y="147"/>
                        <a:pt x="36" y="147"/>
                      </a:cubicBezTo>
                      <a:lnTo>
                        <a:pt x="4" y="1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0" name="Freeform 742">
                  <a:extLst>
                    <a:ext uri="{FF2B5EF4-FFF2-40B4-BE49-F238E27FC236}">
                      <a16:creationId xmlns:a16="http://schemas.microsoft.com/office/drawing/2014/main" id="{BCCE18CC-3D00-4CF6-9952-FBCD8B4C93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328"/>
                  <a:ext cx="66" cy="76"/>
                </a:xfrm>
                <a:custGeom>
                  <a:avLst/>
                  <a:gdLst>
                    <a:gd name="T0" fmla="*/ 2 w 28"/>
                    <a:gd name="T1" fmla="*/ 32 h 32"/>
                    <a:gd name="T2" fmla="*/ 1 w 28"/>
                    <a:gd name="T3" fmla="*/ 32 h 32"/>
                    <a:gd name="T4" fmla="*/ 0 w 28"/>
                    <a:gd name="T5" fmla="*/ 30 h 32"/>
                    <a:gd name="T6" fmla="*/ 0 w 28"/>
                    <a:gd name="T7" fmla="*/ 2 h 32"/>
                    <a:gd name="T8" fmla="*/ 1 w 28"/>
                    <a:gd name="T9" fmla="*/ 0 h 32"/>
                    <a:gd name="T10" fmla="*/ 3 w 28"/>
                    <a:gd name="T11" fmla="*/ 0 h 32"/>
                    <a:gd name="T12" fmla="*/ 27 w 28"/>
                    <a:gd name="T13" fmla="*/ 14 h 32"/>
                    <a:gd name="T14" fmla="*/ 28 w 28"/>
                    <a:gd name="T15" fmla="*/ 16 h 32"/>
                    <a:gd name="T16" fmla="*/ 27 w 28"/>
                    <a:gd name="T17" fmla="*/ 18 h 32"/>
                    <a:gd name="T18" fmla="*/ 3 w 28"/>
                    <a:gd name="T19" fmla="*/ 32 h 32"/>
                    <a:gd name="T20" fmla="*/ 2 w 28"/>
                    <a:gd name="T21" fmla="*/ 32 h 32"/>
                    <a:gd name="T22" fmla="*/ 4 w 28"/>
                    <a:gd name="T23" fmla="*/ 5 h 32"/>
                    <a:gd name="T24" fmla="*/ 4 w 28"/>
                    <a:gd name="T25" fmla="*/ 27 h 32"/>
                    <a:gd name="T26" fmla="*/ 22 w 28"/>
                    <a:gd name="T27" fmla="*/ 16 h 32"/>
                    <a:gd name="T28" fmla="*/ 4 w 28"/>
                    <a:gd name="T29" fmla="*/ 5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" h="32">
                      <a:moveTo>
                        <a:pt x="2" y="32"/>
                      </a:move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8" y="15"/>
                        <a:pt x="28" y="15"/>
                        <a:pt x="28" y="16"/>
                      </a:cubicBezTo>
                      <a:cubicBezTo>
                        <a:pt x="28" y="17"/>
                        <a:pt x="28" y="17"/>
                        <a:pt x="27" y="18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lose/>
                      <a:moveTo>
                        <a:pt x="4" y="5"/>
                      </a:move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1" name="Freeform 743">
                  <a:extLst>
                    <a:ext uri="{FF2B5EF4-FFF2-40B4-BE49-F238E27FC236}">
                      <a16:creationId xmlns:a16="http://schemas.microsoft.com/office/drawing/2014/main" id="{0A1B31F4-29D8-459B-A35A-9B747CFA4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64" y="477"/>
                  <a:ext cx="283" cy="170"/>
                </a:xfrm>
                <a:custGeom>
                  <a:avLst/>
                  <a:gdLst>
                    <a:gd name="T0" fmla="*/ 4 w 120"/>
                    <a:gd name="T1" fmla="*/ 72 h 72"/>
                    <a:gd name="T2" fmla="*/ 3 w 120"/>
                    <a:gd name="T3" fmla="*/ 71 h 72"/>
                    <a:gd name="T4" fmla="*/ 1 w 120"/>
                    <a:gd name="T5" fmla="*/ 70 h 72"/>
                    <a:gd name="T6" fmla="*/ 0 w 120"/>
                    <a:gd name="T7" fmla="*/ 69 h 72"/>
                    <a:gd name="T8" fmla="*/ 1 w 120"/>
                    <a:gd name="T9" fmla="*/ 67 h 72"/>
                    <a:gd name="T10" fmla="*/ 117 w 120"/>
                    <a:gd name="T11" fmla="*/ 0 h 72"/>
                    <a:gd name="T12" fmla="*/ 119 w 120"/>
                    <a:gd name="T13" fmla="*/ 0 h 72"/>
                    <a:gd name="T14" fmla="*/ 120 w 120"/>
                    <a:gd name="T15" fmla="*/ 2 h 72"/>
                    <a:gd name="T16" fmla="*/ 120 w 120"/>
                    <a:gd name="T17" fmla="*/ 4 h 72"/>
                    <a:gd name="T18" fmla="*/ 119 w 120"/>
                    <a:gd name="T19" fmla="*/ 5 h 72"/>
                    <a:gd name="T20" fmla="*/ 5 w 120"/>
                    <a:gd name="T21" fmla="*/ 71 h 72"/>
                    <a:gd name="T22" fmla="*/ 4 w 120"/>
                    <a:gd name="T23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0" h="72">
                      <a:moveTo>
                        <a:pt x="4" y="72"/>
                      </a:moveTo>
                      <a:cubicBezTo>
                        <a:pt x="3" y="72"/>
                        <a:pt x="3" y="72"/>
                        <a:pt x="3" y="71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1" y="70"/>
                        <a:pt x="0" y="69"/>
                        <a:pt x="0" y="69"/>
                      </a:cubicBezTo>
                      <a:cubicBezTo>
                        <a:pt x="0" y="68"/>
                        <a:pt x="1" y="67"/>
                        <a:pt x="1" y="67"/>
                      </a:cubicBezTo>
                      <a:cubicBezTo>
                        <a:pt x="117" y="0"/>
                        <a:pt x="117" y="0"/>
                        <a:pt x="117" y="0"/>
                      </a:cubicBezTo>
                      <a:cubicBezTo>
                        <a:pt x="118" y="0"/>
                        <a:pt x="118" y="0"/>
                        <a:pt x="119" y="0"/>
                      </a:cubicBezTo>
                      <a:cubicBezTo>
                        <a:pt x="120" y="0"/>
                        <a:pt x="120" y="1"/>
                        <a:pt x="120" y="2"/>
                      </a:cubicBezTo>
                      <a:cubicBezTo>
                        <a:pt x="120" y="4"/>
                        <a:pt x="120" y="4"/>
                        <a:pt x="120" y="4"/>
                      </a:cubicBezTo>
                      <a:cubicBezTo>
                        <a:pt x="120" y="4"/>
                        <a:pt x="120" y="5"/>
                        <a:pt x="119" y="5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2"/>
                        <a:pt x="4" y="72"/>
                        <a:pt x="4" y="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2" name="Freeform 744">
                  <a:extLst>
                    <a:ext uri="{FF2B5EF4-FFF2-40B4-BE49-F238E27FC236}">
                      <a16:creationId xmlns:a16="http://schemas.microsoft.com/office/drawing/2014/main" id="{89986DF1-19A9-42F9-8593-5F94DC11F3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6" y="3508"/>
                  <a:ext cx="22" cy="24"/>
                </a:xfrm>
                <a:custGeom>
                  <a:avLst/>
                  <a:gdLst>
                    <a:gd name="T0" fmla="*/ 2 w 9"/>
                    <a:gd name="T1" fmla="*/ 10 h 10"/>
                    <a:gd name="T2" fmla="*/ 1 w 9"/>
                    <a:gd name="T3" fmla="*/ 9 h 10"/>
                    <a:gd name="T4" fmla="*/ 0 w 9"/>
                    <a:gd name="T5" fmla="*/ 8 h 10"/>
                    <a:gd name="T6" fmla="*/ 0 w 9"/>
                    <a:gd name="T7" fmla="*/ 2 h 10"/>
                    <a:gd name="T8" fmla="*/ 1 w 9"/>
                    <a:gd name="T9" fmla="*/ 0 h 10"/>
                    <a:gd name="T10" fmla="*/ 3 w 9"/>
                    <a:gd name="T11" fmla="*/ 0 h 10"/>
                    <a:gd name="T12" fmla="*/ 8 w 9"/>
                    <a:gd name="T13" fmla="*/ 3 h 10"/>
                    <a:gd name="T14" fmla="*/ 9 w 9"/>
                    <a:gd name="T15" fmla="*/ 5 h 10"/>
                    <a:gd name="T16" fmla="*/ 8 w 9"/>
                    <a:gd name="T17" fmla="*/ 7 h 10"/>
                    <a:gd name="T18" fmla="*/ 3 w 9"/>
                    <a:gd name="T19" fmla="*/ 9 h 10"/>
                    <a:gd name="T20" fmla="*/ 2 w 9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2" y="10"/>
                        <a:pt x="1" y="10"/>
                        <a:pt x="1" y="9"/>
                      </a:cubicBezTo>
                      <a:cubicBezTo>
                        <a:pt x="0" y="9"/>
                        <a:pt x="0" y="8"/>
                        <a:pt x="0" y="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4"/>
                        <a:pt x="9" y="4"/>
                        <a:pt x="9" y="5"/>
                      </a:cubicBezTo>
                      <a:cubicBezTo>
                        <a:pt x="9" y="6"/>
                        <a:pt x="8" y="6"/>
                        <a:pt x="8" y="7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3" name="Freeform 745">
                  <a:extLst>
                    <a:ext uri="{FF2B5EF4-FFF2-40B4-BE49-F238E27FC236}">
                      <a16:creationId xmlns:a16="http://schemas.microsoft.com/office/drawing/2014/main" id="{55D80B2B-5C80-4BFC-8E05-76B4EB187F1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27" y="3586"/>
                  <a:ext cx="52" cy="62"/>
                </a:xfrm>
                <a:custGeom>
                  <a:avLst/>
                  <a:gdLst>
                    <a:gd name="T0" fmla="*/ 2 w 22"/>
                    <a:gd name="T1" fmla="*/ 26 h 26"/>
                    <a:gd name="T2" fmla="*/ 1 w 22"/>
                    <a:gd name="T3" fmla="*/ 26 h 26"/>
                    <a:gd name="T4" fmla="*/ 0 w 22"/>
                    <a:gd name="T5" fmla="*/ 24 h 26"/>
                    <a:gd name="T6" fmla="*/ 0 w 22"/>
                    <a:gd name="T7" fmla="*/ 2 h 26"/>
                    <a:gd name="T8" fmla="*/ 1 w 22"/>
                    <a:gd name="T9" fmla="*/ 1 h 26"/>
                    <a:gd name="T10" fmla="*/ 3 w 22"/>
                    <a:gd name="T11" fmla="*/ 1 h 26"/>
                    <a:gd name="T12" fmla="*/ 21 w 22"/>
                    <a:gd name="T13" fmla="*/ 11 h 26"/>
                    <a:gd name="T14" fmla="*/ 22 w 22"/>
                    <a:gd name="T15" fmla="*/ 13 h 26"/>
                    <a:gd name="T16" fmla="*/ 21 w 22"/>
                    <a:gd name="T17" fmla="*/ 15 h 26"/>
                    <a:gd name="T18" fmla="*/ 3 w 22"/>
                    <a:gd name="T19" fmla="*/ 26 h 26"/>
                    <a:gd name="T20" fmla="*/ 2 w 22"/>
                    <a:gd name="T21" fmla="*/ 26 h 26"/>
                    <a:gd name="T22" fmla="*/ 4 w 22"/>
                    <a:gd name="T23" fmla="*/ 6 h 26"/>
                    <a:gd name="T24" fmla="*/ 4 w 22"/>
                    <a:gd name="T25" fmla="*/ 20 h 26"/>
                    <a:gd name="T26" fmla="*/ 16 w 22"/>
                    <a:gd name="T27" fmla="*/ 13 h 26"/>
                    <a:gd name="T28" fmla="*/ 4 w 22"/>
                    <a:gd name="T29" fmla="*/ 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" h="26">
                      <a:moveTo>
                        <a:pt x="2" y="26"/>
                      </a:move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5"/>
                        <a:pt x="0" y="25"/>
                        <a:pt x="0" y="2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22" y="12"/>
                        <a:pt x="22" y="12"/>
                        <a:pt x="22" y="13"/>
                      </a:cubicBezTo>
                      <a:cubicBezTo>
                        <a:pt x="22" y="14"/>
                        <a:pt x="22" y="15"/>
                        <a:pt x="21" y="15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2" y="26"/>
                        <a:pt x="2" y="26"/>
                        <a:pt x="2" y="26"/>
                      </a:cubicBezTo>
                      <a:close/>
                      <a:moveTo>
                        <a:pt x="4" y="6"/>
                      </a:move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16" y="13"/>
                        <a:pt x="16" y="13"/>
                        <a:pt x="16" y="13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4" name="Freeform 746">
                  <a:extLst>
                    <a:ext uri="{FF2B5EF4-FFF2-40B4-BE49-F238E27FC236}">
                      <a16:creationId xmlns:a16="http://schemas.microsoft.com/office/drawing/2014/main" id="{24865AE0-FAFA-4EEA-B5A3-4CC4F8027C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79" y="3593"/>
                  <a:ext cx="41" cy="48"/>
                </a:xfrm>
                <a:custGeom>
                  <a:avLst/>
                  <a:gdLst>
                    <a:gd name="T0" fmla="*/ 15 w 17"/>
                    <a:gd name="T1" fmla="*/ 20 h 20"/>
                    <a:gd name="T2" fmla="*/ 14 w 17"/>
                    <a:gd name="T3" fmla="*/ 20 h 20"/>
                    <a:gd name="T4" fmla="*/ 1 w 17"/>
                    <a:gd name="T5" fmla="*/ 12 h 20"/>
                    <a:gd name="T6" fmla="*/ 0 w 17"/>
                    <a:gd name="T7" fmla="*/ 10 h 20"/>
                    <a:gd name="T8" fmla="*/ 1 w 17"/>
                    <a:gd name="T9" fmla="*/ 8 h 20"/>
                    <a:gd name="T10" fmla="*/ 14 w 17"/>
                    <a:gd name="T11" fmla="*/ 1 h 20"/>
                    <a:gd name="T12" fmla="*/ 16 w 17"/>
                    <a:gd name="T13" fmla="*/ 1 h 20"/>
                    <a:gd name="T14" fmla="*/ 17 w 17"/>
                    <a:gd name="T15" fmla="*/ 2 h 20"/>
                    <a:gd name="T16" fmla="*/ 17 w 17"/>
                    <a:gd name="T17" fmla="*/ 18 h 20"/>
                    <a:gd name="T18" fmla="*/ 16 w 17"/>
                    <a:gd name="T19" fmla="*/ 20 h 20"/>
                    <a:gd name="T20" fmla="*/ 15 w 17"/>
                    <a:gd name="T21" fmla="*/ 20 h 20"/>
                    <a:gd name="T22" fmla="*/ 6 w 17"/>
                    <a:gd name="T23" fmla="*/ 10 h 20"/>
                    <a:gd name="T24" fmla="*/ 13 w 17"/>
                    <a:gd name="T25" fmla="*/ 14 h 20"/>
                    <a:gd name="T26" fmla="*/ 13 w 17"/>
                    <a:gd name="T27" fmla="*/ 6 h 20"/>
                    <a:gd name="T28" fmla="*/ 6 w 17"/>
                    <a:gd name="T29" fmla="*/ 1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20">
                      <a:moveTo>
                        <a:pt x="15" y="20"/>
                      </a:moveTo>
                      <a:cubicBezTo>
                        <a:pt x="15" y="20"/>
                        <a:pt x="14" y="20"/>
                        <a:pt x="14" y="20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5" y="0"/>
                        <a:pt x="16" y="1"/>
                      </a:cubicBezTo>
                      <a:cubicBezTo>
                        <a:pt x="17" y="1"/>
                        <a:pt x="17" y="2"/>
                        <a:pt x="17" y="2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9"/>
                        <a:pt x="17" y="19"/>
                        <a:pt x="16" y="20"/>
                      </a:cubicBezTo>
                      <a:cubicBezTo>
                        <a:pt x="16" y="20"/>
                        <a:pt x="15" y="20"/>
                        <a:pt x="15" y="20"/>
                      </a:cubicBezTo>
                      <a:close/>
                      <a:moveTo>
                        <a:pt x="6" y="10"/>
                      </a:moveTo>
                      <a:cubicBezTo>
                        <a:pt x="13" y="14"/>
                        <a:pt x="13" y="14"/>
                        <a:pt x="13" y="14"/>
                      </a:cubicBezTo>
                      <a:cubicBezTo>
                        <a:pt x="13" y="6"/>
                        <a:pt x="13" y="6"/>
                        <a:pt x="13" y="6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5" name="Freeform 747">
                  <a:extLst>
                    <a:ext uri="{FF2B5EF4-FFF2-40B4-BE49-F238E27FC236}">
                      <a16:creationId xmlns:a16="http://schemas.microsoft.com/office/drawing/2014/main" id="{5D781FA6-14EF-4415-BD4E-7BC9E9DF45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27" y="3532"/>
                  <a:ext cx="147" cy="217"/>
                </a:xfrm>
                <a:custGeom>
                  <a:avLst/>
                  <a:gdLst>
                    <a:gd name="T0" fmla="*/ 2 w 62"/>
                    <a:gd name="T1" fmla="*/ 92 h 92"/>
                    <a:gd name="T2" fmla="*/ 1 w 62"/>
                    <a:gd name="T3" fmla="*/ 92 h 92"/>
                    <a:gd name="T4" fmla="*/ 0 w 62"/>
                    <a:gd name="T5" fmla="*/ 90 h 92"/>
                    <a:gd name="T6" fmla="*/ 0 w 62"/>
                    <a:gd name="T7" fmla="*/ 36 h 92"/>
                    <a:gd name="T8" fmla="*/ 1 w 62"/>
                    <a:gd name="T9" fmla="*/ 34 h 92"/>
                    <a:gd name="T10" fmla="*/ 59 w 62"/>
                    <a:gd name="T11" fmla="*/ 1 h 92"/>
                    <a:gd name="T12" fmla="*/ 61 w 62"/>
                    <a:gd name="T13" fmla="*/ 1 h 92"/>
                    <a:gd name="T14" fmla="*/ 62 w 62"/>
                    <a:gd name="T15" fmla="*/ 2 h 92"/>
                    <a:gd name="T16" fmla="*/ 62 w 62"/>
                    <a:gd name="T17" fmla="*/ 9 h 92"/>
                    <a:gd name="T18" fmla="*/ 62 w 62"/>
                    <a:gd name="T19" fmla="*/ 10 h 92"/>
                    <a:gd name="T20" fmla="*/ 62 w 62"/>
                    <a:gd name="T21" fmla="*/ 10 h 92"/>
                    <a:gd name="T22" fmla="*/ 62 w 62"/>
                    <a:gd name="T23" fmla="*/ 56 h 92"/>
                    <a:gd name="T24" fmla="*/ 61 w 62"/>
                    <a:gd name="T25" fmla="*/ 58 h 92"/>
                    <a:gd name="T26" fmla="*/ 3 w 62"/>
                    <a:gd name="T27" fmla="*/ 92 h 92"/>
                    <a:gd name="T28" fmla="*/ 2 w 62"/>
                    <a:gd name="T29" fmla="*/ 92 h 92"/>
                    <a:gd name="T30" fmla="*/ 4 w 62"/>
                    <a:gd name="T31" fmla="*/ 37 h 92"/>
                    <a:gd name="T32" fmla="*/ 4 w 62"/>
                    <a:gd name="T33" fmla="*/ 87 h 92"/>
                    <a:gd name="T34" fmla="*/ 58 w 62"/>
                    <a:gd name="T35" fmla="*/ 55 h 92"/>
                    <a:gd name="T36" fmla="*/ 58 w 62"/>
                    <a:gd name="T37" fmla="*/ 12 h 92"/>
                    <a:gd name="T38" fmla="*/ 57 w 62"/>
                    <a:gd name="T39" fmla="*/ 10 h 92"/>
                    <a:gd name="T40" fmla="*/ 58 w 62"/>
                    <a:gd name="T41" fmla="*/ 8 h 92"/>
                    <a:gd name="T42" fmla="*/ 58 w 62"/>
                    <a:gd name="T43" fmla="*/ 6 h 92"/>
                    <a:gd name="T44" fmla="*/ 4 w 62"/>
                    <a:gd name="T45" fmla="*/ 37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" h="92">
                      <a:moveTo>
                        <a:pt x="2" y="92"/>
                      </a:move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2"/>
                        <a:pt x="0" y="91"/>
                        <a:pt x="0" y="90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5"/>
                        <a:pt x="1" y="34"/>
                      </a:cubicBezTo>
                      <a:cubicBezTo>
                        <a:pt x="59" y="1"/>
                        <a:pt x="59" y="1"/>
                        <a:pt x="59" y="1"/>
                      </a:cubicBezTo>
                      <a:cubicBezTo>
                        <a:pt x="60" y="0"/>
                        <a:pt x="61" y="0"/>
                        <a:pt x="61" y="1"/>
                      </a:cubicBezTo>
                      <a:cubicBezTo>
                        <a:pt x="62" y="1"/>
                        <a:pt x="62" y="2"/>
                        <a:pt x="62" y="2"/>
                      </a:cubicBezTo>
                      <a:cubicBezTo>
                        <a:pt x="62" y="9"/>
                        <a:pt x="62" y="9"/>
                        <a:pt x="62" y="9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56"/>
                        <a:pt x="62" y="56"/>
                        <a:pt x="62" y="56"/>
                      </a:cubicBezTo>
                      <a:cubicBezTo>
                        <a:pt x="62" y="57"/>
                        <a:pt x="62" y="58"/>
                        <a:pt x="61" y="58"/>
                      </a:cubicBezTo>
                      <a:cubicBezTo>
                        <a:pt x="3" y="92"/>
                        <a:pt x="3" y="92"/>
                        <a:pt x="3" y="92"/>
                      </a:cubicBezTo>
                      <a:cubicBezTo>
                        <a:pt x="2" y="92"/>
                        <a:pt x="2" y="92"/>
                        <a:pt x="2" y="92"/>
                      </a:cubicBezTo>
                      <a:close/>
                      <a:moveTo>
                        <a:pt x="4" y="37"/>
                      </a:moveTo>
                      <a:cubicBezTo>
                        <a:pt x="4" y="87"/>
                        <a:pt x="4" y="87"/>
                        <a:pt x="4" y="87"/>
                      </a:cubicBezTo>
                      <a:cubicBezTo>
                        <a:pt x="58" y="55"/>
                        <a:pt x="58" y="55"/>
                        <a:pt x="58" y="55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1"/>
                        <a:pt x="57" y="11"/>
                        <a:pt x="57" y="10"/>
                      </a:cubicBezTo>
                      <a:cubicBezTo>
                        <a:pt x="57" y="9"/>
                        <a:pt x="58" y="9"/>
                        <a:pt x="58" y="8"/>
                      </a:cubicBezTo>
                      <a:cubicBezTo>
                        <a:pt x="58" y="6"/>
                        <a:pt x="58" y="6"/>
                        <a:pt x="58" y="6"/>
                      </a:cubicBezTo>
                      <a:lnTo>
                        <a:pt x="4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6" name="Freeform 748">
                  <a:extLst>
                    <a:ext uri="{FF2B5EF4-FFF2-40B4-BE49-F238E27FC236}">
                      <a16:creationId xmlns:a16="http://schemas.microsoft.com/office/drawing/2014/main" id="{BFBA1949-69A7-4F59-9CFD-1C9A424A35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66" y="3579"/>
                  <a:ext cx="66" cy="69"/>
                </a:xfrm>
                <a:custGeom>
                  <a:avLst/>
                  <a:gdLst>
                    <a:gd name="T0" fmla="*/ 26 w 28"/>
                    <a:gd name="T1" fmla="*/ 29 h 29"/>
                    <a:gd name="T2" fmla="*/ 25 w 28"/>
                    <a:gd name="T3" fmla="*/ 29 h 29"/>
                    <a:gd name="T4" fmla="*/ 1 w 28"/>
                    <a:gd name="T5" fmla="*/ 15 h 29"/>
                    <a:gd name="T6" fmla="*/ 0 w 28"/>
                    <a:gd name="T7" fmla="*/ 13 h 29"/>
                    <a:gd name="T8" fmla="*/ 1 w 28"/>
                    <a:gd name="T9" fmla="*/ 12 h 29"/>
                    <a:gd name="T10" fmla="*/ 20 w 28"/>
                    <a:gd name="T11" fmla="*/ 1 h 29"/>
                    <a:gd name="T12" fmla="*/ 22 w 28"/>
                    <a:gd name="T13" fmla="*/ 1 h 29"/>
                    <a:gd name="T14" fmla="*/ 27 w 28"/>
                    <a:gd name="T15" fmla="*/ 4 h 29"/>
                    <a:gd name="T16" fmla="*/ 28 w 28"/>
                    <a:gd name="T17" fmla="*/ 6 h 29"/>
                    <a:gd name="T18" fmla="*/ 28 w 28"/>
                    <a:gd name="T19" fmla="*/ 27 h 29"/>
                    <a:gd name="T20" fmla="*/ 27 w 28"/>
                    <a:gd name="T21" fmla="*/ 29 h 29"/>
                    <a:gd name="T22" fmla="*/ 26 w 28"/>
                    <a:gd name="T23" fmla="*/ 29 h 29"/>
                    <a:gd name="T24" fmla="*/ 6 w 28"/>
                    <a:gd name="T25" fmla="*/ 13 h 29"/>
                    <a:gd name="T26" fmla="*/ 24 w 28"/>
                    <a:gd name="T27" fmla="*/ 24 h 29"/>
                    <a:gd name="T28" fmla="*/ 24 w 28"/>
                    <a:gd name="T29" fmla="*/ 7 h 29"/>
                    <a:gd name="T30" fmla="*/ 21 w 28"/>
                    <a:gd name="T31" fmla="*/ 5 h 29"/>
                    <a:gd name="T32" fmla="*/ 6 w 28"/>
                    <a:gd name="T33" fmla="*/ 13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8" h="29">
                      <a:moveTo>
                        <a:pt x="26" y="29"/>
                      </a:moveTo>
                      <a:cubicBezTo>
                        <a:pt x="26" y="29"/>
                        <a:pt x="25" y="29"/>
                        <a:pt x="25" y="29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1" y="15"/>
                        <a:pt x="0" y="14"/>
                        <a:pt x="0" y="13"/>
                      </a:cubicBezTo>
                      <a:cubicBezTo>
                        <a:pt x="0" y="13"/>
                        <a:pt x="1" y="12"/>
                        <a:pt x="1" y="12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0"/>
                        <a:pt x="21" y="1"/>
                        <a:pt x="22" y="1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28" y="4"/>
                        <a:pt x="28" y="5"/>
                        <a:pt x="28" y="6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28"/>
                        <a:pt x="28" y="28"/>
                        <a:pt x="27" y="29"/>
                      </a:cubicBezTo>
                      <a:cubicBezTo>
                        <a:pt x="27" y="29"/>
                        <a:pt x="26" y="29"/>
                        <a:pt x="26" y="29"/>
                      </a:cubicBezTo>
                      <a:close/>
                      <a:moveTo>
                        <a:pt x="6" y="13"/>
                      </a:move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21" y="5"/>
                        <a:pt x="21" y="5"/>
                        <a:pt x="21" y="5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7" name="Freeform 749">
                  <a:extLst>
                    <a:ext uri="{FF2B5EF4-FFF2-40B4-BE49-F238E27FC236}">
                      <a16:creationId xmlns:a16="http://schemas.microsoft.com/office/drawing/2014/main" id="{11852507-37A1-42DD-BBD6-E1B4238536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558"/>
                  <a:ext cx="92" cy="104"/>
                </a:xfrm>
                <a:custGeom>
                  <a:avLst/>
                  <a:gdLst>
                    <a:gd name="T0" fmla="*/ 2 w 39"/>
                    <a:gd name="T1" fmla="*/ 44 h 44"/>
                    <a:gd name="T2" fmla="*/ 1 w 39"/>
                    <a:gd name="T3" fmla="*/ 44 h 44"/>
                    <a:gd name="T4" fmla="*/ 0 w 39"/>
                    <a:gd name="T5" fmla="*/ 42 h 44"/>
                    <a:gd name="T6" fmla="*/ 0 w 39"/>
                    <a:gd name="T7" fmla="*/ 2 h 44"/>
                    <a:gd name="T8" fmla="*/ 1 w 39"/>
                    <a:gd name="T9" fmla="*/ 1 h 44"/>
                    <a:gd name="T10" fmla="*/ 3 w 39"/>
                    <a:gd name="T11" fmla="*/ 1 h 44"/>
                    <a:gd name="T12" fmla="*/ 38 w 39"/>
                    <a:gd name="T13" fmla="*/ 21 h 44"/>
                    <a:gd name="T14" fmla="*/ 39 w 39"/>
                    <a:gd name="T15" fmla="*/ 22 h 44"/>
                    <a:gd name="T16" fmla="*/ 38 w 39"/>
                    <a:gd name="T17" fmla="*/ 24 h 44"/>
                    <a:gd name="T18" fmla="*/ 3 w 39"/>
                    <a:gd name="T19" fmla="*/ 44 h 44"/>
                    <a:gd name="T20" fmla="*/ 2 w 39"/>
                    <a:gd name="T21" fmla="*/ 44 h 44"/>
                    <a:gd name="T22" fmla="*/ 4 w 39"/>
                    <a:gd name="T23" fmla="*/ 6 h 44"/>
                    <a:gd name="T24" fmla="*/ 4 w 39"/>
                    <a:gd name="T25" fmla="*/ 39 h 44"/>
                    <a:gd name="T26" fmla="*/ 33 w 39"/>
                    <a:gd name="T27" fmla="*/ 22 h 44"/>
                    <a:gd name="T28" fmla="*/ 4 w 39"/>
                    <a:gd name="T29" fmla="*/ 6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44">
                      <a:moveTo>
                        <a:pt x="2" y="44"/>
                      </a:moveTo>
                      <a:cubicBezTo>
                        <a:pt x="2" y="44"/>
                        <a:pt x="1" y="44"/>
                        <a:pt x="1" y="44"/>
                      </a:cubicBezTo>
                      <a:cubicBezTo>
                        <a:pt x="0" y="44"/>
                        <a:pt x="0" y="43"/>
                        <a:pt x="0" y="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8" y="21"/>
                        <a:pt x="38" y="21"/>
                        <a:pt x="38" y="21"/>
                      </a:cubicBezTo>
                      <a:cubicBezTo>
                        <a:pt x="39" y="21"/>
                        <a:pt x="39" y="22"/>
                        <a:pt x="39" y="22"/>
                      </a:cubicBezTo>
                      <a:cubicBezTo>
                        <a:pt x="39" y="23"/>
                        <a:pt x="39" y="24"/>
                        <a:pt x="38" y="2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2" y="44"/>
                        <a:pt x="2" y="44"/>
                      </a:cubicBezTo>
                      <a:close/>
                      <a:moveTo>
                        <a:pt x="4" y="6"/>
                      </a:moveTo>
                      <a:cubicBezTo>
                        <a:pt x="4" y="39"/>
                        <a:pt x="4" y="39"/>
                        <a:pt x="4" y="39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8" name="Freeform 750">
                  <a:extLst>
                    <a:ext uri="{FF2B5EF4-FFF2-40B4-BE49-F238E27FC236}">
                      <a16:creationId xmlns:a16="http://schemas.microsoft.com/office/drawing/2014/main" id="{A6191DF4-861D-4D6D-BE4E-029ABE6B13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6" y="3504"/>
                  <a:ext cx="24" cy="18"/>
                </a:xfrm>
                <a:custGeom>
                  <a:avLst/>
                  <a:gdLst>
                    <a:gd name="T0" fmla="*/ 8 w 10"/>
                    <a:gd name="T1" fmla="*/ 8 h 8"/>
                    <a:gd name="T2" fmla="*/ 7 w 10"/>
                    <a:gd name="T3" fmla="*/ 8 h 8"/>
                    <a:gd name="T4" fmla="*/ 1 w 10"/>
                    <a:gd name="T5" fmla="*/ 4 h 8"/>
                    <a:gd name="T6" fmla="*/ 0 w 10"/>
                    <a:gd name="T7" fmla="*/ 2 h 8"/>
                    <a:gd name="T8" fmla="*/ 0 w 10"/>
                    <a:gd name="T9" fmla="*/ 2 h 8"/>
                    <a:gd name="T10" fmla="*/ 1 w 10"/>
                    <a:gd name="T11" fmla="*/ 0 h 8"/>
                    <a:gd name="T12" fmla="*/ 3 w 10"/>
                    <a:gd name="T13" fmla="*/ 0 h 8"/>
                    <a:gd name="T14" fmla="*/ 9 w 10"/>
                    <a:gd name="T15" fmla="*/ 4 h 8"/>
                    <a:gd name="T16" fmla="*/ 10 w 10"/>
                    <a:gd name="T17" fmla="*/ 5 h 8"/>
                    <a:gd name="T18" fmla="*/ 10 w 10"/>
                    <a:gd name="T19" fmla="*/ 6 h 8"/>
                    <a:gd name="T20" fmla="*/ 9 w 10"/>
                    <a:gd name="T21" fmla="*/ 8 h 8"/>
                    <a:gd name="T22" fmla="*/ 8 w 10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8">
                      <a:moveTo>
                        <a:pt x="8" y="8"/>
                      </a:moveTo>
                      <a:cubicBezTo>
                        <a:pt x="8" y="8"/>
                        <a:pt x="8" y="8"/>
                        <a:pt x="7" y="8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5"/>
                        <a:pt x="10" y="5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0" y="7"/>
                        <a:pt x="10" y="7"/>
                        <a:pt x="9" y="8"/>
                      </a:cubicBezTo>
                      <a:cubicBezTo>
                        <a:pt x="9" y="8"/>
                        <a:pt x="9" y="8"/>
                        <a:pt x="8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9" name="Freeform 751">
                  <a:extLst>
                    <a:ext uri="{FF2B5EF4-FFF2-40B4-BE49-F238E27FC236}">
                      <a16:creationId xmlns:a16="http://schemas.microsoft.com/office/drawing/2014/main" id="{1CED01EB-C98B-4776-9C90-C395AE6896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3" y="3615"/>
                  <a:ext cx="19" cy="141"/>
                </a:xfrm>
                <a:custGeom>
                  <a:avLst/>
                  <a:gdLst>
                    <a:gd name="T0" fmla="*/ 2 w 8"/>
                    <a:gd name="T1" fmla="*/ 60 h 60"/>
                    <a:gd name="T2" fmla="*/ 1 w 8"/>
                    <a:gd name="T3" fmla="*/ 60 h 60"/>
                    <a:gd name="T4" fmla="*/ 0 w 8"/>
                    <a:gd name="T5" fmla="*/ 58 h 60"/>
                    <a:gd name="T6" fmla="*/ 0 w 8"/>
                    <a:gd name="T7" fmla="*/ 4 h 60"/>
                    <a:gd name="T8" fmla="*/ 1 w 8"/>
                    <a:gd name="T9" fmla="*/ 3 h 60"/>
                    <a:gd name="T10" fmla="*/ 5 w 8"/>
                    <a:gd name="T11" fmla="*/ 0 h 60"/>
                    <a:gd name="T12" fmla="*/ 7 w 8"/>
                    <a:gd name="T13" fmla="*/ 0 h 60"/>
                    <a:gd name="T14" fmla="*/ 8 w 8"/>
                    <a:gd name="T15" fmla="*/ 2 h 60"/>
                    <a:gd name="T16" fmla="*/ 8 w 8"/>
                    <a:gd name="T17" fmla="*/ 56 h 60"/>
                    <a:gd name="T18" fmla="*/ 7 w 8"/>
                    <a:gd name="T19" fmla="*/ 58 h 60"/>
                    <a:gd name="T20" fmla="*/ 3 w 8"/>
                    <a:gd name="T21" fmla="*/ 60 h 60"/>
                    <a:gd name="T22" fmla="*/ 2 w 8"/>
                    <a:gd name="T2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60">
                      <a:moveTo>
                        <a:pt x="2" y="60"/>
                      </a:moveTo>
                      <a:cubicBezTo>
                        <a:pt x="2" y="60"/>
                        <a:pt x="1" y="60"/>
                        <a:pt x="1" y="60"/>
                      </a:cubicBezTo>
                      <a:cubicBezTo>
                        <a:pt x="0" y="60"/>
                        <a:pt x="0" y="59"/>
                        <a:pt x="0" y="58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3"/>
                        <a:pt x="1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0"/>
                        <a:pt x="6" y="0"/>
                        <a:pt x="7" y="0"/>
                      </a:cubicBezTo>
                      <a:cubicBezTo>
                        <a:pt x="8" y="1"/>
                        <a:pt x="8" y="1"/>
                        <a:pt x="8" y="2"/>
                      </a:cubicBezTo>
                      <a:cubicBezTo>
                        <a:pt x="8" y="56"/>
                        <a:pt x="8" y="56"/>
                        <a:pt x="8" y="56"/>
                      </a:cubicBezTo>
                      <a:cubicBezTo>
                        <a:pt x="8" y="57"/>
                        <a:pt x="8" y="57"/>
                        <a:pt x="7" y="58"/>
                      </a:cubicBezTo>
                      <a:cubicBezTo>
                        <a:pt x="3" y="60"/>
                        <a:pt x="3" y="60"/>
                        <a:pt x="3" y="60"/>
                      </a:cubicBezTo>
                      <a:cubicBezTo>
                        <a:pt x="3" y="60"/>
                        <a:pt x="2" y="60"/>
                        <a:pt x="2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0" name="Freeform 752">
                  <a:extLst>
                    <a:ext uri="{FF2B5EF4-FFF2-40B4-BE49-F238E27FC236}">
                      <a16:creationId xmlns:a16="http://schemas.microsoft.com/office/drawing/2014/main" id="{0D79E945-A4BC-4768-ACC2-CBCD4CA0B2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83" y="3331"/>
                  <a:ext cx="10" cy="12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4 h 5"/>
                    <a:gd name="T4" fmla="*/ 0 w 4"/>
                    <a:gd name="T5" fmla="*/ 3 h 5"/>
                    <a:gd name="T6" fmla="*/ 1 w 4"/>
                    <a:gd name="T7" fmla="*/ 1 h 5"/>
                    <a:gd name="T8" fmla="*/ 3 w 4"/>
                    <a:gd name="T9" fmla="*/ 0 h 5"/>
                    <a:gd name="T10" fmla="*/ 4 w 4"/>
                    <a:gd name="T11" fmla="*/ 2 h 5"/>
                    <a:gd name="T12" fmla="*/ 3 w 4"/>
                    <a:gd name="T13" fmla="*/ 4 h 5"/>
                    <a:gd name="T14" fmla="*/ 3 w 4"/>
                    <a:gd name="T15" fmla="*/ 4 h 5"/>
                    <a:gd name="T16" fmla="*/ 2 w 4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4"/>
                        <a:pt x="3" y="4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1" name="Freeform 753">
                  <a:extLst>
                    <a:ext uri="{FF2B5EF4-FFF2-40B4-BE49-F238E27FC236}">
                      <a16:creationId xmlns:a16="http://schemas.microsoft.com/office/drawing/2014/main" id="{2751CDD3-9C17-470D-BF8C-F7F01E1AB4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93" y="3265"/>
                  <a:ext cx="125" cy="144"/>
                </a:xfrm>
                <a:custGeom>
                  <a:avLst/>
                  <a:gdLst>
                    <a:gd name="T0" fmla="*/ 51 w 53"/>
                    <a:gd name="T1" fmla="*/ 61 h 61"/>
                    <a:gd name="T2" fmla="*/ 50 w 53"/>
                    <a:gd name="T3" fmla="*/ 61 h 61"/>
                    <a:gd name="T4" fmla="*/ 1 w 53"/>
                    <a:gd name="T5" fmla="*/ 32 h 61"/>
                    <a:gd name="T6" fmla="*/ 0 w 53"/>
                    <a:gd name="T7" fmla="*/ 30 h 61"/>
                    <a:gd name="T8" fmla="*/ 1 w 53"/>
                    <a:gd name="T9" fmla="*/ 29 h 61"/>
                    <a:gd name="T10" fmla="*/ 50 w 53"/>
                    <a:gd name="T11" fmla="*/ 0 h 61"/>
                    <a:gd name="T12" fmla="*/ 52 w 53"/>
                    <a:gd name="T13" fmla="*/ 0 h 61"/>
                    <a:gd name="T14" fmla="*/ 53 w 53"/>
                    <a:gd name="T15" fmla="*/ 2 h 61"/>
                    <a:gd name="T16" fmla="*/ 53 w 53"/>
                    <a:gd name="T17" fmla="*/ 59 h 61"/>
                    <a:gd name="T18" fmla="*/ 52 w 53"/>
                    <a:gd name="T19" fmla="*/ 61 h 61"/>
                    <a:gd name="T20" fmla="*/ 51 w 53"/>
                    <a:gd name="T21" fmla="*/ 61 h 61"/>
                    <a:gd name="T22" fmla="*/ 6 w 53"/>
                    <a:gd name="T23" fmla="*/ 30 h 61"/>
                    <a:gd name="T24" fmla="*/ 49 w 53"/>
                    <a:gd name="T25" fmla="*/ 56 h 61"/>
                    <a:gd name="T26" fmla="*/ 49 w 53"/>
                    <a:gd name="T27" fmla="*/ 5 h 61"/>
                    <a:gd name="T28" fmla="*/ 6 w 53"/>
                    <a:gd name="T29" fmla="*/ 3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3" h="61">
                      <a:moveTo>
                        <a:pt x="51" y="61"/>
                      </a:moveTo>
                      <a:cubicBezTo>
                        <a:pt x="51" y="61"/>
                        <a:pt x="51" y="61"/>
                        <a:pt x="50" y="61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2" y="0"/>
                        <a:pt x="52" y="0"/>
                      </a:cubicBezTo>
                      <a:cubicBezTo>
                        <a:pt x="53" y="0"/>
                        <a:pt x="53" y="1"/>
                        <a:pt x="53" y="2"/>
                      </a:cubicBezTo>
                      <a:cubicBezTo>
                        <a:pt x="53" y="59"/>
                        <a:pt x="53" y="59"/>
                        <a:pt x="53" y="59"/>
                      </a:cubicBezTo>
                      <a:cubicBezTo>
                        <a:pt x="53" y="60"/>
                        <a:pt x="53" y="60"/>
                        <a:pt x="52" y="61"/>
                      </a:cubicBezTo>
                      <a:cubicBezTo>
                        <a:pt x="52" y="61"/>
                        <a:pt x="52" y="61"/>
                        <a:pt x="51" y="61"/>
                      </a:cubicBezTo>
                      <a:close/>
                      <a:moveTo>
                        <a:pt x="6" y="30"/>
                      </a:move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49" y="5"/>
                        <a:pt x="49" y="5"/>
                        <a:pt x="49" y="5"/>
                      </a:cubicBezTo>
                      <a:lnTo>
                        <a:pt x="6" y="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2" name="Freeform 754">
                  <a:extLst>
                    <a:ext uri="{FF2B5EF4-FFF2-40B4-BE49-F238E27FC236}">
                      <a16:creationId xmlns:a16="http://schemas.microsoft.com/office/drawing/2014/main" id="{127C9DEA-F4C2-492C-9AD1-D4254BBFBC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3333"/>
                  <a:ext cx="156" cy="128"/>
                </a:xfrm>
                <a:custGeom>
                  <a:avLst/>
                  <a:gdLst>
                    <a:gd name="T0" fmla="*/ 2 w 66"/>
                    <a:gd name="T1" fmla="*/ 54 h 54"/>
                    <a:gd name="T2" fmla="*/ 1 w 66"/>
                    <a:gd name="T3" fmla="*/ 53 h 54"/>
                    <a:gd name="T4" fmla="*/ 0 w 66"/>
                    <a:gd name="T5" fmla="*/ 52 h 54"/>
                    <a:gd name="T6" fmla="*/ 0 w 66"/>
                    <a:gd name="T7" fmla="*/ 10 h 54"/>
                    <a:gd name="T8" fmla="*/ 1 w 66"/>
                    <a:gd name="T9" fmla="*/ 8 h 54"/>
                    <a:gd name="T10" fmla="*/ 11 w 66"/>
                    <a:gd name="T11" fmla="*/ 2 h 54"/>
                    <a:gd name="T12" fmla="*/ 12 w 66"/>
                    <a:gd name="T13" fmla="*/ 2 h 54"/>
                    <a:gd name="T14" fmla="*/ 12 w 66"/>
                    <a:gd name="T15" fmla="*/ 2 h 54"/>
                    <a:gd name="T16" fmla="*/ 14 w 66"/>
                    <a:gd name="T17" fmla="*/ 1 h 54"/>
                    <a:gd name="T18" fmla="*/ 16 w 66"/>
                    <a:gd name="T19" fmla="*/ 1 h 54"/>
                    <a:gd name="T20" fmla="*/ 65 w 66"/>
                    <a:gd name="T21" fmla="*/ 29 h 54"/>
                    <a:gd name="T22" fmla="*/ 66 w 66"/>
                    <a:gd name="T23" fmla="*/ 31 h 54"/>
                    <a:gd name="T24" fmla="*/ 65 w 66"/>
                    <a:gd name="T25" fmla="*/ 32 h 54"/>
                    <a:gd name="T26" fmla="*/ 39 w 66"/>
                    <a:gd name="T27" fmla="*/ 47 h 54"/>
                    <a:gd name="T28" fmla="*/ 37 w 66"/>
                    <a:gd name="T29" fmla="*/ 47 h 54"/>
                    <a:gd name="T30" fmla="*/ 26 w 66"/>
                    <a:gd name="T31" fmla="*/ 41 h 54"/>
                    <a:gd name="T32" fmla="*/ 3 w 66"/>
                    <a:gd name="T33" fmla="*/ 53 h 54"/>
                    <a:gd name="T34" fmla="*/ 2 w 66"/>
                    <a:gd name="T35" fmla="*/ 54 h 54"/>
                    <a:gd name="T36" fmla="*/ 4 w 66"/>
                    <a:gd name="T37" fmla="*/ 11 h 54"/>
                    <a:gd name="T38" fmla="*/ 4 w 66"/>
                    <a:gd name="T39" fmla="*/ 48 h 54"/>
                    <a:gd name="T40" fmla="*/ 25 w 66"/>
                    <a:gd name="T41" fmla="*/ 36 h 54"/>
                    <a:gd name="T42" fmla="*/ 27 w 66"/>
                    <a:gd name="T43" fmla="*/ 36 h 54"/>
                    <a:gd name="T44" fmla="*/ 38 w 66"/>
                    <a:gd name="T45" fmla="*/ 43 h 54"/>
                    <a:gd name="T46" fmla="*/ 60 w 66"/>
                    <a:gd name="T47" fmla="*/ 31 h 54"/>
                    <a:gd name="T48" fmla="*/ 15 w 66"/>
                    <a:gd name="T49" fmla="*/ 5 h 54"/>
                    <a:gd name="T50" fmla="*/ 14 w 66"/>
                    <a:gd name="T51" fmla="*/ 6 h 54"/>
                    <a:gd name="T52" fmla="*/ 12 w 66"/>
                    <a:gd name="T53" fmla="*/ 6 h 54"/>
                    <a:gd name="T54" fmla="*/ 12 w 66"/>
                    <a:gd name="T55" fmla="*/ 6 h 54"/>
                    <a:gd name="T56" fmla="*/ 4 w 66"/>
                    <a:gd name="T57" fmla="*/ 1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" h="54">
                      <a:moveTo>
                        <a:pt x="2" y="54"/>
                      </a:moveTo>
                      <a:cubicBezTo>
                        <a:pt x="2" y="54"/>
                        <a:pt x="2" y="54"/>
                        <a:pt x="1" y="53"/>
                      </a:cubicBezTo>
                      <a:cubicBezTo>
                        <a:pt x="1" y="53"/>
                        <a:pt x="0" y="52"/>
                        <a:pt x="0" y="5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11" y="2"/>
                        <a:pt x="11" y="2"/>
                        <a:pt x="12" y="2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5" y="0"/>
                        <a:pt x="16" y="1"/>
                      </a:cubicBezTo>
                      <a:cubicBezTo>
                        <a:pt x="65" y="29"/>
                        <a:pt x="65" y="29"/>
                        <a:pt x="65" y="29"/>
                      </a:cubicBezTo>
                      <a:cubicBezTo>
                        <a:pt x="66" y="29"/>
                        <a:pt x="66" y="30"/>
                        <a:pt x="66" y="31"/>
                      </a:cubicBezTo>
                      <a:cubicBezTo>
                        <a:pt x="66" y="31"/>
                        <a:pt x="66" y="32"/>
                        <a:pt x="65" y="32"/>
                      </a:cubicBezTo>
                      <a:cubicBezTo>
                        <a:pt x="39" y="47"/>
                        <a:pt x="39" y="47"/>
                        <a:pt x="39" y="47"/>
                      </a:cubicBezTo>
                      <a:cubicBezTo>
                        <a:pt x="39" y="48"/>
                        <a:pt x="38" y="48"/>
                        <a:pt x="37" y="47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4"/>
                        <a:pt x="3" y="54"/>
                        <a:pt x="2" y="54"/>
                      </a:cubicBezTo>
                      <a:close/>
                      <a:moveTo>
                        <a:pt x="4" y="11"/>
                      </a:moveTo>
                      <a:cubicBezTo>
                        <a:pt x="4" y="48"/>
                        <a:pt x="4" y="48"/>
                        <a:pt x="4" y="48"/>
                      </a:cubicBezTo>
                      <a:cubicBezTo>
                        <a:pt x="25" y="36"/>
                        <a:pt x="25" y="36"/>
                        <a:pt x="25" y="36"/>
                      </a:cubicBezTo>
                      <a:cubicBezTo>
                        <a:pt x="25" y="36"/>
                        <a:pt x="26" y="36"/>
                        <a:pt x="27" y="36"/>
                      </a:cubicBezTo>
                      <a:cubicBezTo>
                        <a:pt x="38" y="43"/>
                        <a:pt x="38" y="43"/>
                        <a:pt x="38" y="43"/>
                      </a:cubicBezTo>
                      <a:cubicBezTo>
                        <a:pt x="60" y="31"/>
                        <a:pt x="60" y="31"/>
                        <a:pt x="60" y="31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5" y="5"/>
                        <a:pt x="15" y="6"/>
                        <a:pt x="14" y="6"/>
                      </a:cubicBezTo>
                      <a:cubicBezTo>
                        <a:pt x="13" y="7"/>
                        <a:pt x="13" y="7"/>
                        <a:pt x="12" y="6"/>
                      </a:cubicBezTo>
                      <a:cubicBezTo>
                        <a:pt x="12" y="6"/>
                        <a:pt x="12" y="6"/>
                        <a:pt x="12" y="6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3" name="Freeform 755">
                  <a:extLst>
                    <a:ext uri="{FF2B5EF4-FFF2-40B4-BE49-F238E27FC236}">
                      <a16:creationId xmlns:a16="http://schemas.microsoft.com/office/drawing/2014/main" id="{7B8B1A29-AD50-4A7A-982C-B1740895A9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72" y="2799"/>
                  <a:ext cx="316" cy="187"/>
                </a:xfrm>
                <a:custGeom>
                  <a:avLst/>
                  <a:gdLst>
                    <a:gd name="T0" fmla="*/ 132 w 134"/>
                    <a:gd name="T1" fmla="*/ 79 h 79"/>
                    <a:gd name="T2" fmla="*/ 131 w 134"/>
                    <a:gd name="T3" fmla="*/ 79 h 79"/>
                    <a:gd name="T4" fmla="*/ 1 w 134"/>
                    <a:gd name="T5" fmla="*/ 4 h 79"/>
                    <a:gd name="T6" fmla="*/ 0 w 134"/>
                    <a:gd name="T7" fmla="*/ 2 h 79"/>
                    <a:gd name="T8" fmla="*/ 1 w 134"/>
                    <a:gd name="T9" fmla="*/ 0 h 79"/>
                    <a:gd name="T10" fmla="*/ 3 w 134"/>
                    <a:gd name="T11" fmla="*/ 0 h 79"/>
                    <a:gd name="T12" fmla="*/ 133 w 134"/>
                    <a:gd name="T13" fmla="*/ 76 h 79"/>
                    <a:gd name="T14" fmla="*/ 134 w 134"/>
                    <a:gd name="T15" fmla="*/ 77 h 79"/>
                    <a:gd name="T16" fmla="*/ 134 w 134"/>
                    <a:gd name="T17" fmla="*/ 77 h 79"/>
                    <a:gd name="T18" fmla="*/ 133 w 134"/>
                    <a:gd name="T19" fmla="*/ 79 h 79"/>
                    <a:gd name="T20" fmla="*/ 132 w 134"/>
                    <a:gd name="T21" fmla="*/ 79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4" h="79">
                      <a:moveTo>
                        <a:pt x="132" y="79"/>
                      </a:moveTo>
                      <a:cubicBezTo>
                        <a:pt x="132" y="79"/>
                        <a:pt x="132" y="79"/>
                        <a:pt x="131" y="79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2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3" y="76"/>
                        <a:pt x="133" y="76"/>
                        <a:pt x="133" y="76"/>
                      </a:cubicBezTo>
                      <a:cubicBezTo>
                        <a:pt x="134" y="76"/>
                        <a:pt x="134" y="77"/>
                        <a:pt x="134" y="77"/>
                      </a:cubicBezTo>
                      <a:cubicBezTo>
                        <a:pt x="134" y="77"/>
                        <a:pt x="134" y="77"/>
                        <a:pt x="134" y="77"/>
                      </a:cubicBezTo>
                      <a:cubicBezTo>
                        <a:pt x="134" y="78"/>
                        <a:pt x="134" y="79"/>
                        <a:pt x="133" y="79"/>
                      </a:cubicBezTo>
                      <a:cubicBezTo>
                        <a:pt x="133" y="79"/>
                        <a:pt x="133" y="79"/>
                        <a:pt x="13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4" name="Freeform 756">
                  <a:extLst>
                    <a:ext uri="{FF2B5EF4-FFF2-40B4-BE49-F238E27FC236}">
                      <a16:creationId xmlns:a16="http://schemas.microsoft.com/office/drawing/2014/main" id="{69751FDE-0CE9-4B5D-AE3A-C50A6C6A643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95" y="3461"/>
                  <a:ext cx="206" cy="123"/>
                </a:xfrm>
                <a:custGeom>
                  <a:avLst/>
                  <a:gdLst>
                    <a:gd name="T0" fmla="*/ 50 w 87"/>
                    <a:gd name="T1" fmla="*/ 52 h 52"/>
                    <a:gd name="T2" fmla="*/ 49 w 87"/>
                    <a:gd name="T3" fmla="*/ 52 h 52"/>
                    <a:gd name="T4" fmla="*/ 1 w 87"/>
                    <a:gd name="T5" fmla="*/ 24 h 52"/>
                    <a:gd name="T6" fmla="*/ 0 w 87"/>
                    <a:gd name="T7" fmla="*/ 22 h 52"/>
                    <a:gd name="T8" fmla="*/ 1 w 87"/>
                    <a:gd name="T9" fmla="*/ 21 h 52"/>
                    <a:gd name="T10" fmla="*/ 36 w 87"/>
                    <a:gd name="T11" fmla="*/ 0 h 52"/>
                    <a:gd name="T12" fmla="*/ 38 w 87"/>
                    <a:gd name="T13" fmla="*/ 0 h 52"/>
                    <a:gd name="T14" fmla="*/ 86 w 87"/>
                    <a:gd name="T15" fmla="*/ 28 h 52"/>
                    <a:gd name="T16" fmla="*/ 87 w 87"/>
                    <a:gd name="T17" fmla="*/ 30 h 52"/>
                    <a:gd name="T18" fmla="*/ 86 w 87"/>
                    <a:gd name="T19" fmla="*/ 32 h 52"/>
                    <a:gd name="T20" fmla="*/ 51 w 87"/>
                    <a:gd name="T21" fmla="*/ 52 h 52"/>
                    <a:gd name="T22" fmla="*/ 50 w 87"/>
                    <a:gd name="T23" fmla="*/ 52 h 52"/>
                    <a:gd name="T24" fmla="*/ 6 w 87"/>
                    <a:gd name="T25" fmla="*/ 22 h 52"/>
                    <a:gd name="T26" fmla="*/ 50 w 87"/>
                    <a:gd name="T27" fmla="*/ 48 h 52"/>
                    <a:gd name="T28" fmla="*/ 81 w 87"/>
                    <a:gd name="T29" fmla="*/ 30 h 52"/>
                    <a:gd name="T30" fmla="*/ 37 w 87"/>
                    <a:gd name="T31" fmla="*/ 4 h 52"/>
                    <a:gd name="T32" fmla="*/ 6 w 87"/>
                    <a:gd name="T33" fmla="*/ 2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7" h="52">
                      <a:moveTo>
                        <a:pt x="50" y="52"/>
                      </a:moveTo>
                      <a:cubicBezTo>
                        <a:pt x="50" y="52"/>
                        <a:pt x="49" y="52"/>
                        <a:pt x="49" y="52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0" y="24"/>
                        <a:pt x="0" y="23"/>
                        <a:pt x="0" y="22"/>
                      </a:cubicBezTo>
                      <a:cubicBezTo>
                        <a:pt x="0" y="22"/>
                        <a:pt x="0" y="21"/>
                        <a:pt x="1" y="21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7" y="0"/>
                        <a:pt x="38" y="0"/>
                        <a:pt x="38" y="0"/>
                      </a:cubicBezTo>
                      <a:cubicBezTo>
                        <a:pt x="86" y="28"/>
                        <a:pt x="86" y="28"/>
                        <a:pt x="86" y="28"/>
                      </a:cubicBezTo>
                      <a:cubicBezTo>
                        <a:pt x="87" y="28"/>
                        <a:pt x="87" y="29"/>
                        <a:pt x="87" y="30"/>
                      </a:cubicBezTo>
                      <a:cubicBezTo>
                        <a:pt x="87" y="31"/>
                        <a:pt x="87" y="31"/>
                        <a:pt x="86" y="3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0" y="52"/>
                        <a:pt x="50" y="52"/>
                      </a:cubicBezTo>
                      <a:close/>
                      <a:moveTo>
                        <a:pt x="6" y="22"/>
                      </a:moveTo>
                      <a:cubicBezTo>
                        <a:pt x="50" y="48"/>
                        <a:pt x="50" y="48"/>
                        <a:pt x="50" y="48"/>
                      </a:cubicBezTo>
                      <a:cubicBezTo>
                        <a:pt x="81" y="30"/>
                        <a:pt x="81" y="30"/>
                        <a:pt x="81" y="30"/>
                      </a:cubicBezTo>
                      <a:cubicBezTo>
                        <a:pt x="37" y="4"/>
                        <a:pt x="37" y="4"/>
                        <a:pt x="37" y="4"/>
                      </a:cubicBezTo>
                      <a:lnTo>
                        <a:pt x="6" y="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5" name="Freeform 757">
                  <a:extLst>
                    <a:ext uri="{FF2B5EF4-FFF2-40B4-BE49-F238E27FC236}">
                      <a16:creationId xmlns:a16="http://schemas.microsoft.com/office/drawing/2014/main" id="{E0224AED-8E2B-4185-8F3D-AE17764A7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47" y="3402"/>
                  <a:ext cx="71" cy="64"/>
                </a:xfrm>
                <a:custGeom>
                  <a:avLst/>
                  <a:gdLst>
                    <a:gd name="T0" fmla="*/ 15 w 30"/>
                    <a:gd name="T1" fmla="*/ 27 h 27"/>
                    <a:gd name="T2" fmla="*/ 14 w 30"/>
                    <a:gd name="T3" fmla="*/ 27 h 27"/>
                    <a:gd name="T4" fmla="*/ 1 w 30"/>
                    <a:gd name="T5" fmla="*/ 19 h 27"/>
                    <a:gd name="T6" fmla="*/ 0 w 30"/>
                    <a:gd name="T7" fmla="*/ 18 h 27"/>
                    <a:gd name="T8" fmla="*/ 1 w 30"/>
                    <a:gd name="T9" fmla="*/ 16 h 27"/>
                    <a:gd name="T10" fmla="*/ 27 w 30"/>
                    <a:gd name="T11" fmla="*/ 1 h 27"/>
                    <a:gd name="T12" fmla="*/ 29 w 30"/>
                    <a:gd name="T13" fmla="*/ 1 h 27"/>
                    <a:gd name="T14" fmla="*/ 30 w 30"/>
                    <a:gd name="T15" fmla="*/ 2 h 27"/>
                    <a:gd name="T16" fmla="*/ 30 w 30"/>
                    <a:gd name="T17" fmla="*/ 18 h 27"/>
                    <a:gd name="T18" fmla="*/ 29 w 30"/>
                    <a:gd name="T19" fmla="*/ 19 h 27"/>
                    <a:gd name="T20" fmla="*/ 16 w 30"/>
                    <a:gd name="T21" fmla="*/ 27 h 27"/>
                    <a:gd name="T22" fmla="*/ 15 w 30"/>
                    <a:gd name="T23" fmla="*/ 27 h 27"/>
                    <a:gd name="T24" fmla="*/ 6 w 30"/>
                    <a:gd name="T25" fmla="*/ 18 h 27"/>
                    <a:gd name="T26" fmla="*/ 15 w 30"/>
                    <a:gd name="T27" fmla="*/ 23 h 27"/>
                    <a:gd name="T28" fmla="*/ 26 w 30"/>
                    <a:gd name="T29" fmla="*/ 16 h 27"/>
                    <a:gd name="T30" fmla="*/ 26 w 30"/>
                    <a:gd name="T31" fmla="*/ 6 h 27"/>
                    <a:gd name="T32" fmla="*/ 6 w 30"/>
                    <a:gd name="T33" fmla="*/ 18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27">
                      <a:moveTo>
                        <a:pt x="15" y="27"/>
                      </a:moveTo>
                      <a:cubicBezTo>
                        <a:pt x="15" y="27"/>
                        <a:pt x="15" y="27"/>
                        <a:pt x="14" y="27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0" y="19"/>
                        <a:pt x="0" y="18"/>
                        <a:pt x="0" y="18"/>
                      </a:cubicBezTo>
                      <a:cubicBezTo>
                        <a:pt x="0" y="17"/>
                        <a:pt x="0" y="16"/>
                        <a:pt x="1" y="16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8" y="0"/>
                        <a:pt x="29" y="0"/>
                        <a:pt x="29" y="1"/>
                      </a:cubicBezTo>
                      <a:cubicBezTo>
                        <a:pt x="30" y="1"/>
                        <a:pt x="30" y="2"/>
                        <a:pt x="30" y="2"/>
                      </a:cubicBezTo>
                      <a:cubicBezTo>
                        <a:pt x="30" y="18"/>
                        <a:pt x="30" y="18"/>
                        <a:pt x="30" y="18"/>
                      </a:cubicBezTo>
                      <a:cubicBezTo>
                        <a:pt x="30" y="18"/>
                        <a:pt x="30" y="19"/>
                        <a:pt x="29" y="19"/>
                      </a:cubicBezTo>
                      <a:cubicBezTo>
                        <a:pt x="16" y="27"/>
                        <a:pt x="16" y="27"/>
                        <a:pt x="16" y="27"/>
                      </a:cubicBezTo>
                      <a:cubicBezTo>
                        <a:pt x="16" y="27"/>
                        <a:pt x="16" y="27"/>
                        <a:pt x="15" y="27"/>
                      </a:cubicBezTo>
                      <a:close/>
                      <a:moveTo>
                        <a:pt x="6" y="18"/>
                      </a:move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26" y="16"/>
                        <a:pt x="26" y="16"/>
                        <a:pt x="26" y="16"/>
                      </a:cubicBezTo>
                      <a:cubicBezTo>
                        <a:pt x="26" y="6"/>
                        <a:pt x="26" y="6"/>
                        <a:pt x="26" y="6"/>
                      </a:cubicBezTo>
                      <a:lnTo>
                        <a:pt x="6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6" name="Freeform 758">
                  <a:extLst>
                    <a:ext uri="{FF2B5EF4-FFF2-40B4-BE49-F238E27FC236}">
                      <a16:creationId xmlns:a16="http://schemas.microsoft.com/office/drawing/2014/main" id="{ACAB588B-22EA-46DB-ADB9-B2A0213DDE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3" y="3747"/>
                  <a:ext cx="19" cy="19"/>
                </a:xfrm>
                <a:custGeom>
                  <a:avLst/>
                  <a:gdLst>
                    <a:gd name="T0" fmla="*/ 6 w 8"/>
                    <a:gd name="T1" fmla="*/ 8 h 8"/>
                    <a:gd name="T2" fmla="*/ 5 w 8"/>
                    <a:gd name="T3" fmla="*/ 8 h 8"/>
                    <a:gd name="T4" fmla="*/ 1 w 8"/>
                    <a:gd name="T5" fmla="*/ 6 h 8"/>
                    <a:gd name="T6" fmla="*/ 0 w 8"/>
                    <a:gd name="T7" fmla="*/ 4 h 8"/>
                    <a:gd name="T8" fmla="*/ 1 w 8"/>
                    <a:gd name="T9" fmla="*/ 2 h 8"/>
                    <a:gd name="T10" fmla="*/ 5 w 8"/>
                    <a:gd name="T11" fmla="*/ 0 h 8"/>
                    <a:gd name="T12" fmla="*/ 7 w 8"/>
                    <a:gd name="T13" fmla="*/ 0 h 8"/>
                    <a:gd name="T14" fmla="*/ 8 w 8"/>
                    <a:gd name="T15" fmla="*/ 2 h 8"/>
                    <a:gd name="T16" fmla="*/ 8 w 8"/>
                    <a:gd name="T17" fmla="*/ 6 h 8"/>
                    <a:gd name="T18" fmla="*/ 7 w 8"/>
                    <a:gd name="T19" fmla="*/ 8 h 8"/>
                    <a:gd name="T20" fmla="*/ 6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6" y="8"/>
                      </a:moveTo>
                      <a:cubicBezTo>
                        <a:pt x="6" y="8"/>
                        <a:pt x="5" y="8"/>
                        <a:pt x="5" y="8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1" y="5"/>
                        <a:pt x="0" y="5"/>
                        <a:pt x="0" y="4"/>
                      </a:cubicBezTo>
                      <a:cubicBezTo>
                        <a:pt x="0" y="3"/>
                        <a:pt x="1" y="3"/>
                        <a:pt x="1" y="2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0"/>
                        <a:pt x="6" y="0"/>
                        <a:pt x="7" y="0"/>
                      </a:cubicBezTo>
                      <a:cubicBezTo>
                        <a:pt x="8" y="1"/>
                        <a:pt x="8" y="1"/>
                        <a:pt x="8" y="2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7"/>
                        <a:pt x="8" y="7"/>
                        <a:pt x="7" y="8"/>
                      </a:cubicBezTo>
                      <a:cubicBezTo>
                        <a:pt x="7" y="8"/>
                        <a:pt x="6" y="8"/>
                        <a:pt x="6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7" name="Freeform 759">
                  <a:extLst>
                    <a:ext uri="{FF2B5EF4-FFF2-40B4-BE49-F238E27FC236}">
                      <a16:creationId xmlns:a16="http://schemas.microsoft.com/office/drawing/2014/main" id="{82AE0DF1-47CB-4FC9-9F60-1952F7B80F6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56" y="2443"/>
                  <a:ext cx="125" cy="113"/>
                </a:xfrm>
                <a:custGeom>
                  <a:avLst/>
                  <a:gdLst>
                    <a:gd name="T0" fmla="*/ 28 w 53"/>
                    <a:gd name="T1" fmla="*/ 48 h 48"/>
                    <a:gd name="T2" fmla="*/ 27 w 53"/>
                    <a:gd name="T3" fmla="*/ 47 h 48"/>
                    <a:gd name="T4" fmla="*/ 1 w 53"/>
                    <a:gd name="T5" fmla="*/ 32 h 48"/>
                    <a:gd name="T6" fmla="*/ 0 w 53"/>
                    <a:gd name="T7" fmla="*/ 31 h 48"/>
                    <a:gd name="T8" fmla="*/ 1 w 53"/>
                    <a:gd name="T9" fmla="*/ 29 h 48"/>
                    <a:gd name="T10" fmla="*/ 50 w 53"/>
                    <a:gd name="T11" fmla="*/ 1 h 48"/>
                    <a:gd name="T12" fmla="*/ 52 w 53"/>
                    <a:gd name="T13" fmla="*/ 1 h 48"/>
                    <a:gd name="T14" fmla="*/ 53 w 53"/>
                    <a:gd name="T15" fmla="*/ 2 h 48"/>
                    <a:gd name="T16" fmla="*/ 53 w 53"/>
                    <a:gd name="T17" fmla="*/ 33 h 48"/>
                    <a:gd name="T18" fmla="*/ 52 w 53"/>
                    <a:gd name="T19" fmla="*/ 34 h 48"/>
                    <a:gd name="T20" fmla="*/ 29 w 53"/>
                    <a:gd name="T21" fmla="*/ 47 h 48"/>
                    <a:gd name="T22" fmla="*/ 28 w 53"/>
                    <a:gd name="T23" fmla="*/ 48 h 48"/>
                    <a:gd name="T24" fmla="*/ 6 w 53"/>
                    <a:gd name="T25" fmla="*/ 31 h 48"/>
                    <a:gd name="T26" fmla="*/ 28 w 53"/>
                    <a:gd name="T27" fmla="*/ 43 h 48"/>
                    <a:gd name="T28" fmla="*/ 49 w 53"/>
                    <a:gd name="T29" fmla="*/ 31 h 48"/>
                    <a:gd name="T30" fmla="*/ 49 w 53"/>
                    <a:gd name="T31" fmla="*/ 6 h 48"/>
                    <a:gd name="T32" fmla="*/ 6 w 53"/>
                    <a:gd name="T33" fmla="*/ 31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3" h="48">
                      <a:moveTo>
                        <a:pt x="28" y="48"/>
                      </a:moveTo>
                      <a:cubicBezTo>
                        <a:pt x="28" y="48"/>
                        <a:pt x="28" y="48"/>
                        <a:pt x="27" y="47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1" y="32"/>
                        <a:pt x="0" y="31"/>
                        <a:pt x="0" y="31"/>
                      </a:cubicBezTo>
                      <a:cubicBezTo>
                        <a:pt x="0" y="30"/>
                        <a:pt x="1" y="29"/>
                        <a:pt x="1" y="29"/>
                      </a:cubicBez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51" y="0"/>
                        <a:pt x="51" y="0"/>
                        <a:pt x="52" y="1"/>
                      </a:cubicBezTo>
                      <a:cubicBezTo>
                        <a:pt x="53" y="1"/>
                        <a:pt x="53" y="2"/>
                        <a:pt x="53" y="2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3" y="33"/>
                        <a:pt x="53" y="34"/>
                        <a:pt x="52" y="34"/>
                      </a:cubicBezTo>
                      <a:cubicBezTo>
                        <a:pt x="29" y="47"/>
                        <a:pt x="29" y="47"/>
                        <a:pt x="29" y="47"/>
                      </a:cubicBezTo>
                      <a:cubicBezTo>
                        <a:pt x="29" y="48"/>
                        <a:pt x="29" y="48"/>
                        <a:pt x="28" y="48"/>
                      </a:cubicBezTo>
                      <a:close/>
                      <a:moveTo>
                        <a:pt x="6" y="31"/>
                      </a:moveTo>
                      <a:cubicBezTo>
                        <a:pt x="28" y="43"/>
                        <a:pt x="28" y="43"/>
                        <a:pt x="28" y="43"/>
                      </a:cubicBezTo>
                      <a:cubicBezTo>
                        <a:pt x="49" y="31"/>
                        <a:pt x="49" y="31"/>
                        <a:pt x="49" y="31"/>
                      </a:cubicBezTo>
                      <a:cubicBezTo>
                        <a:pt x="49" y="6"/>
                        <a:pt x="49" y="6"/>
                        <a:pt x="49" y="6"/>
                      </a:cubicBezTo>
                      <a:lnTo>
                        <a:pt x="6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8" name="Freeform 760">
                  <a:extLst>
                    <a:ext uri="{FF2B5EF4-FFF2-40B4-BE49-F238E27FC236}">
                      <a16:creationId xmlns:a16="http://schemas.microsoft.com/office/drawing/2014/main" id="{12E12B15-D1C1-445B-8B83-C48D32B601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0" y="1202"/>
                  <a:ext cx="26" cy="29"/>
                </a:xfrm>
                <a:custGeom>
                  <a:avLst/>
                  <a:gdLst>
                    <a:gd name="T0" fmla="*/ 9 w 11"/>
                    <a:gd name="T1" fmla="*/ 12 h 12"/>
                    <a:gd name="T2" fmla="*/ 8 w 11"/>
                    <a:gd name="T3" fmla="*/ 12 h 12"/>
                    <a:gd name="T4" fmla="*/ 1 w 11"/>
                    <a:gd name="T5" fmla="*/ 8 h 12"/>
                    <a:gd name="T6" fmla="*/ 0 w 11"/>
                    <a:gd name="T7" fmla="*/ 6 h 12"/>
                    <a:gd name="T8" fmla="*/ 1 w 11"/>
                    <a:gd name="T9" fmla="*/ 4 h 12"/>
                    <a:gd name="T10" fmla="*/ 8 w 11"/>
                    <a:gd name="T11" fmla="*/ 0 h 12"/>
                    <a:gd name="T12" fmla="*/ 10 w 11"/>
                    <a:gd name="T13" fmla="*/ 0 h 12"/>
                    <a:gd name="T14" fmla="*/ 11 w 11"/>
                    <a:gd name="T15" fmla="*/ 2 h 12"/>
                    <a:gd name="T16" fmla="*/ 11 w 11"/>
                    <a:gd name="T17" fmla="*/ 10 h 12"/>
                    <a:gd name="T18" fmla="*/ 10 w 11"/>
                    <a:gd name="T19" fmla="*/ 12 h 12"/>
                    <a:gd name="T20" fmla="*/ 9 w 11"/>
                    <a:gd name="T21" fmla="*/ 12 h 12"/>
                    <a:gd name="T22" fmla="*/ 6 w 11"/>
                    <a:gd name="T23" fmla="*/ 6 h 12"/>
                    <a:gd name="T24" fmla="*/ 7 w 11"/>
                    <a:gd name="T25" fmla="*/ 7 h 12"/>
                    <a:gd name="T26" fmla="*/ 7 w 11"/>
                    <a:gd name="T27" fmla="*/ 6 h 12"/>
                    <a:gd name="T28" fmla="*/ 6 w 11"/>
                    <a:gd name="T29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9" y="12"/>
                      </a:moveTo>
                      <a:cubicBezTo>
                        <a:pt x="9" y="12"/>
                        <a:pt x="8" y="12"/>
                        <a:pt x="8" y="12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1" y="7"/>
                        <a:pt x="0" y="7"/>
                        <a:pt x="0" y="6"/>
                      </a:cubicBezTo>
                      <a:cubicBezTo>
                        <a:pt x="0" y="5"/>
                        <a:pt x="1" y="5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9" y="0"/>
                        <a:pt x="10" y="0"/>
                        <a:pt x="10" y="0"/>
                      </a:cubicBezTo>
                      <a:cubicBezTo>
                        <a:pt x="11" y="1"/>
                        <a:pt x="11" y="1"/>
                        <a:pt x="11" y="2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11" y="11"/>
                        <a:pt x="11" y="11"/>
                        <a:pt x="10" y="12"/>
                      </a:cubicBezTo>
                      <a:cubicBezTo>
                        <a:pt x="10" y="12"/>
                        <a:pt x="10" y="12"/>
                        <a:pt x="9" y="12"/>
                      </a:cubicBezTo>
                      <a:close/>
                      <a:moveTo>
                        <a:pt x="6" y="6"/>
                      </a:move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9" name="Freeform 761">
                  <a:extLst>
                    <a:ext uri="{FF2B5EF4-FFF2-40B4-BE49-F238E27FC236}">
                      <a16:creationId xmlns:a16="http://schemas.microsoft.com/office/drawing/2014/main" id="{72D5E854-F350-4DAD-96EB-76843A99A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84" y="1084"/>
                  <a:ext cx="142" cy="88"/>
                </a:xfrm>
                <a:custGeom>
                  <a:avLst/>
                  <a:gdLst>
                    <a:gd name="T0" fmla="*/ 58 w 60"/>
                    <a:gd name="T1" fmla="*/ 37 h 37"/>
                    <a:gd name="T2" fmla="*/ 57 w 60"/>
                    <a:gd name="T3" fmla="*/ 37 h 37"/>
                    <a:gd name="T4" fmla="*/ 1 w 60"/>
                    <a:gd name="T5" fmla="*/ 5 h 37"/>
                    <a:gd name="T6" fmla="*/ 0 w 60"/>
                    <a:gd name="T7" fmla="*/ 3 h 37"/>
                    <a:gd name="T8" fmla="*/ 1 w 60"/>
                    <a:gd name="T9" fmla="*/ 1 h 37"/>
                    <a:gd name="T10" fmla="*/ 3 w 60"/>
                    <a:gd name="T11" fmla="*/ 1 h 37"/>
                    <a:gd name="T12" fmla="*/ 5 w 60"/>
                    <a:gd name="T13" fmla="*/ 1 h 37"/>
                    <a:gd name="T14" fmla="*/ 59 w 60"/>
                    <a:gd name="T15" fmla="*/ 32 h 37"/>
                    <a:gd name="T16" fmla="*/ 60 w 60"/>
                    <a:gd name="T17" fmla="*/ 34 h 37"/>
                    <a:gd name="T18" fmla="*/ 60 w 60"/>
                    <a:gd name="T19" fmla="*/ 35 h 37"/>
                    <a:gd name="T20" fmla="*/ 59 w 60"/>
                    <a:gd name="T21" fmla="*/ 37 h 37"/>
                    <a:gd name="T22" fmla="*/ 58 w 60"/>
                    <a:gd name="T23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37">
                      <a:moveTo>
                        <a:pt x="58" y="37"/>
                      </a:moveTo>
                      <a:cubicBezTo>
                        <a:pt x="58" y="37"/>
                        <a:pt x="57" y="37"/>
                        <a:pt x="57" y="3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4" y="0"/>
                        <a:pt x="5" y="1"/>
                      </a:cubicBezTo>
                      <a:cubicBezTo>
                        <a:pt x="59" y="32"/>
                        <a:pt x="59" y="32"/>
                        <a:pt x="59" y="32"/>
                      </a:cubicBezTo>
                      <a:cubicBezTo>
                        <a:pt x="60" y="32"/>
                        <a:pt x="60" y="33"/>
                        <a:pt x="60" y="34"/>
                      </a:cubicBezTo>
                      <a:cubicBezTo>
                        <a:pt x="60" y="35"/>
                        <a:pt x="60" y="35"/>
                        <a:pt x="60" y="35"/>
                      </a:cubicBezTo>
                      <a:cubicBezTo>
                        <a:pt x="60" y="36"/>
                        <a:pt x="60" y="37"/>
                        <a:pt x="59" y="37"/>
                      </a:cubicBezTo>
                      <a:cubicBezTo>
                        <a:pt x="59" y="37"/>
                        <a:pt x="59" y="37"/>
                        <a:pt x="58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50" name="Freeform 762">
                  <a:extLst>
                    <a:ext uri="{FF2B5EF4-FFF2-40B4-BE49-F238E27FC236}">
                      <a16:creationId xmlns:a16="http://schemas.microsoft.com/office/drawing/2014/main" id="{4F19C276-9264-49B6-ADB7-3CA997191F3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91" y="1011"/>
                  <a:ext cx="135" cy="154"/>
                </a:xfrm>
                <a:custGeom>
                  <a:avLst/>
                  <a:gdLst>
                    <a:gd name="T0" fmla="*/ 55 w 57"/>
                    <a:gd name="T1" fmla="*/ 65 h 65"/>
                    <a:gd name="T2" fmla="*/ 54 w 57"/>
                    <a:gd name="T3" fmla="*/ 65 h 65"/>
                    <a:gd name="T4" fmla="*/ 1 w 57"/>
                    <a:gd name="T5" fmla="*/ 34 h 65"/>
                    <a:gd name="T6" fmla="*/ 0 w 57"/>
                    <a:gd name="T7" fmla="*/ 32 h 65"/>
                    <a:gd name="T8" fmla="*/ 1 w 57"/>
                    <a:gd name="T9" fmla="*/ 31 h 65"/>
                    <a:gd name="T10" fmla="*/ 54 w 57"/>
                    <a:gd name="T11" fmla="*/ 0 h 65"/>
                    <a:gd name="T12" fmla="*/ 56 w 57"/>
                    <a:gd name="T13" fmla="*/ 0 h 65"/>
                    <a:gd name="T14" fmla="*/ 57 w 57"/>
                    <a:gd name="T15" fmla="*/ 2 h 65"/>
                    <a:gd name="T16" fmla="*/ 57 w 57"/>
                    <a:gd name="T17" fmla="*/ 63 h 65"/>
                    <a:gd name="T18" fmla="*/ 56 w 57"/>
                    <a:gd name="T19" fmla="*/ 65 h 65"/>
                    <a:gd name="T20" fmla="*/ 55 w 57"/>
                    <a:gd name="T21" fmla="*/ 65 h 65"/>
                    <a:gd name="T22" fmla="*/ 6 w 57"/>
                    <a:gd name="T23" fmla="*/ 32 h 65"/>
                    <a:gd name="T24" fmla="*/ 53 w 57"/>
                    <a:gd name="T25" fmla="*/ 59 h 65"/>
                    <a:gd name="T26" fmla="*/ 53 w 57"/>
                    <a:gd name="T27" fmla="*/ 5 h 65"/>
                    <a:gd name="T28" fmla="*/ 6 w 57"/>
                    <a:gd name="T29" fmla="*/ 32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" h="65">
                      <a:moveTo>
                        <a:pt x="55" y="65"/>
                      </a:moveTo>
                      <a:cubicBezTo>
                        <a:pt x="55" y="65"/>
                        <a:pt x="54" y="65"/>
                        <a:pt x="54" y="65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4"/>
                        <a:pt x="0" y="33"/>
                        <a:pt x="0" y="32"/>
                      </a:cubicBezTo>
                      <a:cubicBezTo>
                        <a:pt x="0" y="32"/>
                        <a:pt x="1" y="31"/>
                        <a:pt x="1" y="31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55" y="0"/>
                        <a:pt x="56" y="0"/>
                        <a:pt x="56" y="0"/>
                      </a:cubicBezTo>
                      <a:cubicBezTo>
                        <a:pt x="57" y="0"/>
                        <a:pt x="57" y="1"/>
                        <a:pt x="57" y="2"/>
                      </a:cubicBezTo>
                      <a:cubicBezTo>
                        <a:pt x="57" y="63"/>
                        <a:pt x="57" y="63"/>
                        <a:pt x="57" y="63"/>
                      </a:cubicBezTo>
                      <a:cubicBezTo>
                        <a:pt x="57" y="64"/>
                        <a:pt x="57" y="64"/>
                        <a:pt x="56" y="65"/>
                      </a:cubicBezTo>
                      <a:cubicBezTo>
                        <a:pt x="56" y="65"/>
                        <a:pt x="56" y="65"/>
                        <a:pt x="55" y="65"/>
                      </a:cubicBezTo>
                      <a:close/>
                      <a:moveTo>
                        <a:pt x="6" y="32"/>
                      </a:moveTo>
                      <a:cubicBezTo>
                        <a:pt x="53" y="59"/>
                        <a:pt x="53" y="59"/>
                        <a:pt x="53" y="59"/>
                      </a:cubicBezTo>
                      <a:cubicBezTo>
                        <a:pt x="53" y="5"/>
                        <a:pt x="53" y="5"/>
                        <a:pt x="53" y="5"/>
                      </a:cubicBezTo>
                      <a:lnTo>
                        <a:pt x="6" y="3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51" name="Freeform 763">
                  <a:extLst>
                    <a:ext uri="{FF2B5EF4-FFF2-40B4-BE49-F238E27FC236}">
                      <a16:creationId xmlns:a16="http://schemas.microsoft.com/office/drawing/2014/main" id="{63768303-653C-4AE8-A34C-AAFBE9A9D8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1569"/>
                  <a:ext cx="137" cy="106"/>
                </a:xfrm>
                <a:custGeom>
                  <a:avLst/>
                  <a:gdLst>
                    <a:gd name="T0" fmla="*/ 41 w 58"/>
                    <a:gd name="T1" fmla="*/ 45 h 45"/>
                    <a:gd name="T2" fmla="*/ 40 w 58"/>
                    <a:gd name="T3" fmla="*/ 44 h 45"/>
                    <a:gd name="T4" fmla="*/ 1 w 58"/>
                    <a:gd name="T5" fmla="*/ 22 h 45"/>
                    <a:gd name="T6" fmla="*/ 0 w 58"/>
                    <a:gd name="T7" fmla="*/ 20 h 45"/>
                    <a:gd name="T8" fmla="*/ 0 w 58"/>
                    <a:gd name="T9" fmla="*/ 2 h 45"/>
                    <a:gd name="T10" fmla="*/ 1 w 58"/>
                    <a:gd name="T11" fmla="*/ 1 h 45"/>
                    <a:gd name="T12" fmla="*/ 3 w 58"/>
                    <a:gd name="T13" fmla="*/ 1 h 45"/>
                    <a:gd name="T14" fmla="*/ 57 w 58"/>
                    <a:gd name="T15" fmla="*/ 32 h 45"/>
                    <a:gd name="T16" fmla="*/ 58 w 58"/>
                    <a:gd name="T17" fmla="*/ 34 h 45"/>
                    <a:gd name="T18" fmla="*/ 57 w 58"/>
                    <a:gd name="T19" fmla="*/ 35 h 45"/>
                    <a:gd name="T20" fmla="*/ 42 w 58"/>
                    <a:gd name="T21" fmla="*/ 44 h 45"/>
                    <a:gd name="T22" fmla="*/ 41 w 58"/>
                    <a:gd name="T23" fmla="*/ 45 h 45"/>
                    <a:gd name="T24" fmla="*/ 4 w 58"/>
                    <a:gd name="T25" fmla="*/ 19 h 45"/>
                    <a:gd name="T26" fmla="*/ 41 w 58"/>
                    <a:gd name="T27" fmla="*/ 40 h 45"/>
                    <a:gd name="T28" fmla="*/ 52 w 58"/>
                    <a:gd name="T29" fmla="*/ 34 h 45"/>
                    <a:gd name="T30" fmla="*/ 4 w 58"/>
                    <a:gd name="T31" fmla="*/ 6 h 45"/>
                    <a:gd name="T32" fmla="*/ 4 w 58"/>
                    <a:gd name="T33" fmla="*/ 19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8" h="45">
                      <a:moveTo>
                        <a:pt x="41" y="45"/>
                      </a:moveTo>
                      <a:cubicBezTo>
                        <a:pt x="40" y="45"/>
                        <a:pt x="40" y="45"/>
                        <a:pt x="40" y="44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2"/>
                        <a:pt x="0" y="21"/>
                        <a:pt x="0" y="2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57" y="32"/>
                        <a:pt x="57" y="32"/>
                        <a:pt x="57" y="32"/>
                      </a:cubicBezTo>
                      <a:cubicBezTo>
                        <a:pt x="58" y="32"/>
                        <a:pt x="58" y="33"/>
                        <a:pt x="58" y="34"/>
                      </a:cubicBezTo>
                      <a:cubicBezTo>
                        <a:pt x="58" y="34"/>
                        <a:pt x="58" y="35"/>
                        <a:pt x="57" y="35"/>
                      </a:cubicBez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lose/>
                      <a:moveTo>
                        <a:pt x="4" y="19"/>
                      </a:moveTo>
                      <a:cubicBezTo>
                        <a:pt x="41" y="40"/>
                        <a:pt x="41" y="40"/>
                        <a:pt x="41" y="40"/>
                      </a:cubicBezTo>
                      <a:cubicBezTo>
                        <a:pt x="52" y="34"/>
                        <a:pt x="52" y="34"/>
                        <a:pt x="52" y="34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52" name="Freeform 764">
                  <a:extLst>
                    <a:ext uri="{FF2B5EF4-FFF2-40B4-BE49-F238E27FC236}">
                      <a16:creationId xmlns:a16="http://schemas.microsoft.com/office/drawing/2014/main" id="{D178736A-CDBE-4575-A9C4-4BA6C40CAA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5" y="1571"/>
                  <a:ext cx="354" cy="232"/>
                </a:xfrm>
                <a:custGeom>
                  <a:avLst/>
                  <a:gdLst>
                    <a:gd name="T0" fmla="*/ 57 w 150"/>
                    <a:gd name="T1" fmla="*/ 98 h 98"/>
                    <a:gd name="T2" fmla="*/ 56 w 150"/>
                    <a:gd name="T3" fmla="*/ 97 h 98"/>
                    <a:gd name="T4" fmla="*/ 1 w 150"/>
                    <a:gd name="T5" fmla="*/ 66 h 98"/>
                    <a:gd name="T6" fmla="*/ 0 w 150"/>
                    <a:gd name="T7" fmla="*/ 64 h 98"/>
                    <a:gd name="T8" fmla="*/ 1 w 150"/>
                    <a:gd name="T9" fmla="*/ 62 h 98"/>
                    <a:gd name="T10" fmla="*/ 109 w 150"/>
                    <a:gd name="T11" fmla="*/ 1 h 98"/>
                    <a:gd name="T12" fmla="*/ 111 w 150"/>
                    <a:gd name="T13" fmla="*/ 1 h 98"/>
                    <a:gd name="T14" fmla="*/ 112 w 150"/>
                    <a:gd name="T15" fmla="*/ 2 h 98"/>
                    <a:gd name="T16" fmla="*/ 112 w 150"/>
                    <a:gd name="T17" fmla="*/ 19 h 98"/>
                    <a:gd name="T18" fmla="*/ 149 w 150"/>
                    <a:gd name="T19" fmla="*/ 41 h 98"/>
                    <a:gd name="T20" fmla="*/ 150 w 150"/>
                    <a:gd name="T21" fmla="*/ 43 h 98"/>
                    <a:gd name="T22" fmla="*/ 149 w 150"/>
                    <a:gd name="T23" fmla="*/ 44 h 98"/>
                    <a:gd name="T24" fmla="*/ 58 w 150"/>
                    <a:gd name="T25" fmla="*/ 97 h 98"/>
                    <a:gd name="T26" fmla="*/ 57 w 150"/>
                    <a:gd name="T27" fmla="*/ 98 h 98"/>
                    <a:gd name="T28" fmla="*/ 6 w 150"/>
                    <a:gd name="T29" fmla="*/ 64 h 98"/>
                    <a:gd name="T30" fmla="*/ 57 w 150"/>
                    <a:gd name="T31" fmla="*/ 93 h 98"/>
                    <a:gd name="T32" fmla="*/ 144 w 150"/>
                    <a:gd name="T33" fmla="*/ 43 h 98"/>
                    <a:gd name="T34" fmla="*/ 109 w 150"/>
                    <a:gd name="T35" fmla="*/ 22 h 98"/>
                    <a:gd name="T36" fmla="*/ 108 w 150"/>
                    <a:gd name="T37" fmla="*/ 20 h 98"/>
                    <a:gd name="T38" fmla="*/ 108 w 150"/>
                    <a:gd name="T39" fmla="*/ 6 h 98"/>
                    <a:gd name="T40" fmla="*/ 6 w 150"/>
                    <a:gd name="T41" fmla="*/ 6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0" h="98">
                      <a:moveTo>
                        <a:pt x="57" y="98"/>
                      </a:moveTo>
                      <a:cubicBezTo>
                        <a:pt x="56" y="98"/>
                        <a:pt x="56" y="97"/>
                        <a:pt x="56" y="97"/>
                      </a:cubicBezTo>
                      <a:cubicBezTo>
                        <a:pt x="1" y="66"/>
                        <a:pt x="1" y="66"/>
                        <a:pt x="1" y="66"/>
                      </a:cubicBezTo>
                      <a:cubicBezTo>
                        <a:pt x="1" y="66"/>
                        <a:pt x="0" y="65"/>
                        <a:pt x="0" y="64"/>
                      </a:cubicBezTo>
                      <a:cubicBezTo>
                        <a:pt x="0" y="63"/>
                        <a:pt x="1" y="63"/>
                        <a:pt x="1" y="62"/>
                      </a:cubicBezTo>
                      <a:cubicBezTo>
                        <a:pt x="109" y="1"/>
                        <a:pt x="109" y="1"/>
                        <a:pt x="109" y="1"/>
                      </a:cubicBezTo>
                      <a:cubicBezTo>
                        <a:pt x="109" y="0"/>
                        <a:pt x="110" y="0"/>
                        <a:pt x="111" y="1"/>
                      </a:cubicBezTo>
                      <a:cubicBezTo>
                        <a:pt x="111" y="1"/>
                        <a:pt x="112" y="2"/>
                        <a:pt x="112" y="2"/>
                      </a:cubicBezTo>
                      <a:cubicBezTo>
                        <a:pt x="112" y="19"/>
                        <a:pt x="112" y="19"/>
                        <a:pt x="112" y="19"/>
                      </a:cubicBezTo>
                      <a:cubicBezTo>
                        <a:pt x="149" y="41"/>
                        <a:pt x="149" y="41"/>
                        <a:pt x="149" y="41"/>
                      </a:cubicBezTo>
                      <a:cubicBezTo>
                        <a:pt x="150" y="41"/>
                        <a:pt x="150" y="42"/>
                        <a:pt x="150" y="43"/>
                      </a:cubicBezTo>
                      <a:cubicBezTo>
                        <a:pt x="150" y="43"/>
                        <a:pt x="150" y="44"/>
                        <a:pt x="149" y="44"/>
                      </a:cubicBezTo>
                      <a:cubicBezTo>
                        <a:pt x="58" y="97"/>
                        <a:pt x="58" y="97"/>
                        <a:pt x="58" y="97"/>
                      </a:cubicBezTo>
                      <a:cubicBezTo>
                        <a:pt x="57" y="97"/>
                        <a:pt x="57" y="98"/>
                        <a:pt x="57" y="98"/>
                      </a:cubicBezTo>
                      <a:close/>
                      <a:moveTo>
                        <a:pt x="6" y="64"/>
                      </a:moveTo>
                      <a:cubicBezTo>
                        <a:pt x="57" y="93"/>
                        <a:pt x="57" y="93"/>
                        <a:pt x="57" y="93"/>
                      </a:cubicBezTo>
                      <a:cubicBezTo>
                        <a:pt x="144" y="43"/>
                        <a:pt x="144" y="43"/>
                        <a:pt x="144" y="43"/>
                      </a:cubicBezTo>
                      <a:cubicBezTo>
                        <a:pt x="109" y="22"/>
                        <a:pt x="109" y="22"/>
                        <a:pt x="109" y="22"/>
                      </a:cubicBezTo>
                      <a:cubicBezTo>
                        <a:pt x="108" y="22"/>
                        <a:pt x="108" y="21"/>
                        <a:pt x="108" y="20"/>
                      </a:cubicBezTo>
                      <a:cubicBezTo>
                        <a:pt x="108" y="6"/>
                        <a:pt x="108" y="6"/>
                        <a:pt x="108" y="6"/>
                      </a:cubicBezTo>
                      <a:lnTo>
                        <a:pt x="6" y="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53" name="Freeform 765">
                  <a:extLst>
                    <a:ext uri="{FF2B5EF4-FFF2-40B4-BE49-F238E27FC236}">
                      <a16:creationId xmlns:a16="http://schemas.microsoft.com/office/drawing/2014/main" id="{A1710B96-6DD7-4BC9-B10B-4E99AE3A7E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1285"/>
                  <a:ext cx="24" cy="288"/>
                </a:xfrm>
                <a:custGeom>
                  <a:avLst/>
                  <a:gdLst>
                    <a:gd name="T0" fmla="*/ 2 w 10"/>
                    <a:gd name="T1" fmla="*/ 122 h 122"/>
                    <a:gd name="T2" fmla="*/ 1 w 10"/>
                    <a:gd name="T3" fmla="*/ 122 h 122"/>
                    <a:gd name="T4" fmla="*/ 0 w 10"/>
                    <a:gd name="T5" fmla="*/ 120 h 122"/>
                    <a:gd name="T6" fmla="*/ 0 w 10"/>
                    <a:gd name="T7" fmla="*/ 2 h 122"/>
                    <a:gd name="T8" fmla="*/ 1 w 10"/>
                    <a:gd name="T9" fmla="*/ 1 h 122"/>
                    <a:gd name="T10" fmla="*/ 3 w 10"/>
                    <a:gd name="T11" fmla="*/ 1 h 122"/>
                    <a:gd name="T12" fmla="*/ 9 w 10"/>
                    <a:gd name="T13" fmla="*/ 4 h 122"/>
                    <a:gd name="T14" fmla="*/ 10 w 10"/>
                    <a:gd name="T15" fmla="*/ 6 h 122"/>
                    <a:gd name="T16" fmla="*/ 10 w 10"/>
                    <a:gd name="T17" fmla="*/ 117 h 122"/>
                    <a:gd name="T18" fmla="*/ 9 w 10"/>
                    <a:gd name="T19" fmla="*/ 119 h 122"/>
                    <a:gd name="T20" fmla="*/ 3 w 10"/>
                    <a:gd name="T21" fmla="*/ 122 h 122"/>
                    <a:gd name="T22" fmla="*/ 2 w 10"/>
                    <a:gd name="T23" fmla="*/ 122 h 122"/>
                    <a:gd name="T24" fmla="*/ 4 w 10"/>
                    <a:gd name="T25" fmla="*/ 6 h 122"/>
                    <a:gd name="T26" fmla="*/ 4 w 10"/>
                    <a:gd name="T27" fmla="*/ 117 h 122"/>
                    <a:gd name="T28" fmla="*/ 6 w 10"/>
                    <a:gd name="T29" fmla="*/ 116 h 122"/>
                    <a:gd name="T30" fmla="*/ 6 w 10"/>
                    <a:gd name="T31" fmla="*/ 7 h 122"/>
                    <a:gd name="T32" fmla="*/ 4 w 10"/>
                    <a:gd name="T33" fmla="*/ 6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" h="122">
                      <a:moveTo>
                        <a:pt x="2" y="122"/>
                      </a:moveTo>
                      <a:cubicBezTo>
                        <a:pt x="2" y="122"/>
                        <a:pt x="1" y="122"/>
                        <a:pt x="1" y="122"/>
                      </a:cubicBezTo>
                      <a:cubicBezTo>
                        <a:pt x="1" y="122"/>
                        <a:pt x="0" y="121"/>
                        <a:pt x="0" y="12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5"/>
                        <a:pt x="10" y="6"/>
                      </a:cubicBezTo>
                      <a:cubicBezTo>
                        <a:pt x="10" y="117"/>
                        <a:pt x="10" y="117"/>
                        <a:pt x="10" y="117"/>
                      </a:cubicBezTo>
                      <a:cubicBezTo>
                        <a:pt x="10" y="118"/>
                        <a:pt x="10" y="118"/>
                        <a:pt x="9" y="119"/>
                      </a:cubicBezTo>
                      <a:cubicBezTo>
                        <a:pt x="3" y="122"/>
                        <a:pt x="3" y="122"/>
                        <a:pt x="3" y="122"/>
                      </a:cubicBezTo>
                      <a:cubicBezTo>
                        <a:pt x="3" y="122"/>
                        <a:pt x="3" y="122"/>
                        <a:pt x="2" y="122"/>
                      </a:cubicBezTo>
                      <a:close/>
                      <a:moveTo>
                        <a:pt x="4" y="6"/>
                      </a:moveTo>
                      <a:cubicBezTo>
                        <a:pt x="4" y="117"/>
                        <a:pt x="4" y="117"/>
                        <a:pt x="4" y="117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54" name="Freeform 766">
                  <a:extLst>
                    <a:ext uri="{FF2B5EF4-FFF2-40B4-BE49-F238E27FC236}">
                      <a16:creationId xmlns:a16="http://schemas.microsoft.com/office/drawing/2014/main" id="{0F16EBFC-99D3-4922-96CD-83C0EA27E4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640"/>
                  <a:ext cx="119" cy="137"/>
                </a:xfrm>
                <a:custGeom>
                  <a:avLst/>
                  <a:gdLst>
                    <a:gd name="T0" fmla="*/ 2 w 50"/>
                    <a:gd name="T1" fmla="*/ 58 h 58"/>
                    <a:gd name="T2" fmla="*/ 1 w 50"/>
                    <a:gd name="T3" fmla="*/ 58 h 58"/>
                    <a:gd name="T4" fmla="*/ 0 w 50"/>
                    <a:gd name="T5" fmla="*/ 56 h 58"/>
                    <a:gd name="T6" fmla="*/ 0 w 50"/>
                    <a:gd name="T7" fmla="*/ 2 h 58"/>
                    <a:gd name="T8" fmla="*/ 1 w 50"/>
                    <a:gd name="T9" fmla="*/ 0 h 58"/>
                    <a:gd name="T10" fmla="*/ 3 w 50"/>
                    <a:gd name="T11" fmla="*/ 0 h 58"/>
                    <a:gd name="T12" fmla="*/ 49 w 50"/>
                    <a:gd name="T13" fmla="*/ 28 h 58"/>
                    <a:gd name="T14" fmla="*/ 50 w 50"/>
                    <a:gd name="T15" fmla="*/ 29 h 58"/>
                    <a:gd name="T16" fmla="*/ 49 w 50"/>
                    <a:gd name="T17" fmla="*/ 31 h 58"/>
                    <a:gd name="T18" fmla="*/ 3 w 50"/>
                    <a:gd name="T19" fmla="*/ 58 h 58"/>
                    <a:gd name="T20" fmla="*/ 2 w 50"/>
                    <a:gd name="T21" fmla="*/ 58 h 58"/>
                    <a:gd name="T22" fmla="*/ 4 w 50"/>
                    <a:gd name="T23" fmla="*/ 6 h 58"/>
                    <a:gd name="T24" fmla="*/ 4 w 50"/>
                    <a:gd name="T25" fmla="*/ 53 h 58"/>
                    <a:gd name="T26" fmla="*/ 44 w 50"/>
                    <a:gd name="T27" fmla="*/ 29 h 58"/>
                    <a:gd name="T28" fmla="*/ 4 w 50"/>
                    <a:gd name="T29" fmla="*/ 6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0" h="58">
                      <a:moveTo>
                        <a:pt x="2" y="58"/>
                      </a:move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58"/>
                        <a:pt x="0" y="57"/>
                        <a:pt x="0" y="5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50" y="28"/>
                        <a:pt x="50" y="29"/>
                        <a:pt x="50" y="29"/>
                      </a:cubicBezTo>
                      <a:cubicBezTo>
                        <a:pt x="50" y="30"/>
                        <a:pt x="50" y="31"/>
                        <a:pt x="49" y="31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2" y="58"/>
                        <a:pt x="2" y="58"/>
                        <a:pt x="2" y="58"/>
                      </a:cubicBezTo>
                      <a:close/>
                      <a:moveTo>
                        <a:pt x="4" y="6"/>
                      </a:move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500" name="Group 968">
                <a:extLst>
                  <a:ext uri="{FF2B5EF4-FFF2-40B4-BE49-F238E27FC236}">
                    <a16:creationId xmlns:a16="http://schemas.microsoft.com/office/drawing/2014/main" id="{AFA2C628-2E69-46BA-8B60-C52F11934F6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480" y="120"/>
                <a:ext cx="3963" cy="4319"/>
                <a:chOff x="8480" y="120"/>
                <a:chExt cx="3963" cy="4319"/>
              </a:xfrm>
              <a:grpFill/>
            </p:grpSpPr>
            <p:sp>
              <p:nvSpPr>
                <p:cNvPr id="1655" name="Freeform 768">
                  <a:extLst>
                    <a:ext uri="{FF2B5EF4-FFF2-40B4-BE49-F238E27FC236}">
                      <a16:creationId xmlns:a16="http://schemas.microsoft.com/office/drawing/2014/main" id="{8F230213-7266-4AFD-BCB2-363E1DDA23B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1720"/>
                  <a:ext cx="137" cy="106"/>
                </a:xfrm>
                <a:custGeom>
                  <a:avLst/>
                  <a:gdLst>
                    <a:gd name="T0" fmla="*/ 39 w 58"/>
                    <a:gd name="T1" fmla="*/ 45 h 45"/>
                    <a:gd name="T2" fmla="*/ 38 w 58"/>
                    <a:gd name="T3" fmla="*/ 45 h 45"/>
                    <a:gd name="T4" fmla="*/ 1 w 58"/>
                    <a:gd name="T5" fmla="*/ 23 h 45"/>
                    <a:gd name="T6" fmla="*/ 0 w 58"/>
                    <a:gd name="T7" fmla="*/ 21 h 45"/>
                    <a:gd name="T8" fmla="*/ 0 w 58"/>
                    <a:gd name="T9" fmla="*/ 2 h 45"/>
                    <a:gd name="T10" fmla="*/ 1 w 58"/>
                    <a:gd name="T11" fmla="*/ 0 h 45"/>
                    <a:gd name="T12" fmla="*/ 3 w 58"/>
                    <a:gd name="T13" fmla="*/ 0 h 45"/>
                    <a:gd name="T14" fmla="*/ 57 w 58"/>
                    <a:gd name="T15" fmla="*/ 32 h 45"/>
                    <a:gd name="T16" fmla="*/ 58 w 58"/>
                    <a:gd name="T17" fmla="*/ 34 h 45"/>
                    <a:gd name="T18" fmla="*/ 57 w 58"/>
                    <a:gd name="T19" fmla="*/ 35 h 45"/>
                    <a:gd name="T20" fmla="*/ 40 w 58"/>
                    <a:gd name="T21" fmla="*/ 45 h 45"/>
                    <a:gd name="T22" fmla="*/ 39 w 58"/>
                    <a:gd name="T23" fmla="*/ 45 h 45"/>
                    <a:gd name="T24" fmla="*/ 4 w 58"/>
                    <a:gd name="T25" fmla="*/ 20 h 45"/>
                    <a:gd name="T26" fmla="*/ 39 w 58"/>
                    <a:gd name="T27" fmla="*/ 41 h 45"/>
                    <a:gd name="T28" fmla="*/ 52 w 58"/>
                    <a:gd name="T29" fmla="*/ 34 h 45"/>
                    <a:gd name="T30" fmla="*/ 4 w 58"/>
                    <a:gd name="T31" fmla="*/ 6 h 45"/>
                    <a:gd name="T32" fmla="*/ 4 w 58"/>
                    <a:gd name="T33" fmla="*/ 2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8" h="45">
                      <a:moveTo>
                        <a:pt x="39" y="45"/>
                      </a:moveTo>
                      <a:cubicBezTo>
                        <a:pt x="39" y="45"/>
                        <a:pt x="39" y="45"/>
                        <a:pt x="38" y="45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57" y="32"/>
                        <a:pt x="57" y="32"/>
                        <a:pt x="57" y="32"/>
                      </a:cubicBezTo>
                      <a:cubicBezTo>
                        <a:pt x="58" y="32"/>
                        <a:pt x="58" y="33"/>
                        <a:pt x="58" y="34"/>
                      </a:cubicBezTo>
                      <a:cubicBezTo>
                        <a:pt x="58" y="34"/>
                        <a:pt x="58" y="35"/>
                        <a:pt x="57" y="35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ubicBezTo>
                        <a:pt x="40" y="45"/>
                        <a:pt x="40" y="45"/>
                        <a:pt x="39" y="45"/>
                      </a:cubicBezTo>
                      <a:close/>
                      <a:moveTo>
                        <a:pt x="4" y="20"/>
                      </a:moveTo>
                      <a:cubicBezTo>
                        <a:pt x="39" y="41"/>
                        <a:pt x="39" y="41"/>
                        <a:pt x="39" y="41"/>
                      </a:cubicBezTo>
                      <a:cubicBezTo>
                        <a:pt x="52" y="34"/>
                        <a:pt x="52" y="34"/>
                        <a:pt x="52" y="34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56" name="Freeform 769">
                  <a:extLst>
                    <a:ext uri="{FF2B5EF4-FFF2-40B4-BE49-F238E27FC236}">
                      <a16:creationId xmlns:a16="http://schemas.microsoft.com/office/drawing/2014/main" id="{841720B7-F37D-4FED-921C-07106BEE0B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344"/>
                  <a:ext cx="106" cy="96"/>
                </a:xfrm>
                <a:custGeom>
                  <a:avLst/>
                  <a:gdLst>
                    <a:gd name="T0" fmla="*/ 2 w 45"/>
                    <a:gd name="T1" fmla="*/ 41 h 41"/>
                    <a:gd name="T2" fmla="*/ 1 w 45"/>
                    <a:gd name="T3" fmla="*/ 41 h 41"/>
                    <a:gd name="T4" fmla="*/ 0 w 45"/>
                    <a:gd name="T5" fmla="*/ 39 h 41"/>
                    <a:gd name="T6" fmla="*/ 0 w 45"/>
                    <a:gd name="T7" fmla="*/ 2 h 41"/>
                    <a:gd name="T8" fmla="*/ 1 w 45"/>
                    <a:gd name="T9" fmla="*/ 1 h 41"/>
                    <a:gd name="T10" fmla="*/ 3 w 45"/>
                    <a:gd name="T11" fmla="*/ 1 h 41"/>
                    <a:gd name="T12" fmla="*/ 20 w 45"/>
                    <a:gd name="T13" fmla="*/ 10 h 41"/>
                    <a:gd name="T14" fmla="*/ 28 w 45"/>
                    <a:gd name="T15" fmla="*/ 5 h 41"/>
                    <a:gd name="T16" fmla="*/ 30 w 45"/>
                    <a:gd name="T17" fmla="*/ 5 h 41"/>
                    <a:gd name="T18" fmla="*/ 31 w 45"/>
                    <a:gd name="T19" fmla="*/ 7 h 41"/>
                    <a:gd name="T20" fmla="*/ 31 w 45"/>
                    <a:gd name="T21" fmla="*/ 7 h 41"/>
                    <a:gd name="T22" fmla="*/ 44 w 45"/>
                    <a:gd name="T23" fmla="*/ 14 h 41"/>
                    <a:gd name="T24" fmla="*/ 45 w 45"/>
                    <a:gd name="T25" fmla="*/ 16 h 41"/>
                    <a:gd name="T26" fmla="*/ 44 w 45"/>
                    <a:gd name="T27" fmla="*/ 18 h 41"/>
                    <a:gd name="T28" fmla="*/ 3 w 45"/>
                    <a:gd name="T29" fmla="*/ 41 h 41"/>
                    <a:gd name="T30" fmla="*/ 2 w 45"/>
                    <a:gd name="T31" fmla="*/ 41 h 41"/>
                    <a:gd name="T32" fmla="*/ 4 w 45"/>
                    <a:gd name="T33" fmla="*/ 6 h 41"/>
                    <a:gd name="T34" fmla="*/ 4 w 45"/>
                    <a:gd name="T35" fmla="*/ 36 h 41"/>
                    <a:gd name="T36" fmla="*/ 39 w 45"/>
                    <a:gd name="T37" fmla="*/ 16 h 41"/>
                    <a:gd name="T38" fmla="*/ 28 w 45"/>
                    <a:gd name="T39" fmla="*/ 10 h 41"/>
                    <a:gd name="T40" fmla="*/ 28 w 45"/>
                    <a:gd name="T41" fmla="*/ 10 h 41"/>
                    <a:gd name="T42" fmla="*/ 21 w 45"/>
                    <a:gd name="T43" fmla="*/ 14 h 41"/>
                    <a:gd name="T44" fmla="*/ 19 w 45"/>
                    <a:gd name="T45" fmla="*/ 14 h 41"/>
                    <a:gd name="T46" fmla="*/ 4 w 45"/>
                    <a:gd name="T47" fmla="*/ 6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5" h="41">
                      <a:moveTo>
                        <a:pt x="2" y="41"/>
                      </a:moveTo>
                      <a:cubicBezTo>
                        <a:pt x="2" y="41"/>
                        <a:pt x="2" y="41"/>
                        <a:pt x="1" y="41"/>
                      </a:cubicBezTo>
                      <a:cubicBezTo>
                        <a:pt x="1" y="41"/>
                        <a:pt x="0" y="40"/>
                        <a:pt x="0" y="3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9" y="5"/>
                        <a:pt x="30" y="5"/>
                        <a:pt x="30" y="5"/>
                      </a:cubicBezTo>
                      <a:cubicBezTo>
                        <a:pt x="31" y="6"/>
                        <a:pt x="31" y="6"/>
                        <a:pt x="31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44" y="14"/>
                        <a:pt x="44" y="14"/>
                        <a:pt x="44" y="14"/>
                      </a:cubicBezTo>
                      <a:cubicBezTo>
                        <a:pt x="44" y="15"/>
                        <a:pt x="45" y="15"/>
                        <a:pt x="45" y="16"/>
                      </a:cubicBezTo>
                      <a:cubicBezTo>
                        <a:pt x="45" y="17"/>
                        <a:pt x="44" y="17"/>
                        <a:pt x="44" y="18"/>
                      </a:cubicBezTo>
                      <a:cubicBezTo>
                        <a:pt x="3" y="41"/>
                        <a:pt x="3" y="41"/>
                        <a:pt x="3" y="41"/>
                      </a:cubicBezTo>
                      <a:cubicBezTo>
                        <a:pt x="3" y="41"/>
                        <a:pt x="3" y="41"/>
                        <a:pt x="2" y="41"/>
                      </a:cubicBezTo>
                      <a:close/>
                      <a:moveTo>
                        <a:pt x="4" y="6"/>
                      </a:move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28" y="10"/>
                        <a:pt x="28" y="10"/>
                        <a:pt x="28" y="10"/>
                      </a:cubicBezTo>
                      <a:cubicBezTo>
                        <a:pt x="28" y="10"/>
                        <a:pt x="28" y="10"/>
                        <a:pt x="28" y="10"/>
                      </a:cubicBezTo>
                      <a:cubicBezTo>
                        <a:pt x="21" y="14"/>
                        <a:pt x="21" y="14"/>
                        <a:pt x="21" y="14"/>
                      </a:cubicBezTo>
                      <a:cubicBezTo>
                        <a:pt x="20" y="15"/>
                        <a:pt x="19" y="15"/>
                        <a:pt x="19" y="14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57" name="Freeform 770">
                  <a:extLst>
                    <a:ext uri="{FF2B5EF4-FFF2-40B4-BE49-F238E27FC236}">
                      <a16:creationId xmlns:a16="http://schemas.microsoft.com/office/drawing/2014/main" id="{1B8EA2ED-AE89-40D9-8F9F-9027B1172B7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824"/>
                  <a:ext cx="38" cy="189"/>
                </a:xfrm>
                <a:custGeom>
                  <a:avLst/>
                  <a:gdLst>
                    <a:gd name="T0" fmla="*/ 2 w 16"/>
                    <a:gd name="T1" fmla="*/ 80 h 80"/>
                    <a:gd name="T2" fmla="*/ 1 w 16"/>
                    <a:gd name="T3" fmla="*/ 80 h 80"/>
                    <a:gd name="T4" fmla="*/ 0 w 16"/>
                    <a:gd name="T5" fmla="*/ 78 h 80"/>
                    <a:gd name="T6" fmla="*/ 0 w 16"/>
                    <a:gd name="T7" fmla="*/ 9 h 80"/>
                    <a:gd name="T8" fmla="*/ 1 w 16"/>
                    <a:gd name="T9" fmla="*/ 8 h 80"/>
                    <a:gd name="T10" fmla="*/ 13 w 16"/>
                    <a:gd name="T11" fmla="*/ 1 h 80"/>
                    <a:gd name="T12" fmla="*/ 15 w 16"/>
                    <a:gd name="T13" fmla="*/ 1 h 80"/>
                    <a:gd name="T14" fmla="*/ 16 w 16"/>
                    <a:gd name="T15" fmla="*/ 2 h 80"/>
                    <a:gd name="T16" fmla="*/ 16 w 16"/>
                    <a:gd name="T17" fmla="*/ 71 h 80"/>
                    <a:gd name="T18" fmla="*/ 15 w 16"/>
                    <a:gd name="T19" fmla="*/ 73 h 80"/>
                    <a:gd name="T20" fmla="*/ 3 w 16"/>
                    <a:gd name="T21" fmla="*/ 80 h 80"/>
                    <a:gd name="T22" fmla="*/ 2 w 16"/>
                    <a:gd name="T23" fmla="*/ 80 h 80"/>
                    <a:gd name="T24" fmla="*/ 4 w 16"/>
                    <a:gd name="T25" fmla="*/ 11 h 80"/>
                    <a:gd name="T26" fmla="*/ 4 w 16"/>
                    <a:gd name="T27" fmla="*/ 75 h 80"/>
                    <a:gd name="T28" fmla="*/ 12 w 16"/>
                    <a:gd name="T29" fmla="*/ 70 h 80"/>
                    <a:gd name="T30" fmla="*/ 12 w 16"/>
                    <a:gd name="T31" fmla="*/ 6 h 80"/>
                    <a:gd name="T32" fmla="*/ 4 w 16"/>
                    <a:gd name="T33" fmla="*/ 1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80">
                      <a:moveTo>
                        <a:pt x="2" y="80"/>
                      </a:moveTo>
                      <a:cubicBezTo>
                        <a:pt x="1" y="80"/>
                        <a:pt x="1" y="80"/>
                        <a:pt x="1" y="80"/>
                      </a:cubicBezTo>
                      <a:cubicBezTo>
                        <a:pt x="0" y="79"/>
                        <a:pt x="0" y="79"/>
                        <a:pt x="0" y="7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8"/>
                        <a:pt x="1" y="8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15" y="1"/>
                        <a:pt x="16" y="2"/>
                        <a:pt x="16" y="2"/>
                      </a:cubicBezTo>
                      <a:cubicBezTo>
                        <a:pt x="16" y="71"/>
                        <a:pt x="16" y="71"/>
                        <a:pt x="16" y="71"/>
                      </a:cubicBezTo>
                      <a:cubicBezTo>
                        <a:pt x="16" y="72"/>
                        <a:pt x="15" y="72"/>
                        <a:pt x="15" y="73"/>
                      </a:cubicBezTo>
                      <a:cubicBezTo>
                        <a:pt x="3" y="80"/>
                        <a:pt x="3" y="80"/>
                        <a:pt x="3" y="80"/>
                      </a:cubicBezTo>
                      <a:cubicBezTo>
                        <a:pt x="2" y="80"/>
                        <a:pt x="2" y="80"/>
                        <a:pt x="2" y="80"/>
                      </a:cubicBezTo>
                      <a:close/>
                      <a:moveTo>
                        <a:pt x="4" y="11"/>
                      </a:moveTo>
                      <a:cubicBezTo>
                        <a:pt x="4" y="75"/>
                        <a:pt x="4" y="75"/>
                        <a:pt x="4" y="75"/>
                      </a:cubicBezTo>
                      <a:cubicBezTo>
                        <a:pt x="12" y="70"/>
                        <a:pt x="12" y="70"/>
                        <a:pt x="12" y="70"/>
                      </a:cubicBezTo>
                      <a:cubicBezTo>
                        <a:pt x="12" y="6"/>
                        <a:pt x="12" y="6"/>
                        <a:pt x="12" y="6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58" name="Freeform 771">
                  <a:extLst>
                    <a:ext uri="{FF2B5EF4-FFF2-40B4-BE49-F238E27FC236}">
                      <a16:creationId xmlns:a16="http://schemas.microsoft.com/office/drawing/2014/main" id="{0E18BAC2-A6B0-48EC-9B80-F0A9177E1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80" y="2157"/>
                  <a:ext cx="97" cy="54"/>
                </a:xfrm>
                <a:custGeom>
                  <a:avLst/>
                  <a:gdLst>
                    <a:gd name="T0" fmla="*/ 32 w 41"/>
                    <a:gd name="T1" fmla="*/ 23 h 23"/>
                    <a:gd name="T2" fmla="*/ 31 w 41"/>
                    <a:gd name="T3" fmla="*/ 23 h 23"/>
                    <a:gd name="T4" fmla="*/ 24 w 41"/>
                    <a:gd name="T5" fmla="*/ 19 h 23"/>
                    <a:gd name="T6" fmla="*/ 24 w 41"/>
                    <a:gd name="T7" fmla="*/ 20 h 23"/>
                    <a:gd name="T8" fmla="*/ 23 w 41"/>
                    <a:gd name="T9" fmla="*/ 22 h 23"/>
                    <a:gd name="T10" fmla="*/ 21 w 41"/>
                    <a:gd name="T11" fmla="*/ 22 h 23"/>
                    <a:gd name="T12" fmla="*/ 1 w 41"/>
                    <a:gd name="T13" fmla="*/ 10 h 23"/>
                    <a:gd name="T14" fmla="*/ 0 w 41"/>
                    <a:gd name="T15" fmla="*/ 8 h 23"/>
                    <a:gd name="T16" fmla="*/ 1 w 41"/>
                    <a:gd name="T17" fmla="*/ 7 h 23"/>
                    <a:gd name="T18" fmla="*/ 12 w 41"/>
                    <a:gd name="T19" fmla="*/ 0 h 23"/>
                    <a:gd name="T20" fmla="*/ 14 w 41"/>
                    <a:gd name="T21" fmla="*/ 0 h 23"/>
                    <a:gd name="T22" fmla="*/ 40 w 41"/>
                    <a:gd name="T23" fmla="*/ 15 h 23"/>
                    <a:gd name="T24" fmla="*/ 41 w 41"/>
                    <a:gd name="T25" fmla="*/ 17 h 23"/>
                    <a:gd name="T26" fmla="*/ 40 w 41"/>
                    <a:gd name="T27" fmla="*/ 19 h 23"/>
                    <a:gd name="T28" fmla="*/ 33 w 41"/>
                    <a:gd name="T29" fmla="*/ 23 h 23"/>
                    <a:gd name="T30" fmla="*/ 32 w 41"/>
                    <a:gd name="T31" fmla="*/ 23 h 23"/>
                    <a:gd name="T32" fmla="*/ 22 w 41"/>
                    <a:gd name="T33" fmla="*/ 13 h 23"/>
                    <a:gd name="T34" fmla="*/ 23 w 41"/>
                    <a:gd name="T35" fmla="*/ 14 h 23"/>
                    <a:gd name="T36" fmla="*/ 32 w 41"/>
                    <a:gd name="T37" fmla="*/ 19 h 23"/>
                    <a:gd name="T38" fmla="*/ 35 w 41"/>
                    <a:gd name="T39" fmla="*/ 17 h 23"/>
                    <a:gd name="T40" fmla="*/ 13 w 41"/>
                    <a:gd name="T41" fmla="*/ 4 h 23"/>
                    <a:gd name="T42" fmla="*/ 6 w 41"/>
                    <a:gd name="T43" fmla="*/ 8 h 23"/>
                    <a:gd name="T44" fmla="*/ 20 w 41"/>
                    <a:gd name="T45" fmla="*/ 17 h 23"/>
                    <a:gd name="T46" fmla="*/ 20 w 41"/>
                    <a:gd name="T47" fmla="*/ 15 h 23"/>
                    <a:gd name="T48" fmla="*/ 21 w 41"/>
                    <a:gd name="T49" fmla="*/ 14 h 23"/>
                    <a:gd name="T50" fmla="*/ 22 w 41"/>
                    <a:gd name="T51" fmla="*/ 1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1" h="23">
                      <a:moveTo>
                        <a:pt x="32" y="23"/>
                      </a:moveTo>
                      <a:cubicBezTo>
                        <a:pt x="32" y="23"/>
                        <a:pt x="31" y="23"/>
                        <a:pt x="31" y="23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3" y="22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40" y="15"/>
                        <a:pt x="40" y="15"/>
                        <a:pt x="40" y="15"/>
                      </a:cubicBezTo>
                      <a:cubicBezTo>
                        <a:pt x="40" y="16"/>
                        <a:pt x="41" y="16"/>
                        <a:pt x="41" y="17"/>
                      </a:cubicBezTo>
                      <a:cubicBezTo>
                        <a:pt x="41" y="18"/>
                        <a:pt x="40" y="19"/>
                        <a:pt x="40" y="19"/>
                      </a:cubicBezTo>
                      <a:cubicBezTo>
                        <a:pt x="33" y="23"/>
                        <a:pt x="33" y="23"/>
                        <a:pt x="33" y="23"/>
                      </a:cubicBezTo>
                      <a:cubicBezTo>
                        <a:pt x="33" y="23"/>
                        <a:pt x="32" y="23"/>
                        <a:pt x="32" y="23"/>
                      </a:cubicBezTo>
                      <a:close/>
                      <a:moveTo>
                        <a:pt x="22" y="13"/>
                      </a:moveTo>
                      <a:cubicBezTo>
                        <a:pt x="23" y="13"/>
                        <a:pt x="23" y="14"/>
                        <a:pt x="23" y="14"/>
                      </a:cubicBezTo>
                      <a:cubicBezTo>
                        <a:pt x="32" y="19"/>
                        <a:pt x="32" y="19"/>
                        <a:pt x="32" y="19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20" y="17"/>
                        <a:pt x="20" y="17"/>
                        <a:pt x="20" y="17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20" y="15"/>
                        <a:pt x="21" y="14"/>
                        <a:pt x="21" y="14"/>
                      </a:cubicBezTo>
                      <a:cubicBezTo>
                        <a:pt x="22" y="14"/>
                        <a:pt x="22" y="13"/>
                        <a:pt x="22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59" name="Freeform 772">
                  <a:extLst>
                    <a:ext uri="{FF2B5EF4-FFF2-40B4-BE49-F238E27FC236}">
                      <a16:creationId xmlns:a16="http://schemas.microsoft.com/office/drawing/2014/main" id="{4BB252DC-B8FF-4701-B566-1C5C490F47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221"/>
                  <a:ext cx="73" cy="153"/>
                </a:xfrm>
                <a:custGeom>
                  <a:avLst/>
                  <a:gdLst>
                    <a:gd name="T0" fmla="*/ 20 w 31"/>
                    <a:gd name="T1" fmla="*/ 65 h 65"/>
                    <a:gd name="T2" fmla="*/ 19 w 31"/>
                    <a:gd name="T3" fmla="*/ 64 h 65"/>
                    <a:gd name="T4" fmla="*/ 1 w 31"/>
                    <a:gd name="T5" fmla="*/ 54 h 65"/>
                    <a:gd name="T6" fmla="*/ 0 w 31"/>
                    <a:gd name="T7" fmla="*/ 53 h 65"/>
                    <a:gd name="T8" fmla="*/ 0 w 31"/>
                    <a:gd name="T9" fmla="*/ 17 h 65"/>
                    <a:gd name="T10" fmla="*/ 1 w 31"/>
                    <a:gd name="T11" fmla="*/ 15 h 65"/>
                    <a:gd name="T12" fmla="*/ 28 w 31"/>
                    <a:gd name="T13" fmla="*/ 0 h 65"/>
                    <a:gd name="T14" fmla="*/ 30 w 31"/>
                    <a:gd name="T15" fmla="*/ 0 h 65"/>
                    <a:gd name="T16" fmla="*/ 31 w 31"/>
                    <a:gd name="T17" fmla="*/ 2 h 65"/>
                    <a:gd name="T18" fmla="*/ 31 w 31"/>
                    <a:gd name="T19" fmla="*/ 57 h 65"/>
                    <a:gd name="T20" fmla="*/ 30 w 31"/>
                    <a:gd name="T21" fmla="*/ 59 h 65"/>
                    <a:gd name="T22" fmla="*/ 21 w 31"/>
                    <a:gd name="T23" fmla="*/ 64 h 65"/>
                    <a:gd name="T24" fmla="*/ 20 w 31"/>
                    <a:gd name="T25" fmla="*/ 65 h 65"/>
                    <a:gd name="T26" fmla="*/ 4 w 31"/>
                    <a:gd name="T27" fmla="*/ 51 h 65"/>
                    <a:gd name="T28" fmla="*/ 20 w 31"/>
                    <a:gd name="T29" fmla="*/ 60 h 65"/>
                    <a:gd name="T30" fmla="*/ 27 w 31"/>
                    <a:gd name="T31" fmla="*/ 56 h 65"/>
                    <a:gd name="T32" fmla="*/ 27 w 31"/>
                    <a:gd name="T33" fmla="*/ 5 h 65"/>
                    <a:gd name="T34" fmla="*/ 4 w 31"/>
                    <a:gd name="T35" fmla="*/ 18 h 65"/>
                    <a:gd name="T36" fmla="*/ 4 w 31"/>
                    <a:gd name="T37" fmla="*/ 5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" h="65">
                      <a:moveTo>
                        <a:pt x="20" y="65"/>
                      </a:moveTo>
                      <a:cubicBezTo>
                        <a:pt x="19" y="65"/>
                        <a:pt x="19" y="65"/>
                        <a:pt x="19" y="6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4"/>
                        <a:pt x="0" y="53"/>
                        <a:pt x="0" y="5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1" y="16"/>
                        <a:pt x="1" y="15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0"/>
                        <a:pt x="30" y="0"/>
                        <a:pt x="30" y="0"/>
                      </a:cubicBezTo>
                      <a:cubicBezTo>
                        <a:pt x="31" y="0"/>
                        <a:pt x="31" y="1"/>
                        <a:pt x="31" y="2"/>
                      </a:cubicBezTo>
                      <a:cubicBezTo>
                        <a:pt x="31" y="57"/>
                        <a:pt x="31" y="57"/>
                        <a:pt x="31" y="57"/>
                      </a:cubicBezTo>
                      <a:cubicBezTo>
                        <a:pt x="31" y="58"/>
                        <a:pt x="31" y="58"/>
                        <a:pt x="30" y="59"/>
                      </a:cubicBezTo>
                      <a:cubicBezTo>
                        <a:pt x="21" y="64"/>
                        <a:pt x="21" y="64"/>
                        <a:pt x="21" y="64"/>
                      </a:cubicBezTo>
                      <a:cubicBezTo>
                        <a:pt x="20" y="65"/>
                        <a:pt x="20" y="65"/>
                        <a:pt x="20" y="65"/>
                      </a:cubicBezTo>
                      <a:close/>
                      <a:moveTo>
                        <a:pt x="4" y="51"/>
                      </a:moveTo>
                      <a:cubicBezTo>
                        <a:pt x="20" y="60"/>
                        <a:pt x="20" y="60"/>
                        <a:pt x="20" y="60"/>
                      </a:cubicBezTo>
                      <a:cubicBezTo>
                        <a:pt x="27" y="56"/>
                        <a:pt x="27" y="56"/>
                        <a:pt x="27" y="56"/>
                      </a:cubicBezTo>
                      <a:cubicBezTo>
                        <a:pt x="27" y="5"/>
                        <a:pt x="27" y="5"/>
                        <a:pt x="27" y="5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0" name="Freeform 773">
                  <a:extLst>
                    <a:ext uri="{FF2B5EF4-FFF2-40B4-BE49-F238E27FC236}">
                      <a16:creationId xmlns:a16="http://schemas.microsoft.com/office/drawing/2014/main" id="{886E76E7-18FD-4FE2-91CE-542BDFB45D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992"/>
                  <a:ext cx="38" cy="192"/>
                </a:xfrm>
                <a:custGeom>
                  <a:avLst/>
                  <a:gdLst>
                    <a:gd name="T0" fmla="*/ 14 w 16"/>
                    <a:gd name="T1" fmla="*/ 81 h 81"/>
                    <a:gd name="T2" fmla="*/ 13 w 16"/>
                    <a:gd name="T3" fmla="*/ 81 h 81"/>
                    <a:gd name="T4" fmla="*/ 1 w 16"/>
                    <a:gd name="T5" fmla="*/ 74 h 81"/>
                    <a:gd name="T6" fmla="*/ 0 w 16"/>
                    <a:gd name="T7" fmla="*/ 72 h 81"/>
                    <a:gd name="T8" fmla="*/ 0 w 16"/>
                    <a:gd name="T9" fmla="*/ 9 h 81"/>
                    <a:gd name="T10" fmla="*/ 1 w 16"/>
                    <a:gd name="T11" fmla="*/ 7 h 81"/>
                    <a:gd name="T12" fmla="*/ 13 w 16"/>
                    <a:gd name="T13" fmla="*/ 0 h 81"/>
                    <a:gd name="T14" fmla="*/ 15 w 16"/>
                    <a:gd name="T15" fmla="*/ 0 h 81"/>
                    <a:gd name="T16" fmla="*/ 16 w 16"/>
                    <a:gd name="T17" fmla="*/ 2 h 81"/>
                    <a:gd name="T18" fmla="*/ 16 w 16"/>
                    <a:gd name="T19" fmla="*/ 79 h 81"/>
                    <a:gd name="T20" fmla="*/ 15 w 16"/>
                    <a:gd name="T21" fmla="*/ 81 h 81"/>
                    <a:gd name="T22" fmla="*/ 14 w 16"/>
                    <a:gd name="T23" fmla="*/ 81 h 81"/>
                    <a:gd name="T24" fmla="*/ 4 w 16"/>
                    <a:gd name="T25" fmla="*/ 71 h 81"/>
                    <a:gd name="T26" fmla="*/ 12 w 16"/>
                    <a:gd name="T27" fmla="*/ 75 h 81"/>
                    <a:gd name="T28" fmla="*/ 12 w 16"/>
                    <a:gd name="T29" fmla="*/ 5 h 81"/>
                    <a:gd name="T30" fmla="*/ 4 w 16"/>
                    <a:gd name="T31" fmla="*/ 10 h 81"/>
                    <a:gd name="T32" fmla="*/ 4 w 16"/>
                    <a:gd name="T33" fmla="*/ 7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81">
                      <a:moveTo>
                        <a:pt x="14" y="81"/>
                      </a:moveTo>
                      <a:cubicBezTo>
                        <a:pt x="14" y="81"/>
                        <a:pt x="13" y="81"/>
                        <a:pt x="13" y="81"/>
                      </a:cubicBezTo>
                      <a:cubicBezTo>
                        <a:pt x="1" y="74"/>
                        <a:pt x="1" y="74"/>
                        <a:pt x="1" y="74"/>
                      </a:cubicBezTo>
                      <a:cubicBezTo>
                        <a:pt x="0" y="73"/>
                        <a:pt x="0" y="73"/>
                        <a:pt x="0" y="72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8"/>
                        <a:pt x="0" y="8"/>
                        <a:pt x="1" y="7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4" y="0"/>
                        <a:pt x="15" y="0"/>
                      </a:cubicBezTo>
                      <a:cubicBezTo>
                        <a:pt x="15" y="1"/>
                        <a:pt x="16" y="1"/>
                        <a:pt x="16" y="2"/>
                      </a:cubicBezTo>
                      <a:cubicBezTo>
                        <a:pt x="16" y="79"/>
                        <a:pt x="16" y="79"/>
                        <a:pt x="16" y="79"/>
                      </a:cubicBezTo>
                      <a:cubicBezTo>
                        <a:pt x="16" y="80"/>
                        <a:pt x="15" y="80"/>
                        <a:pt x="15" y="81"/>
                      </a:cubicBezTo>
                      <a:cubicBezTo>
                        <a:pt x="15" y="81"/>
                        <a:pt x="14" y="81"/>
                        <a:pt x="14" y="81"/>
                      </a:cubicBezTo>
                      <a:close/>
                      <a:moveTo>
                        <a:pt x="4" y="71"/>
                      </a:moveTo>
                      <a:cubicBezTo>
                        <a:pt x="12" y="75"/>
                        <a:pt x="12" y="75"/>
                        <a:pt x="12" y="7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1" name="Freeform 774">
                  <a:extLst>
                    <a:ext uri="{FF2B5EF4-FFF2-40B4-BE49-F238E27FC236}">
                      <a16:creationId xmlns:a16="http://schemas.microsoft.com/office/drawing/2014/main" id="{C3BFA94A-E763-4B2A-BE03-8EE1B718A6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44" y="2095"/>
                  <a:ext cx="139" cy="161"/>
                </a:xfrm>
                <a:custGeom>
                  <a:avLst/>
                  <a:gdLst>
                    <a:gd name="T0" fmla="*/ 57 w 59"/>
                    <a:gd name="T1" fmla="*/ 68 h 68"/>
                    <a:gd name="T2" fmla="*/ 56 w 59"/>
                    <a:gd name="T3" fmla="*/ 67 h 68"/>
                    <a:gd name="T4" fmla="*/ 19 w 59"/>
                    <a:gd name="T5" fmla="*/ 46 h 68"/>
                    <a:gd name="T6" fmla="*/ 18 w 59"/>
                    <a:gd name="T7" fmla="*/ 44 h 68"/>
                    <a:gd name="T8" fmla="*/ 18 w 59"/>
                    <a:gd name="T9" fmla="*/ 42 h 68"/>
                    <a:gd name="T10" fmla="*/ 16 w 59"/>
                    <a:gd name="T11" fmla="*/ 43 h 68"/>
                    <a:gd name="T12" fmla="*/ 14 w 59"/>
                    <a:gd name="T13" fmla="*/ 43 h 68"/>
                    <a:gd name="T14" fmla="*/ 1 w 59"/>
                    <a:gd name="T15" fmla="*/ 36 h 68"/>
                    <a:gd name="T16" fmla="*/ 0 w 59"/>
                    <a:gd name="T17" fmla="*/ 34 h 68"/>
                    <a:gd name="T18" fmla="*/ 1 w 59"/>
                    <a:gd name="T19" fmla="*/ 32 h 68"/>
                    <a:gd name="T20" fmla="*/ 56 w 59"/>
                    <a:gd name="T21" fmla="*/ 0 h 68"/>
                    <a:gd name="T22" fmla="*/ 58 w 59"/>
                    <a:gd name="T23" fmla="*/ 0 h 68"/>
                    <a:gd name="T24" fmla="*/ 59 w 59"/>
                    <a:gd name="T25" fmla="*/ 2 h 68"/>
                    <a:gd name="T26" fmla="*/ 59 w 59"/>
                    <a:gd name="T27" fmla="*/ 66 h 68"/>
                    <a:gd name="T28" fmla="*/ 58 w 59"/>
                    <a:gd name="T29" fmla="*/ 67 h 68"/>
                    <a:gd name="T30" fmla="*/ 57 w 59"/>
                    <a:gd name="T31" fmla="*/ 68 h 68"/>
                    <a:gd name="T32" fmla="*/ 22 w 59"/>
                    <a:gd name="T33" fmla="*/ 43 h 68"/>
                    <a:gd name="T34" fmla="*/ 55 w 59"/>
                    <a:gd name="T35" fmla="*/ 62 h 68"/>
                    <a:gd name="T36" fmla="*/ 55 w 59"/>
                    <a:gd name="T37" fmla="*/ 5 h 68"/>
                    <a:gd name="T38" fmla="*/ 6 w 59"/>
                    <a:gd name="T39" fmla="*/ 34 h 68"/>
                    <a:gd name="T40" fmla="*/ 15 w 59"/>
                    <a:gd name="T41" fmla="*/ 39 h 68"/>
                    <a:gd name="T42" fmla="*/ 19 w 59"/>
                    <a:gd name="T43" fmla="*/ 37 h 68"/>
                    <a:gd name="T44" fmla="*/ 21 w 59"/>
                    <a:gd name="T45" fmla="*/ 37 h 68"/>
                    <a:gd name="T46" fmla="*/ 22 w 59"/>
                    <a:gd name="T47" fmla="*/ 39 h 68"/>
                    <a:gd name="T48" fmla="*/ 22 w 59"/>
                    <a:gd name="T49" fmla="*/ 43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9" h="68">
                      <a:moveTo>
                        <a:pt x="57" y="68"/>
                      </a:moveTo>
                      <a:cubicBezTo>
                        <a:pt x="56" y="68"/>
                        <a:pt x="56" y="68"/>
                        <a:pt x="56" y="67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18" y="46"/>
                        <a:pt x="18" y="45"/>
                        <a:pt x="18" y="44"/>
                      </a:cubicBezTo>
                      <a:cubicBezTo>
                        <a:pt x="18" y="42"/>
                        <a:pt x="18" y="42"/>
                        <a:pt x="18" y="42"/>
                      </a:cubicBezTo>
                      <a:cubicBezTo>
                        <a:pt x="16" y="43"/>
                        <a:pt x="16" y="43"/>
                        <a:pt x="16" y="43"/>
                      </a:cubicBezTo>
                      <a:cubicBezTo>
                        <a:pt x="15" y="44"/>
                        <a:pt x="14" y="44"/>
                        <a:pt x="14" y="43"/>
                      </a:cubicBezTo>
                      <a:cubicBezTo>
                        <a:pt x="1" y="36"/>
                        <a:pt x="1" y="36"/>
                        <a:pt x="1" y="36"/>
                      </a:cubicBezTo>
                      <a:cubicBezTo>
                        <a:pt x="0" y="35"/>
                        <a:pt x="0" y="35"/>
                        <a:pt x="0" y="34"/>
                      </a:cubicBezTo>
                      <a:cubicBezTo>
                        <a:pt x="0" y="33"/>
                        <a:pt x="0" y="32"/>
                        <a:pt x="1" y="32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7" y="0"/>
                        <a:pt x="58" y="0"/>
                      </a:cubicBezTo>
                      <a:cubicBezTo>
                        <a:pt x="58" y="1"/>
                        <a:pt x="59" y="1"/>
                        <a:pt x="59" y="2"/>
                      </a:cubicBezTo>
                      <a:cubicBezTo>
                        <a:pt x="59" y="66"/>
                        <a:pt x="59" y="66"/>
                        <a:pt x="59" y="66"/>
                      </a:cubicBezTo>
                      <a:cubicBezTo>
                        <a:pt x="59" y="66"/>
                        <a:pt x="58" y="67"/>
                        <a:pt x="58" y="67"/>
                      </a:cubicBezTo>
                      <a:cubicBezTo>
                        <a:pt x="58" y="68"/>
                        <a:pt x="57" y="68"/>
                        <a:pt x="57" y="68"/>
                      </a:cubicBezTo>
                      <a:close/>
                      <a:moveTo>
                        <a:pt x="22" y="43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5"/>
                        <a:pt x="55" y="5"/>
                        <a:pt x="55" y="5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15" y="39"/>
                        <a:pt x="15" y="39"/>
                        <a:pt x="15" y="39"/>
                      </a:cubicBezTo>
                      <a:cubicBezTo>
                        <a:pt x="19" y="37"/>
                        <a:pt x="19" y="37"/>
                        <a:pt x="19" y="37"/>
                      </a:cubicBezTo>
                      <a:cubicBezTo>
                        <a:pt x="20" y="36"/>
                        <a:pt x="20" y="36"/>
                        <a:pt x="21" y="37"/>
                      </a:cubicBezTo>
                      <a:cubicBezTo>
                        <a:pt x="22" y="37"/>
                        <a:pt x="22" y="38"/>
                        <a:pt x="22" y="39"/>
                      </a:cubicBezTo>
                      <a:lnTo>
                        <a:pt x="22" y="4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2" name="Freeform 775">
                  <a:extLst>
                    <a:ext uri="{FF2B5EF4-FFF2-40B4-BE49-F238E27FC236}">
                      <a16:creationId xmlns:a16="http://schemas.microsoft.com/office/drawing/2014/main" id="{15ADA632-28C7-4B7E-84A3-42A6B8A55C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2400"/>
                  <a:ext cx="104" cy="123"/>
                </a:xfrm>
                <a:custGeom>
                  <a:avLst/>
                  <a:gdLst>
                    <a:gd name="T0" fmla="*/ 2 w 44"/>
                    <a:gd name="T1" fmla="*/ 52 h 52"/>
                    <a:gd name="T2" fmla="*/ 1 w 44"/>
                    <a:gd name="T3" fmla="*/ 51 h 52"/>
                    <a:gd name="T4" fmla="*/ 0 w 44"/>
                    <a:gd name="T5" fmla="*/ 50 h 52"/>
                    <a:gd name="T6" fmla="*/ 0 w 44"/>
                    <a:gd name="T7" fmla="*/ 2 h 52"/>
                    <a:gd name="T8" fmla="*/ 1 w 44"/>
                    <a:gd name="T9" fmla="*/ 1 h 52"/>
                    <a:gd name="T10" fmla="*/ 3 w 44"/>
                    <a:gd name="T11" fmla="*/ 1 h 52"/>
                    <a:gd name="T12" fmla="*/ 43 w 44"/>
                    <a:gd name="T13" fmla="*/ 24 h 52"/>
                    <a:gd name="T14" fmla="*/ 44 w 44"/>
                    <a:gd name="T15" fmla="*/ 26 h 52"/>
                    <a:gd name="T16" fmla="*/ 43 w 44"/>
                    <a:gd name="T17" fmla="*/ 28 h 52"/>
                    <a:gd name="T18" fmla="*/ 3 w 44"/>
                    <a:gd name="T19" fmla="*/ 51 h 52"/>
                    <a:gd name="T20" fmla="*/ 2 w 44"/>
                    <a:gd name="T21" fmla="*/ 52 h 52"/>
                    <a:gd name="T22" fmla="*/ 4 w 44"/>
                    <a:gd name="T23" fmla="*/ 6 h 52"/>
                    <a:gd name="T24" fmla="*/ 4 w 44"/>
                    <a:gd name="T25" fmla="*/ 46 h 52"/>
                    <a:gd name="T26" fmla="*/ 38 w 44"/>
                    <a:gd name="T27" fmla="*/ 26 h 52"/>
                    <a:gd name="T28" fmla="*/ 4 w 44"/>
                    <a:gd name="T29" fmla="*/ 6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4" h="52">
                      <a:moveTo>
                        <a:pt x="2" y="52"/>
                      </a:moveTo>
                      <a:cubicBezTo>
                        <a:pt x="1" y="52"/>
                        <a:pt x="1" y="52"/>
                        <a:pt x="1" y="51"/>
                      </a:cubicBezTo>
                      <a:cubicBezTo>
                        <a:pt x="0" y="51"/>
                        <a:pt x="0" y="50"/>
                        <a:pt x="0" y="5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3" y="24"/>
                        <a:pt x="43" y="24"/>
                        <a:pt x="43" y="24"/>
                      </a:cubicBezTo>
                      <a:cubicBezTo>
                        <a:pt x="44" y="25"/>
                        <a:pt x="44" y="25"/>
                        <a:pt x="44" y="26"/>
                      </a:cubicBezTo>
                      <a:cubicBezTo>
                        <a:pt x="44" y="27"/>
                        <a:pt x="44" y="27"/>
                        <a:pt x="43" y="28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2" y="52"/>
                        <a:pt x="2" y="52"/>
                        <a:pt x="2" y="52"/>
                      </a:cubicBezTo>
                      <a:close/>
                      <a:moveTo>
                        <a:pt x="4" y="6"/>
                      </a:move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38" y="26"/>
                        <a:pt x="38" y="26"/>
                        <a:pt x="38" y="2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3" name="Freeform 776">
                  <a:extLst>
                    <a:ext uri="{FF2B5EF4-FFF2-40B4-BE49-F238E27FC236}">
                      <a16:creationId xmlns:a16="http://schemas.microsoft.com/office/drawing/2014/main" id="{679D306F-6380-4074-8390-D8CBD2DC53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55" y="2393"/>
                  <a:ext cx="54" cy="50"/>
                </a:xfrm>
                <a:custGeom>
                  <a:avLst/>
                  <a:gdLst>
                    <a:gd name="T0" fmla="*/ 14 w 23"/>
                    <a:gd name="T1" fmla="*/ 21 h 21"/>
                    <a:gd name="T2" fmla="*/ 13 w 23"/>
                    <a:gd name="T3" fmla="*/ 20 h 21"/>
                    <a:gd name="T4" fmla="*/ 1 w 23"/>
                    <a:gd name="T5" fmla="*/ 14 h 21"/>
                    <a:gd name="T6" fmla="*/ 0 w 23"/>
                    <a:gd name="T7" fmla="*/ 12 h 21"/>
                    <a:gd name="T8" fmla="*/ 1 w 23"/>
                    <a:gd name="T9" fmla="*/ 10 h 21"/>
                    <a:gd name="T10" fmla="*/ 20 w 23"/>
                    <a:gd name="T11" fmla="*/ 0 h 21"/>
                    <a:gd name="T12" fmla="*/ 22 w 23"/>
                    <a:gd name="T13" fmla="*/ 0 h 21"/>
                    <a:gd name="T14" fmla="*/ 23 w 23"/>
                    <a:gd name="T15" fmla="*/ 2 h 21"/>
                    <a:gd name="T16" fmla="*/ 23 w 23"/>
                    <a:gd name="T17" fmla="*/ 15 h 21"/>
                    <a:gd name="T18" fmla="*/ 22 w 23"/>
                    <a:gd name="T19" fmla="*/ 16 h 21"/>
                    <a:gd name="T20" fmla="*/ 15 w 23"/>
                    <a:gd name="T21" fmla="*/ 20 h 21"/>
                    <a:gd name="T22" fmla="*/ 14 w 23"/>
                    <a:gd name="T23" fmla="*/ 21 h 21"/>
                    <a:gd name="T24" fmla="*/ 6 w 23"/>
                    <a:gd name="T25" fmla="*/ 12 h 21"/>
                    <a:gd name="T26" fmla="*/ 14 w 23"/>
                    <a:gd name="T27" fmla="*/ 16 h 21"/>
                    <a:gd name="T28" fmla="*/ 19 w 23"/>
                    <a:gd name="T29" fmla="*/ 13 h 21"/>
                    <a:gd name="T30" fmla="*/ 19 w 23"/>
                    <a:gd name="T31" fmla="*/ 5 h 21"/>
                    <a:gd name="T32" fmla="*/ 6 w 23"/>
                    <a:gd name="T33" fmla="*/ 12 h 21"/>
                    <a:gd name="T34" fmla="*/ 21 w 23"/>
                    <a:gd name="T35" fmla="*/ 15 h 21"/>
                    <a:gd name="T36" fmla="*/ 21 w 23"/>
                    <a:gd name="T37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" h="21">
                      <a:moveTo>
                        <a:pt x="14" y="21"/>
                      </a:moveTo>
                      <a:cubicBezTo>
                        <a:pt x="13" y="21"/>
                        <a:pt x="13" y="20"/>
                        <a:pt x="13" y="20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1" y="13"/>
                        <a:pt x="0" y="13"/>
                        <a:pt x="0" y="12"/>
                      </a:cubicBezTo>
                      <a:cubicBezTo>
                        <a:pt x="0" y="11"/>
                        <a:pt x="1" y="11"/>
                        <a:pt x="1" y="1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1" y="0"/>
                        <a:pt x="22" y="0"/>
                      </a:cubicBezTo>
                      <a:cubicBezTo>
                        <a:pt x="22" y="0"/>
                        <a:pt x="23" y="1"/>
                        <a:pt x="23" y="2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cubicBezTo>
                        <a:pt x="23" y="15"/>
                        <a:pt x="22" y="16"/>
                        <a:pt x="22" y="16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4" y="20"/>
                        <a:pt x="14" y="21"/>
                        <a:pt x="14" y="21"/>
                      </a:cubicBezTo>
                      <a:close/>
                      <a:moveTo>
                        <a:pt x="6" y="12"/>
                      </a:moveTo>
                      <a:cubicBezTo>
                        <a:pt x="14" y="16"/>
                        <a:pt x="14" y="16"/>
                        <a:pt x="14" y="16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5"/>
                        <a:pt x="19" y="5"/>
                        <a:pt x="19" y="5"/>
                      </a:cubicBezTo>
                      <a:lnTo>
                        <a:pt x="6" y="12"/>
                      </a:lnTo>
                      <a:close/>
                      <a:moveTo>
                        <a:pt x="21" y="15"/>
                      </a:moveTo>
                      <a:cubicBezTo>
                        <a:pt x="21" y="15"/>
                        <a:pt x="21" y="15"/>
                        <a:pt x="2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4" name="Freeform 777">
                  <a:extLst>
                    <a:ext uri="{FF2B5EF4-FFF2-40B4-BE49-F238E27FC236}">
                      <a16:creationId xmlns:a16="http://schemas.microsoft.com/office/drawing/2014/main" id="{930D7587-DB48-4144-BA4E-C1033906F4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2362"/>
                  <a:ext cx="241" cy="199"/>
                </a:xfrm>
                <a:custGeom>
                  <a:avLst/>
                  <a:gdLst>
                    <a:gd name="T0" fmla="*/ 2 w 102"/>
                    <a:gd name="T1" fmla="*/ 84 h 84"/>
                    <a:gd name="T2" fmla="*/ 1 w 102"/>
                    <a:gd name="T3" fmla="*/ 84 h 84"/>
                    <a:gd name="T4" fmla="*/ 0 w 102"/>
                    <a:gd name="T5" fmla="*/ 82 h 84"/>
                    <a:gd name="T6" fmla="*/ 0 w 102"/>
                    <a:gd name="T7" fmla="*/ 46 h 84"/>
                    <a:gd name="T8" fmla="*/ 1 w 102"/>
                    <a:gd name="T9" fmla="*/ 44 h 84"/>
                    <a:gd name="T10" fmla="*/ 5 w 102"/>
                    <a:gd name="T11" fmla="*/ 42 h 84"/>
                    <a:gd name="T12" fmla="*/ 1 w 102"/>
                    <a:gd name="T13" fmla="*/ 40 h 84"/>
                    <a:gd name="T14" fmla="*/ 0 w 102"/>
                    <a:gd name="T15" fmla="*/ 38 h 84"/>
                    <a:gd name="T16" fmla="*/ 0 w 102"/>
                    <a:gd name="T17" fmla="*/ 35 h 84"/>
                    <a:gd name="T18" fmla="*/ 1 w 102"/>
                    <a:gd name="T19" fmla="*/ 34 h 84"/>
                    <a:gd name="T20" fmla="*/ 59 w 102"/>
                    <a:gd name="T21" fmla="*/ 0 h 84"/>
                    <a:gd name="T22" fmla="*/ 61 w 102"/>
                    <a:gd name="T23" fmla="*/ 0 h 84"/>
                    <a:gd name="T24" fmla="*/ 101 w 102"/>
                    <a:gd name="T25" fmla="*/ 23 h 84"/>
                    <a:gd name="T26" fmla="*/ 102 w 102"/>
                    <a:gd name="T27" fmla="*/ 25 h 84"/>
                    <a:gd name="T28" fmla="*/ 101 w 102"/>
                    <a:gd name="T29" fmla="*/ 27 h 84"/>
                    <a:gd name="T30" fmla="*/ 3 w 102"/>
                    <a:gd name="T31" fmla="*/ 84 h 84"/>
                    <a:gd name="T32" fmla="*/ 2 w 102"/>
                    <a:gd name="T33" fmla="*/ 84 h 84"/>
                    <a:gd name="T34" fmla="*/ 4 w 102"/>
                    <a:gd name="T35" fmla="*/ 47 h 84"/>
                    <a:gd name="T36" fmla="*/ 4 w 102"/>
                    <a:gd name="T37" fmla="*/ 78 h 84"/>
                    <a:gd name="T38" fmla="*/ 96 w 102"/>
                    <a:gd name="T39" fmla="*/ 25 h 84"/>
                    <a:gd name="T40" fmla="*/ 60 w 102"/>
                    <a:gd name="T41" fmla="*/ 4 h 84"/>
                    <a:gd name="T42" fmla="*/ 4 w 102"/>
                    <a:gd name="T43" fmla="*/ 37 h 84"/>
                    <a:gd name="T44" fmla="*/ 4 w 102"/>
                    <a:gd name="T45" fmla="*/ 37 h 84"/>
                    <a:gd name="T46" fmla="*/ 10 w 102"/>
                    <a:gd name="T47" fmla="*/ 40 h 84"/>
                    <a:gd name="T48" fmla="*/ 11 w 102"/>
                    <a:gd name="T49" fmla="*/ 42 h 84"/>
                    <a:gd name="T50" fmla="*/ 10 w 102"/>
                    <a:gd name="T51" fmla="*/ 44 h 84"/>
                    <a:gd name="T52" fmla="*/ 4 w 102"/>
                    <a:gd name="T53" fmla="*/ 47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2" h="84">
                      <a:moveTo>
                        <a:pt x="2" y="84"/>
                      </a:moveTo>
                      <a:cubicBezTo>
                        <a:pt x="2" y="84"/>
                        <a:pt x="1" y="84"/>
                        <a:pt x="1" y="84"/>
                      </a:cubicBezTo>
                      <a:cubicBezTo>
                        <a:pt x="0" y="83"/>
                        <a:pt x="0" y="83"/>
                        <a:pt x="0" y="82"/>
                      </a:cubicBezTo>
                      <a:cubicBezTo>
                        <a:pt x="0" y="46"/>
                        <a:pt x="0" y="46"/>
                        <a:pt x="0" y="46"/>
                      </a:cubicBezTo>
                      <a:cubicBezTo>
                        <a:pt x="0" y="45"/>
                        <a:pt x="0" y="45"/>
                        <a:pt x="1" y="44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0" y="39"/>
                        <a:pt x="0" y="39"/>
                        <a:pt x="0" y="38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35"/>
                        <a:pt x="0" y="34"/>
                        <a:pt x="1" y="34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0" y="0"/>
                        <a:pt x="60" y="0"/>
                        <a:pt x="61" y="0"/>
                      </a:cubicBez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2" y="24"/>
                        <a:pt x="102" y="24"/>
                        <a:pt x="102" y="25"/>
                      </a:cubicBezTo>
                      <a:cubicBezTo>
                        <a:pt x="102" y="26"/>
                        <a:pt x="102" y="26"/>
                        <a:pt x="101" y="27"/>
                      </a:cubicBezTo>
                      <a:cubicBezTo>
                        <a:pt x="3" y="84"/>
                        <a:pt x="3" y="84"/>
                        <a:pt x="3" y="84"/>
                      </a:cubicBezTo>
                      <a:cubicBezTo>
                        <a:pt x="3" y="84"/>
                        <a:pt x="2" y="84"/>
                        <a:pt x="2" y="84"/>
                      </a:cubicBezTo>
                      <a:close/>
                      <a:moveTo>
                        <a:pt x="4" y="47"/>
                      </a:move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96" y="25"/>
                        <a:pt x="96" y="25"/>
                        <a:pt x="96" y="25"/>
                      </a:cubicBezTo>
                      <a:cubicBezTo>
                        <a:pt x="60" y="4"/>
                        <a:pt x="60" y="4"/>
                        <a:pt x="60" y="4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11" y="41"/>
                        <a:pt x="11" y="41"/>
                        <a:pt x="11" y="42"/>
                      </a:cubicBezTo>
                      <a:cubicBezTo>
                        <a:pt x="11" y="43"/>
                        <a:pt x="11" y="43"/>
                        <a:pt x="10" y="44"/>
                      </a:cubicBezTo>
                      <a:lnTo>
                        <a:pt x="4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5" name="Freeform 778">
                  <a:extLst>
                    <a:ext uri="{FF2B5EF4-FFF2-40B4-BE49-F238E27FC236}">
                      <a16:creationId xmlns:a16="http://schemas.microsoft.com/office/drawing/2014/main" id="{74C0CA41-90AA-4985-B204-F188C05ED9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35" y="2299"/>
                  <a:ext cx="113" cy="68"/>
                </a:xfrm>
                <a:custGeom>
                  <a:avLst/>
                  <a:gdLst>
                    <a:gd name="T0" fmla="*/ 10 w 48"/>
                    <a:gd name="T1" fmla="*/ 29 h 29"/>
                    <a:gd name="T2" fmla="*/ 9 w 48"/>
                    <a:gd name="T3" fmla="*/ 29 h 29"/>
                    <a:gd name="T4" fmla="*/ 1 w 48"/>
                    <a:gd name="T5" fmla="*/ 24 h 29"/>
                    <a:gd name="T6" fmla="*/ 0 w 48"/>
                    <a:gd name="T7" fmla="*/ 22 h 29"/>
                    <a:gd name="T8" fmla="*/ 1 w 48"/>
                    <a:gd name="T9" fmla="*/ 21 h 29"/>
                    <a:gd name="T10" fmla="*/ 36 w 48"/>
                    <a:gd name="T11" fmla="*/ 0 h 29"/>
                    <a:gd name="T12" fmla="*/ 38 w 48"/>
                    <a:gd name="T13" fmla="*/ 0 h 29"/>
                    <a:gd name="T14" fmla="*/ 47 w 48"/>
                    <a:gd name="T15" fmla="*/ 5 h 29"/>
                    <a:gd name="T16" fmla="*/ 48 w 48"/>
                    <a:gd name="T17" fmla="*/ 6 h 29"/>
                    <a:gd name="T18" fmla="*/ 47 w 48"/>
                    <a:gd name="T19" fmla="*/ 8 h 29"/>
                    <a:gd name="T20" fmla="*/ 11 w 48"/>
                    <a:gd name="T21" fmla="*/ 29 h 29"/>
                    <a:gd name="T22" fmla="*/ 10 w 48"/>
                    <a:gd name="T23" fmla="*/ 29 h 29"/>
                    <a:gd name="T24" fmla="*/ 6 w 48"/>
                    <a:gd name="T25" fmla="*/ 22 h 29"/>
                    <a:gd name="T26" fmla="*/ 10 w 48"/>
                    <a:gd name="T27" fmla="*/ 25 h 29"/>
                    <a:gd name="T28" fmla="*/ 42 w 48"/>
                    <a:gd name="T29" fmla="*/ 6 h 29"/>
                    <a:gd name="T30" fmla="*/ 37 w 48"/>
                    <a:gd name="T31" fmla="*/ 4 h 29"/>
                    <a:gd name="T32" fmla="*/ 6 w 48"/>
                    <a:gd name="T33" fmla="*/ 22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" h="29">
                      <a:moveTo>
                        <a:pt x="10" y="29"/>
                      </a:moveTo>
                      <a:cubicBezTo>
                        <a:pt x="10" y="29"/>
                        <a:pt x="9" y="29"/>
                        <a:pt x="9" y="29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0" y="24"/>
                        <a:pt x="0" y="23"/>
                        <a:pt x="0" y="22"/>
                      </a:cubicBezTo>
                      <a:cubicBezTo>
                        <a:pt x="0" y="22"/>
                        <a:pt x="0" y="21"/>
                        <a:pt x="1" y="21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7" y="0"/>
                        <a:pt x="38" y="0"/>
                        <a:pt x="38" y="0"/>
                      </a:cubicBezTo>
                      <a:cubicBezTo>
                        <a:pt x="47" y="5"/>
                        <a:pt x="47" y="5"/>
                        <a:pt x="47" y="5"/>
                      </a:cubicBezTo>
                      <a:cubicBezTo>
                        <a:pt x="47" y="5"/>
                        <a:pt x="48" y="6"/>
                        <a:pt x="48" y="6"/>
                      </a:cubicBezTo>
                      <a:cubicBezTo>
                        <a:pt x="48" y="7"/>
                        <a:pt x="47" y="8"/>
                        <a:pt x="47" y="8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11" y="29"/>
                        <a:pt x="10" y="29"/>
                        <a:pt x="10" y="29"/>
                      </a:cubicBezTo>
                      <a:close/>
                      <a:moveTo>
                        <a:pt x="6" y="22"/>
                      </a:moveTo>
                      <a:cubicBezTo>
                        <a:pt x="10" y="25"/>
                        <a:pt x="10" y="25"/>
                        <a:pt x="10" y="25"/>
                      </a:cubicBezTo>
                      <a:cubicBezTo>
                        <a:pt x="42" y="6"/>
                        <a:pt x="42" y="6"/>
                        <a:pt x="42" y="6"/>
                      </a:cubicBezTo>
                      <a:cubicBezTo>
                        <a:pt x="37" y="4"/>
                        <a:pt x="37" y="4"/>
                        <a:pt x="37" y="4"/>
                      </a:cubicBezTo>
                      <a:lnTo>
                        <a:pt x="6" y="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6" name="Freeform 779">
                  <a:extLst>
                    <a:ext uri="{FF2B5EF4-FFF2-40B4-BE49-F238E27FC236}">
                      <a16:creationId xmlns:a16="http://schemas.microsoft.com/office/drawing/2014/main" id="{0B0A7F98-622F-4DFB-A0DD-4FF9C2A99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16" y="2452"/>
                  <a:ext cx="19" cy="19"/>
                </a:xfrm>
                <a:custGeom>
                  <a:avLst/>
                  <a:gdLst>
                    <a:gd name="T0" fmla="*/ 2 w 8"/>
                    <a:gd name="T1" fmla="*/ 8 h 8"/>
                    <a:gd name="T2" fmla="*/ 1 w 8"/>
                    <a:gd name="T3" fmla="*/ 8 h 8"/>
                    <a:gd name="T4" fmla="*/ 0 w 8"/>
                    <a:gd name="T5" fmla="*/ 6 h 8"/>
                    <a:gd name="T6" fmla="*/ 0 w 8"/>
                    <a:gd name="T7" fmla="*/ 2 h 8"/>
                    <a:gd name="T8" fmla="*/ 1 w 8"/>
                    <a:gd name="T9" fmla="*/ 0 h 8"/>
                    <a:gd name="T10" fmla="*/ 3 w 8"/>
                    <a:gd name="T11" fmla="*/ 0 h 8"/>
                    <a:gd name="T12" fmla="*/ 7 w 8"/>
                    <a:gd name="T13" fmla="*/ 2 h 8"/>
                    <a:gd name="T14" fmla="*/ 8 w 8"/>
                    <a:gd name="T15" fmla="*/ 4 h 8"/>
                    <a:gd name="T16" fmla="*/ 7 w 8"/>
                    <a:gd name="T17" fmla="*/ 6 h 8"/>
                    <a:gd name="T18" fmla="*/ 3 w 8"/>
                    <a:gd name="T19" fmla="*/ 8 h 8"/>
                    <a:gd name="T20" fmla="*/ 2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2" y="8"/>
                      </a:moveTo>
                      <a:cubicBezTo>
                        <a:pt x="2" y="8"/>
                        <a:pt x="1" y="8"/>
                        <a:pt x="1" y="8"/>
                      </a:cubicBezTo>
                      <a:cubicBezTo>
                        <a:pt x="0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7" y="3"/>
                        <a:pt x="8" y="3"/>
                        <a:pt x="8" y="4"/>
                      </a:cubicBezTo>
                      <a:cubicBezTo>
                        <a:pt x="8" y="5"/>
                        <a:pt x="7" y="5"/>
                        <a:pt x="7" y="6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2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7" name="Freeform 780">
                  <a:extLst>
                    <a:ext uri="{FF2B5EF4-FFF2-40B4-BE49-F238E27FC236}">
                      <a16:creationId xmlns:a16="http://schemas.microsoft.com/office/drawing/2014/main" id="{4CD49509-2B1D-441A-AB41-5C9CC2975A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2419"/>
                  <a:ext cx="293" cy="194"/>
                </a:xfrm>
                <a:custGeom>
                  <a:avLst/>
                  <a:gdLst>
                    <a:gd name="T0" fmla="*/ 111 w 124"/>
                    <a:gd name="T1" fmla="*/ 82 h 82"/>
                    <a:gd name="T2" fmla="*/ 110 w 124"/>
                    <a:gd name="T3" fmla="*/ 81 h 82"/>
                    <a:gd name="T4" fmla="*/ 50 w 124"/>
                    <a:gd name="T5" fmla="*/ 47 h 82"/>
                    <a:gd name="T6" fmla="*/ 3 w 124"/>
                    <a:gd name="T7" fmla="*/ 74 h 82"/>
                    <a:gd name="T8" fmla="*/ 1 w 124"/>
                    <a:gd name="T9" fmla="*/ 74 h 82"/>
                    <a:gd name="T10" fmla="*/ 0 w 124"/>
                    <a:gd name="T11" fmla="*/ 73 h 82"/>
                    <a:gd name="T12" fmla="*/ 0 w 124"/>
                    <a:gd name="T13" fmla="*/ 60 h 82"/>
                    <a:gd name="T14" fmla="*/ 1 w 124"/>
                    <a:gd name="T15" fmla="*/ 58 h 82"/>
                    <a:gd name="T16" fmla="*/ 101 w 124"/>
                    <a:gd name="T17" fmla="*/ 0 h 82"/>
                    <a:gd name="T18" fmla="*/ 103 w 124"/>
                    <a:gd name="T19" fmla="*/ 0 h 82"/>
                    <a:gd name="T20" fmla="*/ 115 w 124"/>
                    <a:gd name="T21" fmla="*/ 7 h 82"/>
                    <a:gd name="T22" fmla="*/ 121 w 124"/>
                    <a:gd name="T23" fmla="*/ 4 h 82"/>
                    <a:gd name="T24" fmla="*/ 123 w 124"/>
                    <a:gd name="T25" fmla="*/ 4 h 82"/>
                    <a:gd name="T26" fmla="*/ 124 w 124"/>
                    <a:gd name="T27" fmla="*/ 5 h 82"/>
                    <a:gd name="T28" fmla="*/ 124 w 124"/>
                    <a:gd name="T29" fmla="*/ 24 h 82"/>
                    <a:gd name="T30" fmla="*/ 123 w 124"/>
                    <a:gd name="T31" fmla="*/ 26 h 82"/>
                    <a:gd name="T32" fmla="*/ 121 w 124"/>
                    <a:gd name="T33" fmla="*/ 26 h 82"/>
                    <a:gd name="T34" fmla="*/ 113 w 124"/>
                    <a:gd name="T35" fmla="*/ 21 h 82"/>
                    <a:gd name="T36" fmla="*/ 113 w 124"/>
                    <a:gd name="T37" fmla="*/ 80 h 82"/>
                    <a:gd name="T38" fmla="*/ 112 w 124"/>
                    <a:gd name="T39" fmla="*/ 81 h 82"/>
                    <a:gd name="T40" fmla="*/ 111 w 124"/>
                    <a:gd name="T41" fmla="*/ 82 h 82"/>
                    <a:gd name="T42" fmla="*/ 50 w 124"/>
                    <a:gd name="T43" fmla="*/ 43 h 82"/>
                    <a:gd name="T44" fmla="*/ 51 w 124"/>
                    <a:gd name="T45" fmla="*/ 43 h 82"/>
                    <a:gd name="T46" fmla="*/ 109 w 124"/>
                    <a:gd name="T47" fmla="*/ 76 h 82"/>
                    <a:gd name="T48" fmla="*/ 109 w 124"/>
                    <a:gd name="T49" fmla="*/ 18 h 82"/>
                    <a:gd name="T50" fmla="*/ 110 w 124"/>
                    <a:gd name="T51" fmla="*/ 16 h 82"/>
                    <a:gd name="T52" fmla="*/ 112 w 124"/>
                    <a:gd name="T53" fmla="*/ 16 h 82"/>
                    <a:gd name="T54" fmla="*/ 120 w 124"/>
                    <a:gd name="T55" fmla="*/ 21 h 82"/>
                    <a:gd name="T56" fmla="*/ 120 w 124"/>
                    <a:gd name="T57" fmla="*/ 9 h 82"/>
                    <a:gd name="T58" fmla="*/ 116 w 124"/>
                    <a:gd name="T59" fmla="*/ 11 h 82"/>
                    <a:gd name="T60" fmla="*/ 114 w 124"/>
                    <a:gd name="T61" fmla="*/ 11 h 82"/>
                    <a:gd name="T62" fmla="*/ 102 w 124"/>
                    <a:gd name="T63" fmla="*/ 4 h 82"/>
                    <a:gd name="T64" fmla="*/ 4 w 124"/>
                    <a:gd name="T65" fmla="*/ 61 h 82"/>
                    <a:gd name="T66" fmla="*/ 4 w 124"/>
                    <a:gd name="T67" fmla="*/ 69 h 82"/>
                    <a:gd name="T68" fmla="*/ 49 w 124"/>
                    <a:gd name="T69" fmla="*/ 43 h 82"/>
                    <a:gd name="T70" fmla="*/ 50 w 124"/>
                    <a:gd name="T71" fmla="*/ 43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24" h="82">
                      <a:moveTo>
                        <a:pt x="111" y="82"/>
                      </a:moveTo>
                      <a:cubicBezTo>
                        <a:pt x="110" y="82"/>
                        <a:pt x="110" y="82"/>
                        <a:pt x="110" y="81"/>
                      </a:cubicBezTo>
                      <a:cubicBezTo>
                        <a:pt x="50" y="47"/>
                        <a:pt x="50" y="47"/>
                        <a:pt x="50" y="47"/>
                      </a:cubicBezTo>
                      <a:cubicBezTo>
                        <a:pt x="3" y="74"/>
                        <a:pt x="3" y="74"/>
                        <a:pt x="3" y="74"/>
                      </a:cubicBezTo>
                      <a:cubicBezTo>
                        <a:pt x="2" y="75"/>
                        <a:pt x="2" y="75"/>
                        <a:pt x="1" y="74"/>
                      </a:cubicBezTo>
                      <a:cubicBezTo>
                        <a:pt x="0" y="74"/>
                        <a:pt x="0" y="73"/>
                        <a:pt x="0" y="73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59"/>
                        <a:pt x="0" y="58"/>
                        <a:pt x="1" y="58"/>
                      </a:cubicBezTo>
                      <a:cubicBezTo>
                        <a:pt x="101" y="0"/>
                        <a:pt x="101" y="0"/>
                        <a:pt x="101" y="0"/>
                      </a:cubicBezTo>
                      <a:cubicBezTo>
                        <a:pt x="101" y="0"/>
                        <a:pt x="102" y="0"/>
                        <a:pt x="103" y="0"/>
                      </a:cubicBezTo>
                      <a:cubicBezTo>
                        <a:pt x="115" y="7"/>
                        <a:pt x="115" y="7"/>
                        <a:pt x="115" y="7"/>
                      </a:cubicBezTo>
                      <a:cubicBezTo>
                        <a:pt x="121" y="4"/>
                        <a:pt x="121" y="4"/>
                        <a:pt x="121" y="4"/>
                      </a:cubicBezTo>
                      <a:cubicBezTo>
                        <a:pt x="121" y="3"/>
                        <a:pt x="122" y="3"/>
                        <a:pt x="123" y="4"/>
                      </a:cubicBezTo>
                      <a:cubicBezTo>
                        <a:pt x="123" y="4"/>
                        <a:pt x="124" y="5"/>
                        <a:pt x="124" y="5"/>
                      </a:cubicBezTo>
                      <a:cubicBezTo>
                        <a:pt x="124" y="24"/>
                        <a:pt x="124" y="24"/>
                        <a:pt x="124" y="24"/>
                      </a:cubicBezTo>
                      <a:cubicBezTo>
                        <a:pt x="124" y="25"/>
                        <a:pt x="123" y="26"/>
                        <a:pt x="123" y="26"/>
                      </a:cubicBezTo>
                      <a:cubicBezTo>
                        <a:pt x="122" y="26"/>
                        <a:pt x="121" y="26"/>
                        <a:pt x="121" y="26"/>
                      </a:cubicBezTo>
                      <a:cubicBezTo>
                        <a:pt x="113" y="21"/>
                        <a:pt x="113" y="21"/>
                        <a:pt x="113" y="21"/>
                      </a:cubicBezTo>
                      <a:cubicBezTo>
                        <a:pt x="113" y="80"/>
                        <a:pt x="113" y="80"/>
                        <a:pt x="113" y="80"/>
                      </a:cubicBezTo>
                      <a:cubicBezTo>
                        <a:pt x="113" y="80"/>
                        <a:pt x="112" y="81"/>
                        <a:pt x="112" y="81"/>
                      </a:cubicBezTo>
                      <a:cubicBezTo>
                        <a:pt x="111" y="82"/>
                        <a:pt x="111" y="82"/>
                        <a:pt x="111" y="82"/>
                      </a:cubicBezTo>
                      <a:close/>
                      <a:moveTo>
                        <a:pt x="50" y="43"/>
                      </a:moveTo>
                      <a:cubicBezTo>
                        <a:pt x="51" y="43"/>
                        <a:pt x="51" y="43"/>
                        <a:pt x="51" y="43"/>
                      </a:cubicBezTo>
                      <a:cubicBezTo>
                        <a:pt x="109" y="76"/>
                        <a:pt x="109" y="76"/>
                        <a:pt x="109" y="76"/>
                      </a:cubicBezTo>
                      <a:cubicBezTo>
                        <a:pt x="109" y="18"/>
                        <a:pt x="109" y="18"/>
                        <a:pt x="109" y="18"/>
                      </a:cubicBezTo>
                      <a:cubicBezTo>
                        <a:pt x="109" y="17"/>
                        <a:pt x="109" y="17"/>
                        <a:pt x="110" y="16"/>
                      </a:cubicBezTo>
                      <a:cubicBezTo>
                        <a:pt x="110" y="16"/>
                        <a:pt x="111" y="16"/>
                        <a:pt x="112" y="16"/>
                      </a:cubicBezTo>
                      <a:cubicBezTo>
                        <a:pt x="120" y="21"/>
                        <a:pt x="120" y="21"/>
                        <a:pt x="120" y="21"/>
                      </a:cubicBezTo>
                      <a:cubicBezTo>
                        <a:pt x="120" y="9"/>
                        <a:pt x="120" y="9"/>
                        <a:pt x="120" y="9"/>
                      </a:cubicBezTo>
                      <a:cubicBezTo>
                        <a:pt x="116" y="11"/>
                        <a:pt x="116" y="11"/>
                        <a:pt x="116" y="11"/>
                      </a:cubicBezTo>
                      <a:cubicBezTo>
                        <a:pt x="115" y="12"/>
                        <a:pt x="114" y="12"/>
                        <a:pt x="114" y="11"/>
                      </a:cubicBezTo>
                      <a:cubicBezTo>
                        <a:pt x="102" y="4"/>
                        <a:pt x="102" y="4"/>
                        <a:pt x="102" y="4"/>
                      </a:cubicBezTo>
                      <a:cubicBezTo>
                        <a:pt x="4" y="61"/>
                        <a:pt x="4" y="61"/>
                        <a:pt x="4" y="61"/>
                      </a:cubicBezTo>
                      <a:cubicBezTo>
                        <a:pt x="4" y="69"/>
                        <a:pt x="4" y="69"/>
                        <a:pt x="4" y="69"/>
                      </a:cubicBezTo>
                      <a:cubicBezTo>
                        <a:pt x="49" y="43"/>
                        <a:pt x="49" y="43"/>
                        <a:pt x="49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8" name="Freeform 781">
                  <a:extLst>
                    <a:ext uri="{FF2B5EF4-FFF2-40B4-BE49-F238E27FC236}">
                      <a16:creationId xmlns:a16="http://schemas.microsoft.com/office/drawing/2014/main" id="{C722853B-A8B6-4E0A-8CCF-7F28765873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2523"/>
                  <a:ext cx="461" cy="279"/>
                </a:xfrm>
                <a:custGeom>
                  <a:avLst/>
                  <a:gdLst>
                    <a:gd name="T0" fmla="*/ 2 w 195"/>
                    <a:gd name="T1" fmla="*/ 118 h 118"/>
                    <a:gd name="T2" fmla="*/ 1 w 195"/>
                    <a:gd name="T3" fmla="*/ 118 h 118"/>
                    <a:gd name="T4" fmla="*/ 0 w 195"/>
                    <a:gd name="T5" fmla="*/ 116 h 118"/>
                    <a:gd name="T6" fmla="*/ 0 w 195"/>
                    <a:gd name="T7" fmla="*/ 107 h 118"/>
                    <a:gd name="T8" fmla="*/ 1 w 195"/>
                    <a:gd name="T9" fmla="*/ 106 h 118"/>
                    <a:gd name="T10" fmla="*/ 185 w 195"/>
                    <a:gd name="T11" fmla="*/ 0 h 118"/>
                    <a:gd name="T12" fmla="*/ 187 w 195"/>
                    <a:gd name="T13" fmla="*/ 0 h 118"/>
                    <a:gd name="T14" fmla="*/ 194 w 195"/>
                    <a:gd name="T15" fmla="*/ 4 h 118"/>
                    <a:gd name="T16" fmla="*/ 195 w 195"/>
                    <a:gd name="T17" fmla="*/ 6 h 118"/>
                    <a:gd name="T18" fmla="*/ 194 w 195"/>
                    <a:gd name="T19" fmla="*/ 8 h 118"/>
                    <a:gd name="T20" fmla="*/ 3 w 195"/>
                    <a:gd name="T21" fmla="*/ 118 h 118"/>
                    <a:gd name="T22" fmla="*/ 2 w 195"/>
                    <a:gd name="T23" fmla="*/ 118 h 118"/>
                    <a:gd name="T24" fmla="*/ 4 w 195"/>
                    <a:gd name="T25" fmla="*/ 109 h 118"/>
                    <a:gd name="T26" fmla="*/ 4 w 195"/>
                    <a:gd name="T27" fmla="*/ 113 h 118"/>
                    <a:gd name="T28" fmla="*/ 189 w 195"/>
                    <a:gd name="T29" fmla="*/ 6 h 118"/>
                    <a:gd name="T30" fmla="*/ 186 w 195"/>
                    <a:gd name="T31" fmla="*/ 4 h 118"/>
                    <a:gd name="T32" fmla="*/ 4 w 195"/>
                    <a:gd name="T33" fmla="*/ 109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5" h="118">
                      <a:moveTo>
                        <a:pt x="2" y="118"/>
                      </a:moveTo>
                      <a:cubicBezTo>
                        <a:pt x="2" y="118"/>
                        <a:pt x="2" y="118"/>
                        <a:pt x="1" y="118"/>
                      </a:cubicBezTo>
                      <a:cubicBezTo>
                        <a:pt x="1" y="118"/>
                        <a:pt x="0" y="117"/>
                        <a:pt x="0" y="116"/>
                      </a:cubicBezTo>
                      <a:cubicBezTo>
                        <a:pt x="0" y="107"/>
                        <a:pt x="0" y="107"/>
                        <a:pt x="0" y="107"/>
                      </a:cubicBezTo>
                      <a:cubicBezTo>
                        <a:pt x="0" y="107"/>
                        <a:pt x="1" y="106"/>
                        <a:pt x="1" y="106"/>
                      </a:cubicBezTo>
                      <a:cubicBezTo>
                        <a:pt x="185" y="0"/>
                        <a:pt x="185" y="0"/>
                        <a:pt x="185" y="0"/>
                      </a:cubicBezTo>
                      <a:cubicBezTo>
                        <a:pt x="185" y="0"/>
                        <a:pt x="186" y="0"/>
                        <a:pt x="187" y="0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5" y="5"/>
                        <a:pt x="195" y="5"/>
                        <a:pt x="195" y="6"/>
                      </a:cubicBezTo>
                      <a:cubicBezTo>
                        <a:pt x="195" y="7"/>
                        <a:pt x="195" y="7"/>
                        <a:pt x="194" y="8"/>
                      </a:cubicBezTo>
                      <a:cubicBezTo>
                        <a:pt x="3" y="118"/>
                        <a:pt x="3" y="118"/>
                        <a:pt x="3" y="118"/>
                      </a:cubicBezTo>
                      <a:cubicBezTo>
                        <a:pt x="3" y="118"/>
                        <a:pt x="3" y="118"/>
                        <a:pt x="2" y="118"/>
                      </a:cubicBezTo>
                      <a:close/>
                      <a:moveTo>
                        <a:pt x="4" y="109"/>
                      </a:move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189" y="6"/>
                        <a:pt x="189" y="6"/>
                        <a:pt x="189" y="6"/>
                      </a:cubicBezTo>
                      <a:cubicBezTo>
                        <a:pt x="186" y="4"/>
                        <a:pt x="186" y="4"/>
                        <a:pt x="186" y="4"/>
                      </a:cubicBezTo>
                      <a:lnTo>
                        <a:pt x="4" y="10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9" name="Freeform 782">
                  <a:extLst>
                    <a:ext uri="{FF2B5EF4-FFF2-40B4-BE49-F238E27FC236}">
                      <a16:creationId xmlns:a16="http://schemas.microsoft.com/office/drawing/2014/main" id="{2A8C7C0D-101A-4FCC-98C9-8E2E2B431B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16" y="1904"/>
                  <a:ext cx="19" cy="21"/>
                </a:xfrm>
                <a:custGeom>
                  <a:avLst/>
                  <a:gdLst>
                    <a:gd name="T0" fmla="*/ 2 w 8"/>
                    <a:gd name="T1" fmla="*/ 9 h 9"/>
                    <a:gd name="T2" fmla="*/ 1 w 8"/>
                    <a:gd name="T3" fmla="*/ 9 h 9"/>
                    <a:gd name="T4" fmla="*/ 0 w 8"/>
                    <a:gd name="T5" fmla="*/ 7 h 9"/>
                    <a:gd name="T6" fmla="*/ 0 w 8"/>
                    <a:gd name="T7" fmla="*/ 2 h 9"/>
                    <a:gd name="T8" fmla="*/ 1 w 8"/>
                    <a:gd name="T9" fmla="*/ 1 h 9"/>
                    <a:gd name="T10" fmla="*/ 3 w 8"/>
                    <a:gd name="T11" fmla="*/ 1 h 9"/>
                    <a:gd name="T12" fmla="*/ 7 w 8"/>
                    <a:gd name="T13" fmla="*/ 3 h 9"/>
                    <a:gd name="T14" fmla="*/ 8 w 8"/>
                    <a:gd name="T15" fmla="*/ 5 h 9"/>
                    <a:gd name="T16" fmla="*/ 7 w 8"/>
                    <a:gd name="T17" fmla="*/ 6 h 9"/>
                    <a:gd name="T18" fmla="*/ 3 w 8"/>
                    <a:gd name="T19" fmla="*/ 9 h 9"/>
                    <a:gd name="T20" fmla="*/ 2 w 8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9">
                      <a:moveTo>
                        <a:pt x="2" y="9"/>
                      </a:moveTo>
                      <a:cubicBezTo>
                        <a:pt x="2" y="9"/>
                        <a:pt x="1" y="9"/>
                        <a:pt x="1" y="9"/>
                      </a:cubicBezTo>
                      <a:cubicBezTo>
                        <a:pt x="0" y="8"/>
                        <a:pt x="0" y="8"/>
                        <a:pt x="0" y="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8" y="4"/>
                        <a:pt x="8" y="5"/>
                      </a:cubicBezTo>
                      <a:cubicBezTo>
                        <a:pt x="8" y="5"/>
                        <a:pt x="7" y="6"/>
                        <a:pt x="7" y="6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2" y="9"/>
                        <a:pt x="2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0" name="Freeform 783">
                  <a:extLst>
                    <a:ext uri="{FF2B5EF4-FFF2-40B4-BE49-F238E27FC236}">
                      <a16:creationId xmlns:a16="http://schemas.microsoft.com/office/drawing/2014/main" id="{E6BBDEE4-5907-4C74-977C-222CBF268E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12" y="2292"/>
                  <a:ext cx="400" cy="236"/>
                </a:xfrm>
                <a:custGeom>
                  <a:avLst/>
                  <a:gdLst>
                    <a:gd name="T0" fmla="*/ 114 w 169"/>
                    <a:gd name="T1" fmla="*/ 100 h 100"/>
                    <a:gd name="T2" fmla="*/ 113 w 169"/>
                    <a:gd name="T3" fmla="*/ 100 h 100"/>
                    <a:gd name="T4" fmla="*/ 1 w 169"/>
                    <a:gd name="T5" fmla="*/ 35 h 100"/>
                    <a:gd name="T6" fmla="*/ 0 w 169"/>
                    <a:gd name="T7" fmla="*/ 34 h 100"/>
                    <a:gd name="T8" fmla="*/ 1 w 169"/>
                    <a:gd name="T9" fmla="*/ 32 h 100"/>
                    <a:gd name="T10" fmla="*/ 55 w 169"/>
                    <a:gd name="T11" fmla="*/ 1 h 100"/>
                    <a:gd name="T12" fmla="*/ 57 w 169"/>
                    <a:gd name="T13" fmla="*/ 1 h 100"/>
                    <a:gd name="T14" fmla="*/ 168 w 169"/>
                    <a:gd name="T15" fmla="*/ 65 h 100"/>
                    <a:gd name="T16" fmla="*/ 169 w 169"/>
                    <a:gd name="T17" fmla="*/ 67 h 100"/>
                    <a:gd name="T18" fmla="*/ 168 w 169"/>
                    <a:gd name="T19" fmla="*/ 68 h 100"/>
                    <a:gd name="T20" fmla="*/ 115 w 169"/>
                    <a:gd name="T21" fmla="*/ 100 h 100"/>
                    <a:gd name="T22" fmla="*/ 114 w 169"/>
                    <a:gd name="T23" fmla="*/ 100 h 100"/>
                    <a:gd name="T24" fmla="*/ 6 w 169"/>
                    <a:gd name="T25" fmla="*/ 34 h 100"/>
                    <a:gd name="T26" fmla="*/ 114 w 169"/>
                    <a:gd name="T27" fmla="*/ 95 h 100"/>
                    <a:gd name="T28" fmla="*/ 163 w 169"/>
                    <a:gd name="T29" fmla="*/ 67 h 100"/>
                    <a:gd name="T30" fmla="*/ 56 w 169"/>
                    <a:gd name="T31" fmla="*/ 5 h 100"/>
                    <a:gd name="T32" fmla="*/ 6 w 169"/>
                    <a:gd name="T33" fmla="*/ 3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" h="100">
                      <a:moveTo>
                        <a:pt x="114" y="100"/>
                      </a:moveTo>
                      <a:cubicBezTo>
                        <a:pt x="113" y="100"/>
                        <a:pt x="113" y="100"/>
                        <a:pt x="113" y="100"/>
                      </a:cubicBezTo>
                      <a:cubicBezTo>
                        <a:pt x="1" y="35"/>
                        <a:pt x="1" y="35"/>
                        <a:pt x="1" y="35"/>
                      </a:cubicBezTo>
                      <a:cubicBezTo>
                        <a:pt x="1" y="35"/>
                        <a:pt x="0" y="34"/>
                        <a:pt x="0" y="34"/>
                      </a:cubicBezTo>
                      <a:cubicBezTo>
                        <a:pt x="0" y="33"/>
                        <a:pt x="1" y="32"/>
                        <a:pt x="1" y="32"/>
                      </a:cubicBezTo>
                      <a:cubicBezTo>
                        <a:pt x="55" y="1"/>
                        <a:pt x="55" y="1"/>
                        <a:pt x="55" y="1"/>
                      </a:cubicBezTo>
                      <a:cubicBezTo>
                        <a:pt x="56" y="0"/>
                        <a:pt x="57" y="0"/>
                        <a:pt x="57" y="1"/>
                      </a:cubicBezTo>
                      <a:cubicBezTo>
                        <a:pt x="168" y="65"/>
                        <a:pt x="168" y="65"/>
                        <a:pt x="168" y="65"/>
                      </a:cubicBezTo>
                      <a:cubicBezTo>
                        <a:pt x="169" y="65"/>
                        <a:pt x="169" y="66"/>
                        <a:pt x="169" y="67"/>
                      </a:cubicBezTo>
                      <a:cubicBezTo>
                        <a:pt x="169" y="67"/>
                        <a:pt x="169" y="68"/>
                        <a:pt x="168" y="68"/>
                      </a:cubicBezTo>
                      <a:cubicBezTo>
                        <a:pt x="115" y="100"/>
                        <a:pt x="115" y="100"/>
                        <a:pt x="115" y="100"/>
                      </a:cubicBezTo>
                      <a:cubicBezTo>
                        <a:pt x="114" y="100"/>
                        <a:pt x="114" y="100"/>
                        <a:pt x="114" y="100"/>
                      </a:cubicBezTo>
                      <a:close/>
                      <a:moveTo>
                        <a:pt x="6" y="34"/>
                      </a:moveTo>
                      <a:cubicBezTo>
                        <a:pt x="114" y="95"/>
                        <a:pt x="114" y="95"/>
                        <a:pt x="114" y="95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56" y="5"/>
                        <a:pt x="56" y="5"/>
                        <a:pt x="56" y="5"/>
                      </a:cubicBezTo>
                      <a:lnTo>
                        <a:pt x="6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1" name="Freeform 784">
                  <a:extLst>
                    <a:ext uri="{FF2B5EF4-FFF2-40B4-BE49-F238E27FC236}">
                      <a16:creationId xmlns:a16="http://schemas.microsoft.com/office/drawing/2014/main" id="{C9CC8157-1889-4F54-B309-8FC04A41F6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76" y="2608"/>
                  <a:ext cx="17" cy="19"/>
                </a:xfrm>
                <a:custGeom>
                  <a:avLst/>
                  <a:gdLst>
                    <a:gd name="T0" fmla="*/ 2 w 7"/>
                    <a:gd name="T1" fmla="*/ 8 h 8"/>
                    <a:gd name="T2" fmla="*/ 1 w 7"/>
                    <a:gd name="T3" fmla="*/ 7 h 8"/>
                    <a:gd name="T4" fmla="*/ 0 w 7"/>
                    <a:gd name="T5" fmla="*/ 6 h 8"/>
                    <a:gd name="T6" fmla="*/ 0 w 7"/>
                    <a:gd name="T7" fmla="*/ 2 h 8"/>
                    <a:gd name="T8" fmla="*/ 1 w 7"/>
                    <a:gd name="T9" fmla="*/ 1 h 8"/>
                    <a:gd name="T10" fmla="*/ 3 w 7"/>
                    <a:gd name="T11" fmla="*/ 1 h 8"/>
                    <a:gd name="T12" fmla="*/ 6 w 7"/>
                    <a:gd name="T13" fmla="*/ 2 h 8"/>
                    <a:gd name="T14" fmla="*/ 7 w 7"/>
                    <a:gd name="T15" fmla="*/ 4 h 8"/>
                    <a:gd name="T16" fmla="*/ 6 w 7"/>
                    <a:gd name="T17" fmla="*/ 6 h 8"/>
                    <a:gd name="T18" fmla="*/ 3 w 7"/>
                    <a:gd name="T19" fmla="*/ 7 h 8"/>
                    <a:gd name="T20" fmla="*/ 2 w 7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8">
                      <a:moveTo>
                        <a:pt x="2" y="8"/>
                      </a:moveTo>
                      <a:cubicBezTo>
                        <a:pt x="2" y="8"/>
                        <a:pt x="2" y="8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7" y="3"/>
                        <a:pt x="7" y="3"/>
                        <a:pt x="7" y="4"/>
                      </a:cubicBezTo>
                      <a:cubicBezTo>
                        <a:pt x="7" y="5"/>
                        <a:pt x="7" y="5"/>
                        <a:pt x="6" y="6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8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2" name="Freeform 785">
                  <a:extLst>
                    <a:ext uri="{FF2B5EF4-FFF2-40B4-BE49-F238E27FC236}">
                      <a16:creationId xmlns:a16="http://schemas.microsoft.com/office/drawing/2014/main" id="{6BF8AADE-4A26-427C-B059-C357F39F055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32" y="2325"/>
                  <a:ext cx="59" cy="59"/>
                </a:xfrm>
                <a:custGeom>
                  <a:avLst/>
                  <a:gdLst>
                    <a:gd name="T0" fmla="*/ 15 w 25"/>
                    <a:gd name="T1" fmla="*/ 25 h 25"/>
                    <a:gd name="T2" fmla="*/ 14 w 25"/>
                    <a:gd name="T3" fmla="*/ 25 h 25"/>
                    <a:gd name="T4" fmla="*/ 1 w 25"/>
                    <a:gd name="T5" fmla="*/ 17 h 25"/>
                    <a:gd name="T6" fmla="*/ 0 w 25"/>
                    <a:gd name="T7" fmla="*/ 15 h 25"/>
                    <a:gd name="T8" fmla="*/ 0 w 25"/>
                    <a:gd name="T9" fmla="*/ 14 h 25"/>
                    <a:gd name="T10" fmla="*/ 1 w 25"/>
                    <a:gd name="T11" fmla="*/ 12 h 25"/>
                    <a:gd name="T12" fmla="*/ 22 w 25"/>
                    <a:gd name="T13" fmla="*/ 0 h 25"/>
                    <a:gd name="T14" fmla="*/ 24 w 25"/>
                    <a:gd name="T15" fmla="*/ 0 h 25"/>
                    <a:gd name="T16" fmla="*/ 25 w 25"/>
                    <a:gd name="T17" fmla="*/ 2 h 25"/>
                    <a:gd name="T18" fmla="*/ 25 w 25"/>
                    <a:gd name="T19" fmla="*/ 18 h 25"/>
                    <a:gd name="T20" fmla="*/ 24 w 25"/>
                    <a:gd name="T21" fmla="*/ 20 h 25"/>
                    <a:gd name="T22" fmla="*/ 16 w 25"/>
                    <a:gd name="T23" fmla="*/ 25 h 25"/>
                    <a:gd name="T24" fmla="*/ 15 w 25"/>
                    <a:gd name="T25" fmla="*/ 25 h 25"/>
                    <a:gd name="T26" fmla="*/ 5 w 25"/>
                    <a:gd name="T27" fmla="*/ 15 h 25"/>
                    <a:gd name="T28" fmla="*/ 15 w 25"/>
                    <a:gd name="T29" fmla="*/ 21 h 25"/>
                    <a:gd name="T30" fmla="*/ 21 w 25"/>
                    <a:gd name="T31" fmla="*/ 17 h 25"/>
                    <a:gd name="T32" fmla="*/ 21 w 25"/>
                    <a:gd name="T33" fmla="*/ 5 h 25"/>
                    <a:gd name="T34" fmla="*/ 5 w 25"/>
                    <a:gd name="T35" fmla="*/ 1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5" h="25">
                      <a:moveTo>
                        <a:pt x="15" y="25"/>
                      </a:moveTo>
                      <a:cubicBezTo>
                        <a:pt x="15" y="25"/>
                        <a:pt x="15" y="25"/>
                        <a:pt x="14" y="25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5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3"/>
                        <a:pt x="0" y="13"/>
                        <a:pt x="1" y="12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3" y="0"/>
                        <a:pt x="24" y="0"/>
                        <a:pt x="24" y="0"/>
                      </a:cubicBezTo>
                      <a:cubicBezTo>
                        <a:pt x="25" y="0"/>
                        <a:pt x="25" y="1"/>
                        <a:pt x="25" y="2"/>
                      </a:cubicBezTo>
                      <a:cubicBezTo>
                        <a:pt x="25" y="18"/>
                        <a:pt x="25" y="18"/>
                        <a:pt x="25" y="18"/>
                      </a:cubicBezTo>
                      <a:cubicBezTo>
                        <a:pt x="25" y="19"/>
                        <a:pt x="25" y="20"/>
                        <a:pt x="24" y="20"/>
                      </a:cubicBezTo>
                      <a:cubicBezTo>
                        <a:pt x="16" y="25"/>
                        <a:pt x="16" y="25"/>
                        <a:pt x="16" y="25"/>
                      </a:cubicBezTo>
                      <a:cubicBezTo>
                        <a:pt x="16" y="25"/>
                        <a:pt x="16" y="25"/>
                        <a:pt x="15" y="25"/>
                      </a:cubicBezTo>
                      <a:close/>
                      <a:moveTo>
                        <a:pt x="5" y="15"/>
                      </a:moveTo>
                      <a:cubicBezTo>
                        <a:pt x="15" y="21"/>
                        <a:pt x="15" y="21"/>
                        <a:pt x="15" y="21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5"/>
                        <a:pt x="21" y="5"/>
                        <a:pt x="21" y="5"/>
                      </a:cubicBezTo>
                      <a:lnTo>
                        <a:pt x="5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3" name="Freeform 786">
                  <a:extLst>
                    <a:ext uri="{FF2B5EF4-FFF2-40B4-BE49-F238E27FC236}">
                      <a16:creationId xmlns:a16="http://schemas.microsoft.com/office/drawing/2014/main" id="{67369CD9-72D8-4411-8608-8257BCDA14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58" y="2310"/>
                  <a:ext cx="151" cy="114"/>
                </a:xfrm>
                <a:custGeom>
                  <a:avLst/>
                  <a:gdLst>
                    <a:gd name="T0" fmla="*/ 42 w 64"/>
                    <a:gd name="T1" fmla="*/ 48 h 48"/>
                    <a:gd name="T2" fmla="*/ 41 w 64"/>
                    <a:gd name="T3" fmla="*/ 48 h 48"/>
                    <a:gd name="T4" fmla="*/ 1 w 64"/>
                    <a:gd name="T5" fmla="*/ 25 h 48"/>
                    <a:gd name="T6" fmla="*/ 0 w 64"/>
                    <a:gd name="T7" fmla="*/ 23 h 48"/>
                    <a:gd name="T8" fmla="*/ 1 w 64"/>
                    <a:gd name="T9" fmla="*/ 21 h 48"/>
                    <a:gd name="T10" fmla="*/ 36 w 64"/>
                    <a:gd name="T11" fmla="*/ 1 h 48"/>
                    <a:gd name="T12" fmla="*/ 38 w 64"/>
                    <a:gd name="T13" fmla="*/ 1 h 48"/>
                    <a:gd name="T14" fmla="*/ 63 w 64"/>
                    <a:gd name="T15" fmla="*/ 15 h 48"/>
                    <a:gd name="T16" fmla="*/ 64 w 64"/>
                    <a:gd name="T17" fmla="*/ 16 h 48"/>
                    <a:gd name="T18" fmla="*/ 64 w 64"/>
                    <a:gd name="T19" fmla="*/ 35 h 48"/>
                    <a:gd name="T20" fmla="*/ 63 w 64"/>
                    <a:gd name="T21" fmla="*/ 36 h 48"/>
                    <a:gd name="T22" fmla="*/ 43 w 64"/>
                    <a:gd name="T23" fmla="*/ 48 h 48"/>
                    <a:gd name="T24" fmla="*/ 42 w 64"/>
                    <a:gd name="T25" fmla="*/ 48 h 48"/>
                    <a:gd name="T26" fmla="*/ 6 w 64"/>
                    <a:gd name="T27" fmla="*/ 23 h 48"/>
                    <a:gd name="T28" fmla="*/ 42 w 64"/>
                    <a:gd name="T29" fmla="*/ 44 h 48"/>
                    <a:gd name="T30" fmla="*/ 60 w 64"/>
                    <a:gd name="T31" fmla="*/ 34 h 48"/>
                    <a:gd name="T32" fmla="*/ 60 w 64"/>
                    <a:gd name="T33" fmla="*/ 18 h 48"/>
                    <a:gd name="T34" fmla="*/ 37 w 64"/>
                    <a:gd name="T35" fmla="*/ 5 h 48"/>
                    <a:gd name="T36" fmla="*/ 6 w 64"/>
                    <a:gd name="T37" fmla="*/ 23 h 48"/>
                    <a:gd name="T38" fmla="*/ 62 w 64"/>
                    <a:gd name="T39" fmla="*/ 35 h 48"/>
                    <a:gd name="T40" fmla="*/ 62 w 64"/>
                    <a:gd name="T41" fmla="*/ 35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4" h="48">
                      <a:moveTo>
                        <a:pt x="42" y="48"/>
                      </a:moveTo>
                      <a:cubicBezTo>
                        <a:pt x="41" y="48"/>
                        <a:pt x="41" y="48"/>
                        <a:pt x="41" y="48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0" y="24"/>
                        <a:pt x="0" y="24"/>
                        <a:pt x="0" y="23"/>
                      </a:cubicBezTo>
                      <a:cubicBezTo>
                        <a:pt x="0" y="22"/>
                        <a:pt x="0" y="22"/>
                        <a:pt x="1" y="2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7" y="0"/>
                        <a:pt x="38" y="0"/>
                        <a:pt x="38" y="1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63" y="15"/>
                        <a:pt x="64" y="16"/>
                        <a:pt x="64" y="16"/>
                      </a:cubicBezTo>
                      <a:cubicBezTo>
                        <a:pt x="64" y="35"/>
                        <a:pt x="64" y="35"/>
                        <a:pt x="64" y="35"/>
                      </a:cubicBezTo>
                      <a:cubicBezTo>
                        <a:pt x="64" y="35"/>
                        <a:pt x="63" y="36"/>
                        <a:pt x="63" y="36"/>
                      </a:cubicBezTo>
                      <a:cubicBezTo>
                        <a:pt x="43" y="48"/>
                        <a:pt x="43" y="48"/>
                        <a:pt x="43" y="48"/>
                      </a:cubicBezTo>
                      <a:cubicBezTo>
                        <a:pt x="43" y="48"/>
                        <a:pt x="42" y="48"/>
                        <a:pt x="42" y="48"/>
                      </a:cubicBezTo>
                      <a:close/>
                      <a:moveTo>
                        <a:pt x="6" y="23"/>
                      </a:move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60" y="34"/>
                        <a:pt x="60" y="34"/>
                        <a:pt x="60" y="34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37" y="5"/>
                        <a:pt x="37" y="5"/>
                        <a:pt x="37" y="5"/>
                      </a:cubicBezTo>
                      <a:lnTo>
                        <a:pt x="6" y="23"/>
                      </a:lnTo>
                      <a:close/>
                      <a:moveTo>
                        <a:pt x="62" y="35"/>
                      </a:moveTo>
                      <a:cubicBezTo>
                        <a:pt x="62" y="35"/>
                        <a:pt x="62" y="35"/>
                        <a:pt x="62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4" name="Freeform 787">
                  <a:extLst>
                    <a:ext uri="{FF2B5EF4-FFF2-40B4-BE49-F238E27FC236}">
                      <a16:creationId xmlns:a16="http://schemas.microsoft.com/office/drawing/2014/main" id="{716B6B00-DC65-4E8B-A262-86CABFCDBA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46" y="2277"/>
                  <a:ext cx="63" cy="71"/>
                </a:xfrm>
                <a:custGeom>
                  <a:avLst/>
                  <a:gdLst>
                    <a:gd name="T0" fmla="*/ 25 w 27"/>
                    <a:gd name="T1" fmla="*/ 30 h 30"/>
                    <a:gd name="T2" fmla="*/ 24 w 27"/>
                    <a:gd name="T3" fmla="*/ 30 h 30"/>
                    <a:gd name="T4" fmla="*/ 1 w 27"/>
                    <a:gd name="T5" fmla="*/ 17 h 30"/>
                    <a:gd name="T6" fmla="*/ 0 w 27"/>
                    <a:gd name="T7" fmla="*/ 15 h 30"/>
                    <a:gd name="T8" fmla="*/ 1 w 27"/>
                    <a:gd name="T9" fmla="*/ 14 h 30"/>
                    <a:gd name="T10" fmla="*/ 24 w 27"/>
                    <a:gd name="T11" fmla="*/ 1 h 30"/>
                    <a:gd name="T12" fmla="*/ 26 w 27"/>
                    <a:gd name="T13" fmla="*/ 1 h 30"/>
                    <a:gd name="T14" fmla="*/ 27 w 27"/>
                    <a:gd name="T15" fmla="*/ 2 h 30"/>
                    <a:gd name="T16" fmla="*/ 27 w 27"/>
                    <a:gd name="T17" fmla="*/ 28 h 30"/>
                    <a:gd name="T18" fmla="*/ 26 w 27"/>
                    <a:gd name="T19" fmla="*/ 30 h 30"/>
                    <a:gd name="T20" fmla="*/ 25 w 27"/>
                    <a:gd name="T21" fmla="*/ 30 h 30"/>
                    <a:gd name="T22" fmla="*/ 6 w 27"/>
                    <a:gd name="T23" fmla="*/ 15 h 30"/>
                    <a:gd name="T24" fmla="*/ 23 w 27"/>
                    <a:gd name="T25" fmla="*/ 25 h 30"/>
                    <a:gd name="T26" fmla="*/ 23 w 27"/>
                    <a:gd name="T27" fmla="*/ 6 h 30"/>
                    <a:gd name="T28" fmla="*/ 6 w 27"/>
                    <a:gd name="T29" fmla="*/ 15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7" h="30">
                      <a:moveTo>
                        <a:pt x="25" y="30"/>
                      </a:move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5"/>
                      </a:cubicBezTo>
                      <a:cubicBezTo>
                        <a:pt x="0" y="15"/>
                        <a:pt x="0" y="14"/>
                        <a:pt x="1" y="14"/>
                      </a:cubicBez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4" y="0"/>
                        <a:pt x="25" y="0"/>
                        <a:pt x="26" y="1"/>
                      </a:cubicBezTo>
                      <a:cubicBezTo>
                        <a:pt x="26" y="1"/>
                        <a:pt x="27" y="2"/>
                        <a:pt x="27" y="2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9"/>
                        <a:pt x="26" y="30"/>
                        <a:pt x="26" y="30"/>
                      </a:cubicBezTo>
                      <a:cubicBezTo>
                        <a:pt x="25" y="30"/>
                        <a:pt x="25" y="30"/>
                        <a:pt x="25" y="30"/>
                      </a:cubicBezTo>
                      <a:close/>
                      <a:moveTo>
                        <a:pt x="6" y="15"/>
                      </a:moveTo>
                      <a:cubicBezTo>
                        <a:pt x="23" y="25"/>
                        <a:pt x="23" y="25"/>
                        <a:pt x="23" y="25"/>
                      </a:cubicBezTo>
                      <a:cubicBezTo>
                        <a:pt x="23" y="6"/>
                        <a:pt x="23" y="6"/>
                        <a:pt x="23" y="6"/>
                      </a:cubicBezTo>
                      <a:lnTo>
                        <a:pt x="6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5" name="Freeform 788">
                  <a:extLst>
                    <a:ext uri="{FF2B5EF4-FFF2-40B4-BE49-F238E27FC236}">
                      <a16:creationId xmlns:a16="http://schemas.microsoft.com/office/drawing/2014/main" id="{2F425C79-571B-4D57-9198-00BB4F3717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464"/>
                  <a:ext cx="33" cy="156"/>
                </a:xfrm>
                <a:custGeom>
                  <a:avLst/>
                  <a:gdLst>
                    <a:gd name="T0" fmla="*/ 7 w 14"/>
                    <a:gd name="T1" fmla="*/ 66 h 66"/>
                    <a:gd name="T2" fmla="*/ 6 w 14"/>
                    <a:gd name="T3" fmla="*/ 66 h 66"/>
                    <a:gd name="T4" fmla="*/ 1 w 14"/>
                    <a:gd name="T5" fmla="*/ 63 h 66"/>
                    <a:gd name="T6" fmla="*/ 0 w 14"/>
                    <a:gd name="T7" fmla="*/ 62 h 66"/>
                    <a:gd name="T8" fmla="*/ 0 w 14"/>
                    <a:gd name="T9" fmla="*/ 2 h 66"/>
                    <a:gd name="T10" fmla="*/ 1 w 14"/>
                    <a:gd name="T11" fmla="*/ 0 h 66"/>
                    <a:gd name="T12" fmla="*/ 3 w 14"/>
                    <a:gd name="T13" fmla="*/ 0 h 66"/>
                    <a:gd name="T14" fmla="*/ 13 w 14"/>
                    <a:gd name="T15" fmla="*/ 5 h 66"/>
                    <a:gd name="T16" fmla="*/ 14 w 14"/>
                    <a:gd name="T17" fmla="*/ 7 h 66"/>
                    <a:gd name="T18" fmla="*/ 14 w 14"/>
                    <a:gd name="T19" fmla="*/ 61 h 66"/>
                    <a:gd name="T20" fmla="*/ 13 w 14"/>
                    <a:gd name="T21" fmla="*/ 63 h 66"/>
                    <a:gd name="T22" fmla="*/ 8 w 14"/>
                    <a:gd name="T23" fmla="*/ 66 h 66"/>
                    <a:gd name="T24" fmla="*/ 7 w 14"/>
                    <a:gd name="T25" fmla="*/ 66 h 66"/>
                    <a:gd name="T26" fmla="*/ 4 w 14"/>
                    <a:gd name="T27" fmla="*/ 60 h 66"/>
                    <a:gd name="T28" fmla="*/ 7 w 14"/>
                    <a:gd name="T29" fmla="*/ 62 h 66"/>
                    <a:gd name="T30" fmla="*/ 10 w 14"/>
                    <a:gd name="T31" fmla="*/ 60 h 66"/>
                    <a:gd name="T32" fmla="*/ 10 w 14"/>
                    <a:gd name="T33" fmla="*/ 8 h 66"/>
                    <a:gd name="T34" fmla="*/ 4 w 14"/>
                    <a:gd name="T35" fmla="*/ 5 h 66"/>
                    <a:gd name="T36" fmla="*/ 4 w 14"/>
                    <a:gd name="T37" fmla="*/ 6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66">
                      <a:moveTo>
                        <a:pt x="7" y="66"/>
                      </a:moveTo>
                      <a:cubicBezTo>
                        <a:pt x="6" y="66"/>
                        <a:pt x="6" y="66"/>
                        <a:pt x="6" y="66"/>
                      </a:cubicBezTo>
                      <a:cubicBezTo>
                        <a:pt x="1" y="63"/>
                        <a:pt x="1" y="63"/>
                        <a:pt x="1" y="63"/>
                      </a:cubicBezTo>
                      <a:cubicBezTo>
                        <a:pt x="1" y="63"/>
                        <a:pt x="0" y="62"/>
                        <a:pt x="0" y="6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3" y="6"/>
                        <a:pt x="14" y="6"/>
                        <a:pt x="14" y="7"/>
                      </a:cubicBezTo>
                      <a:cubicBezTo>
                        <a:pt x="14" y="61"/>
                        <a:pt x="14" y="61"/>
                        <a:pt x="14" y="61"/>
                      </a:cubicBezTo>
                      <a:cubicBezTo>
                        <a:pt x="14" y="62"/>
                        <a:pt x="13" y="63"/>
                        <a:pt x="13" y="63"/>
                      </a:cubicBezTo>
                      <a:cubicBezTo>
                        <a:pt x="8" y="66"/>
                        <a:pt x="8" y="66"/>
                        <a:pt x="8" y="66"/>
                      </a:cubicBezTo>
                      <a:cubicBezTo>
                        <a:pt x="7" y="66"/>
                        <a:pt x="7" y="66"/>
                        <a:pt x="7" y="66"/>
                      </a:cubicBezTo>
                      <a:close/>
                      <a:moveTo>
                        <a:pt x="4" y="60"/>
                      </a:move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10" y="60"/>
                        <a:pt x="10" y="60"/>
                        <a:pt x="10" y="60"/>
                      </a:cubicBezTo>
                      <a:cubicBezTo>
                        <a:pt x="10" y="8"/>
                        <a:pt x="10" y="8"/>
                        <a:pt x="10" y="8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6" name="Freeform 789">
                  <a:extLst>
                    <a:ext uri="{FF2B5EF4-FFF2-40B4-BE49-F238E27FC236}">
                      <a16:creationId xmlns:a16="http://schemas.microsoft.com/office/drawing/2014/main" id="{8AF009DD-E11B-4C12-A930-21ECCE0841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22" y="2261"/>
                  <a:ext cx="87" cy="54"/>
                </a:xfrm>
                <a:custGeom>
                  <a:avLst/>
                  <a:gdLst>
                    <a:gd name="T0" fmla="*/ 10 w 37"/>
                    <a:gd name="T1" fmla="*/ 23 h 23"/>
                    <a:gd name="T2" fmla="*/ 9 w 37"/>
                    <a:gd name="T3" fmla="*/ 23 h 23"/>
                    <a:gd name="T4" fmla="*/ 1 w 37"/>
                    <a:gd name="T5" fmla="*/ 18 h 23"/>
                    <a:gd name="T6" fmla="*/ 0 w 37"/>
                    <a:gd name="T7" fmla="*/ 17 h 23"/>
                    <a:gd name="T8" fmla="*/ 1 w 37"/>
                    <a:gd name="T9" fmla="*/ 15 h 23"/>
                    <a:gd name="T10" fmla="*/ 27 w 37"/>
                    <a:gd name="T11" fmla="*/ 0 h 23"/>
                    <a:gd name="T12" fmla="*/ 29 w 37"/>
                    <a:gd name="T13" fmla="*/ 0 h 23"/>
                    <a:gd name="T14" fmla="*/ 36 w 37"/>
                    <a:gd name="T15" fmla="*/ 4 h 23"/>
                    <a:gd name="T16" fmla="*/ 37 w 37"/>
                    <a:gd name="T17" fmla="*/ 6 h 23"/>
                    <a:gd name="T18" fmla="*/ 37 w 37"/>
                    <a:gd name="T19" fmla="*/ 7 h 23"/>
                    <a:gd name="T20" fmla="*/ 36 w 37"/>
                    <a:gd name="T21" fmla="*/ 9 h 23"/>
                    <a:gd name="T22" fmla="*/ 11 w 37"/>
                    <a:gd name="T23" fmla="*/ 23 h 23"/>
                    <a:gd name="T24" fmla="*/ 10 w 37"/>
                    <a:gd name="T25" fmla="*/ 23 h 23"/>
                    <a:gd name="T26" fmla="*/ 6 w 37"/>
                    <a:gd name="T27" fmla="*/ 17 h 23"/>
                    <a:gd name="T28" fmla="*/ 10 w 37"/>
                    <a:gd name="T29" fmla="*/ 19 h 23"/>
                    <a:gd name="T30" fmla="*/ 32 w 37"/>
                    <a:gd name="T31" fmla="*/ 7 h 23"/>
                    <a:gd name="T32" fmla="*/ 28 w 37"/>
                    <a:gd name="T33" fmla="*/ 4 h 23"/>
                    <a:gd name="T34" fmla="*/ 6 w 37"/>
                    <a:gd name="T35" fmla="*/ 17 h 23"/>
                    <a:gd name="T36" fmla="*/ 35 w 37"/>
                    <a:gd name="T37" fmla="*/ 7 h 23"/>
                    <a:gd name="T38" fmla="*/ 35 w 37"/>
                    <a:gd name="T39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7" h="23">
                      <a:moveTo>
                        <a:pt x="10" y="23"/>
                      </a:moveTo>
                      <a:cubicBezTo>
                        <a:pt x="10" y="23"/>
                        <a:pt x="10" y="23"/>
                        <a:pt x="9" y="23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8"/>
                        <a:pt x="0" y="17"/>
                        <a:pt x="0" y="17"/>
                      </a:cubicBezTo>
                      <a:cubicBezTo>
                        <a:pt x="0" y="16"/>
                        <a:pt x="1" y="15"/>
                        <a:pt x="1" y="15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8" y="0"/>
                        <a:pt x="29" y="0"/>
                      </a:cubicBezTo>
                      <a:cubicBezTo>
                        <a:pt x="36" y="4"/>
                        <a:pt x="36" y="4"/>
                        <a:pt x="36" y="4"/>
                      </a:cubicBezTo>
                      <a:cubicBezTo>
                        <a:pt x="36" y="5"/>
                        <a:pt x="37" y="5"/>
                        <a:pt x="37" y="6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7" y="8"/>
                        <a:pt x="36" y="9"/>
                        <a:pt x="36" y="9"/>
                      </a:cubicBezTo>
                      <a:cubicBezTo>
                        <a:pt x="11" y="23"/>
                        <a:pt x="11" y="23"/>
                        <a:pt x="11" y="23"/>
                      </a:cubicBezTo>
                      <a:cubicBezTo>
                        <a:pt x="11" y="23"/>
                        <a:pt x="11" y="23"/>
                        <a:pt x="10" y="23"/>
                      </a:cubicBezTo>
                      <a:close/>
                      <a:moveTo>
                        <a:pt x="6" y="17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32" y="7"/>
                        <a:pt x="32" y="7"/>
                        <a:pt x="32" y="7"/>
                      </a:cubicBezTo>
                      <a:cubicBezTo>
                        <a:pt x="28" y="4"/>
                        <a:pt x="28" y="4"/>
                        <a:pt x="28" y="4"/>
                      </a:cubicBezTo>
                      <a:lnTo>
                        <a:pt x="6" y="17"/>
                      </a:lnTo>
                      <a:close/>
                      <a:moveTo>
                        <a:pt x="35" y="7"/>
                      </a:moveTo>
                      <a:cubicBezTo>
                        <a:pt x="35" y="7"/>
                        <a:pt x="35" y="7"/>
                        <a:pt x="3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7" name="Freeform 790">
                  <a:extLst>
                    <a:ext uri="{FF2B5EF4-FFF2-40B4-BE49-F238E27FC236}">
                      <a16:creationId xmlns:a16="http://schemas.microsoft.com/office/drawing/2014/main" id="{CB00B276-6AB0-4173-BEB5-DDB32EC989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2525"/>
                  <a:ext cx="267" cy="253"/>
                </a:xfrm>
                <a:custGeom>
                  <a:avLst/>
                  <a:gdLst>
                    <a:gd name="T0" fmla="*/ 2 w 113"/>
                    <a:gd name="T1" fmla="*/ 107 h 107"/>
                    <a:gd name="T2" fmla="*/ 1 w 113"/>
                    <a:gd name="T3" fmla="*/ 106 h 107"/>
                    <a:gd name="T4" fmla="*/ 0 w 113"/>
                    <a:gd name="T5" fmla="*/ 105 h 107"/>
                    <a:gd name="T6" fmla="*/ 0 w 113"/>
                    <a:gd name="T7" fmla="*/ 30 h 107"/>
                    <a:gd name="T8" fmla="*/ 1 w 113"/>
                    <a:gd name="T9" fmla="*/ 28 h 107"/>
                    <a:gd name="T10" fmla="*/ 49 w 113"/>
                    <a:gd name="T11" fmla="*/ 0 h 107"/>
                    <a:gd name="T12" fmla="*/ 51 w 113"/>
                    <a:gd name="T13" fmla="*/ 0 h 107"/>
                    <a:gd name="T14" fmla="*/ 112 w 113"/>
                    <a:gd name="T15" fmla="*/ 35 h 107"/>
                    <a:gd name="T16" fmla="*/ 113 w 113"/>
                    <a:gd name="T17" fmla="*/ 37 h 107"/>
                    <a:gd name="T18" fmla="*/ 113 w 113"/>
                    <a:gd name="T19" fmla="*/ 42 h 107"/>
                    <a:gd name="T20" fmla="*/ 112 w 113"/>
                    <a:gd name="T21" fmla="*/ 43 h 107"/>
                    <a:gd name="T22" fmla="*/ 3 w 113"/>
                    <a:gd name="T23" fmla="*/ 106 h 107"/>
                    <a:gd name="T24" fmla="*/ 2 w 113"/>
                    <a:gd name="T25" fmla="*/ 107 h 107"/>
                    <a:gd name="T26" fmla="*/ 4 w 113"/>
                    <a:gd name="T27" fmla="*/ 31 h 107"/>
                    <a:gd name="T28" fmla="*/ 4 w 113"/>
                    <a:gd name="T29" fmla="*/ 101 h 107"/>
                    <a:gd name="T30" fmla="*/ 109 w 113"/>
                    <a:gd name="T31" fmla="*/ 41 h 107"/>
                    <a:gd name="T32" fmla="*/ 109 w 113"/>
                    <a:gd name="T33" fmla="*/ 38 h 107"/>
                    <a:gd name="T34" fmla="*/ 50 w 113"/>
                    <a:gd name="T35" fmla="*/ 4 h 107"/>
                    <a:gd name="T36" fmla="*/ 4 w 113"/>
                    <a:gd name="T37" fmla="*/ 31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3" h="107">
                      <a:moveTo>
                        <a:pt x="2" y="107"/>
                      </a:moveTo>
                      <a:cubicBezTo>
                        <a:pt x="2" y="107"/>
                        <a:pt x="1" y="106"/>
                        <a:pt x="1" y="106"/>
                      </a:cubicBezTo>
                      <a:cubicBezTo>
                        <a:pt x="0" y="106"/>
                        <a:pt x="0" y="105"/>
                        <a:pt x="0" y="10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29"/>
                        <a:pt x="0" y="28"/>
                        <a:pt x="1" y="28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50" y="0"/>
                        <a:pt x="51" y="0"/>
                        <a:pt x="51" y="0"/>
                      </a:cubicBezTo>
                      <a:cubicBezTo>
                        <a:pt x="112" y="35"/>
                        <a:pt x="112" y="35"/>
                        <a:pt x="112" y="35"/>
                      </a:cubicBezTo>
                      <a:cubicBezTo>
                        <a:pt x="112" y="35"/>
                        <a:pt x="113" y="36"/>
                        <a:pt x="113" y="37"/>
                      </a:cubicBezTo>
                      <a:cubicBezTo>
                        <a:pt x="113" y="42"/>
                        <a:pt x="113" y="42"/>
                        <a:pt x="113" y="42"/>
                      </a:cubicBezTo>
                      <a:cubicBezTo>
                        <a:pt x="113" y="42"/>
                        <a:pt x="112" y="43"/>
                        <a:pt x="112" y="43"/>
                      </a:cubicBezTo>
                      <a:cubicBezTo>
                        <a:pt x="3" y="106"/>
                        <a:pt x="3" y="106"/>
                        <a:pt x="3" y="106"/>
                      </a:cubicBezTo>
                      <a:cubicBezTo>
                        <a:pt x="3" y="106"/>
                        <a:pt x="2" y="107"/>
                        <a:pt x="2" y="107"/>
                      </a:cubicBezTo>
                      <a:close/>
                      <a:moveTo>
                        <a:pt x="4" y="3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09" y="38"/>
                        <a:pt x="109" y="38"/>
                        <a:pt x="109" y="38"/>
                      </a:cubicBezTo>
                      <a:cubicBezTo>
                        <a:pt x="50" y="4"/>
                        <a:pt x="50" y="4"/>
                        <a:pt x="50" y="4"/>
                      </a:cubicBezTo>
                      <a:lnTo>
                        <a:pt x="4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8" name="Freeform 791">
                  <a:extLst>
                    <a:ext uri="{FF2B5EF4-FFF2-40B4-BE49-F238E27FC236}">
                      <a16:creationId xmlns:a16="http://schemas.microsoft.com/office/drawing/2014/main" id="{B663EEB2-EC09-41A2-A825-75E0F0F3D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2" y="2207"/>
                  <a:ext cx="17" cy="16"/>
                </a:xfrm>
                <a:custGeom>
                  <a:avLst/>
                  <a:gdLst>
                    <a:gd name="T0" fmla="*/ 2 w 7"/>
                    <a:gd name="T1" fmla="*/ 7 h 7"/>
                    <a:gd name="T2" fmla="*/ 1 w 7"/>
                    <a:gd name="T3" fmla="*/ 6 h 7"/>
                    <a:gd name="T4" fmla="*/ 0 w 7"/>
                    <a:gd name="T5" fmla="*/ 5 h 7"/>
                    <a:gd name="T6" fmla="*/ 0 w 7"/>
                    <a:gd name="T7" fmla="*/ 2 h 7"/>
                    <a:gd name="T8" fmla="*/ 1 w 7"/>
                    <a:gd name="T9" fmla="*/ 0 h 7"/>
                    <a:gd name="T10" fmla="*/ 3 w 7"/>
                    <a:gd name="T11" fmla="*/ 0 h 7"/>
                    <a:gd name="T12" fmla="*/ 6 w 7"/>
                    <a:gd name="T13" fmla="*/ 2 h 7"/>
                    <a:gd name="T14" fmla="*/ 7 w 7"/>
                    <a:gd name="T15" fmla="*/ 3 h 7"/>
                    <a:gd name="T16" fmla="*/ 6 w 7"/>
                    <a:gd name="T17" fmla="*/ 5 h 7"/>
                    <a:gd name="T18" fmla="*/ 3 w 7"/>
                    <a:gd name="T19" fmla="*/ 6 h 7"/>
                    <a:gd name="T20" fmla="*/ 2 w 7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2" y="7"/>
                        <a:pt x="1" y="7"/>
                        <a:pt x="1" y="6"/>
                      </a:cubicBezTo>
                      <a:cubicBezTo>
                        <a:pt x="0" y="6"/>
                        <a:pt x="0" y="5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6" y="2"/>
                        <a:pt x="7" y="3"/>
                        <a:pt x="7" y="3"/>
                      </a:cubicBezTo>
                      <a:cubicBezTo>
                        <a:pt x="7" y="4"/>
                        <a:pt x="6" y="5"/>
                        <a:pt x="6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7"/>
                        <a:pt x="2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9" name="Freeform 792">
                  <a:extLst>
                    <a:ext uri="{FF2B5EF4-FFF2-40B4-BE49-F238E27FC236}">
                      <a16:creationId xmlns:a16="http://schemas.microsoft.com/office/drawing/2014/main" id="{ADF49B0A-B037-4629-ABE4-5FF86392F4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1918"/>
                  <a:ext cx="57" cy="340"/>
                </a:xfrm>
                <a:custGeom>
                  <a:avLst/>
                  <a:gdLst>
                    <a:gd name="T0" fmla="*/ 19 w 24"/>
                    <a:gd name="T1" fmla="*/ 144 h 144"/>
                    <a:gd name="T2" fmla="*/ 18 w 24"/>
                    <a:gd name="T3" fmla="*/ 144 h 144"/>
                    <a:gd name="T4" fmla="*/ 1 w 24"/>
                    <a:gd name="T5" fmla="*/ 134 h 144"/>
                    <a:gd name="T6" fmla="*/ 0 w 24"/>
                    <a:gd name="T7" fmla="*/ 132 h 144"/>
                    <a:gd name="T8" fmla="*/ 0 w 24"/>
                    <a:gd name="T9" fmla="*/ 13 h 144"/>
                    <a:gd name="T10" fmla="*/ 1 w 24"/>
                    <a:gd name="T11" fmla="*/ 12 h 144"/>
                    <a:gd name="T12" fmla="*/ 21 w 24"/>
                    <a:gd name="T13" fmla="*/ 0 h 144"/>
                    <a:gd name="T14" fmla="*/ 23 w 24"/>
                    <a:gd name="T15" fmla="*/ 0 h 144"/>
                    <a:gd name="T16" fmla="*/ 24 w 24"/>
                    <a:gd name="T17" fmla="*/ 2 h 144"/>
                    <a:gd name="T18" fmla="*/ 24 w 24"/>
                    <a:gd name="T19" fmla="*/ 140 h 144"/>
                    <a:gd name="T20" fmla="*/ 23 w 24"/>
                    <a:gd name="T21" fmla="*/ 142 h 144"/>
                    <a:gd name="T22" fmla="*/ 20 w 24"/>
                    <a:gd name="T23" fmla="*/ 144 h 144"/>
                    <a:gd name="T24" fmla="*/ 19 w 24"/>
                    <a:gd name="T25" fmla="*/ 144 h 144"/>
                    <a:gd name="T26" fmla="*/ 4 w 24"/>
                    <a:gd name="T27" fmla="*/ 131 h 144"/>
                    <a:gd name="T28" fmla="*/ 19 w 24"/>
                    <a:gd name="T29" fmla="*/ 140 h 144"/>
                    <a:gd name="T30" fmla="*/ 20 w 24"/>
                    <a:gd name="T31" fmla="*/ 139 h 144"/>
                    <a:gd name="T32" fmla="*/ 20 w 24"/>
                    <a:gd name="T33" fmla="*/ 5 h 144"/>
                    <a:gd name="T34" fmla="*/ 4 w 24"/>
                    <a:gd name="T35" fmla="*/ 15 h 144"/>
                    <a:gd name="T36" fmla="*/ 4 w 24"/>
                    <a:gd name="T37" fmla="*/ 131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144">
                      <a:moveTo>
                        <a:pt x="19" y="144"/>
                      </a:moveTo>
                      <a:cubicBezTo>
                        <a:pt x="18" y="144"/>
                        <a:pt x="18" y="144"/>
                        <a:pt x="18" y="144"/>
                      </a:cubicBezTo>
                      <a:cubicBezTo>
                        <a:pt x="1" y="134"/>
                        <a:pt x="1" y="134"/>
                        <a:pt x="1" y="134"/>
                      </a:cubicBezTo>
                      <a:cubicBezTo>
                        <a:pt x="1" y="134"/>
                        <a:pt x="0" y="133"/>
                        <a:pt x="0" y="132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3"/>
                        <a:pt x="1" y="12"/>
                        <a:pt x="1" y="12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1"/>
                        <a:pt x="24" y="1"/>
                        <a:pt x="24" y="2"/>
                      </a:cubicBezTo>
                      <a:cubicBezTo>
                        <a:pt x="24" y="140"/>
                        <a:pt x="24" y="140"/>
                        <a:pt x="24" y="140"/>
                      </a:cubicBezTo>
                      <a:cubicBezTo>
                        <a:pt x="24" y="141"/>
                        <a:pt x="23" y="141"/>
                        <a:pt x="23" y="142"/>
                      </a:cubicBezTo>
                      <a:cubicBezTo>
                        <a:pt x="20" y="144"/>
                        <a:pt x="20" y="144"/>
                        <a:pt x="20" y="144"/>
                      </a:cubicBezTo>
                      <a:cubicBezTo>
                        <a:pt x="19" y="144"/>
                        <a:pt x="19" y="144"/>
                        <a:pt x="19" y="144"/>
                      </a:cubicBezTo>
                      <a:close/>
                      <a:moveTo>
                        <a:pt x="4" y="131"/>
                      </a:moveTo>
                      <a:cubicBezTo>
                        <a:pt x="19" y="140"/>
                        <a:pt x="19" y="140"/>
                        <a:pt x="19" y="140"/>
                      </a:cubicBezTo>
                      <a:cubicBezTo>
                        <a:pt x="20" y="139"/>
                        <a:pt x="20" y="139"/>
                        <a:pt x="20" y="139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4" y="15"/>
                        <a:pt x="4" y="15"/>
                        <a:pt x="4" y="15"/>
                      </a:cubicBezTo>
                      <a:lnTo>
                        <a:pt x="4" y="1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0" name="Freeform 793">
                  <a:extLst>
                    <a:ext uri="{FF2B5EF4-FFF2-40B4-BE49-F238E27FC236}">
                      <a16:creationId xmlns:a16="http://schemas.microsoft.com/office/drawing/2014/main" id="{4A8ABDC9-FBE2-46E4-B2C4-A2C780D451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2230"/>
                  <a:ext cx="45" cy="50"/>
                </a:xfrm>
                <a:custGeom>
                  <a:avLst/>
                  <a:gdLst>
                    <a:gd name="T0" fmla="*/ 3 w 19"/>
                    <a:gd name="T1" fmla="*/ 21 h 21"/>
                    <a:gd name="T2" fmla="*/ 2 w 19"/>
                    <a:gd name="T3" fmla="*/ 20 h 21"/>
                    <a:gd name="T4" fmla="*/ 1 w 19"/>
                    <a:gd name="T5" fmla="*/ 20 h 21"/>
                    <a:gd name="T6" fmla="*/ 0 w 19"/>
                    <a:gd name="T7" fmla="*/ 18 h 21"/>
                    <a:gd name="T8" fmla="*/ 0 w 19"/>
                    <a:gd name="T9" fmla="*/ 2 h 21"/>
                    <a:gd name="T10" fmla="*/ 1 w 19"/>
                    <a:gd name="T11" fmla="*/ 1 h 21"/>
                    <a:gd name="T12" fmla="*/ 3 w 19"/>
                    <a:gd name="T13" fmla="*/ 1 h 21"/>
                    <a:gd name="T14" fmla="*/ 18 w 19"/>
                    <a:gd name="T15" fmla="*/ 9 h 21"/>
                    <a:gd name="T16" fmla="*/ 19 w 19"/>
                    <a:gd name="T17" fmla="*/ 11 h 21"/>
                    <a:gd name="T18" fmla="*/ 18 w 19"/>
                    <a:gd name="T19" fmla="*/ 13 h 21"/>
                    <a:gd name="T20" fmla="*/ 4 w 19"/>
                    <a:gd name="T21" fmla="*/ 20 h 21"/>
                    <a:gd name="T22" fmla="*/ 3 w 19"/>
                    <a:gd name="T23" fmla="*/ 21 h 21"/>
                    <a:gd name="T24" fmla="*/ 4 w 19"/>
                    <a:gd name="T25" fmla="*/ 6 h 21"/>
                    <a:gd name="T26" fmla="*/ 4 w 19"/>
                    <a:gd name="T27" fmla="*/ 16 h 21"/>
                    <a:gd name="T28" fmla="*/ 13 w 19"/>
                    <a:gd name="T29" fmla="*/ 11 h 21"/>
                    <a:gd name="T30" fmla="*/ 4 w 19"/>
                    <a:gd name="T31" fmla="*/ 6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" h="21">
                      <a:moveTo>
                        <a:pt x="3" y="21"/>
                      </a:moveTo>
                      <a:cubicBezTo>
                        <a:pt x="3" y="21"/>
                        <a:pt x="3" y="21"/>
                        <a:pt x="2" y="20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19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8" y="9"/>
                        <a:pt x="18" y="9"/>
                        <a:pt x="18" y="9"/>
                      </a:cubicBezTo>
                      <a:cubicBezTo>
                        <a:pt x="19" y="10"/>
                        <a:pt x="19" y="10"/>
                        <a:pt x="19" y="11"/>
                      </a:cubicBezTo>
                      <a:cubicBezTo>
                        <a:pt x="19" y="12"/>
                        <a:pt x="19" y="12"/>
                        <a:pt x="18" y="13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4" y="21"/>
                        <a:pt x="4" y="21"/>
                        <a:pt x="3" y="21"/>
                      </a:cubicBezTo>
                      <a:close/>
                      <a:moveTo>
                        <a:pt x="4" y="6"/>
                      </a:moveTo>
                      <a:cubicBezTo>
                        <a:pt x="4" y="16"/>
                        <a:pt x="4" y="16"/>
                        <a:pt x="4" y="16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1" name="Freeform 794">
                  <a:extLst>
                    <a:ext uri="{FF2B5EF4-FFF2-40B4-BE49-F238E27FC236}">
                      <a16:creationId xmlns:a16="http://schemas.microsoft.com/office/drawing/2014/main" id="{2A9DDBC6-08A7-49D6-9A5C-458229581A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68" y="2280"/>
                  <a:ext cx="113" cy="125"/>
                </a:xfrm>
                <a:custGeom>
                  <a:avLst/>
                  <a:gdLst>
                    <a:gd name="T0" fmla="*/ 46 w 48"/>
                    <a:gd name="T1" fmla="*/ 53 h 53"/>
                    <a:gd name="T2" fmla="*/ 45 w 48"/>
                    <a:gd name="T3" fmla="*/ 52 h 53"/>
                    <a:gd name="T4" fmla="*/ 23 w 48"/>
                    <a:gd name="T5" fmla="*/ 40 h 53"/>
                    <a:gd name="T6" fmla="*/ 9 w 48"/>
                    <a:gd name="T7" fmla="*/ 48 h 53"/>
                    <a:gd name="T8" fmla="*/ 7 w 48"/>
                    <a:gd name="T9" fmla="*/ 48 h 53"/>
                    <a:gd name="T10" fmla="*/ 1 w 48"/>
                    <a:gd name="T11" fmla="*/ 45 h 53"/>
                    <a:gd name="T12" fmla="*/ 0 w 48"/>
                    <a:gd name="T13" fmla="*/ 43 h 53"/>
                    <a:gd name="T14" fmla="*/ 1 w 48"/>
                    <a:gd name="T15" fmla="*/ 41 h 53"/>
                    <a:gd name="T16" fmla="*/ 8 w 48"/>
                    <a:gd name="T17" fmla="*/ 37 h 53"/>
                    <a:gd name="T18" fmla="*/ 8 w 48"/>
                    <a:gd name="T19" fmla="*/ 20 h 53"/>
                    <a:gd name="T20" fmla="*/ 9 w 48"/>
                    <a:gd name="T21" fmla="*/ 18 h 53"/>
                    <a:gd name="T22" fmla="*/ 40 w 48"/>
                    <a:gd name="T23" fmla="*/ 0 h 53"/>
                    <a:gd name="T24" fmla="*/ 42 w 48"/>
                    <a:gd name="T25" fmla="*/ 0 h 53"/>
                    <a:gd name="T26" fmla="*/ 47 w 48"/>
                    <a:gd name="T27" fmla="*/ 3 h 53"/>
                    <a:gd name="T28" fmla="*/ 48 w 48"/>
                    <a:gd name="T29" fmla="*/ 5 h 53"/>
                    <a:gd name="T30" fmla="*/ 48 w 48"/>
                    <a:gd name="T31" fmla="*/ 51 h 53"/>
                    <a:gd name="T32" fmla="*/ 47 w 48"/>
                    <a:gd name="T33" fmla="*/ 52 h 53"/>
                    <a:gd name="T34" fmla="*/ 46 w 48"/>
                    <a:gd name="T35" fmla="*/ 53 h 53"/>
                    <a:gd name="T36" fmla="*/ 23 w 48"/>
                    <a:gd name="T37" fmla="*/ 36 h 53"/>
                    <a:gd name="T38" fmla="*/ 24 w 48"/>
                    <a:gd name="T39" fmla="*/ 36 h 53"/>
                    <a:gd name="T40" fmla="*/ 44 w 48"/>
                    <a:gd name="T41" fmla="*/ 47 h 53"/>
                    <a:gd name="T42" fmla="*/ 44 w 48"/>
                    <a:gd name="T43" fmla="*/ 6 h 53"/>
                    <a:gd name="T44" fmla="*/ 41 w 48"/>
                    <a:gd name="T45" fmla="*/ 4 h 53"/>
                    <a:gd name="T46" fmla="*/ 12 w 48"/>
                    <a:gd name="T47" fmla="*/ 21 h 53"/>
                    <a:gd name="T48" fmla="*/ 12 w 48"/>
                    <a:gd name="T49" fmla="*/ 38 h 53"/>
                    <a:gd name="T50" fmla="*/ 11 w 48"/>
                    <a:gd name="T51" fmla="*/ 40 h 53"/>
                    <a:gd name="T52" fmla="*/ 6 w 48"/>
                    <a:gd name="T53" fmla="*/ 43 h 53"/>
                    <a:gd name="T54" fmla="*/ 8 w 48"/>
                    <a:gd name="T55" fmla="*/ 44 h 53"/>
                    <a:gd name="T56" fmla="*/ 22 w 48"/>
                    <a:gd name="T57" fmla="*/ 36 h 53"/>
                    <a:gd name="T58" fmla="*/ 23 w 48"/>
                    <a:gd name="T59" fmla="*/ 36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8" h="53">
                      <a:moveTo>
                        <a:pt x="46" y="53"/>
                      </a:moveTo>
                      <a:cubicBezTo>
                        <a:pt x="46" y="53"/>
                        <a:pt x="45" y="53"/>
                        <a:pt x="45" y="52"/>
                      </a:cubicBezTo>
                      <a:cubicBezTo>
                        <a:pt x="23" y="40"/>
                        <a:pt x="23" y="40"/>
                        <a:pt x="23" y="40"/>
                      </a:cubicBezTo>
                      <a:cubicBezTo>
                        <a:pt x="9" y="48"/>
                        <a:pt x="9" y="48"/>
                        <a:pt x="9" y="48"/>
                      </a:cubicBezTo>
                      <a:cubicBezTo>
                        <a:pt x="8" y="49"/>
                        <a:pt x="7" y="49"/>
                        <a:pt x="7" y="4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4"/>
                        <a:pt x="0" y="44"/>
                        <a:pt x="0" y="43"/>
                      </a:cubicBezTo>
                      <a:cubicBezTo>
                        <a:pt x="0" y="42"/>
                        <a:pt x="0" y="42"/>
                        <a:pt x="1" y="41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8" y="19"/>
                        <a:pt x="8" y="18"/>
                        <a:pt x="9" y="18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0" y="0"/>
                        <a:pt x="41" y="0"/>
                        <a:pt x="42" y="0"/>
                      </a:cubicBezTo>
                      <a:cubicBezTo>
                        <a:pt x="47" y="3"/>
                        <a:pt x="47" y="3"/>
                        <a:pt x="47" y="3"/>
                      </a:cubicBezTo>
                      <a:cubicBezTo>
                        <a:pt x="48" y="4"/>
                        <a:pt x="48" y="4"/>
                        <a:pt x="48" y="5"/>
                      </a:cubicBezTo>
                      <a:cubicBezTo>
                        <a:pt x="48" y="51"/>
                        <a:pt x="48" y="51"/>
                        <a:pt x="48" y="51"/>
                      </a:cubicBezTo>
                      <a:cubicBezTo>
                        <a:pt x="48" y="51"/>
                        <a:pt x="48" y="52"/>
                        <a:pt x="47" y="52"/>
                      </a:cubicBezTo>
                      <a:cubicBezTo>
                        <a:pt x="47" y="53"/>
                        <a:pt x="46" y="53"/>
                        <a:pt x="46" y="53"/>
                      </a:cubicBezTo>
                      <a:close/>
                      <a:moveTo>
                        <a:pt x="23" y="36"/>
                      </a:move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4" y="6"/>
                        <a:pt x="44" y="6"/>
                        <a:pt x="44" y="6"/>
                      </a:cubicBezTo>
                      <a:cubicBezTo>
                        <a:pt x="41" y="4"/>
                        <a:pt x="41" y="4"/>
                        <a:pt x="41" y="4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2" y="39"/>
                        <a:pt x="12" y="40"/>
                        <a:pt x="11" y="40"/>
                      </a:cubicBezTo>
                      <a:cubicBezTo>
                        <a:pt x="6" y="43"/>
                        <a:pt x="6" y="43"/>
                        <a:pt x="6" y="43"/>
                      </a:cubicBezTo>
                      <a:cubicBezTo>
                        <a:pt x="8" y="44"/>
                        <a:pt x="8" y="44"/>
                        <a:pt x="8" y="44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6"/>
                        <a:pt x="23" y="36"/>
                        <a:pt x="23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2" name="Freeform 795">
                  <a:extLst>
                    <a:ext uri="{FF2B5EF4-FFF2-40B4-BE49-F238E27FC236}">
                      <a16:creationId xmlns:a16="http://schemas.microsoft.com/office/drawing/2014/main" id="{9D6C6200-EADD-4435-83BF-9BB57421C1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1774"/>
                  <a:ext cx="17" cy="17"/>
                </a:xfrm>
                <a:custGeom>
                  <a:avLst/>
                  <a:gdLst>
                    <a:gd name="T0" fmla="*/ 2 w 7"/>
                    <a:gd name="T1" fmla="*/ 7 h 7"/>
                    <a:gd name="T2" fmla="*/ 1 w 7"/>
                    <a:gd name="T3" fmla="*/ 7 h 7"/>
                    <a:gd name="T4" fmla="*/ 0 w 7"/>
                    <a:gd name="T5" fmla="*/ 5 h 7"/>
                    <a:gd name="T6" fmla="*/ 0 w 7"/>
                    <a:gd name="T7" fmla="*/ 2 h 7"/>
                    <a:gd name="T8" fmla="*/ 1 w 7"/>
                    <a:gd name="T9" fmla="*/ 1 h 7"/>
                    <a:gd name="T10" fmla="*/ 3 w 7"/>
                    <a:gd name="T11" fmla="*/ 1 h 7"/>
                    <a:gd name="T12" fmla="*/ 6 w 7"/>
                    <a:gd name="T13" fmla="*/ 2 h 7"/>
                    <a:gd name="T14" fmla="*/ 7 w 7"/>
                    <a:gd name="T15" fmla="*/ 4 h 7"/>
                    <a:gd name="T16" fmla="*/ 6 w 7"/>
                    <a:gd name="T17" fmla="*/ 6 h 7"/>
                    <a:gd name="T18" fmla="*/ 3 w 7"/>
                    <a:gd name="T19" fmla="*/ 7 h 7"/>
                    <a:gd name="T20" fmla="*/ 2 w 7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2" y="7"/>
                        <a:pt x="2" y="7"/>
                        <a:pt x="1" y="7"/>
                      </a:cubicBezTo>
                      <a:cubicBezTo>
                        <a:pt x="1" y="7"/>
                        <a:pt x="0" y="6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7" y="3"/>
                        <a:pt x="7" y="3"/>
                        <a:pt x="7" y="4"/>
                      </a:cubicBezTo>
                      <a:cubicBezTo>
                        <a:pt x="7" y="5"/>
                        <a:pt x="7" y="5"/>
                        <a:pt x="6" y="6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7"/>
                        <a:pt x="3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3" name="Freeform 796">
                  <a:extLst>
                    <a:ext uri="{FF2B5EF4-FFF2-40B4-BE49-F238E27FC236}">
                      <a16:creationId xmlns:a16="http://schemas.microsoft.com/office/drawing/2014/main" id="{C1C731BC-E707-41D7-AA0A-C81F30984D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2325"/>
                  <a:ext cx="40" cy="118"/>
                </a:xfrm>
                <a:custGeom>
                  <a:avLst/>
                  <a:gdLst>
                    <a:gd name="T0" fmla="*/ 15 w 17"/>
                    <a:gd name="T1" fmla="*/ 50 h 50"/>
                    <a:gd name="T2" fmla="*/ 14 w 17"/>
                    <a:gd name="T3" fmla="*/ 50 h 50"/>
                    <a:gd name="T4" fmla="*/ 1 w 17"/>
                    <a:gd name="T5" fmla="*/ 42 h 50"/>
                    <a:gd name="T6" fmla="*/ 0 w 17"/>
                    <a:gd name="T7" fmla="*/ 41 h 50"/>
                    <a:gd name="T8" fmla="*/ 0 w 17"/>
                    <a:gd name="T9" fmla="*/ 2 h 50"/>
                    <a:gd name="T10" fmla="*/ 1 w 17"/>
                    <a:gd name="T11" fmla="*/ 1 h 50"/>
                    <a:gd name="T12" fmla="*/ 3 w 17"/>
                    <a:gd name="T13" fmla="*/ 1 h 50"/>
                    <a:gd name="T14" fmla="*/ 16 w 17"/>
                    <a:gd name="T15" fmla="*/ 8 h 50"/>
                    <a:gd name="T16" fmla="*/ 17 w 17"/>
                    <a:gd name="T17" fmla="*/ 10 h 50"/>
                    <a:gd name="T18" fmla="*/ 17 w 17"/>
                    <a:gd name="T19" fmla="*/ 48 h 50"/>
                    <a:gd name="T20" fmla="*/ 16 w 17"/>
                    <a:gd name="T21" fmla="*/ 50 h 50"/>
                    <a:gd name="T22" fmla="*/ 15 w 17"/>
                    <a:gd name="T23" fmla="*/ 50 h 50"/>
                    <a:gd name="T24" fmla="*/ 4 w 17"/>
                    <a:gd name="T25" fmla="*/ 40 h 50"/>
                    <a:gd name="T26" fmla="*/ 13 w 17"/>
                    <a:gd name="T27" fmla="*/ 44 h 50"/>
                    <a:gd name="T28" fmla="*/ 13 w 17"/>
                    <a:gd name="T29" fmla="*/ 11 h 50"/>
                    <a:gd name="T30" fmla="*/ 4 w 17"/>
                    <a:gd name="T31" fmla="*/ 6 h 50"/>
                    <a:gd name="T32" fmla="*/ 4 w 17"/>
                    <a:gd name="T33" fmla="*/ 4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" h="50">
                      <a:moveTo>
                        <a:pt x="15" y="50"/>
                      </a:move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" y="42"/>
                        <a:pt x="1" y="42"/>
                        <a:pt x="1" y="42"/>
                      </a:cubicBezTo>
                      <a:cubicBezTo>
                        <a:pt x="1" y="42"/>
                        <a:pt x="0" y="41"/>
                        <a:pt x="0" y="4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8"/>
                        <a:pt x="17" y="9"/>
                        <a:pt x="17" y="10"/>
                      </a:cubicBezTo>
                      <a:cubicBezTo>
                        <a:pt x="17" y="48"/>
                        <a:pt x="17" y="48"/>
                        <a:pt x="17" y="48"/>
                      </a:cubicBezTo>
                      <a:cubicBezTo>
                        <a:pt x="17" y="49"/>
                        <a:pt x="16" y="49"/>
                        <a:pt x="16" y="50"/>
                      </a:cubicBezTo>
                      <a:cubicBezTo>
                        <a:pt x="15" y="50"/>
                        <a:pt x="15" y="50"/>
                        <a:pt x="15" y="50"/>
                      </a:cubicBezTo>
                      <a:close/>
                      <a:moveTo>
                        <a:pt x="4" y="40"/>
                      </a:move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4" name="Freeform 797">
                  <a:extLst>
                    <a:ext uri="{FF2B5EF4-FFF2-40B4-BE49-F238E27FC236}">
                      <a16:creationId xmlns:a16="http://schemas.microsoft.com/office/drawing/2014/main" id="{CE7ED062-7F14-47EE-B7FD-50E38FE840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2422"/>
                  <a:ext cx="35" cy="37"/>
                </a:xfrm>
                <a:custGeom>
                  <a:avLst/>
                  <a:gdLst>
                    <a:gd name="T0" fmla="*/ 2 w 15"/>
                    <a:gd name="T1" fmla="*/ 16 h 16"/>
                    <a:gd name="T2" fmla="*/ 1 w 15"/>
                    <a:gd name="T3" fmla="*/ 16 h 16"/>
                    <a:gd name="T4" fmla="*/ 0 w 15"/>
                    <a:gd name="T5" fmla="*/ 14 h 16"/>
                    <a:gd name="T6" fmla="*/ 0 w 15"/>
                    <a:gd name="T7" fmla="*/ 2 h 16"/>
                    <a:gd name="T8" fmla="*/ 1 w 15"/>
                    <a:gd name="T9" fmla="*/ 0 h 16"/>
                    <a:gd name="T10" fmla="*/ 3 w 15"/>
                    <a:gd name="T11" fmla="*/ 0 h 16"/>
                    <a:gd name="T12" fmla="*/ 14 w 15"/>
                    <a:gd name="T13" fmla="*/ 6 h 16"/>
                    <a:gd name="T14" fmla="*/ 15 w 15"/>
                    <a:gd name="T15" fmla="*/ 8 h 16"/>
                    <a:gd name="T16" fmla="*/ 14 w 15"/>
                    <a:gd name="T17" fmla="*/ 10 h 16"/>
                    <a:gd name="T18" fmla="*/ 3 w 15"/>
                    <a:gd name="T19" fmla="*/ 16 h 16"/>
                    <a:gd name="T20" fmla="*/ 2 w 15"/>
                    <a:gd name="T21" fmla="*/ 16 h 16"/>
                    <a:gd name="T22" fmla="*/ 4 w 15"/>
                    <a:gd name="T23" fmla="*/ 5 h 16"/>
                    <a:gd name="T24" fmla="*/ 4 w 15"/>
                    <a:gd name="T25" fmla="*/ 11 h 16"/>
                    <a:gd name="T26" fmla="*/ 9 w 15"/>
                    <a:gd name="T27" fmla="*/ 8 h 16"/>
                    <a:gd name="T28" fmla="*/ 4 w 15"/>
                    <a:gd name="T29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6">
                      <a:moveTo>
                        <a:pt x="2" y="16"/>
                      </a:moveTo>
                      <a:cubicBezTo>
                        <a:pt x="2" y="16"/>
                        <a:pt x="2" y="16"/>
                        <a:pt x="1" y="16"/>
                      </a:cubicBezTo>
                      <a:cubicBezTo>
                        <a:pt x="1" y="16"/>
                        <a:pt x="0" y="15"/>
                        <a:pt x="0" y="1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5" y="7"/>
                        <a:pt x="15" y="7"/>
                        <a:pt x="15" y="8"/>
                      </a:cubicBezTo>
                      <a:cubicBezTo>
                        <a:pt x="15" y="9"/>
                        <a:pt x="15" y="9"/>
                        <a:pt x="14" y="10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6"/>
                        <a:pt x="3" y="16"/>
                        <a:pt x="2" y="16"/>
                      </a:cubicBezTo>
                      <a:close/>
                      <a:moveTo>
                        <a:pt x="4" y="5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9" y="8"/>
                        <a:pt x="9" y="8"/>
                        <a:pt x="9" y="8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5" name="Freeform 798">
                  <a:extLst>
                    <a:ext uri="{FF2B5EF4-FFF2-40B4-BE49-F238E27FC236}">
                      <a16:creationId xmlns:a16="http://schemas.microsoft.com/office/drawing/2014/main" id="{B0A12010-D753-49CE-AC6B-6E02424672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1769"/>
                  <a:ext cx="19" cy="17"/>
                </a:xfrm>
                <a:custGeom>
                  <a:avLst/>
                  <a:gdLst>
                    <a:gd name="T0" fmla="*/ 6 w 8"/>
                    <a:gd name="T1" fmla="*/ 7 h 7"/>
                    <a:gd name="T2" fmla="*/ 5 w 8"/>
                    <a:gd name="T3" fmla="*/ 6 h 7"/>
                    <a:gd name="T4" fmla="*/ 1 w 8"/>
                    <a:gd name="T5" fmla="*/ 4 h 7"/>
                    <a:gd name="T6" fmla="*/ 0 w 8"/>
                    <a:gd name="T7" fmla="*/ 3 h 7"/>
                    <a:gd name="T8" fmla="*/ 1 w 8"/>
                    <a:gd name="T9" fmla="*/ 1 h 7"/>
                    <a:gd name="T10" fmla="*/ 3 w 8"/>
                    <a:gd name="T11" fmla="*/ 1 h 7"/>
                    <a:gd name="T12" fmla="*/ 7 w 8"/>
                    <a:gd name="T13" fmla="*/ 3 h 7"/>
                    <a:gd name="T14" fmla="*/ 8 w 8"/>
                    <a:gd name="T15" fmla="*/ 4 h 7"/>
                    <a:gd name="T16" fmla="*/ 8 w 8"/>
                    <a:gd name="T17" fmla="*/ 5 h 7"/>
                    <a:gd name="T18" fmla="*/ 7 w 8"/>
                    <a:gd name="T19" fmla="*/ 6 h 7"/>
                    <a:gd name="T20" fmla="*/ 6 w 8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6" y="7"/>
                      </a:moveTo>
                      <a:cubicBezTo>
                        <a:pt x="5" y="7"/>
                        <a:pt x="5" y="6"/>
                        <a:pt x="5" y="6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8" y="4"/>
                        <a:pt x="8" y="4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5"/>
                        <a:pt x="7" y="6"/>
                        <a:pt x="7" y="6"/>
                      </a:cubicBezTo>
                      <a:cubicBezTo>
                        <a:pt x="6" y="6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6" name="Freeform 799">
                  <a:extLst>
                    <a:ext uri="{FF2B5EF4-FFF2-40B4-BE49-F238E27FC236}">
                      <a16:creationId xmlns:a16="http://schemas.microsoft.com/office/drawing/2014/main" id="{6DE516C2-ADC7-4958-A5CD-87077A4115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90" y="1117"/>
                  <a:ext cx="42" cy="50"/>
                </a:xfrm>
                <a:custGeom>
                  <a:avLst/>
                  <a:gdLst>
                    <a:gd name="T0" fmla="*/ 16 w 18"/>
                    <a:gd name="T1" fmla="*/ 21 h 21"/>
                    <a:gd name="T2" fmla="*/ 15 w 18"/>
                    <a:gd name="T3" fmla="*/ 20 h 21"/>
                    <a:gd name="T4" fmla="*/ 1 w 18"/>
                    <a:gd name="T5" fmla="*/ 12 h 21"/>
                    <a:gd name="T6" fmla="*/ 0 w 18"/>
                    <a:gd name="T7" fmla="*/ 10 h 21"/>
                    <a:gd name="T8" fmla="*/ 1 w 18"/>
                    <a:gd name="T9" fmla="*/ 9 h 21"/>
                    <a:gd name="T10" fmla="*/ 15 w 18"/>
                    <a:gd name="T11" fmla="*/ 0 h 21"/>
                    <a:gd name="T12" fmla="*/ 17 w 18"/>
                    <a:gd name="T13" fmla="*/ 0 h 21"/>
                    <a:gd name="T14" fmla="*/ 18 w 18"/>
                    <a:gd name="T15" fmla="*/ 2 h 21"/>
                    <a:gd name="T16" fmla="*/ 18 w 18"/>
                    <a:gd name="T17" fmla="*/ 19 h 21"/>
                    <a:gd name="T18" fmla="*/ 17 w 18"/>
                    <a:gd name="T19" fmla="*/ 20 h 21"/>
                    <a:gd name="T20" fmla="*/ 16 w 18"/>
                    <a:gd name="T21" fmla="*/ 21 h 21"/>
                    <a:gd name="T22" fmla="*/ 6 w 18"/>
                    <a:gd name="T23" fmla="*/ 10 h 21"/>
                    <a:gd name="T24" fmla="*/ 14 w 18"/>
                    <a:gd name="T25" fmla="*/ 15 h 21"/>
                    <a:gd name="T26" fmla="*/ 14 w 18"/>
                    <a:gd name="T27" fmla="*/ 6 h 21"/>
                    <a:gd name="T28" fmla="*/ 6 w 18"/>
                    <a:gd name="T29" fmla="*/ 1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21">
                      <a:moveTo>
                        <a:pt x="16" y="21"/>
                      </a:moveTo>
                      <a:cubicBezTo>
                        <a:pt x="16" y="21"/>
                        <a:pt x="15" y="21"/>
                        <a:pt x="15" y="20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6" y="0"/>
                        <a:pt x="16" y="0"/>
                        <a:pt x="17" y="0"/>
                      </a:cubicBezTo>
                      <a:cubicBezTo>
                        <a:pt x="18" y="1"/>
                        <a:pt x="18" y="1"/>
                        <a:pt x="18" y="2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8" y="19"/>
                        <a:pt x="18" y="20"/>
                        <a:pt x="17" y="20"/>
                      </a:cubicBezTo>
                      <a:cubicBezTo>
                        <a:pt x="17" y="21"/>
                        <a:pt x="16" y="21"/>
                        <a:pt x="16" y="21"/>
                      </a:cubicBezTo>
                      <a:close/>
                      <a:moveTo>
                        <a:pt x="6" y="10"/>
                      </a:moveTo>
                      <a:cubicBezTo>
                        <a:pt x="14" y="15"/>
                        <a:pt x="14" y="15"/>
                        <a:pt x="14" y="15"/>
                      </a:cubicBezTo>
                      <a:cubicBezTo>
                        <a:pt x="14" y="6"/>
                        <a:pt x="14" y="6"/>
                        <a:pt x="14" y="6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7" name="Freeform 800">
                  <a:extLst>
                    <a:ext uri="{FF2B5EF4-FFF2-40B4-BE49-F238E27FC236}">
                      <a16:creationId xmlns:a16="http://schemas.microsoft.com/office/drawing/2014/main" id="{B3B38848-0D0E-4D62-98C4-AC3F107609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1002"/>
                  <a:ext cx="156" cy="144"/>
                </a:xfrm>
                <a:custGeom>
                  <a:avLst/>
                  <a:gdLst>
                    <a:gd name="T0" fmla="*/ 49 w 66"/>
                    <a:gd name="T1" fmla="*/ 61 h 61"/>
                    <a:gd name="T2" fmla="*/ 48 w 66"/>
                    <a:gd name="T3" fmla="*/ 61 h 61"/>
                    <a:gd name="T4" fmla="*/ 1 w 66"/>
                    <a:gd name="T5" fmla="*/ 34 h 61"/>
                    <a:gd name="T6" fmla="*/ 0 w 66"/>
                    <a:gd name="T7" fmla="*/ 32 h 61"/>
                    <a:gd name="T8" fmla="*/ 0 w 66"/>
                    <a:gd name="T9" fmla="*/ 16 h 61"/>
                    <a:gd name="T10" fmla="*/ 1 w 66"/>
                    <a:gd name="T11" fmla="*/ 14 h 61"/>
                    <a:gd name="T12" fmla="*/ 10 w 66"/>
                    <a:gd name="T13" fmla="*/ 9 h 61"/>
                    <a:gd name="T14" fmla="*/ 10 w 66"/>
                    <a:gd name="T15" fmla="*/ 5 h 61"/>
                    <a:gd name="T16" fmla="*/ 11 w 66"/>
                    <a:gd name="T17" fmla="*/ 3 h 61"/>
                    <a:gd name="T18" fmla="*/ 17 w 66"/>
                    <a:gd name="T19" fmla="*/ 0 h 61"/>
                    <a:gd name="T20" fmla="*/ 19 w 66"/>
                    <a:gd name="T21" fmla="*/ 0 h 61"/>
                    <a:gd name="T22" fmla="*/ 65 w 66"/>
                    <a:gd name="T23" fmla="*/ 27 h 61"/>
                    <a:gd name="T24" fmla="*/ 66 w 66"/>
                    <a:gd name="T25" fmla="*/ 29 h 61"/>
                    <a:gd name="T26" fmla="*/ 66 w 66"/>
                    <a:gd name="T27" fmla="*/ 50 h 61"/>
                    <a:gd name="T28" fmla="*/ 65 w 66"/>
                    <a:gd name="T29" fmla="*/ 52 h 61"/>
                    <a:gd name="T30" fmla="*/ 50 w 66"/>
                    <a:gd name="T31" fmla="*/ 61 h 61"/>
                    <a:gd name="T32" fmla="*/ 49 w 66"/>
                    <a:gd name="T33" fmla="*/ 61 h 61"/>
                    <a:gd name="T34" fmla="*/ 4 w 66"/>
                    <a:gd name="T35" fmla="*/ 31 h 61"/>
                    <a:gd name="T36" fmla="*/ 49 w 66"/>
                    <a:gd name="T37" fmla="*/ 57 h 61"/>
                    <a:gd name="T38" fmla="*/ 62 w 66"/>
                    <a:gd name="T39" fmla="*/ 49 h 61"/>
                    <a:gd name="T40" fmla="*/ 62 w 66"/>
                    <a:gd name="T41" fmla="*/ 30 h 61"/>
                    <a:gd name="T42" fmla="*/ 18 w 66"/>
                    <a:gd name="T43" fmla="*/ 4 h 61"/>
                    <a:gd name="T44" fmla="*/ 14 w 66"/>
                    <a:gd name="T45" fmla="*/ 6 h 61"/>
                    <a:gd name="T46" fmla="*/ 14 w 66"/>
                    <a:gd name="T47" fmla="*/ 10 h 61"/>
                    <a:gd name="T48" fmla="*/ 13 w 66"/>
                    <a:gd name="T49" fmla="*/ 12 h 61"/>
                    <a:gd name="T50" fmla="*/ 4 w 66"/>
                    <a:gd name="T51" fmla="*/ 17 h 61"/>
                    <a:gd name="T52" fmla="*/ 4 w 66"/>
                    <a:gd name="T53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6" h="61">
                      <a:moveTo>
                        <a:pt x="49" y="61"/>
                      </a:moveTo>
                      <a:cubicBezTo>
                        <a:pt x="49" y="61"/>
                        <a:pt x="48" y="61"/>
                        <a:pt x="48" y="61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3"/>
                        <a:pt x="0" y="33"/>
                        <a:pt x="0" y="32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5"/>
                        <a:pt x="1" y="15"/>
                        <a:pt x="1" y="14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4"/>
                        <a:pt x="10" y="4"/>
                        <a:pt x="11" y="3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8" y="0"/>
                        <a:pt x="19" y="0"/>
                      </a:cubicBezTo>
                      <a:cubicBezTo>
                        <a:pt x="65" y="27"/>
                        <a:pt x="65" y="27"/>
                        <a:pt x="65" y="27"/>
                      </a:cubicBezTo>
                      <a:cubicBezTo>
                        <a:pt x="66" y="27"/>
                        <a:pt x="66" y="28"/>
                        <a:pt x="66" y="29"/>
                      </a:cubicBezTo>
                      <a:cubicBezTo>
                        <a:pt x="66" y="50"/>
                        <a:pt x="66" y="50"/>
                        <a:pt x="66" y="50"/>
                      </a:cubicBezTo>
                      <a:cubicBezTo>
                        <a:pt x="66" y="51"/>
                        <a:pt x="66" y="52"/>
                        <a:pt x="65" y="52"/>
                      </a:cubicBezTo>
                      <a:cubicBezTo>
                        <a:pt x="50" y="61"/>
                        <a:pt x="50" y="61"/>
                        <a:pt x="50" y="61"/>
                      </a:cubicBezTo>
                      <a:cubicBezTo>
                        <a:pt x="50" y="61"/>
                        <a:pt x="49" y="61"/>
                        <a:pt x="49" y="61"/>
                      </a:cubicBezTo>
                      <a:close/>
                      <a:moveTo>
                        <a:pt x="4" y="31"/>
                      </a:moveTo>
                      <a:cubicBezTo>
                        <a:pt x="49" y="57"/>
                        <a:pt x="49" y="57"/>
                        <a:pt x="49" y="57"/>
                      </a:cubicBezTo>
                      <a:cubicBezTo>
                        <a:pt x="62" y="49"/>
                        <a:pt x="62" y="49"/>
                        <a:pt x="62" y="49"/>
                      </a:cubicBezTo>
                      <a:cubicBezTo>
                        <a:pt x="62" y="30"/>
                        <a:pt x="62" y="30"/>
                        <a:pt x="62" y="30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11"/>
                        <a:pt x="14" y="12"/>
                        <a:pt x="13" y="12"/>
                      </a:cubicBezTo>
                      <a:cubicBezTo>
                        <a:pt x="4" y="17"/>
                        <a:pt x="4" y="17"/>
                        <a:pt x="4" y="17"/>
                      </a:cubicBezTo>
                      <a:lnTo>
                        <a:pt x="4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8" name="Freeform 801">
                  <a:extLst>
                    <a:ext uri="{FF2B5EF4-FFF2-40B4-BE49-F238E27FC236}">
                      <a16:creationId xmlns:a16="http://schemas.microsoft.com/office/drawing/2014/main" id="{D28ECEC9-5B39-4349-9A4B-9AFDA86540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2282"/>
                  <a:ext cx="118" cy="137"/>
                </a:xfrm>
                <a:custGeom>
                  <a:avLst/>
                  <a:gdLst>
                    <a:gd name="T0" fmla="*/ 2 w 50"/>
                    <a:gd name="T1" fmla="*/ 58 h 58"/>
                    <a:gd name="T2" fmla="*/ 1 w 50"/>
                    <a:gd name="T3" fmla="*/ 58 h 58"/>
                    <a:gd name="T4" fmla="*/ 0 w 50"/>
                    <a:gd name="T5" fmla="*/ 56 h 58"/>
                    <a:gd name="T6" fmla="*/ 0 w 50"/>
                    <a:gd name="T7" fmla="*/ 43 h 58"/>
                    <a:gd name="T8" fmla="*/ 1 w 50"/>
                    <a:gd name="T9" fmla="*/ 42 h 58"/>
                    <a:gd name="T10" fmla="*/ 8 w 50"/>
                    <a:gd name="T11" fmla="*/ 38 h 58"/>
                    <a:gd name="T12" fmla="*/ 1 w 50"/>
                    <a:gd name="T13" fmla="*/ 34 h 58"/>
                    <a:gd name="T14" fmla="*/ 0 w 50"/>
                    <a:gd name="T15" fmla="*/ 32 h 58"/>
                    <a:gd name="T16" fmla="*/ 0 w 50"/>
                    <a:gd name="T17" fmla="*/ 2 h 58"/>
                    <a:gd name="T18" fmla="*/ 1 w 50"/>
                    <a:gd name="T19" fmla="*/ 1 h 58"/>
                    <a:gd name="T20" fmla="*/ 3 w 50"/>
                    <a:gd name="T21" fmla="*/ 1 h 58"/>
                    <a:gd name="T22" fmla="*/ 49 w 50"/>
                    <a:gd name="T23" fmla="*/ 28 h 58"/>
                    <a:gd name="T24" fmla="*/ 50 w 50"/>
                    <a:gd name="T25" fmla="*/ 29 h 58"/>
                    <a:gd name="T26" fmla="*/ 49 w 50"/>
                    <a:gd name="T27" fmla="*/ 31 h 58"/>
                    <a:gd name="T28" fmla="*/ 3 w 50"/>
                    <a:gd name="T29" fmla="*/ 58 h 58"/>
                    <a:gd name="T30" fmla="*/ 2 w 50"/>
                    <a:gd name="T31" fmla="*/ 58 h 58"/>
                    <a:gd name="T32" fmla="*/ 4 w 50"/>
                    <a:gd name="T33" fmla="*/ 44 h 58"/>
                    <a:gd name="T34" fmla="*/ 4 w 50"/>
                    <a:gd name="T35" fmla="*/ 53 h 58"/>
                    <a:gd name="T36" fmla="*/ 44 w 50"/>
                    <a:gd name="T37" fmla="*/ 29 h 58"/>
                    <a:gd name="T38" fmla="*/ 4 w 50"/>
                    <a:gd name="T39" fmla="*/ 6 h 58"/>
                    <a:gd name="T40" fmla="*/ 4 w 50"/>
                    <a:gd name="T41" fmla="*/ 31 h 58"/>
                    <a:gd name="T42" fmla="*/ 13 w 50"/>
                    <a:gd name="T43" fmla="*/ 36 h 58"/>
                    <a:gd name="T44" fmla="*/ 14 w 50"/>
                    <a:gd name="T45" fmla="*/ 38 h 58"/>
                    <a:gd name="T46" fmla="*/ 13 w 50"/>
                    <a:gd name="T47" fmla="*/ 39 h 58"/>
                    <a:gd name="T48" fmla="*/ 4 w 50"/>
                    <a:gd name="T49" fmla="*/ 44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" h="58">
                      <a:moveTo>
                        <a:pt x="2" y="58"/>
                      </a:move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58"/>
                        <a:pt x="0" y="57"/>
                        <a:pt x="0" y="56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3"/>
                        <a:pt x="0" y="42"/>
                        <a:pt x="1" y="42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3"/>
                        <a:pt x="0" y="33"/>
                        <a:pt x="0" y="3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50" y="28"/>
                        <a:pt x="50" y="29"/>
                        <a:pt x="50" y="29"/>
                      </a:cubicBezTo>
                      <a:cubicBezTo>
                        <a:pt x="50" y="30"/>
                        <a:pt x="50" y="31"/>
                        <a:pt x="49" y="31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2" y="58"/>
                        <a:pt x="2" y="58"/>
                        <a:pt x="2" y="58"/>
                      </a:cubicBezTo>
                      <a:close/>
                      <a:moveTo>
                        <a:pt x="4" y="44"/>
                      </a:move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31"/>
                        <a:pt x="4" y="31"/>
                        <a:pt x="4" y="31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6"/>
                        <a:pt x="14" y="37"/>
                        <a:pt x="14" y="38"/>
                      </a:cubicBezTo>
                      <a:cubicBezTo>
                        <a:pt x="14" y="38"/>
                        <a:pt x="13" y="39"/>
                        <a:pt x="13" y="39"/>
                      </a:cubicBez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9" name="Freeform 802">
                  <a:extLst>
                    <a:ext uri="{FF2B5EF4-FFF2-40B4-BE49-F238E27FC236}">
                      <a16:creationId xmlns:a16="http://schemas.microsoft.com/office/drawing/2014/main" id="{A1CFA40A-C248-4A72-A982-66DBEF995F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917"/>
                  <a:ext cx="132" cy="153"/>
                </a:xfrm>
                <a:custGeom>
                  <a:avLst/>
                  <a:gdLst>
                    <a:gd name="T0" fmla="*/ 54 w 56"/>
                    <a:gd name="T1" fmla="*/ 65 h 65"/>
                    <a:gd name="T2" fmla="*/ 53 w 56"/>
                    <a:gd name="T3" fmla="*/ 65 h 65"/>
                    <a:gd name="T4" fmla="*/ 8 w 56"/>
                    <a:gd name="T5" fmla="*/ 38 h 65"/>
                    <a:gd name="T6" fmla="*/ 3 w 56"/>
                    <a:gd name="T7" fmla="*/ 41 h 65"/>
                    <a:gd name="T8" fmla="*/ 1 w 56"/>
                    <a:gd name="T9" fmla="*/ 41 h 65"/>
                    <a:gd name="T10" fmla="*/ 0 w 56"/>
                    <a:gd name="T11" fmla="*/ 39 h 65"/>
                    <a:gd name="T12" fmla="*/ 0 w 56"/>
                    <a:gd name="T13" fmla="*/ 2 h 65"/>
                    <a:gd name="T14" fmla="*/ 1 w 56"/>
                    <a:gd name="T15" fmla="*/ 0 h 65"/>
                    <a:gd name="T16" fmla="*/ 3 w 56"/>
                    <a:gd name="T17" fmla="*/ 0 h 65"/>
                    <a:gd name="T18" fmla="*/ 55 w 56"/>
                    <a:gd name="T19" fmla="*/ 31 h 65"/>
                    <a:gd name="T20" fmla="*/ 56 w 56"/>
                    <a:gd name="T21" fmla="*/ 32 h 65"/>
                    <a:gd name="T22" fmla="*/ 56 w 56"/>
                    <a:gd name="T23" fmla="*/ 63 h 65"/>
                    <a:gd name="T24" fmla="*/ 55 w 56"/>
                    <a:gd name="T25" fmla="*/ 65 h 65"/>
                    <a:gd name="T26" fmla="*/ 54 w 56"/>
                    <a:gd name="T27" fmla="*/ 65 h 65"/>
                    <a:gd name="T28" fmla="*/ 8 w 56"/>
                    <a:gd name="T29" fmla="*/ 34 h 65"/>
                    <a:gd name="T30" fmla="*/ 9 w 56"/>
                    <a:gd name="T31" fmla="*/ 34 h 65"/>
                    <a:gd name="T32" fmla="*/ 52 w 56"/>
                    <a:gd name="T33" fmla="*/ 59 h 65"/>
                    <a:gd name="T34" fmla="*/ 52 w 56"/>
                    <a:gd name="T35" fmla="*/ 33 h 65"/>
                    <a:gd name="T36" fmla="*/ 4 w 56"/>
                    <a:gd name="T37" fmla="*/ 6 h 65"/>
                    <a:gd name="T38" fmla="*/ 4 w 56"/>
                    <a:gd name="T39" fmla="*/ 36 h 65"/>
                    <a:gd name="T40" fmla="*/ 7 w 56"/>
                    <a:gd name="T41" fmla="*/ 34 h 65"/>
                    <a:gd name="T42" fmla="*/ 8 w 56"/>
                    <a:gd name="T43" fmla="*/ 34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6" h="65">
                      <a:moveTo>
                        <a:pt x="54" y="65"/>
                      </a:moveTo>
                      <a:cubicBezTo>
                        <a:pt x="54" y="65"/>
                        <a:pt x="53" y="65"/>
                        <a:pt x="53" y="65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3" y="41"/>
                        <a:pt x="3" y="41"/>
                        <a:pt x="3" y="41"/>
                      </a:cubicBezTo>
                      <a:cubicBezTo>
                        <a:pt x="2" y="41"/>
                        <a:pt x="2" y="41"/>
                        <a:pt x="1" y="41"/>
                      </a:cubicBezTo>
                      <a:cubicBezTo>
                        <a:pt x="0" y="41"/>
                        <a:pt x="0" y="40"/>
                        <a:pt x="0" y="3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55" y="31"/>
                        <a:pt x="55" y="31"/>
                        <a:pt x="55" y="31"/>
                      </a:cubicBezTo>
                      <a:cubicBezTo>
                        <a:pt x="56" y="31"/>
                        <a:pt x="56" y="32"/>
                        <a:pt x="56" y="32"/>
                      </a:cubicBezTo>
                      <a:cubicBezTo>
                        <a:pt x="56" y="63"/>
                        <a:pt x="56" y="63"/>
                        <a:pt x="56" y="63"/>
                      </a:cubicBezTo>
                      <a:cubicBezTo>
                        <a:pt x="56" y="64"/>
                        <a:pt x="56" y="64"/>
                        <a:pt x="55" y="65"/>
                      </a:cubicBezTo>
                      <a:cubicBezTo>
                        <a:pt x="55" y="65"/>
                        <a:pt x="54" y="65"/>
                        <a:pt x="54" y="65"/>
                      </a:cubicBezTo>
                      <a:close/>
                      <a:moveTo>
                        <a:pt x="8" y="34"/>
                      </a:moveTo>
                      <a:cubicBezTo>
                        <a:pt x="8" y="34"/>
                        <a:pt x="8" y="34"/>
                        <a:pt x="9" y="34"/>
                      </a:cubicBezTo>
                      <a:cubicBezTo>
                        <a:pt x="52" y="59"/>
                        <a:pt x="52" y="59"/>
                        <a:pt x="52" y="59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7" y="34"/>
                        <a:pt x="7" y="34"/>
                        <a:pt x="8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0" name="Freeform 803">
                  <a:extLst>
                    <a:ext uri="{FF2B5EF4-FFF2-40B4-BE49-F238E27FC236}">
                      <a16:creationId xmlns:a16="http://schemas.microsoft.com/office/drawing/2014/main" id="{5E6612DE-DCA2-49C8-9A69-E3DDDA98F2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92" y="1120"/>
                  <a:ext cx="40" cy="47"/>
                </a:xfrm>
                <a:custGeom>
                  <a:avLst/>
                  <a:gdLst>
                    <a:gd name="T0" fmla="*/ 15 w 17"/>
                    <a:gd name="T1" fmla="*/ 20 h 20"/>
                    <a:gd name="T2" fmla="*/ 14 w 17"/>
                    <a:gd name="T3" fmla="*/ 19 h 20"/>
                    <a:gd name="T4" fmla="*/ 1 w 17"/>
                    <a:gd name="T5" fmla="*/ 12 h 20"/>
                    <a:gd name="T6" fmla="*/ 0 w 17"/>
                    <a:gd name="T7" fmla="*/ 10 h 20"/>
                    <a:gd name="T8" fmla="*/ 1 w 17"/>
                    <a:gd name="T9" fmla="*/ 8 h 20"/>
                    <a:gd name="T10" fmla="*/ 14 w 17"/>
                    <a:gd name="T11" fmla="*/ 1 h 20"/>
                    <a:gd name="T12" fmla="*/ 16 w 17"/>
                    <a:gd name="T13" fmla="*/ 1 h 20"/>
                    <a:gd name="T14" fmla="*/ 17 w 17"/>
                    <a:gd name="T15" fmla="*/ 2 h 20"/>
                    <a:gd name="T16" fmla="*/ 17 w 17"/>
                    <a:gd name="T17" fmla="*/ 18 h 20"/>
                    <a:gd name="T18" fmla="*/ 16 w 17"/>
                    <a:gd name="T19" fmla="*/ 19 h 20"/>
                    <a:gd name="T20" fmla="*/ 15 w 17"/>
                    <a:gd name="T21" fmla="*/ 20 h 20"/>
                    <a:gd name="T22" fmla="*/ 6 w 17"/>
                    <a:gd name="T23" fmla="*/ 10 h 20"/>
                    <a:gd name="T24" fmla="*/ 13 w 17"/>
                    <a:gd name="T25" fmla="*/ 14 h 20"/>
                    <a:gd name="T26" fmla="*/ 13 w 17"/>
                    <a:gd name="T27" fmla="*/ 6 h 20"/>
                    <a:gd name="T28" fmla="*/ 6 w 17"/>
                    <a:gd name="T29" fmla="*/ 1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20">
                      <a:moveTo>
                        <a:pt x="15" y="20"/>
                      </a:moveTo>
                      <a:cubicBezTo>
                        <a:pt x="15" y="20"/>
                        <a:pt x="14" y="20"/>
                        <a:pt x="14" y="19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1"/>
                        <a:pt x="0" y="11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6" y="0"/>
                        <a:pt x="16" y="1"/>
                      </a:cubicBezTo>
                      <a:cubicBezTo>
                        <a:pt x="17" y="1"/>
                        <a:pt x="17" y="2"/>
                        <a:pt x="17" y="2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8"/>
                        <a:pt x="17" y="19"/>
                        <a:pt x="16" y="19"/>
                      </a:cubicBezTo>
                      <a:cubicBezTo>
                        <a:pt x="16" y="20"/>
                        <a:pt x="15" y="20"/>
                        <a:pt x="15" y="20"/>
                      </a:cubicBezTo>
                      <a:close/>
                      <a:moveTo>
                        <a:pt x="6" y="10"/>
                      </a:moveTo>
                      <a:cubicBezTo>
                        <a:pt x="13" y="14"/>
                        <a:pt x="13" y="14"/>
                        <a:pt x="13" y="14"/>
                      </a:cubicBezTo>
                      <a:cubicBezTo>
                        <a:pt x="13" y="6"/>
                        <a:pt x="13" y="6"/>
                        <a:pt x="13" y="6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1" name="Freeform 804">
                  <a:extLst>
                    <a:ext uri="{FF2B5EF4-FFF2-40B4-BE49-F238E27FC236}">
                      <a16:creationId xmlns:a16="http://schemas.microsoft.com/office/drawing/2014/main" id="{BA41598B-D2F5-4435-9271-FF5C8F6118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0" y="1037"/>
                  <a:ext cx="222" cy="151"/>
                </a:xfrm>
                <a:custGeom>
                  <a:avLst/>
                  <a:gdLst>
                    <a:gd name="T0" fmla="*/ 63 w 94"/>
                    <a:gd name="T1" fmla="*/ 64 h 64"/>
                    <a:gd name="T2" fmla="*/ 62 w 94"/>
                    <a:gd name="T3" fmla="*/ 64 h 64"/>
                    <a:gd name="T4" fmla="*/ 1 w 94"/>
                    <a:gd name="T5" fmla="*/ 29 h 64"/>
                    <a:gd name="T6" fmla="*/ 0 w 94"/>
                    <a:gd name="T7" fmla="*/ 27 h 64"/>
                    <a:gd name="T8" fmla="*/ 1 w 94"/>
                    <a:gd name="T9" fmla="*/ 25 h 64"/>
                    <a:gd name="T10" fmla="*/ 45 w 94"/>
                    <a:gd name="T11" fmla="*/ 0 h 64"/>
                    <a:gd name="T12" fmla="*/ 47 w 94"/>
                    <a:gd name="T13" fmla="*/ 0 h 64"/>
                    <a:gd name="T14" fmla="*/ 48 w 94"/>
                    <a:gd name="T15" fmla="*/ 2 h 64"/>
                    <a:gd name="T16" fmla="*/ 48 w 94"/>
                    <a:gd name="T17" fmla="*/ 17 h 64"/>
                    <a:gd name="T18" fmla="*/ 93 w 94"/>
                    <a:gd name="T19" fmla="*/ 43 h 64"/>
                    <a:gd name="T20" fmla="*/ 94 w 94"/>
                    <a:gd name="T21" fmla="*/ 45 h 64"/>
                    <a:gd name="T22" fmla="*/ 93 w 94"/>
                    <a:gd name="T23" fmla="*/ 47 h 64"/>
                    <a:gd name="T24" fmla="*/ 64 w 94"/>
                    <a:gd name="T25" fmla="*/ 64 h 64"/>
                    <a:gd name="T26" fmla="*/ 63 w 94"/>
                    <a:gd name="T27" fmla="*/ 64 h 64"/>
                    <a:gd name="T28" fmla="*/ 6 w 94"/>
                    <a:gd name="T29" fmla="*/ 27 h 64"/>
                    <a:gd name="T30" fmla="*/ 63 w 94"/>
                    <a:gd name="T31" fmla="*/ 60 h 64"/>
                    <a:gd name="T32" fmla="*/ 88 w 94"/>
                    <a:gd name="T33" fmla="*/ 45 h 64"/>
                    <a:gd name="T34" fmla="*/ 45 w 94"/>
                    <a:gd name="T35" fmla="*/ 20 h 64"/>
                    <a:gd name="T36" fmla="*/ 44 w 94"/>
                    <a:gd name="T37" fmla="*/ 18 h 64"/>
                    <a:gd name="T38" fmla="*/ 44 w 94"/>
                    <a:gd name="T39" fmla="*/ 5 h 64"/>
                    <a:gd name="T40" fmla="*/ 6 w 94"/>
                    <a:gd name="T41" fmla="*/ 27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4" h="64">
                      <a:moveTo>
                        <a:pt x="63" y="64"/>
                      </a:move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0" y="28"/>
                        <a:pt x="0" y="28"/>
                        <a:pt x="0" y="27"/>
                      </a:cubicBezTo>
                      <a:cubicBezTo>
                        <a:pt x="0" y="26"/>
                        <a:pt x="0" y="26"/>
                        <a:pt x="1" y="25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5" y="0"/>
                        <a:pt x="46" y="0"/>
                        <a:pt x="47" y="0"/>
                      </a:cubicBezTo>
                      <a:cubicBezTo>
                        <a:pt x="47" y="0"/>
                        <a:pt x="48" y="1"/>
                        <a:pt x="48" y="2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93" y="43"/>
                        <a:pt x="93" y="43"/>
                        <a:pt x="93" y="43"/>
                      </a:cubicBezTo>
                      <a:cubicBezTo>
                        <a:pt x="94" y="44"/>
                        <a:pt x="94" y="44"/>
                        <a:pt x="94" y="45"/>
                      </a:cubicBezTo>
                      <a:cubicBezTo>
                        <a:pt x="94" y="46"/>
                        <a:pt x="94" y="46"/>
                        <a:pt x="93" y="47"/>
                      </a:cubicBezTo>
                      <a:cubicBezTo>
                        <a:pt x="64" y="64"/>
                        <a:pt x="64" y="64"/>
                        <a:pt x="64" y="64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lose/>
                      <a:moveTo>
                        <a:pt x="6" y="27"/>
                      </a:moveTo>
                      <a:cubicBezTo>
                        <a:pt x="63" y="60"/>
                        <a:pt x="63" y="60"/>
                        <a:pt x="63" y="60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4" y="19"/>
                        <a:pt x="44" y="19"/>
                        <a:pt x="44" y="18"/>
                      </a:cubicBezTo>
                      <a:cubicBezTo>
                        <a:pt x="44" y="5"/>
                        <a:pt x="44" y="5"/>
                        <a:pt x="44" y="5"/>
                      </a:cubicBezTo>
                      <a:lnTo>
                        <a:pt x="6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2" name="Freeform 805">
                  <a:extLst>
                    <a:ext uri="{FF2B5EF4-FFF2-40B4-BE49-F238E27FC236}">
                      <a16:creationId xmlns:a16="http://schemas.microsoft.com/office/drawing/2014/main" id="{029FFB36-E3F4-4FE0-BD67-D459104658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2358"/>
                  <a:ext cx="24" cy="26"/>
                </a:xfrm>
                <a:custGeom>
                  <a:avLst/>
                  <a:gdLst>
                    <a:gd name="T0" fmla="*/ 2 w 10"/>
                    <a:gd name="T1" fmla="*/ 11 h 11"/>
                    <a:gd name="T2" fmla="*/ 1 w 10"/>
                    <a:gd name="T3" fmla="*/ 11 h 11"/>
                    <a:gd name="T4" fmla="*/ 0 w 10"/>
                    <a:gd name="T5" fmla="*/ 9 h 11"/>
                    <a:gd name="T6" fmla="*/ 0 w 10"/>
                    <a:gd name="T7" fmla="*/ 2 h 11"/>
                    <a:gd name="T8" fmla="*/ 1 w 10"/>
                    <a:gd name="T9" fmla="*/ 0 h 11"/>
                    <a:gd name="T10" fmla="*/ 3 w 10"/>
                    <a:gd name="T11" fmla="*/ 0 h 11"/>
                    <a:gd name="T12" fmla="*/ 9 w 10"/>
                    <a:gd name="T13" fmla="*/ 4 h 11"/>
                    <a:gd name="T14" fmla="*/ 10 w 10"/>
                    <a:gd name="T15" fmla="*/ 6 h 11"/>
                    <a:gd name="T16" fmla="*/ 9 w 10"/>
                    <a:gd name="T17" fmla="*/ 7 h 11"/>
                    <a:gd name="T18" fmla="*/ 3 w 10"/>
                    <a:gd name="T19" fmla="*/ 11 h 11"/>
                    <a:gd name="T20" fmla="*/ 2 w 10"/>
                    <a:gd name="T21" fmla="*/ 11 h 11"/>
                    <a:gd name="T22" fmla="*/ 4 w 10"/>
                    <a:gd name="T23" fmla="*/ 5 h 11"/>
                    <a:gd name="T24" fmla="*/ 4 w 10"/>
                    <a:gd name="T25" fmla="*/ 6 h 11"/>
                    <a:gd name="T26" fmla="*/ 4 w 10"/>
                    <a:gd name="T27" fmla="*/ 6 h 11"/>
                    <a:gd name="T28" fmla="*/ 4 w 10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" h="11">
                      <a:moveTo>
                        <a:pt x="2" y="11"/>
                      </a:move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0" y="11"/>
                        <a:pt x="0" y="10"/>
                        <a:pt x="0" y="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5"/>
                        <a:pt x="10" y="6"/>
                      </a:cubicBezTo>
                      <a:cubicBezTo>
                        <a:pt x="10" y="6"/>
                        <a:pt x="10" y="7"/>
                        <a:pt x="9" y="7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2" y="11"/>
                        <a:pt x="2" y="11"/>
                        <a:pt x="2" y="11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3" name="Freeform 806">
                  <a:extLst>
                    <a:ext uri="{FF2B5EF4-FFF2-40B4-BE49-F238E27FC236}">
                      <a16:creationId xmlns:a16="http://schemas.microsoft.com/office/drawing/2014/main" id="{5111BFF2-7C66-4EB8-A815-5C6DBAB1B72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2258"/>
                  <a:ext cx="40" cy="90"/>
                </a:xfrm>
                <a:custGeom>
                  <a:avLst/>
                  <a:gdLst>
                    <a:gd name="T0" fmla="*/ 15 w 17"/>
                    <a:gd name="T1" fmla="*/ 38 h 38"/>
                    <a:gd name="T2" fmla="*/ 14 w 17"/>
                    <a:gd name="T3" fmla="*/ 37 h 38"/>
                    <a:gd name="T4" fmla="*/ 1 w 17"/>
                    <a:gd name="T5" fmla="*/ 30 h 38"/>
                    <a:gd name="T6" fmla="*/ 0 w 17"/>
                    <a:gd name="T7" fmla="*/ 28 h 38"/>
                    <a:gd name="T8" fmla="*/ 0 w 17"/>
                    <a:gd name="T9" fmla="*/ 9 h 38"/>
                    <a:gd name="T10" fmla="*/ 1 w 17"/>
                    <a:gd name="T11" fmla="*/ 8 h 38"/>
                    <a:gd name="T12" fmla="*/ 14 w 17"/>
                    <a:gd name="T13" fmla="*/ 0 h 38"/>
                    <a:gd name="T14" fmla="*/ 16 w 17"/>
                    <a:gd name="T15" fmla="*/ 0 h 38"/>
                    <a:gd name="T16" fmla="*/ 17 w 17"/>
                    <a:gd name="T17" fmla="*/ 2 h 38"/>
                    <a:gd name="T18" fmla="*/ 17 w 17"/>
                    <a:gd name="T19" fmla="*/ 36 h 38"/>
                    <a:gd name="T20" fmla="*/ 16 w 17"/>
                    <a:gd name="T21" fmla="*/ 37 h 38"/>
                    <a:gd name="T22" fmla="*/ 15 w 17"/>
                    <a:gd name="T23" fmla="*/ 38 h 38"/>
                    <a:gd name="T24" fmla="*/ 4 w 17"/>
                    <a:gd name="T25" fmla="*/ 27 h 38"/>
                    <a:gd name="T26" fmla="*/ 13 w 17"/>
                    <a:gd name="T27" fmla="*/ 32 h 38"/>
                    <a:gd name="T28" fmla="*/ 13 w 17"/>
                    <a:gd name="T29" fmla="*/ 6 h 38"/>
                    <a:gd name="T30" fmla="*/ 4 w 17"/>
                    <a:gd name="T31" fmla="*/ 11 h 38"/>
                    <a:gd name="T32" fmla="*/ 4 w 17"/>
                    <a:gd name="T33" fmla="*/ 2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" h="38">
                      <a:moveTo>
                        <a:pt x="15" y="38"/>
                      </a:moveTo>
                      <a:cubicBezTo>
                        <a:pt x="14" y="38"/>
                        <a:pt x="14" y="38"/>
                        <a:pt x="14" y="37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1" y="30"/>
                        <a:pt x="0" y="29"/>
                        <a:pt x="0" y="2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5" y="0"/>
                        <a:pt x="16" y="0"/>
                      </a:cubicBezTo>
                      <a:cubicBezTo>
                        <a:pt x="16" y="1"/>
                        <a:pt x="17" y="1"/>
                        <a:pt x="17" y="2"/>
                      </a:cubicBezTo>
                      <a:cubicBezTo>
                        <a:pt x="17" y="36"/>
                        <a:pt x="17" y="36"/>
                        <a:pt x="17" y="36"/>
                      </a:cubicBezTo>
                      <a:cubicBezTo>
                        <a:pt x="17" y="36"/>
                        <a:pt x="16" y="37"/>
                        <a:pt x="16" y="37"/>
                      </a:cubicBezTo>
                      <a:cubicBezTo>
                        <a:pt x="15" y="38"/>
                        <a:pt x="15" y="38"/>
                        <a:pt x="15" y="38"/>
                      </a:cubicBezTo>
                      <a:close/>
                      <a:moveTo>
                        <a:pt x="4" y="27"/>
                      </a:moveTo>
                      <a:cubicBezTo>
                        <a:pt x="13" y="32"/>
                        <a:pt x="13" y="32"/>
                        <a:pt x="13" y="32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" y="11"/>
                        <a:pt x="4" y="11"/>
                        <a:pt x="4" y="11"/>
                      </a:cubicBezTo>
                      <a:lnTo>
                        <a:pt x="4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4" name="Freeform 807">
                  <a:extLst>
                    <a:ext uri="{FF2B5EF4-FFF2-40B4-BE49-F238E27FC236}">
                      <a16:creationId xmlns:a16="http://schemas.microsoft.com/office/drawing/2014/main" id="{C925B97A-5CE5-4D06-B814-13D6987D1B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45" y="2249"/>
                  <a:ext cx="14" cy="14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1 h 6"/>
                    <a:gd name="T10" fmla="*/ 3 w 6"/>
                    <a:gd name="T11" fmla="*/ 0 h 6"/>
                    <a:gd name="T12" fmla="*/ 5 w 6"/>
                    <a:gd name="T13" fmla="*/ 0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4" y="6"/>
                        <a:pt x="3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5" y="1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5" y="5"/>
                        <a:pt x="5" y="6"/>
                      </a:cubicBezTo>
                      <a:cubicBezTo>
                        <a:pt x="5" y="6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5" name="Freeform 808">
                  <a:extLst>
                    <a:ext uri="{FF2B5EF4-FFF2-40B4-BE49-F238E27FC236}">
                      <a16:creationId xmlns:a16="http://schemas.microsoft.com/office/drawing/2014/main" id="{38851DFA-37F2-401B-99D7-DAFAB8ACBE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86" y="2204"/>
                  <a:ext cx="97" cy="76"/>
                </a:xfrm>
                <a:custGeom>
                  <a:avLst/>
                  <a:gdLst>
                    <a:gd name="T0" fmla="*/ 37 w 41"/>
                    <a:gd name="T1" fmla="*/ 32 h 32"/>
                    <a:gd name="T2" fmla="*/ 36 w 41"/>
                    <a:gd name="T3" fmla="*/ 32 h 32"/>
                    <a:gd name="T4" fmla="*/ 1 w 41"/>
                    <a:gd name="T5" fmla="*/ 11 h 32"/>
                    <a:gd name="T6" fmla="*/ 0 w 41"/>
                    <a:gd name="T7" fmla="*/ 10 h 32"/>
                    <a:gd name="T8" fmla="*/ 0 w 41"/>
                    <a:gd name="T9" fmla="*/ 2 h 32"/>
                    <a:gd name="T10" fmla="*/ 1 w 41"/>
                    <a:gd name="T11" fmla="*/ 0 h 32"/>
                    <a:gd name="T12" fmla="*/ 3 w 41"/>
                    <a:gd name="T13" fmla="*/ 0 h 32"/>
                    <a:gd name="T14" fmla="*/ 40 w 41"/>
                    <a:gd name="T15" fmla="*/ 21 h 32"/>
                    <a:gd name="T16" fmla="*/ 41 w 41"/>
                    <a:gd name="T17" fmla="*/ 23 h 32"/>
                    <a:gd name="T18" fmla="*/ 41 w 41"/>
                    <a:gd name="T19" fmla="*/ 29 h 32"/>
                    <a:gd name="T20" fmla="*/ 40 w 41"/>
                    <a:gd name="T21" fmla="*/ 30 h 32"/>
                    <a:gd name="T22" fmla="*/ 38 w 41"/>
                    <a:gd name="T23" fmla="*/ 32 h 32"/>
                    <a:gd name="T24" fmla="*/ 37 w 41"/>
                    <a:gd name="T25" fmla="*/ 32 h 32"/>
                    <a:gd name="T26" fmla="*/ 39 w 41"/>
                    <a:gd name="T27" fmla="*/ 29 h 32"/>
                    <a:gd name="T28" fmla="*/ 39 w 41"/>
                    <a:gd name="T29" fmla="*/ 29 h 32"/>
                    <a:gd name="T30" fmla="*/ 4 w 41"/>
                    <a:gd name="T31" fmla="*/ 8 h 32"/>
                    <a:gd name="T32" fmla="*/ 37 w 41"/>
                    <a:gd name="T33" fmla="*/ 27 h 32"/>
                    <a:gd name="T34" fmla="*/ 37 w 41"/>
                    <a:gd name="T35" fmla="*/ 27 h 32"/>
                    <a:gd name="T36" fmla="*/ 37 w 41"/>
                    <a:gd name="T37" fmla="*/ 24 h 32"/>
                    <a:gd name="T38" fmla="*/ 4 w 41"/>
                    <a:gd name="T39" fmla="*/ 5 h 32"/>
                    <a:gd name="T40" fmla="*/ 4 w 41"/>
                    <a:gd name="T41" fmla="*/ 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1" h="32">
                      <a:moveTo>
                        <a:pt x="37" y="32"/>
                      </a:moveTo>
                      <a:cubicBezTo>
                        <a:pt x="36" y="32"/>
                        <a:pt x="36" y="32"/>
                        <a:pt x="36" y="32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0" y="11"/>
                        <a:pt x="0" y="10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22"/>
                        <a:pt x="41" y="22"/>
                        <a:pt x="41" y="23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1" y="29"/>
                        <a:pt x="40" y="30"/>
                        <a:pt x="40" y="30"/>
                      </a:cubicBezTo>
                      <a:cubicBezTo>
                        <a:pt x="38" y="32"/>
                        <a:pt x="38" y="32"/>
                        <a:pt x="38" y="3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lose/>
                      <a:moveTo>
                        <a:pt x="39" y="29"/>
                      </a:moveTo>
                      <a:cubicBezTo>
                        <a:pt x="39" y="29"/>
                        <a:pt x="39" y="29"/>
                        <a:pt x="39" y="29"/>
                      </a:cubicBezTo>
                      <a:close/>
                      <a:moveTo>
                        <a:pt x="4" y="8"/>
                      </a:move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7" y="24"/>
                        <a:pt x="37" y="24"/>
                        <a:pt x="37" y="24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6" name="Freeform 809">
                  <a:extLst>
                    <a:ext uri="{FF2B5EF4-FFF2-40B4-BE49-F238E27FC236}">
                      <a16:creationId xmlns:a16="http://schemas.microsoft.com/office/drawing/2014/main" id="{8DD1DF5E-F00C-4058-9A17-245307F2BE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62" y="2275"/>
                  <a:ext cx="19" cy="17"/>
                </a:xfrm>
                <a:custGeom>
                  <a:avLst/>
                  <a:gdLst>
                    <a:gd name="T0" fmla="*/ 6 w 8"/>
                    <a:gd name="T1" fmla="*/ 7 h 7"/>
                    <a:gd name="T2" fmla="*/ 5 w 8"/>
                    <a:gd name="T3" fmla="*/ 7 h 7"/>
                    <a:gd name="T4" fmla="*/ 1 w 8"/>
                    <a:gd name="T5" fmla="*/ 5 h 7"/>
                    <a:gd name="T6" fmla="*/ 0 w 8"/>
                    <a:gd name="T7" fmla="*/ 3 h 7"/>
                    <a:gd name="T8" fmla="*/ 1 w 8"/>
                    <a:gd name="T9" fmla="*/ 1 h 7"/>
                    <a:gd name="T10" fmla="*/ 4 w 8"/>
                    <a:gd name="T11" fmla="*/ 0 h 7"/>
                    <a:gd name="T12" fmla="*/ 6 w 8"/>
                    <a:gd name="T13" fmla="*/ 0 h 7"/>
                    <a:gd name="T14" fmla="*/ 7 w 8"/>
                    <a:gd name="T15" fmla="*/ 1 h 7"/>
                    <a:gd name="T16" fmla="*/ 8 w 8"/>
                    <a:gd name="T17" fmla="*/ 2 h 7"/>
                    <a:gd name="T18" fmla="*/ 8 w 8"/>
                    <a:gd name="T19" fmla="*/ 5 h 7"/>
                    <a:gd name="T20" fmla="*/ 7 w 8"/>
                    <a:gd name="T21" fmla="*/ 7 h 7"/>
                    <a:gd name="T22" fmla="*/ 6 w 8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7">
                      <a:moveTo>
                        <a:pt x="6" y="7"/>
                      </a:moveTo>
                      <a:cubicBezTo>
                        <a:pt x="6" y="7"/>
                        <a:pt x="5" y="7"/>
                        <a:pt x="5" y="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8" y="1"/>
                        <a:pt x="8" y="2"/>
                        <a:pt x="8" y="2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6"/>
                        <a:pt x="8" y="6"/>
                        <a:pt x="7" y="7"/>
                      </a:cubicBezTo>
                      <a:cubicBezTo>
                        <a:pt x="7" y="7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7" name="Freeform 810">
                  <a:extLst>
                    <a:ext uri="{FF2B5EF4-FFF2-40B4-BE49-F238E27FC236}">
                      <a16:creationId xmlns:a16="http://schemas.microsoft.com/office/drawing/2014/main" id="{5731BD35-83B9-4F10-83D6-ED970BFC46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71" y="2270"/>
                  <a:ext cx="12" cy="12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5 h 5"/>
                    <a:gd name="T4" fmla="*/ 1 w 5"/>
                    <a:gd name="T5" fmla="*/ 4 h 5"/>
                    <a:gd name="T6" fmla="*/ 0 w 5"/>
                    <a:gd name="T7" fmla="*/ 3 h 5"/>
                    <a:gd name="T8" fmla="*/ 1 w 5"/>
                    <a:gd name="T9" fmla="*/ 1 h 5"/>
                    <a:gd name="T10" fmla="*/ 2 w 5"/>
                    <a:gd name="T11" fmla="*/ 1 h 5"/>
                    <a:gd name="T12" fmla="*/ 4 w 5"/>
                    <a:gd name="T13" fmla="*/ 1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5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3" y="0"/>
                        <a:pt x="4" y="1"/>
                      </a:cubicBezTo>
                      <a:cubicBezTo>
                        <a:pt x="4" y="1"/>
                        <a:pt x="5" y="2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4"/>
                        <a:pt x="4" y="4"/>
                        <a:pt x="4" y="5"/>
                      </a:cubicBezTo>
                      <a:cubicBezTo>
                        <a:pt x="4" y="5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8" name="Freeform 811">
                  <a:extLst>
                    <a:ext uri="{FF2B5EF4-FFF2-40B4-BE49-F238E27FC236}">
                      <a16:creationId xmlns:a16="http://schemas.microsoft.com/office/drawing/2014/main" id="{0FC3BDC5-3711-4CD2-BB27-1B4F8D40F6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06" y="1651"/>
                  <a:ext cx="45" cy="50"/>
                </a:xfrm>
                <a:custGeom>
                  <a:avLst/>
                  <a:gdLst>
                    <a:gd name="T0" fmla="*/ 17 w 19"/>
                    <a:gd name="T1" fmla="*/ 21 h 21"/>
                    <a:gd name="T2" fmla="*/ 16 w 19"/>
                    <a:gd name="T3" fmla="*/ 21 h 21"/>
                    <a:gd name="T4" fmla="*/ 1 w 19"/>
                    <a:gd name="T5" fmla="*/ 12 h 21"/>
                    <a:gd name="T6" fmla="*/ 0 w 19"/>
                    <a:gd name="T7" fmla="*/ 10 h 21"/>
                    <a:gd name="T8" fmla="*/ 1 w 19"/>
                    <a:gd name="T9" fmla="*/ 9 h 21"/>
                    <a:gd name="T10" fmla="*/ 16 w 19"/>
                    <a:gd name="T11" fmla="*/ 0 h 21"/>
                    <a:gd name="T12" fmla="*/ 18 w 19"/>
                    <a:gd name="T13" fmla="*/ 0 h 21"/>
                    <a:gd name="T14" fmla="*/ 19 w 19"/>
                    <a:gd name="T15" fmla="*/ 2 h 21"/>
                    <a:gd name="T16" fmla="*/ 19 w 19"/>
                    <a:gd name="T17" fmla="*/ 19 h 21"/>
                    <a:gd name="T18" fmla="*/ 18 w 19"/>
                    <a:gd name="T19" fmla="*/ 21 h 21"/>
                    <a:gd name="T20" fmla="*/ 17 w 19"/>
                    <a:gd name="T21" fmla="*/ 21 h 21"/>
                    <a:gd name="T22" fmla="*/ 6 w 19"/>
                    <a:gd name="T23" fmla="*/ 10 h 21"/>
                    <a:gd name="T24" fmla="*/ 15 w 19"/>
                    <a:gd name="T25" fmla="*/ 15 h 21"/>
                    <a:gd name="T26" fmla="*/ 15 w 19"/>
                    <a:gd name="T27" fmla="*/ 5 h 21"/>
                    <a:gd name="T28" fmla="*/ 6 w 19"/>
                    <a:gd name="T29" fmla="*/ 1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9" h="21">
                      <a:moveTo>
                        <a:pt x="17" y="21"/>
                      </a:move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7" y="0"/>
                        <a:pt x="18" y="0"/>
                      </a:cubicBezTo>
                      <a:cubicBezTo>
                        <a:pt x="18" y="0"/>
                        <a:pt x="19" y="1"/>
                        <a:pt x="19" y="2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20"/>
                        <a:pt x="18" y="20"/>
                        <a:pt x="18" y="21"/>
                      </a:cubicBezTo>
                      <a:cubicBezTo>
                        <a:pt x="17" y="21"/>
                        <a:pt x="17" y="21"/>
                        <a:pt x="17" y="21"/>
                      </a:cubicBezTo>
                      <a:close/>
                      <a:moveTo>
                        <a:pt x="6" y="10"/>
                      </a:moveTo>
                      <a:cubicBezTo>
                        <a:pt x="15" y="15"/>
                        <a:pt x="15" y="15"/>
                        <a:pt x="15" y="15"/>
                      </a:cubicBezTo>
                      <a:cubicBezTo>
                        <a:pt x="15" y="5"/>
                        <a:pt x="15" y="5"/>
                        <a:pt x="15" y="5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9" name="Freeform 812">
                  <a:extLst>
                    <a:ext uri="{FF2B5EF4-FFF2-40B4-BE49-F238E27FC236}">
                      <a16:creationId xmlns:a16="http://schemas.microsoft.com/office/drawing/2014/main" id="{8ACA762A-BCCE-4CB1-B08F-260C59DBF0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84" y="2367"/>
                  <a:ext cx="97" cy="80"/>
                </a:xfrm>
                <a:custGeom>
                  <a:avLst/>
                  <a:gdLst>
                    <a:gd name="T0" fmla="*/ 39 w 41"/>
                    <a:gd name="T1" fmla="*/ 34 h 34"/>
                    <a:gd name="T2" fmla="*/ 38 w 41"/>
                    <a:gd name="T3" fmla="*/ 33 h 34"/>
                    <a:gd name="T4" fmla="*/ 1 w 41"/>
                    <a:gd name="T5" fmla="*/ 12 h 34"/>
                    <a:gd name="T6" fmla="*/ 0 w 41"/>
                    <a:gd name="T7" fmla="*/ 10 h 34"/>
                    <a:gd name="T8" fmla="*/ 1 w 41"/>
                    <a:gd name="T9" fmla="*/ 9 h 34"/>
                    <a:gd name="T10" fmla="*/ 15 w 41"/>
                    <a:gd name="T11" fmla="*/ 1 h 34"/>
                    <a:gd name="T12" fmla="*/ 17 w 41"/>
                    <a:gd name="T13" fmla="*/ 1 h 34"/>
                    <a:gd name="T14" fmla="*/ 40 w 41"/>
                    <a:gd name="T15" fmla="*/ 14 h 34"/>
                    <a:gd name="T16" fmla="*/ 41 w 41"/>
                    <a:gd name="T17" fmla="*/ 16 h 34"/>
                    <a:gd name="T18" fmla="*/ 41 w 41"/>
                    <a:gd name="T19" fmla="*/ 32 h 34"/>
                    <a:gd name="T20" fmla="*/ 40 w 41"/>
                    <a:gd name="T21" fmla="*/ 33 h 34"/>
                    <a:gd name="T22" fmla="*/ 39 w 41"/>
                    <a:gd name="T23" fmla="*/ 34 h 34"/>
                    <a:gd name="T24" fmla="*/ 6 w 41"/>
                    <a:gd name="T25" fmla="*/ 10 h 34"/>
                    <a:gd name="T26" fmla="*/ 37 w 41"/>
                    <a:gd name="T27" fmla="*/ 28 h 34"/>
                    <a:gd name="T28" fmla="*/ 37 w 41"/>
                    <a:gd name="T29" fmla="*/ 17 h 34"/>
                    <a:gd name="T30" fmla="*/ 16 w 41"/>
                    <a:gd name="T31" fmla="*/ 5 h 34"/>
                    <a:gd name="T32" fmla="*/ 6 w 41"/>
                    <a:gd name="T33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1" h="34">
                      <a:moveTo>
                        <a:pt x="39" y="34"/>
                      </a:moveTo>
                      <a:cubicBezTo>
                        <a:pt x="39" y="34"/>
                        <a:pt x="38" y="33"/>
                        <a:pt x="38" y="33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10"/>
                        <a:pt x="1" y="9"/>
                        <a:pt x="1" y="9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6" y="0"/>
                        <a:pt x="17" y="0"/>
                        <a:pt x="17" y="1"/>
                      </a:cubicBezTo>
                      <a:cubicBezTo>
                        <a:pt x="40" y="14"/>
                        <a:pt x="40" y="14"/>
                        <a:pt x="40" y="14"/>
                      </a:cubicBezTo>
                      <a:cubicBezTo>
                        <a:pt x="41" y="14"/>
                        <a:pt x="41" y="15"/>
                        <a:pt x="41" y="16"/>
                      </a:cubicBezTo>
                      <a:cubicBezTo>
                        <a:pt x="41" y="32"/>
                        <a:pt x="41" y="32"/>
                        <a:pt x="41" y="32"/>
                      </a:cubicBezTo>
                      <a:cubicBezTo>
                        <a:pt x="41" y="32"/>
                        <a:pt x="41" y="33"/>
                        <a:pt x="40" y="33"/>
                      </a:cubicBezTo>
                      <a:cubicBezTo>
                        <a:pt x="40" y="33"/>
                        <a:pt x="39" y="34"/>
                        <a:pt x="39" y="34"/>
                      </a:cubicBezTo>
                      <a:close/>
                      <a:moveTo>
                        <a:pt x="6" y="10"/>
                      </a:moveTo>
                      <a:cubicBezTo>
                        <a:pt x="37" y="28"/>
                        <a:pt x="37" y="28"/>
                        <a:pt x="37" y="28"/>
                      </a:cubicBezTo>
                      <a:cubicBezTo>
                        <a:pt x="37" y="17"/>
                        <a:pt x="37" y="17"/>
                        <a:pt x="37" y="17"/>
                      </a:cubicBezTo>
                      <a:cubicBezTo>
                        <a:pt x="16" y="5"/>
                        <a:pt x="16" y="5"/>
                        <a:pt x="16" y="5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0" name="Freeform 813">
                  <a:extLst>
                    <a:ext uri="{FF2B5EF4-FFF2-40B4-BE49-F238E27FC236}">
                      <a16:creationId xmlns:a16="http://schemas.microsoft.com/office/drawing/2014/main" id="{33FC7131-56D5-4098-A87C-94B07178E8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32" y="2211"/>
                  <a:ext cx="59" cy="147"/>
                </a:xfrm>
                <a:custGeom>
                  <a:avLst/>
                  <a:gdLst>
                    <a:gd name="T0" fmla="*/ 2 w 25"/>
                    <a:gd name="T1" fmla="*/ 62 h 62"/>
                    <a:gd name="T2" fmla="*/ 1 w 25"/>
                    <a:gd name="T3" fmla="*/ 62 h 62"/>
                    <a:gd name="T4" fmla="*/ 0 w 25"/>
                    <a:gd name="T5" fmla="*/ 60 h 62"/>
                    <a:gd name="T6" fmla="*/ 0 w 25"/>
                    <a:gd name="T7" fmla="*/ 5 h 62"/>
                    <a:gd name="T8" fmla="*/ 1 w 25"/>
                    <a:gd name="T9" fmla="*/ 3 h 62"/>
                    <a:gd name="T10" fmla="*/ 5 w 25"/>
                    <a:gd name="T11" fmla="*/ 1 h 62"/>
                    <a:gd name="T12" fmla="*/ 7 w 25"/>
                    <a:gd name="T13" fmla="*/ 1 h 62"/>
                    <a:gd name="T14" fmla="*/ 24 w 25"/>
                    <a:gd name="T15" fmla="*/ 10 h 62"/>
                    <a:gd name="T16" fmla="*/ 25 w 25"/>
                    <a:gd name="T17" fmla="*/ 12 h 62"/>
                    <a:gd name="T18" fmla="*/ 25 w 25"/>
                    <a:gd name="T19" fmla="*/ 48 h 62"/>
                    <a:gd name="T20" fmla="*/ 24 w 25"/>
                    <a:gd name="T21" fmla="*/ 50 h 62"/>
                    <a:gd name="T22" fmla="*/ 3 w 25"/>
                    <a:gd name="T23" fmla="*/ 62 h 62"/>
                    <a:gd name="T24" fmla="*/ 2 w 25"/>
                    <a:gd name="T25" fmla="*/ 62 h 62"/>
                    <a:gd name="T26" fmla="*/ 4 w 25"/>
                    <a:gd name="T27" fmla="*/ 6 h 62"/>
                    <a:gd name="T28" fmla="*/ 4 w 25"/>
                    <a:gd name="T29" fmla="*/ 57 h 62"/>
                    <a:gd name="T30" fmla="*/ 21 w 25"/>
                    <a:gd name="T31" fmla="*/ 47 h 62"/>
                    <a:gd name="T32" fmla="*/ 21 w 25"/>
                    <a:gd name="T33" fmla="*/ 13 h 62"/>
                    <a:gd name="T34" fmla="*/ 6 w 25"/>
                    <a:gd name="T35" fmla="*/ 5 h 62"/>
                    <a:gd name="T36" fmla="*/ 4 w 25"/>
                    <a:gd name="T37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62">
                      <a:moveTo>
                        <a:pt x="2" y="62"/>
                      </a:moveTo>
                      <a:cubicBezTo>
                        <a:pt x="2" y="62"/>
                        <a:pt x="1" y="62"/>
                        <a:pt x="1" y="62"/>
                      </a:cubicBezTo>
                      <a:cubicBezTo>
                        <a:pt x="0" y="62"/>
                        <a:pt x="0" y="61"/>
                        <a:pt x="0" y="6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4"/>
                        <a:pt x="0" y="3"/>
                        <a:pt x="1" y="3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6" y="0"/>
                        <a:pt x="7" y="0"/>
                        <a:pt x="7" y="1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5" y="11"/>
                        <a:pt x="25" y="11"/>
                        <a:pt x="25" y="12"/>
                      </a:cubicBezTo>
                      <a:cubicBezTo>
                        <a:pt x="25" y="48"/>
                        <a:pt x="25" y="48"/>
                        <a:pt x="25" y="48"/>
                      </a:cubicBezTo>
                      <a:cubicBezTo>
                        <a:pt x="25" y="49"/>
                        <a:pt x="25" y="49"/>
                        <a:pt x="24" y="50"/>
                      </a:cubicBezTo>
                      <a:cubicBezTo>
                        <a:pt x="3" y="62"/>
                        <a:pt x="3" y="62"/>
                        <a:pt x="3" y="62"/>
                      </a:cubicBezTo>
                      <a:cubicBezTo>
                        <a:pt x="3" y="62"/>
                        <a:pt x="2" y="62"/>
                        <a:pt x="2" y="62"/>
                      </a:cubicBezTo>
                      <a:close/>
                      <a:moveTo>
                        <a:pt x="4" y="6"/>
                      </a:moveTo>
                      <a:cubicBezTo>
                        <a:pt x="4" y="57"/>
                        <a:pt x="4" y="57"/>
                        <a:pt x="4" y="5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6" y="5"/>
                        <a:pt x="6" y="5"/>
                        <a:pt x="6" y="5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1" name="Freeform 814">
                  <a:extLst>
                    <a:ext uri="{FF2B5EF4-FFF2-40B4-BE49-F238E27FC236}">
                      <a16:creationId xmlns:a16="http://schemas.microsoft.com/office/drawing/2014/main" id="{D0D484DE-7FDD-42F5-A185-0FFB2B2966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86" y="2225"/>
                  <a:ext cx="88" cy="59"/>
                </a:xfrm>
                <a:custGeom>
                  <a:avLst/>
                  <a:gdLst>
                    <a:gd name="T0" fmla="*/ 33 w 37"/>
                    <a:gd name="T1" fmla="*/ 25 h 25"/>
                    <a:gd name="T2" fmla="*/ 32 w 37"/>
                    <a:gd name="T3" fmla="*/ 25 h 25"/>
                    <a:gd name="T4" fmla="*/ 1 w 37"/>
                    <a:gd name="T5" fmla="*/ 7 h 25"/>
                    <a:gd name="T6" fmla="*/ 0 w 37"/>
                    <a:gd name="T7" fmla="*/ 5 h 25"/>
                    <a:gd name="T8" fmla="*/ 0 w 37"/>
                    <a:gd name="T9" fmla="*/ 3 h 25"/>
                    <a:gd name="T10" fmla="*/ 1 w 37"/>
                    <a:gd name="T11" fmla="*/ 1 h 25"/>
                    <a:gd name="T12" fmla="*/ 3 w 37"/>
                    <a:gd name="T13" fmla="*/ 1 h 25"/>
                    <a:gd name="T14" fmla="*/ 36 w 37"/>
                    <a:gd name="T15" fmla="*/ 20 h 25"/>
                    <a:gd name="T16" fmla="*/ 37 w 37"/>
                    <a:gd name="T17" fmla="*/ 22 h 25"/>
                    <a:gd name="T18" fmla="*/ 36 w 37"/>
                    <a:gd name="T19" fmla="*/ 23 h 25"/>
                    <a:gd name="T20" fmla="*/ 34 w 37"/>
                    <a:gd name="T21" fmla="*/ 25 h 25"/>
                    <a:gd name="T22" fmla="*/ 33 w 37"/>
                    <a:gd name="T2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7" h="25">
                      <a:moveTo>
                        <a:pt x="33" y="25"/>
                      </a:move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7"/>
                        <a:pt x="0" y="6"/>
                        <a:pt x="0" y="5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6" y="20"/>
                        <a:pt x="36" y="20"/>
                        <a:pt x="36" y="20"/>
                      </a:cubicBezTo>
                      <a:cubicBezTo>
                        <a:pt x="37" y="20"/>
                        <a:pt x="37" y="21"/>
                        <a:pt x="37" y="22"/>
                      </a:cubicBezTo>
                      <a:cubicBezTo>
                        <a:pt x="37" y="22"/>
                        <a:pt x="37" y="23"/>
                        <a:pt x="36" y="23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34" y="25"/>
                        <a:pt x="33" y="25"/>
                        <a:pt x="33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2" name="Freeform 815">
                  <a:extLst>
                    <a:ext uri="{FF2B5EF4-FFF2-40B4-BE49-F238E27FC236}">
                      <a16:creationId xmlns:a16="http://schemas.microsoft.com/office/drawing/2014/main" id="{9D21F9D8-19B8-4DDB-8866-6A252FEEAD5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388"/>
                  <a:ext cx="215" cy="130"/>
                </a:xfrm>
                <a:custGeom>
                  <a:avLst/>
                  <a:gdLst>
                    <a:gd name="T0" fmla="*/ 39 w 91"/>
                    <a:gd name="T1" fmla="*/ 55 h 55"/>
                    <a:gd name="T2" fmla="*/ 38 w 91"/>
                    <a:gd name="T3" fmla="*/ 54 h 55"/>
                    <a:gd name="T4" fmla="*/ 1 w 91"/>
                    <a:gd name="T5" fmla="*/ 33 h 55"/>
                    <a:gd name="T6" fmla="*/ 0 w 91"/>
                    <a:gd name="T7" fmla="*/ 31 h 55"/>
                    <a:gd name="T8" fmla="*/ 1 w 91"/>
                    <a:gd name="T9" fmla="*/ 29 h 55"/>
                    <a:gd name="T10" fmla="*/ 51 w 91"/>
                    <a:gd name="T11" fmla="*/ 1 h 55"/>
                    <a:gd name="T12" fmla="*/ 53 w 91"/>
                    <a:gd name="T13" fmla="*/ 1 h 55"/>
                    <a:gd name="T14" fmla="*/ 90 w 91"/>
                    <a:gd name="T15" fmla="*/ 22 h 55"/>
                    <a:gd name="T16" fmla="*/ 91 w 91"/>
                    <a:gd name="T17" fmla="*/ 24 h 55"/>
                    <a:gd name="T18" fmla="*/ 90 w 91"/>
                    <a:gd name="T19" fmla="*/ 26 h 55"/>
                    <a:gd name="T20" fmla="*/ 40 w 91"/>
                    <a:gd name="T21" fmla="*/ 54 h 55"/>
                    <a:gd name="T22" fmla="*/ 39 w 91"/>
                    <a:gd name="T23" fmla="*/ 55 h 55"/>
                    <a:gd name="T24" fmla="*/ 6 w 91"/>
                    <a:gd name="T25" fmla="*/ 31 h 55"/>
                    <a:gd name="T26" fmla="*/ 39 w 91"/>
                    <a:gd name="T27" fmla="*/ 50 h 55"/>
                    <a:gd name="T28" fmla="*/ 85 w 91"/>
                    <a:gd name="T29" fmla="*/ 24 h 55"/>
                    <a:gd name="T30" fmla="*/ 52 w 91"/>
                    <a:gd name="T31" fmla="*/ 5 h 55"/>
                    <a:gd name="T32" fmla="*/ 6 w 91"/>
                    <a:gd name="T33" fmla="*/ 31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55">
                      <a:moveTo>
                        <a:pt x="39" y="55"/>
                      </a:moveTo>
                      <a:cubicBezTo>
                        <a:pt x="39" y="55"/>
                        <a:pt x="39" y="55"/>
                        <a:pt x="38" y="54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2"/>
                        <a:pt x="0" y="32"/>
                        <a:pt x="0" y="31"/>
                      </a:cubicBezTo>
                      <a:cubicBezTo>
                        <a:pt x="0" y="30"/>
                        <a:pt x="1" y="30"/>
                        <a:pt x="1" y="29"/>
                      </a:cubicBezTo>
                      <a:cubicBezTo>
                        <a:pt x="51" y="1"/>
                        <a:pt x="51" y="1"/>
                        <a:pt x="51" y="1"/>
                      </a:cubicBezTo>
                      <a:cubicBezTo>
                        <a:pt x="51" y="0"/>
                        <a:pt x="52" y="0"/>
                        <a:pt x="53" y="1"/>
                      </a:cubicBezTo>
                      <a:cubicBezTo>
                        <a:pt x="90" y="22"/>
                        <a:pt x="90" y="22"/>
                        <a:pt x="90" y="22"/>
                      </a:cubicBezTo>
                      <a:cubicBezTo>
                        <a:pt x="91" y="23"/>
                        <a:pt x="91" y="23"/>
                        <a:pt x="91" y="24"/>
                      </a:cubicBezTo>
                      <a:cubicBezTo>
                        <a:pt x="91" y="25"/>
                        <a:pt x="91" y="25"/>
                        <a:pt x="90" y="26"/>
                      </a:cubicBezTo>
                      <a:cubicBezTo>
                        <a:pt x="40" y="54"/>
                        <a:pt x="40" y="54"/>
                        <a:pt x="40" y="54"/>
                      </a:cubicBezTo>
                      <a:cubicBezTo>
                        <a:pt x="40" y="55"/>
                        <a:pt x="40" y="55"/>
                        <a:pt x="39" y="55"/>
                      </a:cubicBezTo>
                      <a:close/>
                      <a:moveTo>
                        <a:pt x="6" y="31"/>
                      </a:moveTo>
                      <a:cubicBezTo>
                        <a:pt x="39" y="50"/>
                        <a:pt x="39" y="50"/>
                        <a:pt x="39" y="50"/>
                      </a:cubicBezTo>
                      <a:cubicBezTo>
                        <a:pt x="85" y="24"/>
                        <a:pt x="85" y="24"/>
                        <a:pt x="85" y="24"/>
                      </a:cubicBezTo>
                      <a:cubicBezTo>
                        <a:pt x="52" y="5"/>
                        <a:pt x="52" y="5"/>
                        <a:pt x="52" y="5"/>
                      </a:cubicBezTo>
                      <a:lnTo>
                        <a:pt x="6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3" name="Freeform 816">
                  <a:extLst>
                    <a:ext uri="{FF2B5EF4-FFF2-40B4-BE49-F238E27FC236}">
                      <a16:creationId xmlns:a16="http://schemas.microsoft.com/office/drawing/2014/main" id="{EB1199B5-9C77-4559-8E69-1B111082AC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86" y="2237"/>
                  <a:ext cx="78" cy="90"/>
                </a:xfrm>
                <a:custGeom>
                  <a:avLst/>
                  <a:gdLst>
                    <a:gd name="T0" fmla="*/ 2 w 33"/>
                    <a:gd name="T1" fmla="*/ 38 h 38"/>
                    <a:gd name="T2" fmla="*/ 1 w 33"/>
                    <a:gd name="T3" fmla="*/ 38 h 38"/>
                    <a:gd name="T4" fmla="*/ 0 w 33"/>
                    <a:gd name="T5" fmla="*/ 36 h 38"/>
                    <a:gd name="T6" fmla="*/ 0 w 33"/>
                    <a:gd name="T7" fmla="*/ 2 h 38"/>
                    <a:gd name="T8" fmla="*/ 1 w 33"/>
                    <a:gd name="T9" fmla="*/ 0 h 38"/>
                    <a:gd name="T10" fmla="*/ 3 w 33"/>
                    <a:gd name="T11" fmla="*/ 0 h 38"/>
                    <a:gd name="T12" fmla="*/ 32 w 33"/>
                    <a:gd name="T13" fmla="*/ 17 h 38"/>
                    <a:gd name="T14" fmla="*/ 33 w 33"/>
                    <a:gd name="T15" fmla="*/ 19 h 38"/>
                    <a:gd name="T16" fmla="*/ 32 w 33"/>
                    <a:gd name="T17" fmla="*/ 21 h 38"/>
                    <a:gd name="T18" fmla="*/ 3 w 33"/>
                    <a:gd name="T19" fmla="*/ 38 h 38"/>
                    <a:gd name="T20" fmla="*/ 2 w 33"/>
                    <a:gd name="T21" fmla="*/ 38 h 38"/>
                    <a:gd name="T22" fmla="*/ 4 w 33"/>
                    <a:gd name="T23" fmla="*/ 6 h 38"/>
                    <a:gd name="T24" fmla="*/ 4 w 33"/>
                    <a:gd name="T25" fmla="*/ 32 h 38"/>
                    <a:gd name="T26" fmla="*/ 27 w 33"/>
                    <a:gd name="T27" fmla="*/ 19 h 38"/>
                    <a:gd name="T28" fmla="*/ 4 w 33"/>
                    <a:gd name="T29" fmla="*/ 6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3" h="38">
                      <a:moveTo>
                        <a:pt x="2" y="38"/>
                      </a:moveTo>
                      <a:cubicBezTo>
                        <a:pt x="2" y="38"/>
                        <a:pt x="1" y="38"/>
                        <a:pt x="1" y="38"/>
                      </a:cubicBezTo>
                      <a:cubicBezTo>
                        <a:pt x="0" y="37"/>
                        <a:pt x="0" y="37"/>
                        <a:pt x="0" y="3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32" y="17"/>
                        <a:pt x="32" y="17"/>
                        <a:pt x="32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3" y="20"/>
                        <a:pt x="32" y="21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2" y="38"/>
                        <a:pt x="2" y="38"/>
                      </a:cubicBezTo>
                      <a:close/>
                      <a:moveTo>
                        <a:pt x="4" y="6"/>
                      </a:move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4" name="Freeform 817">
                  <a:extLst>
                    <a:ext uri="{FF2B5EF4-FFF2-40B4-BE49-F238E27FC236}">
                      <a16:creationId xmlns:a16="http://schemas.microsoft.com/office/drawing/2014/main" id="{D4CA3E4B-7FEC-4BC5-9F8F-40EBD9FE1F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2" y="2195"/>
                  <a:ext cx="24" cy="21"/>
                </a:xfrm>
                <a:custGeom>
                  <a:avLst/>
                  <a:gdLst>
                    <a:gd name="T0" fmla="*/ 6 w 10"/>
                    <a:gd name="T1" fmla="*/ 9 h 9"/>
                    <a:gd name="T2" fmla="*/ 5 w 10"/>
                    <a:gd name="T3" fmla="*/ 9 h 9"/>
                    <a:gd name="T4" fmla="*/ 1 w 10"/>
                    <a:gd name="T5" fmla="*/ 7 h 9"/>
                    <a:gd name="T6" fmla="*/ 0 w 10"/>
                    <a:gd name="T7" fmla="*/ 5 h 9"/>
                    <a:gd name="T8" fmla="*/ 0 w 10"/>
                    <a:gd name="T9" fmla="*/ 2 h 9"/>
                    <a:gd name="T10" fmla="*/ 1 w 10"/>
                    <a:gd name="T11" fmla="*/ 1 h 9"/>
                    <a:gd name="T12" fmla="*/ 3 w 10"/>
                    <a:gd name="T13" fmla="*/ 1 h 9"/>
                    <a:gd name="T14" fmla="*/ 9 w 10"/>
                    <a:gd name="T15" fmla="*/ 4 h 9"/>
                    <a:gd name="T16" fmla="*/ 10 w 10"/>
                    <a:gd name="T17" fmla="*/ 6 h 9"/>
                    <a:gd name="T18" fmla="*/ 9 w 10"/>
                    <a:gd name="T19" fmla="*/ 8 h 9"/>
                    <a:gd name="T20" fmla="*/ 7 w 10"/>
                    <a:gd name="T21" fmla="*/ 9 h 9"/>
                    <a:gd name="T22" fmla="*/ 6 w 10"/>
                    <a:gd name="T2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9">
                      <a:moveTo>
                        <a:pt x="6" y="9"/>
                      </a:moveTo>
                      <a:cubicBezTo>
                        <a:pt x="6" y="9"/>
                        <a:pt x="5" y="9"/>
                        <a:pt x="5" y="9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6"/>
                        <a:pt x="0" y="6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5"/>
                        <a:pt x="10" y="5"/>
                        <a:pt x="10" y="6"/>
                      </a:cubicBezTo>
                      <a:cubicBezTo>
                        <a:pt x="10" y="7"/>
                        <a:pt x="10" y="7"/>
                        <a:pt x="9" y="8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9"/>
                        <a:pt x="7" y="9"/>
                        <a:pt x="6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5" name="Freeform 818">
                  <a:extLst>
                    <a:ext uri="{FF2B5EF4-FFF2-40B4-BE49-F238E27FC236}">
                      <a16:creationId xmlns:a16="http://schemas.microsoft.com/office/drawing/2014/main" id="{E58AA9AA-F268-42EF-BD0E-6F66D1A46A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44" y="843"/>
                  <a:ext cx="161" cy="272"/>
                </a:xfrm>
                <a:custGeom>
                  <a:avLst/>
                  <a:gdLst>
                    <a:gd name="T0" fmla="*/ 2 w 68"/>
                    <a:gd name="T1" fmla="*/ 115 h 115"/>
                    <a:gd name="T2" fmla="*/ 1 w 68"/>
                    <a:gd name="T3" fmla="*/ 115 h 115"/>
                    <a:gd name="T4" fmla="*/ 0 w 68"/>
                    <a:gd name="T5" fmla="*/ 113 h 115"/>
                    <a:gd name="T6" fmla="*/ 0 w 68"/>
                    <a:gd name="T7" fmla="*/ 39 h 115"/>
                    <a:gd name="T8" fmla="*/ 1 w 68"/>
                    <a:gd name="T9" fmla="*/ 38 h 115"/>
                    <a:gd name="T10" fmla="*/ 65 w 68"/>
                    <a:gd name="T11" fmla="*/ 1 h 115"/>
                    <a:gd name="T12" fmla="*/ 67 w 68"/>
                    <a:gd name="T13" fmla="*/ 1 h 115"/>
                    <a:gd name="T14" fmla="*/ 68 w 68"/>
                    <a:gd name="T15" fmla="*/ 2 h 115"/>
                    <a:gd name="T16" fmla="*/ 68 w 68"/>
                    <a:gd name="T17" fmla="*/ 30 h 115"/>
                    <a:gd name="T18" fmla="*/ 67 w 68"/>
                    <a:gd name="T19" fmla="*/ 32 h 115"/>
                    <a:gd name="T20" fmla="*/ 65 w 68"/>
                    <a:gd name="T21" fmla="*/ 32 h 115"/>
                    <a:gd name="T22" fmla="*/ 59 w 68"/>
                    <a:gd name="T23" fmla="*/ 28 h 115"/>
                    <a:gd name="T24" fmla="*/ 59 w 68"/>
                    <a:gd name="T25" fmla="*/ 77 h 115"/>
                    <a:gd name="T26" fmla="*/ 58 w 68"/>
                    <a:gd name="T27" fmla="*/ 79 h 115"/>
                    <a:gd name="T28" fmla="*/ 9 w 68"/>
                    <a:gd name="T29" fmla="*/ 107 h 115"/>
                    <a:gd name="T30" fmla="*/ 11 w 68"/>
                    <a:gd name="T31" fmla="*/ 107 h 115"/>
                    <a:gd name="T32" fmla="*/ 12 w 68"/>
                    <a:gd name="T33" fmla="*/ 109 h 115"/>
                    <a:gd name="T34" fmla="*/ 11 w 68"/>
                    <a:gd name="T35" fmla="*/ 111 h 115"/>
                    <a:gd name="T36" fmla="*/ 3 w 68"/>
                    <a:gd name="T37" fmla="*/ 115 h 115"/>
                    <a:gd name="T38" fmla="*/ 2 w 68"/>
                    <a:gd name="T39" fmla="*/ 115 h 115"/>
                    <a:gd name="T40" fmla="*/ 4 w 68"/>
                    <a:gd name="T41" fmla="*/ 108 h 115"/>
                    <a:gd name="T42" fmla="*/ 4 w 68"/>
                    <a:gd name="T43" fmla="*/ 110 h 115"/>
                    <a:gd name="T44" fmla="*/ 6 w 68"/>
                    <a:gd name="T45" fmla="*/ 109 h 115"/>
                    <a:gd name="T46" fmla="*/ 4 w 68"/>
                    <a:gd name="T47" fmla="*/ 108 h 115"/>
                    <a:gd name="T48" fmla="*/ 4 w 68"/>
                    <a:gd name="T49" fmla="*/ 41 h 115"/>
                    <a:gd name="T50" fmla="*/ 4 w 68"/>
                    <a:gd name="T51" fmla="*/ 105 h 115"/>
                    <a:gd name="T52" fmla="*/ 55 w 68"/>
                    <a:gd name="T53" fmla="*/ 76 h 115"/>
                    <a:gd name="T54" fmla="*/ 55 w 68"/>
                    <a:gd name="T55" fmla="*/ 25 h 115"/>
                    <a:gd name="T56" fmla="*/ 56 w 68"/>
                    <a:gd name="T57" fmla="*/ 23 h 115"/>
                    <a:gd name="T58" fmla="*/ 58 w 68"/>
                    <a:gd name="T59" fmla="*/ 23 h 115"/>
                    <a:gd name="T60" fmla="*/ 64 w 68"/>
                    <a:gd name="T61" fmla="*/ 27 h 115"/>
                    <a:gd name="T62" fmla="*/ 64 w 68"/>
                    <a:gd name="T63" fmla="*/ 6 h 115"/>
                    <a:gd name="T64" fmla="*/ 4 w 68"/>
                    <a:gd name="T65" fmla="*/ 41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8" h="115">
                      <a:moveTo>
                        <a:pt x="2" y="115"/>
                      </a:moveTo>
                      <a:cubicBezTo>
                        <a:pt x="2" y="115"/>
                        <a:pt x="2" y="115"/>
                        <a:pt x="1" y="115"/>
                      </a:cubicBezTo>
                      <a:cubicBezTo>
                        <a:pt x="1" y="115"/>
                        <a:pt x="0" y="114"/>
                        <a:pt x="0" y="113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39"/>
                        <a:pt x="1" y="38"/>
                        <a:pt x="1" y="38"/>
                      </a:cubicBezTo>
                      <a:cubicBezTo>
                        <a:pt x="65" y="1"/>
                        <a:pt x="65" y="1"/>
                        <a:pt x="65" y="1"/>
                      </a:cubicBezTo>
                      <a:cubicBezTo>
                        <a:pt x="66" y="0"/>
                        <a:pt x="67" y="0"/>
                        <a:pt x="67" y="1"/>
                      </a:cubicBezTo>
                      <a:cubicBezTo>
                        <a:pt x="68" y="1"/>
                        <a:pt x="68" y="2"/>
                        <a:pt x="68" y="2"/>
                      </a:cubicBezTo>
                      <a:cubicBezTo>
                        <a:pt x="68" y="30"/>
                        <a:pt x="68" y="30"/>
                        <a:pt x="68" y="30"/>
                      </a:cubicBezTo>
                      <a:cubicBezTo>
                        <a:pt x="68" y="31"/>
                        <a:pt x="68" y="32"/>
                        <a:pt x="67" y="32"/>
                      </a:cubicBezTo>
                      <a:cubicBezTo>
                        <a:pt x="67" y="32"/>
                        <a:pt x="66" y="32"/>
                        <a:pt x="65" y="32"/>
                      </a:cubicBezTo>
                      <a:cubicBezTo>
                        <a:pt x="59" y="28"/>
                        <a:pt x="59" y="28"/>
                        <a:pt x="59" y="28"/>
                      </a:cubicBezTo>
                      <a:cubicBezTo>
                        <a:pt x="59" y="77"/>
                        <a:pt x="59" y="77"/>
                        <a:pt x="59" y="77"/>
                      </a:cubicBezTo>
                      <a:cubicBezTo>
                        <a:pt x="59" y="78"/>
                        <a:pt x="58" y="78"/>
                        <a:pt x="58" y="79"/>
                      </a:cubicBezTo>
                      <a:cubicBezTo>
                        <a:pt x="9" y="107"/>
                        <a:pt x="9" y="107"/>
                        <a:pt x="9" y="107"/>
                      </a:cubicBezTo>
                      <a:cubicBezTo>
                        <a:pt x="11" y="107"/>
                        <a:pt x="11" y="107"/>
                        <a:pt x="11" y="107"/>
                      </a:cubicBezTo>
                      <a:cubicBezTo>
                        <a:pt x="11" y="108"/>
                        <a:pt x="12" y="108"/>
                        <a:pt x="12" y="109"/>
                      </a:cubicBezTo>
                      <a:cubicBezTo>
                        <a:pt x="12" y="110"/>
                        <a:pt x="11" y="110"/>
                        <a:pt x="11" y="111"/>
                      </a:cubicBezTo>
                      <a:cubicBezTo>
                        <a:pt x="3" y="115"/>
                        <a:pt x="3" y="115"/>
                        <a:pt x="3" y="115"/>
                      </a:cubicBezTo>
                      <a:cubicBezTo>
                        <a:pt x="3" y="115"/>
                        <a:pt x="3" y="115"/>
                        <a:pt x="2" y="115"/>
                      </a:cubicBezTo>
                      <a:close/>
                      <a:moveTo>
                        <a:pt x="4" y="108"/>
                      </a:moveTo>
                      <a:cubicBezTo>
                        <a:pt x="4" y="110"/>
                        <a:pt x="4" y="110"/>
                        <a:pt x="4" y="110"/>
                      </a:cubicBezTo>
                      <a:cubicBezTo>
                        <a:pt x="6" y="109"/>
                        <a:pt x="6" y="109"/>
                        <a:pt x="6" y="109"/>
                      </a:cubicBezTo>
                      <a:lnTo>
                        <a:pt x="4" y="108"/>
                      </a:lnTo>
                      <a:close/>
                      <a:moveTo>
                        <a:pt x="4" y="41"/>
                      </a:moveTo>
                      <a:cubicBezTo>
                        <a:pt x="4" y="105"/>
                        <a:pt x="4" y="105"/>
                        <a:pt x="4" y="105"/>
                      </a:cubicBezTo>
                      <a:cubicBezTo>
                        <a:pt x="55" y="76"/>
                        <a:pt x="55" y="76"/>
                        <a:pt x="55" y="76"/>
                      </a:cubicBezTo>
                      <a:cubicBezTo>
                        <a:pt x="55" y="25"/>
                        <a:pt x="55" y="25"/>
                        <a:pt x="55" y="25"/>
                      </a:cubicBezTo>
                      <a:cubicBezTo>
                        <a:pt x="55" y="24"/>
                        <a:pt x="55" y="23"/>
                        <a:pt x="56" y="23"/>
                      </a:cubicBezTo>
                      <a:cubicBezTo>
                        <a:pt x="56" y="23"/>
                        <a:pt x="57" y="23"/>
                        <a:pt x="58" y="23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64" y="6"/>
                        <a:pt x="64" y="6"/>
                        <a:pt x="64" y="6"/>
                      </a:cubicBezTo>
                      <a:lnTo>
                        <a:pt x="4" y="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6" name="Freeform 819">
                  <a:extLst>
                    <a:ext uri="{FF2B5EF4-FFF2-40B4-BE49-F238E27FC236}">
                      <a16:creationId xmlns:a16="http://schemas.microsoft.com/office/drawing/2014/main" id="{42044B63-D26D-4759-BD13-AD375C6CF6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46" y="2207"/>
                  <a:ext cx="45" cy="33"/>
                </a:xfrm>
                <a:custGeom>
                  <a:avLst/>
                  <a:gdLst>
                    <a:gd name="T0" fmla="*/ 17 w 19"/>
                    <a:gd name="T1" fmla="*/ 14 h 14"/>
                    <a:gd name="T2" fmla="*/ 16 w 19"/>
                    <a:gd name="T3" fmla="*/ 14 h 14"/>
                    <a:gd name="T4" fmla="*/ 1 w 19"/>
                    <a:gd name="T5" fmla="*/ 5 h 14"/>
                    <a:gd name="T6" fmla="*/ 0 w 19"/>
                    <a:gd name="T7" fmla="*/ 3 h 14"/>
                    <a:gd name="T8" fmla="*/ 1 w 19"/>
                    <a:gd name="T9" fmla="*/ 2 h 14"/>
                    <a:gd name="T10" fmla="*/ 3 w 19"/>
                    <a:gd name="T11" fmla="*/ 0 h 14"/>
                    <a:gd name="T12" fmla="*/ 5 w 19"/>
                    <a:gd name="T13" fmla="*/ 0 h 14"/>
                    <a:gd name="T14" fmla="*/ 18 w 19"/>
                    <a:gd name="T15" fmla="*/ 8 h 14"/>
                    <a:gd name="T16" fmla="*/ 19 w 19"/>
                    <a:gd name="T17" fmla="*/ 10 h 14"/>
                    <a:gd name="T18" fmla="*/ 19 w 19"/>
                    <a:gd name="T19" fmla="*/ 12 h 14"/>
                    <a:gd name="T20" fmla="*/ 18 w 19"/>
                    <a:gd name="T21" fmla="*/ 14 h 14"/>
                    <a:gd name="T22" fmla="*/ 17 w 19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9" h="14">
                      <a:moveTo>
                        <a:pt x="17" y="14"/>
                      </a:moveTo>
                      <a:cubicBezTo>
                        <a:pt x="17" y="14"/>
                        <a:pt x="17" y="14"/>
                        <a:pt x="16" y="1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0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9" y="8"/>
                        <a:pt x="19" y="9"/>
                        <a:pt x="19" y="10"/>
                      </a:cubicBezTo>
                      <a:cubicBezTo>
                        <a:pt x="19" y="12"/>
                        <a:pt x="19" y="12"/>
                        <a:pt x="19" y="12"/>
                      </a:cubicBezTo>
                      <a:cubicBezTo>
                        <a:pt x="19" y="13"/>
                        <a:pt x="19" y="14"/>
                        <a:pt x="18" y="14"/>
                      </a:cubicBezTo>
                      <a:cubicBezTo>
                        <a:pt x="18" y="14"/>
                        <a:pt x="18" y="14"/>
                        <a:pt x="17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7" name="Freeform 820">
                  <a:extLst>
                    <a:ext uri="{FF2B5EF4-FFF2-40B4-BE49-F238E27FC236}">
                      <a16:creationId xmlns:a16="http://schemas.microsoft.com/office/drawing/2014/main" id="{14E6CAD7-A0B1-4825-AB9A-E1C82EE79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56" y="2195"/>
                  <a:ext cx="35" cy="35"/>
                </a:xfrm>
                <a:custGeom>
                  <a:avLst/>
                  <a:gdLst>
                    <a:gd name="T0" fmla="*/ 13 w 15"/>
                    <a:gd name="T1" fmla="*/ 15 h 15"/>
                    <a:gd name="T2" fmla="*/ 12 w 15"/>
                    <a:gd name="T3" fmla="*/ 14 h 15"/>
                    <a:gd name="T4" fmla="*/ 1 w 15"/>
                    <a:gd name="T5" fmla="*/ 8 h 15"/>
                    <a:gd name="T6" fmla="*/ 0 w 15"/>
                    <a:gd name="T7" fmla="*/ 6 h 15"/>
                    <a:gd name="T8" fmla="*/ 1 w 15"/>
                    <a:gd name="T9" fmla="*/ 4 h 15"/>
                    <a:gd name="T10" fmla="*/ 8 w 15"/>
                    <a:gd name="T11" fmla="*/ 0 h 15"/>
                    <a:gd name="T12" fmla="*/ 10 w 15"/>
                    <a:gd name="T13" fmla="*/ 0 h 15"/>
                    <a:gd name="T14" fmla="*/ 14 w 15"/>
                    <a:gd name="T15" fmla="*/ 3 h 15"/>
                    <a:gd name="T16" fmla="*/ 15 w 15"/>
                    <a:gd name="T17" fmla="*/ 5 h 15"/>
                    <a:gd name="T18" fmla="*/ 15 w 15"/>
                    <a:gd name="T19" fmla="*/ 13 h 15"/>
                    <a:gd name="T20" fmla="*/ 14 w 15"/>
                    <a:gd name="T21" fmla="*/ 14 h 15"/>
                    <a:gd name="T22" fmla="*/ 13 w 15"/>
                    <a:gd name="T23" fmla="*/ 15 h 15"/>
                    <a:gd name="T24" fmla="*/ 6 w 15"/>
                    <a:gd name="T25" fmla="*/ 6 h 15"/>
                    <a:gd name="T26" fmla="*/ 11 w 15"/>
                    <a:gd name="T27" fmla="*/ 9 h 15"/>
                    <a:gd name="T28" fmla="*/ 11 w 15"/>
                    <a:gd name="T29" fmla="*/ 6 h 15"/>
                    <a:gd name="T30" fmla="*/ 9 w 15"/>
                    <a:gd name="T31" fmla="*/ 4 h 15"/>
                    <a:gd name="T32" fmla="*/ 6 w 15"/>
                    <a:gd name="T33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15">
                      <a:moveTo>
                        <a:pt x="13" y="15"/>
                      </a:moveTo>
                      <a:cubicBezTo>
                        <a:pt x="13" y="15"/>
                        <a:pt x="13" y="15"/>
                        <a:pt x="12" y="14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7"/>
                        <a:pt x="0" y="7"/>
                        <a:pt x="0" y="6"/>
                      </a:cubicBezTo>
                      <a:cubicBezTo>
                        <a:pt x="0" y="5"/>
                        <a:pt x="0" y="5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8" y="0"/>
                        <a:pt x="9" y="0"/>
                        <a:pt x="10" y="0"/>
                      </a:cubicBezTo>
                      <a:cubicBezTo>
                        <a:pt x="14" y="3"/>
                        <a:pt x="14" y="3"/>
                        <a:pt x="14" y="3"/>
                      </a:cubicBezTo>
                      <a:cubicBezTo>
                        <a:pt x="15" y="4"/>
                        <a:pt x="15" y="4"/>
                        <a:pt x="15" y="5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4"/>
                        <a:pt x="14" y="14"/>
                      </a:cubicBezTo>
                      <a:cubicBezTo>
                        <a:pt x="14" y="15"/>
                        <a:pt x="14" y="15"/>
                        <a:pt x="13" y="15"/>
                      </a:cubicBezTo>
                      <a:close/>
                      <a:moveTo>
                        <a:pt x="6" y="6"/>
                      </a:moveTo>
                      <a:cubicBezTo>
                        <a:pt x="11" y="9"/>
                        <a:pt x="11" y="9"/>
                        <a:pt x="11" y="9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9" y="4"/>
                        <a:pt x="9" y="4"/>
                        <a:pt x="9" y="4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8" name="Freeform 821">
                  <a:extLst>
                    <a:ext uri="{FF2B5EF4-FFF2-40B4-BE49-F238E27FC236}">
                      <a16:creationId xmlns:a16="http://schemas.microsoft.com/office/drawing/2014/main" id="{9DDC788B-1130-40DA-85EA-1372624A92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77" y="2188"/>
                  <a:ext cx="14" cy="14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2 h 6"/>
                    <a:gd name="T10" fmla="*/ 3 w 6"/>
                    <a:gd name="T11" fmla="*/ 1 h 6"/>
                    <a:gd name="T12" fmla="*/ 5 w 6"/>
                    <a:gd name="T13" fmla="*/ 1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4" y="6"/>
                        <a:pt x="4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3"/>
                        <a:pt x="1" y="2"/>
                        <a:pt x="1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4" y="0"/>
                        <a:pt x="5" y="0"/>
                        <a:pt x="5" y="1"/>
                      </a:cubicBezTo>
                      <a:cubicBezTo>
                        <a:pt x="6" y="1"/>
                        <a:pt x="6" y="2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6"/>
                        <a:pt x="5" y="6"/>
                      </a:cubicBezTo>
                      <a:cubicBezTo>
                        <a:pt x="5" y="6"/>
                        <a:pt x="5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9" name="Freeform 822">
                  <a:extLst>
                    <a:ext uri="{FF2B5EF4-FFF2-40B4-BE49-F238E27FC236}">
                      <a16:creationId xmlns:a16="http://schemas.microsoft.com/office/drawing/2014/main" id="{609A7136-713C-45E0-9A11-9F3D71718D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1569"/>
                  <a:ext cx="100" cy="73"/>
                </a:xfrm>
                <a:custGeom>
                  <a:avLst/>
                  <a:gdLst>
                    <a:gd name="T0" fmla="*/ 31 w 42"/>
                    <a:gd name="T1" fmla="*/ 31 h 31"/>
                    <a:gd name="T2" fmla="*/ 30 w 42"/>
                    <a:gd name="T3" fmla="*/ 31 h 31"/>
                    <a:gd name="T4" fmla="*/ 1 w 42"/>
                    <a:gd name="T5" fmla="*/ 14 h 31"/>
                    <a:gd name="T6" fmla="*/ 0 w 42"/>
                    <a:gd name="T7" fmla="*/ 12 h 31"/>
                    <a:gd name="T8" fmla="*/ 0 w 42"/>
                    <a:gd name="T9" fmla="*/ 2 h 31"/>
                    <a:gd name="T10" fmla="*/ 1 w 42"/>
                    <a:gd name="T11" fmla="*/ 1 h 31"/>
                    <a:gd name="T12" fmla="*/ 3 w 42"/>
                    <a:gd name="T13" fmla="*/ 1 h 31"/>
                    <a:gd name="T14" fmla="*/ 41 w 42"/>
                    <a:gd name="T15" fmla="*/ 22 h 31"/>
                    <a:gd name="T16" fmla="*/ 42 w 42"/>
                    <a:gd name="T17" fmla="*/ 24 h 31"/>
                    <a:gd name="T18" fmla="*/ 41 w 42"/>
                    <a:gd name="T19" fmla="*/ 26 h 31"/>
                    <a:gd name="T20" fmla="*/ 32 w 42"/>
                    <a:gd name="T21" fmla="*/ 31 h 31"/>
                    <a:gd name="T22" fmla="*/ 31 w 42"/>
                    <a:gd name="T23" fmla="*/ 31 h 31"/>
                    <a:gd name="T24" fmla="*/ 4 w 42"/>
                    <a:gd name="T25" fmla="*/ 11 h 31"/>
                    <a:gd name="T26" fmla="*/ 31 w 42"/>
                    <a:gd name="T27" fmla="*/ 27 h 31"/>
                    <a:gd name="T28" fmla="*/ 36 w 42"/>
                    <a:gd name="T29" fmla="*/ 24 h 31"/>
                    <a:gd name="T30" fmla="*/ 4 w 42"/>
                    <a:gd name="T31" fmla="*/ 6 h 31"/>
                    <a:gd name="T32" fmla="*/ 4 w 42"/>
                    <a:gd name="T33" fmla="*/ 1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2" h="31">
                      <a:moveTo>
                        <a:pt x="31" y="31"/>
                      </a:moveTo>
                      <a:cubicBezTo>
                        <a:pt x="31" y="31"/>
                        <a:pt x="31" y="31"/>
                        <a:pt x="30" y="31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0" y="13"/>
                        <a:pt x="0" y="13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1" y="22"/>
                        <a:pt x="41" y="22"/>
                        <a:pt x="41" y="22"/>
                      </a:cubicBezTo>
                      <a:cubicBezTo>
                        <a:pt x="41" y="23"/>
                        <a:pt x="42" y="23"/>
                        <a:pt x="42" y="24"/>
                      </a:cubicBezTo>
                      <a:cubicBezTo>
                        <a:pt x="42" y="25"/>
                        <a:pt x="41" y="25"/>
                        <a:pt x="41" y="26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2" y="31"/>
                        <a:pt x="32" y="31"/>
                        <a:pt x="31" y="31"/>
                      </a:cubicBezTo>
                      <a:close/>
                      <a:moveTo>
                        <a:pt x="4" y="11"/>
                      </a:moveTo>
                      <a:cubicBezTo>
                        <a:pt x="31" y="27"/>
                        <a:pt x="31" y="27"/>
                        <a:pt x="31" y="27"/>
                      </a:cubicBezTo>
                      <a:cubicBezTo>
                        <a:pt x="36" y="24"/>
                        <a:pt x="36" y="24"/>
                        <a:pt x="36" y="24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0" name="Freeform 823">
                  <a:extLst>
                    <a:ext uri="{FF2B5EF4-FFF2-40B4-BE49-F238E27FC236}">
                      <a16:creationId xmlns:a16="http://schemas.microsoft.com/office/drawing/2014/main" id="{E88C1131-5DFA-4066-9E2C-C91751DB5F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" y="1342"/>
                  <a:ext cx="12" cy="12"/>
                </a:xfrm>
                <a:custGeom>
                  <a:avLst/>
                  <a:gdLst>
                    <a:gd name="T0" fmla="*/ 2 w 5"/>
                    <a:gd name="T1" fmla="*/ 5 h 5"/>
                    <a:gd name="T2" fmla="*/ 1 w 5"/>
                    <a:gd name="T3" fmla="*/ 5 h 5"/>
                    <a:gd name="T4" fmla="*/ 0 w 5"/>
                    <a:gd name="T5" fmla="*/ 3 h 5"/>
                    <a:gd name="T6" fmla="*/ 0 w 5"/>
                    <a:gd name="T7" fmla="*/ 3 h 5"/>
                    <a:gd name="T8" fmla="*/ 1 w 5"/>
                    <a:gd name="T9" fmla="*/ 1 h 5"/>
                    <a:gd name="T10" fmla="*/ 3 w 5"/>
                    <a:gd name="T11" fmla="*/ 1 h 5"/>
                    <a:gd name="T12" fmla="*/ 4 w 5"/>
                    <a:gd name="T13" fmla="*/ 1 h 5"/>
                    <a:gd name="T14" fmla="*/ 5 w 5"/>
                    <a:gd name="T15" fmla="*/ 3 h 5"/>
                    <a:gd name="T16" fmla="*/ 4 w 5"/>
                    <a:gd name="T17" fmla="*/ 5 h 5"/>
                    <a:gd name="T18" fmla="*/ 3 w 5"/>
                    <a:gd name="T19" fmla="*/ 5 h 5"/>
                    <a:gd name="T20" fmla="*/ 2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2" y="5"/>
                      </a:moveTo>
                      <a:cubicBezTo>
                        <a:pt x="2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2"/>
                        <a:pt x="5" y="2"/>
                        <a:pt x="5" y="3"/>
                      </a:cubicBezTo>
                      <a:cubicBezTo>
                        <a:pt x="5" y="4"/>
                        <a:pt x="4" y="4"/>
                        <a:pt x="4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3" y="5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1" name="Freeform 824">
                  <a:extLst>
                    <a:ext uri="{FF2B5EF4-FFF2-40B4-BE49-F238E27FC236}">
                      <a16:creationId xmlns:a16="http://schemas.microsoft.com/office/drawing/2014/main" id="{F4D3E911-5E31-46DF-BC8F-54CCD826C8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789"/>
                  <a:ext cx="291" cy="501"/>
                </a:xfrm>
                <a:custGeom>
                  <a:avLst/>
                  <a:gdLst>
                    <a:gd name="T0" fmla="*/ 2 w 123"/>
                    <a:gd name="T1" fmla="*/ 212 h 212"/>
                    <a:gd name="T2" fmla="*/ 1 w 123"/>
                    <a:gd name="T3" fmla="*/ 211 h 212"/>
                    <a:gd name="T4" fmla="*/ 0 w 123"/>
                    <a:gd name="T5" fmla="*/ 210 h 212"/>
                    <a:gd name="T6" fmla="*/ 0 w 123"/>
                    <a:gd name="T7" fmla="*/ 197 h 212"/>
                    <a:gd name="T8" fmla="*/ 0 w 123"/>
                    <a:gd name="T9" fmla="*/ 195 h 212"/>
                    <a:gd name="T10" fmla="*/ 0 w 123"/>
                    <a:gd name="T11" fmla="*/ 71 h 212"/>
                    <a:gd name="T12" fmla="*/ 1 w 123"/>
                    <a:gd name="T13" fmla="*/ 69 h 212"/>
                    <a:gd name="T14" fmla="*/ 120 w 123"/>
                    <a:gd name="T15" fmla="*/ 1 h 212"/>
                    <a:gd name="T16" fmla="*/ 122 w 123"/>
                    <a:gd name="T17" fmla="*/ 1 h 212"/>
                    <a:gd name="T18" fmla="*/ 123 w 123"/>
                    <a:gd name="T19" fmla="*/ 2 h 212"/>
                    <a:gd name="T20" fmla="*/ 123 w 123"/>
                    <a:gd name="T21" fmla="*/ 123 h 212"/>
                    <a:gd name="T22" fmla="*/ 122 w 123"/>
                    <a:gd name="T23" fmla="*/ 124 h 212"/>
                    <a:gd name="T24" fmla="*/ 113 w 123"/>
                    <a:gd name="T25" fmla="*/ 130 h 212"/>
                    <a:gd name="T26" fmla="*/ 122 w 123"/>
                    <a:gd name="T27" fmla="*/ 135 h 212"/>
                    <a:gd name="T28" fmla="*/ 123 w 123"/>
                    <a:gd name="T29" fmla="*/ 136 h 212"/>
                    <a:gd name="T30" fmla="*/ 123 w 123"/>
                    <a:gd name="T31" fmla="*/ 140 h 212"/>
                    <a:gd name="T32" fmla="*/ 122 w 123"/>
                    <a:gd name="T33" fmla="*/ 142 h 212"/>
                    <a:gd name="T34" fmla="*/ 79 w 123"/>
                    <a:gd name="T35" fmla="*/ 167 h 212"/>
                    <a:gd name="T36" fmla="*/ 77 w 123"/>
                    <a:gd name="T37" fmla="*/ 167 h 212"/>
                    <a:gd name="T38" fmla="*/ 66 w 123"/>
                    <a:gd name="T39" fmla="*/ 161 h 212"/>
                    <a:gd name="T40" fmla="*/ 66 w 123"/>
                    <a:gd name="T41" fmla="*/ 173 h 212"/>
                    <a:gd name="T42" fmla="*/ 65 w 123"/>
                    <a:gd name="T43" fmla="*/ 175 h 212"/>
                    <a:gd name="T44" fmla="*/ 3 w 123"/>
                    <a:gd name="T45" fmla="*/ 211 h 212"/>
                    <a:gd name="T46" fmla="*/ 2 w 123"/>
                    <a:gd name="T47" fmla="*/ 212 h 212"/>
                    <a:gd name="T48" fmla="*/ 4 w 123"/>
                    <a:gd name="T49" fmla="*/ 199 h 212"/>
                    <a:gd name="T50" fmla="*/ 4 w 123"/>
                    <a:gd name="T51" fmla="*/ 206 h 212"/>
                    <a:gd name="T52" fmla="*/ 62 w 123"/>
                    <a:gd name="T53" fmla="*/ 172 h 212"/>
                    <a:gd name="T54" fmla="*/ 62 w 123"/>
                    <a:gd name="T55" fmla="*/ 158 h 212"/>
                    <a:gd name="T56" fmla="*/ 63 w 123"/>
                    <a:gd name="T57" fmla="*/ 156 h 212"/>
                    <a:gd name="T58" fmla="*/ 65 w 123"/>
                    <a:gd name="T59" fmla="*/ 156 h 212"/>
                    <a:gd name="T60" fmla="*/ 78 w 123"/>
                    <a:gd name="T61" fmla="*/ 163 h 212"/>
                    <a:gd name="T62" fmla="*/ 119 w 123"/>
                    <a:gd name="T63" fmla="*/ 139 h 212"/>
                    <a:gd name="T64" fmla="*/ 119 w 123"/>
                    <a:gd name="T65" fmla="*/ 138 h 212"/>
                    <a:gd name="T66" fmla="*/ 108 w 123"/>
                    <a:gd name="T67" fmla="*/ 131 h 212"/>
                    <a:gd name="T68" fmla="*/ 107 w 123"/>
                    <a:gd name="T69" fmla="*/ 130 h 212"/>
                    <a:gd name="T70" fmla="*/ 108 w 123"/>
                    <a:gd name="T71" fmla="*/ 128 h 212"/>
                    <a:gd name="T72" fmla="*/ 119 w 123"/>
                    <a:gd name="T73" fmla="*/ 121 h 212"/>
                    <a:gd name="T74" fmla="*/ 119 w 123"/>
                    <a:gd name="T75" fmla="*/ 6 h 212"/>
                    <a:gd name="T76" fmla="*/ 4 w 123"/>
                    <a:gd name="T77" fmla="*/ 72 h 212"/>
                    <a:gd name="T78" fmla="*/ 4 w 123"/>
                    <a:gd name="T79" fmla="*/ 197 h 212"/>
                    <a:gd name="T80" fmla="*/ 4 w 123"/>
                    <a:gd name="T81" fmla="*/ 199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3" h="212">
                      <a:moveTo>
                        <a:pt x="2" y="212"/>
                      </a:moveTo>
                      <a:cubicBezTo>
                        <a:pt x="1" y="212"/>
                        <a:pt x="1" y="211"/>
                        <a:pt x="1" y="211"/>
                      </a:cubicBezTo>
                      <a:cubicBezTo>
                        <a:pt x="0" y="211"/>
                        <a:pt x="0" y="210"/>
                        <a:pt x="0" y="210"/>
                      </a:cubicBezTo>
                      <a:cubicBezTo>
                        <a:pt x="0" y="197"/>
                        <a:pt x="0" y="197"/>
                        <a:pt x="0" y="197"/>
                      </a:cubicBezTo>
                      <a:cubicBezTo>
                        <a:pt x="0" y="196"/>
                        <a:pt x="0" y="196"/>
                        <a:pt x="0" y="195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0"/>
                        <a:pt x="1" y="70"/>
                        <a:pt x="1" y="69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1" y="0"/>
                        <a:pt x="122" y="0"/>
                        <a:pt x="122" y="1"/>
                      </a:cubicBezTo>
                      <a:cubicBezTo>
                        <a:pt x="123" y="1"/>
                        <a:pt x="123" y="2"/>
                        <a:pt x="123" y="2"/>
                      </a:cubicBezTo>
                      <a:cubicBezTo>
                        <a:pt x="123" y="123"/>
                        <a:pt x="123" y="123"/>
                        <a:pt x="123" y="123"/>
                      </a:cubicBezTo>
                      <a:cubicBezTo>
                        <a:pt x="123" y="123"/>
                        <a:pt x="123" y="124"/>
                        <a:pt x="122" y="124"/>
                      </a:cubicBezTo>
                      <a:cubicBezTo>
                        <a:pt x="113" y="130"/>
                        <a:pt x="113" y="130"/>
                        <a:pt x="113" y="130"/>
                      </a:cubicBezTo>
                      <a:cubicBezTo>
                        <a:pt x="122" y="135"/>
                        <a:pt x="122" y="135"/>
                        <a:pt x="122" y="135"/>
                      </a:cubicBezTo>
                      <a:cubicBezTo>
                        <a:pt x="123" y="135"/>
                        <a:pt x="123" y="136"/>
                        <a:pt x="123" y="136"/>
                      </a:cubicBezTo>
                      <a:cubicBezTo>
                        <a:pt x="123" y="140"/>
                        <a:pt x="123" y="140"/>
                        <a:pt x="123" y="140"/>
                      </a:cubicBezTo>
                      <a:cubicBezTo>
                        <a:pt x="123" y="141"/>
                        <a:pt x="123" y="142"/>
                        <a:pt x="122" y="142"/>
                      </a:cubicBezTo>
                      <a:cubicBezTo>
                        <a:pt x="79" y="167"/>
                        <a:pt x="79" y="167"/>
                        <a:pt x="79" y="167"/>
                      </a:cubicBezTo>
                      <a:cubicBezTo>
                        <a:pt x="78" y="168"/>
                        <a:pt x="77" y="168"/>
                        <a:pt x="77" y="167"/>
                      </a:cubicBezTo>
                      <a:cubicBezTo>
                        <a:pt x="66" y="161"/>
                        <a:pt x="66" y="161"/>
                        <a:pt x="66" y="161"/>
                      </a:cubicBezTo>
                      <a:cubicBezTo>
                        <a:pt x="66" y="173"/>
                        <a:pt x="66" y="173"/>
                        <a:pt x="66" y="173"/>
                      </a:cubicBezTo>
                      <a:cubicBezTo>
                        <a:pt x="66" y="174"/>
                        <a:pt x="66" y="175"/>
                        <a:pt x="65" y="175"/>
                      </a:cubicBezTo>
                      <a:cubicBezTo>
                        <a:pt x="3" y="211"/>
                        <a:pt x="3" y="211"/>
                        <a:pt x="3" y="211"/>
                      </a:cubicBezTo>
                      <a:cubicBezTo>
                        <a:pt x="2" y="211"/>
                        <a:pt x="2" y="212"/>
                        <a:pt x="2" y="212"/>
                      </a:cubicBezTo>
                      <a:close/>
                      <a:moveTo>
                        <a:pt x="4" y="199"/>
                      </a:moveTo>
                      <a:cubicBezTo>
                        <a:pt x="4" y="206"/>
                        <a:pt x="4" y="206"/>
                        <a:pt x="4" y="206"/>
                      </a:cubicBezTo>
                      <a:cubicBezTo>
                        <a:pt x="62" y="172"/>
                        <a:pt x="62" y="172"/>
                        <a:pt x="62" y="172"/>
                      </a:cubicBezTo>
                      <a:cubicBezTo>
                        <a:pt x="62" y="158"/>
                        <a:pt x="62" y="158"/>
                        <a:pt x="62" y="158"/>
                      </a:cubicBezTo>
                      <a:cubicBezTo>
                        <a:pt x="62" y="157"/>
                        <a:pt x="63" y="156"/>
                        <a:pt x="63" y="156"/>
                      </a:cubicBezTo>
                      <a:cubicBezTo>
                        <a:pt x="64" y="156"/>
                        <a:pt x="65" y="156"/>
                        <a:pt x="65" y="156"/>
                      </a:cubicBezTo>
                      <a:cubicBezTo>
                        <a:pt x="78" y="163"/>
                        <a:pt x="78" y="163"/>
                        <a:pt x="78" y="163"/>
                      </a:cubicBezTo>
                      <a:cubicBezTo>
                        <a:pt x="119" y="139"/>
                        <a:pt x="119" y="139"/>
                        <a:pt x="119" y="139"/>
                      </a:cubicBezTo>
                      <a:cubicBezTo>
                        <a:pt x="119" y="138"/>
                        <a:pt x="119" y="138"/>
                        <a:pt x="119" y="138"/>
                      </a:cubicBezTo>
                      <a:cubicBezTo>
                        <a:pt x="108" y="131"/>
                        <a:pt x="108" y="131"/>
                        <a:pt x="108" y="131"/>
                      </a:cubicBezTo>
                      <a:cubicBezTo>
                        <a:pt x="108" y="131"/>
                        <a:pt x="107" y="130"/>
                        <a:pt x="107" y="130"/>
                      </a:cubicBezTo>
                      <a:cubicBezTo>
                        <a:pt x="107" y="129"/>
                        <a:pt x="108" y="128"/>
                        <a:pt x="108" y="128"/>
                      </a:cubicBezTo>
                      <a:cubicBezTo>
                        <a:pt x="119" y="121"/>
                        <a:pt x="119" y="121"/>
                        <a:pt x="119" y="121"/>
                      </a:cubicBezTo>
                      <a:cubicBezTo>
                        <a:pt x="119" y="6"/>
                        <a:pt x="119" y="6"/>
                        <a:pt x="119" y="6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4" y="197"/>
                        <a:pt x="4" y="197"/>
                        <a:pt x="4" y="197"/>
                      </a:cubicBezTo>
                      <a:cubicBezTo>
                        <a:pt x="4" y="198"/>
                        <a:pt x="4" y="198"/>
                        <a:pt x="4" y="19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2" name="Freeform 825">
                  <a:extLst>
                    <a:ext uri="{FF2B5EF4-FFF2-40B4-BE49-F238E27FC236}">
                      <a16:creationId xmlns:a16="http://schemas.microsoft.com/office/drawing/2014/main" id="{26FF0B3D-1A07-4BEA-B7A3-356CC07B54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1347"/>
                  <a:ext cx="38" cy="37"/>
                </a:xfrm>
                <a:custGeom>
                  <a:avLst/>
                  <a:gdLst>
                    <a:gd name="T0" fmla="*/ 2 w 16"/>
                    <a:gd name="T1" fmla="*/ 16 h 16"/>
                    <a:gd name="T2" fmla="*/ 1 w 16"/>
                    <a:gd name="T3" fmla="*/ 16 h 16"/>
                    <a:gd name="T4" fmla="*/ 0 w 16"/>
                    <a:gd name="T5" fmla="*/ 14 h 16"/>
                    <a:gd name="T6" fmla="*/ 0 w 16"/>
                    <a:gd name="T7" fmla="*/ 3 h 16"/>
                    <a:gd name="T8" fmla="*/ 1 w 16"/>
                    <a:gd name="T9" fmla="*/ 2 h 16"/>
                    <a:gd name="T10" fmla="*/ 3 w 16"/>
                    <a:gd name="T11" fmla="*/ 0 h 16"/>
                    <a:gd name="T12" fmla="*/ 5 w 16"/>
                    <a:gd name="T13" fmla="*/ 0 h 16"/>
                    <a:gd name="T14" fmla="*/ 15 w 16"/>
                    <a:gd name="T15" fmla="*/ 6 h 16"/>
                    <a:gd name="T16" fmla="*/ 16 w 16"/>
                    <a:gd name="T17" fmla="*/ 7 h 16"/>
                    <a:gd name="T18" fmla="*/ 15 w 16"/>
                    <a:gd name="T19" fmla="*/ 9 h 16"/>
                    <a:gd name="T20" fmla="*/ 3 w 16"/>
                    <a:gd name="T21" fmla="*/ 16 h 16"/>
                    <a:gd name="T22" fmla="*/ 2 w 16"/>
                    <a:gd name="T23" fmla="*/ 16 h 16"/>
                    <a:gd name="T24" fmla="*/ 4 w 16"/>
                    <a:gd name="T25" fmla="*/ 4 h 16"/>
                    <a:gd name="T26" fmla="*/ 4 w 16"/>
                    <a:gd name="T27" fmla="*/ 11 h 16"/>
                    <a:gd name="T28" fmla="*/ 10 w 16"/>
                    <a:gd name="T29" fmla="*/ 7 h 16"/>
                    <a:gd name="T30" fmla="*/ 4 w 16"/>
                    <a:gd name="T31" fmla="*/ 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16">
                      <a:moveTo>
                        <a:pt x="2" y="16"/>
                      </a:moveTo>
                      <a:cubicBezTo>
                        <a:pt x="2" y="16"/>
                        <a:pt x="1" y="16"/>
                        <a:pt x="1" y="16"/>
                      </a:cubicBezTo>
                      <a:cubicBezTo>
                        <a:pt x="0" y="16"/>
                        <a:pt x="0" y="15"/>
                        <a:pt x="0" y="1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0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5" y="6"/>
                        <a:pt x="16" y="7"/>
                        <a:pt x="16" y="7"/>
                      </a:cubicBezTo>
                      <a:cubicBezTo>
                        <a:pt x="16" y="8"/>
                        <a:pt x="15" y="9"/>
                        <a:pt x="15" y="9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6"/>
                        <a:pt x="2" y="16"/>
                        <a:pt x="2" y="16"/>
                      </a:cubicBezTo>
                      <a:close/>
                      <a:moveTo>
                        <a:pt x="4" y="4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4" y="4"/>
                        <a:pt x="4" y="4"/>
                        <a:pt x="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3" name="Freeform 826">
                  <a:extLst>
                    <a:ext uri="{FF2B5EF4-FFF2-40B4-BE49-F238E27FC236}">
                      <a16:creationId xmlns:a16="http://schemas.microsoft.com/office/drawing/2014/main" id="{B8832AC9-0EE4-4A98-A9DA-0C15D8F269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27" y="1283"/>
                  <a:ext cx="26" cy="28"/>
                </a:xfrm>
                <a:custGeom>
                  <a:avLst/>
                  <a:gdLst>
                    <a:gd name="T0" fmla="*/ 2 w 11"/>
                    <a:gd name="T1" fmla="*/ 12 h 12"/>
                    <a:gd name="T2" fmla="*/ 1 w 11"/>
                    <a:gd name="T3" fmla="*/ 12 h 12"/>
                    <a:gd name="T4" fmla="*/ 0 w 11"/>
                    <a:gd name="T5" fmla="*/ 10 h 12"/>
                    <a:gd name="T6" fmla="*/ 0 w 11"/>
                    <a:gd name="T7" fmla="*/ 2 h 12"/>
                    <a:gd name="T8" fmla="*/ 1 w 11"/>
                    <a:gd name="T9" fmla="*/ 0 h 12"/>
                    <a:gd name="T10" fmla="*/ 3 w 11"/>
                    <a:gd name="T11" fmla="*/ 0 h 12"/>
                    <a:gd name="T12" fmla="*/ 10 w 11"/>
                    <a:gd name="T13" fmla="*/ 4 h 12"/>
                    <a:gd name="T14" fmla="*/ 11 w 11"/>
                    <a:gd name="T15" fmla="*/ 6 h 12"/>
                    <a:gd name="T16" fmla="*/ 10 w 11"/>
                    <a:gd name="T17" fmla="*/ 8 h 12"/>
                    <a:gd name="T18" fmla="*/ 3 w 11"/>
                    <a:gd name="T19" fmla="*/ 12 h 12"/>
                    <a:gd name="T20" fmla="*/ 2 w 11"/>
                    <a:gd name="T21" fmla="*/ 12 h 12"/>
                    <a:gd name="T22" fmla="*/ 4 w 11"/>
                    <a:gd name="T23" fmla="*/ 5 h 12"/>
                    <a:gd name="T24" fmla="*/ 4 w 11"/>
                    <a:gd name="T25" fmla="*/ 6 h 12"/>
                    <a:gd name="T26" fmla="*/ 5 w 11"/>
                    <a:gd name="T27" fmla="*/ 6 h 12"/>
                    <a:gd name="T28" fmla="*/ 4 w 11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2" y="12"/>
                      </a:moveTo>
                      <a:cubicBezTo>
                        <a:pt x="2" y="12"/>
                        <a:pt x="1" y="12"/>
                        <a:pt x="1" y="12"/>
                      </a:cubicBezTo>
                      <a:cubicBezTo>
                        <a:pt x="0" y="11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4"/>
                        <a:pt x="11" y="5"/>
                        <a:pt x="11" y="6"/>
                      </a:cubicBezTo>
                      <a:cubicBezTo>
                        <a:pt x="11" y="7"/>
                        <a:pt x="11" y="7"/>
                        <a:pt x="10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2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4" name="Freeform 827">
                  <a:extLst>
                    <a:ext uri="{FF2B5EF4-FFF2-40B4-BE49-F238E27FC236}">
                      <a16:creationId xmlns:a16="http://schemas.microsoft.com/office/drawing/2014/main" id="{6D680C52-E266-48CD-BF50-2AEF685254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27" y="1162"/>
                  <a:ext cx="85" cy="180"/>
                </a:xfrm>
                <a:custGeom>
                  <a:avLst/>
                  <a:gdLst>
                    <a:gd name="T0" fmla="*/ 2 w 36"/>
                    <a:gd name="T1" fmla="*/ 76 h 76"/>
                    <a:gd name="T2" fmla="*/ 1 w 36"/>
                    <a:gd name="T3" fmla="*/ 75 h 76"/>
                    <a:gd name="T4" fmla="*/ 0 w 36"/>
                    <a:gd name="T5" fmla="*/ 74 h 76"/>
                    <a:gd name="T6" fmla="*/ 0 w 36"/>
                    <a:gd name="T7" fmla="*/ 63 h 76"/>
                    <a:gd name="T8" fmla="*/ 1 w 36"/>
                    <a:gd name="T9" fmla="*/ 61 h 76"/>
                    <a:gd name="T10" fmla="*/ 8 w 36"/>
                    <a:gd name="T11" fmla="*/ 57 h 76"/>
                    <a:gd name="T12" fmla="*/ 1 w 36"/>
                    <a:gd name="T13" fmla="*/ 53 h 76"/>
                    <a:gd name="T14" fmla="*/ 0 w 36"/>
                    <a:gd name="T15" fmla="*/ 51 h 76"/>
                    <a:gd name="T16" fmla="*/ 0 w 36"/>
                    <a:gd name="T17" fmla="*/ 3 h 76"/>
                    <a:gd name="T18" fmla="*/ 1 w 36"/>
                    <a:gd name="T19" fmla="*/ 1 h 76"/>
                    <a:gd name="T20" fmla="*/ 3 w 36"/>
                    <a:gd name="T21" fmla="*/ 1 h 76"/>
                    <a:gd name="T22" fmla="*/ 35 w 36"/>
                    <a:gd name="T23" fmla="*/ 19 h 76"/>
                    <a:gd name="T24" fmla="*/ 36 w 36"/>
                    <a:gd name="T25" fmla="*/ 21 h 76"/>
                    <a:gd name="T26" fmla="*/ 36 w 36"/>
                    <a:gd name="T27" fmla="*/ 55 h 76"/>
                    <a:gd name="T28" fmla="*/ 35 w 36"/>
                    <a:gd name="T29" fmla="*/ 57 h 76"/>
                    <a:gd name="T30" fmla="*/ 3 w 36"/>
                    <a:gd name="T31" fmla="*/ 75 h 76"/>
                    <a:gd name="T32" fmla="*/ 2 w 36"/>
                    <a:gd name="T33" fmla="*/ 76 h 76"/>
                    <a:gd name="T34" fmla="*/ 4 w 36"/>
                    <a:gd name="T35" fmla="*/ 64 h 76"/>
                    <a:gd name="T36" fmla="*/ 4 w 36"/>
                    <a:gd name="T37" fmla="*/ 70 h 76"/>
                    <a:gd name="T38" fmla="*/ 32 w 36"/>
                    <a:gd name="T39" fmla="*/ 54 h 76"/>
                    <a:gd name="T40" fmla="*/ 32 w 36"/>
                    <a:gd name="T41" fmla="*/ 22 h 76"/>
                    <a:gd name="T42" fmla="*/ 4 w 36"/>
                    <a:gd name="T43" fmla="*/ 6 h 76"/>
                    <a:gd name="T44" fmla="*/ 4 w 36"/>
                    <a:gd name="T45" fmla="*/ 50 h 76"/>
                    <a:gd name="T46" fmla="*/ 13 w 36"/>
                    <a:gd name="T47" fmla="*/ 55 h 76"/>
                    <a:gd name="T48" fmla="*/ 14 w 36"/>
                    <a:gd name="T49" fmla="*/ 57 h 76"/>
                    <a:gd name="T50" fmla="*/ 13 w 36"/>
                    <a:gd name="T51" fmla="*/ 59 h 76"/>
                    <a:gd name="T52" fmla="*/ 4 w 36"/>
                    <a:gd name="T53" fmla="*/ 6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6" h="76">
                      <a:moveTo>
                        <a:pt x="2" y="76"/>
                      </a:moveTo>
                      <a:cubicBezTo>
                        <a:pt x="2" y="76"/>
                        <a:pt x="1" y="76"/>
                        <a:pt x="1" y="75"/>
                      </a:cubicBezTo>
                      <a:cubicBezTo>
                        <a:pt x="0" y="75"/>
                        <a:pt x="0" y="74"/>
                        <a:pt x="0" y="74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2"/>
                        <a:pt x="0" y="61"/>
                        <a:pt x="1" y="61"/>
                      </a:cubicBezTo>
                      <a:cubicBezTo>
                        <a:pt x="8" y="57"/>
                        <a:pt x="8" y="57"/>
                        <a:pt x="8" y="57"/>
                      </a:cubicBez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0" y="52"/>
                        <a:pt x="0" y="52"/>
                        <a:pt x="0" y="5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5" y="19"/>
                        <a:pt x="35" y="19"/>
                        <a:pt x="35" y="19"/>
                      </a:cubicBezTo>
                      <a:cubicBezTo>
                        <a:pt x="36" y="20"/>
                        <a:pt x="36" y="20"/>
                        <a:pt x="36" y="21"/>
                      </a:cubicBezTo>
                      <a:cubicBezTo>
                        <a:pt x="36" y="55"/>
                        <a:pt x="36" y="55"/>
                        <a:pt x="36" y="55"/>
                      </a:cubicBezTo>
                      <a:cubicBezTo>
                        <a:pt x="36" y="56"/>
                        <a:pt x="36" y="57"/>
                        <a:pt x="35" y="57"/>
                      </a:cubicBezTo>
                      <a:cubicBezTo>
                        <a:pt x="3" y="75"/>
                        <a:pt x="3" y="75"/>
                        <a:pt x="3" y="75"/>
                      </a:cubicBezTo>
                      <a:cubicBezTo>
                        <a:pt x="3" y="76"/>
                        <a:pt x="2" y="76"/>
                        <a:pt x="2" y="76"/>
                      </a:cubicBezTo>
                      <a:close/>
                      <a:moveTo>
                        <a:pt x="4" y="64"/>
                      </a:moveTo>
                      <a:cubicBezTo>
                        <a:pt x="4" y="70"/>
                        <a:pt x="4" y="70"/>
                        <a:pt x="4" y="70"/>
                      </a:cubicBezTo>
                      <a:cubicBezTo>
                        <a:pt x="32" y="54"/>
                        <a:pt x="32" y="54"/>
                        <a:pt x="32" y="54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50"/>
                        <a:pt x="4" y="50"/>
                        <a:pt x="4" y="50"/>
                      </a:cubicBezTo>
                      <a:cubicBezTo>
                        <a:pt x="13" y="55"/>
                        <a:pt x="13" y="55"/>
                        <a:pt x="13" y="55"/>
                      </a:cubicBezTo>
                      <a:cubicBezTo>
                        <a:pt x="14" y="55"/>
                        <a:pt x="14" y="56"/>
                        <a:pt x="14" y="57"/>
                      </a:cubicBezTo>
                      <a:cubicBezTo>
                        <a:pt x="14" y="58"/>
                        <a:pt x="14" y="58"/>
                        <a:pt x="13" y="59"/>
                      </a:cubicBezTo>
                      <a:lnTo>
                        <a:pt x="4" y="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5" name="Freeform 828">
                  <a:extLst>
                    <a:ext uri="{FF2B5EF4-FFF2-40B4-BE49-F238E27FC236}">
                      <a16:creationId xmlns:a16="http://schemas.microsoft.com/office/drawing/2014/main" id="{1D38C7A6-257E-4111-BC97-C98D378DA3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30" y="1210"/>
                  <a:ext cx="153" cy="217"/>
                </a:xfrm>
                <a:custGeom>
                  <a:avLst/>
                  <a:gdLst>
                    <a:gd name="T0" fmla="*/ 63 w 65"/>
                    <a:gd name="T1" fmla="*/ 92 h 92"/>
                    <a:gd name="T2" fmla="*/ 62 w 65"/>
                    <a:gd name="T3" fmla="*/ 91 h 92"/>
                    <a:gd name="T4" fmla="*/ 1 w 65"/>
                    <a:gd name="T5" fmla="*/ 57 h 92"/>
                    <a:gd name="T6" fmla="*/ 0 w 65"/>
                    <a:gd name="T7" fmla="*/ 55 h 92"/>
                    <a:gd name="T8" fmla="*/ 1 w 65"/>
                    <a:gd name="T9" fmla="*/ 53 h 92"/>
                    <a:gd name="T10" fmla="*/ 33 w 65"/>
                    <a:gd name="T11" fmla="*/ 35 h 92"/>
                    <a:gd name="T12" fmla="*/ 33 w 65"/>
                    <a:gd name="T13" fmla="*/ 2 h 92"/>
                    <a:gd name="T14" fmla="*/ 34 w 65"/>
                    <a:gd name="T15" fmla="*/ 0 h 92"/>
                    <a:gd name="T16" fmla="*/ 36 w 65"/>
                    <a:gd name="T17" fmla="*/ 0 h 92"/>
                    <a:gd name="T18" fmla="*/ 64 w 65"/>
                    <a:gd name="T19" fmla="*/ 17 h 92"/>
                    <a:gd name="T20" fmla="*/ 65 w 65"/>
                    <a:gd name="T21" fmla="*/ 18 h 92"/>
                    <a:gd name="T22" fmla="*/ 65 w 65"/>
                    <a:gd name="T23" fmla="*/ 90 h 92"/>
                    <a:gd name="T24" fmla="*/ 64 w 65"/>
                    <a:gd name="T25" fmla="*/ 91 h 92"/>
                    <a:gd name="T26" fmla="*/ 63 w 65"/>
                    <a:gd name="T27" fmla="*/ 92 h 92"/>
                    <a:gd name="T28" fmla="*/ 6 w 65"/>
                    <a:gd name="T29" fmla="*/ 55 h 92"/>
                    <a:gd name="T30" fmla="*/ 61 w 65"/>
                    <a:gd name="T31" fmla="*/ 86 h 92"/>
                    <a:gd name="T32" fmla="*/ 61 w 65"/>
                    <a:gd name="T33" fmla="*/ 19 h 92"/>
                    <a:gd name="T34" fmla="*/ 37 w 65"/>
                    <a:gd name="T35" fmla="*/ 5 h 92"/>
                    <a:gd name="T36" fmla="*/ 37 w 65"/>
                    <a:gd name="T37" fmla="*/ 36 h 92"/>
                    <a:gd name="T38" fmla="*/ 36 w 65"/>
                    <a:gd name="T39" fmla="*/ 38 h 92"/>
                    <a:gd name="T40" fmla="*/ 6 w 65"/>
                    <a:gd name="T41" fmla="*/ 55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5" h="92">
                      <a:moveTo>
                        <a:pt x="63" y="92"/>
                      </a:moveTo>
                      <a:cubicBezTo>
                        <a:pt x="63" y="92"/>
                        <a:pt x="62" y="92"/>
                        <a:pt x="62" y="91"/>
                      </a:cubicBezTo>
                      <a:cubicBezTo>
                        <a:pt x="1" y="57"/>
                        <a:pt x="1" y="57"/>
                        <a:pt x="1" y="57"/>
                      </a:cubicBezTo>
                      <a:cubicBezTo>
                        <a:pt x="1" y="56"/>
                        <a:pt x="0" y="56"/>
                        <a:pt x="0" y="55"/>
                      </a:cubicBezTo>
                      <a:cubicBezTo>
                        <a:pt x="0" y="54"/>
                        <a:pt x="1" y="53"/>
                        <a:pt x="1" y="53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3" y="1"/>
                        <a:pt x="33" y="1"/>
                        <a:pt x="34" y="0"/>
                      </a:cubicBezTo>
                      <a:cubicBezTo>
                        <a:pt x="34" y="0"/>
                        <a:pt x="35" y="0"/>
                        <a:pt x="36" y="0"/>
                      </a:cubicBezTo>
                      <a:cubicBezTo>
                        <a:pt x="64" y="17"/>
                        <a:pt x="64" y="17"/>
                        <a:pt x="64" y="17"/>
                      </a:cubicBezTo>
                      <a:cubicBezTo>
                        <a:pt x="65" y="17"/>
                        <a:pt x="65" y="18"/>
                        <a:pt x="65" y="18"/>
                      </a:cubicBezTo>
                      <a:cubicBezTo>
                        <a:pt x="65" y="90"/>
                        <a:pt x="65" y="90"/>
                        <a:pt x="65" y="90"/>
                      </a:cubicBezTo>
                      <a:cubicBezTo>
                        <a:pt x="65" y="90"/>
                        <a:pt x="65" y="91"/>
                        <a:pt x="64" y="91"/>
                      </a:cubicBezTo>
                      <a:cubicBezTo>
                        <a:pt x="64" y="92"/>
                        <a:pt x="63" y="92"/>
                        <a:pt x="63" y="92"/>
                      </a:cubicBezTo>
                      <a:close/>
                      <a:moveTo>
                        <a:pt x="6" y="55"/>
                      </a:moveTo>
                      <a:cubicBezTo>
                        <a:pt x="61" y="86"/>
                        <a:pt x="61" y="86"/>
                        <a:pt x="61" y="86"/>
                      </a:cubicBezTo>
                      <a:cubicBezTo>
                        <a:pt x="61" y="19"/>
                        <a:pt x="61" y="19"/>
                        <a:pt x="61" y="19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7" y="37"/>
                        <a:pt x="36" y="37"/>
                        <a:pt x="36" y="38"/>
                      </a:cubicBezTo>
                      <a:lnTo>
                        <a:pt x="6" y="5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6" name="Freeform 829">
                  <a:extLst>
                    <a:ext uri="{FF2B5EF4-FFF2-40B4-BE49-F238E27FC236}">
                      <a16:creationId xmlns:a16="http://schemas.microsoft.com/office/drawing/2014/main" id="{0BBB5C01-B035-4BA7-AA88-4137A3F458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30" y="1120"/>
                  <a:ext cx="82" cy="92"/>
                </a:xfrm>
                <a:custGeom>
                  <a:avLst/>
                  <a:gdLst>
                    <a:gd name="T0" fmla="*/ 33 w 35"/>
                    <a:gd name="T1" fmla="*/ 39 h 39"/>
                    <a:gd name="T2" fmla="*/ 32 w 35"/>
                    <a:gd name="T3" fmla="*/ 39 h 39"/>
                    <a:gd name="T4" fmla="*/ 1 w 35"/>
                    <a:gd name="T5" fmla="*/ 21 h 39"/>
                    <a:gd name="T6" fmla="*/ 0 w 35"/>
                    <a:gd name="T7" fmla="*/ 19 h 39"/>
                    <a:gd name="T8" fmla="*/ 1 w 35"/>
                    <a:gd name="T9" fmla="*/ 18 h 39"/>
                    <a:gd name="T10" fmla="*/ 32 w 35"/>
                    <a:gd name="T11" fmla="*/ 0 h 39"/>
                    <a:gd name="T12" fmla="*/ 34 w 35"/>
                    <a:gd name="T13" fmla="*/ 0 h 39"/>
                    <a:gd name="T14" fmla="*/ 35 w 35"/>
                    <a:gd name="T15" fmla="*/ 2 h 39"/>
                    <a:gd name="T16" fmla="*/ 35 w 35"/>
                    <a:gd name="T17" fmla="*/ 37 h 39"/>
                    <a:gd name="T18" fmla="*/ 34 w 35"/>
                    <a:gd name="T19" fmla="*/ 39 h 39"/>
                    <a:gd name="T20" fmla="*/ 33 w 35"/>
                    <a:gd name="T21" fmla="*/ 39 h 39"/>
                    <a:gd name="T22" fmla="*/ 6 w 35"/>
                    <a:gd name="T23" fmla="*/ 19 h 39"/>
                    <a:gd name="T24" fmla="*/ 31 w 35"/>
                    <a:gd name="T25" fmla="*/ 34 h 39"/>
                    <a:gd name="T26" fmla="*/ 31 w 35"/>
                    <a:gd name="T27" fmla="*/ 5 h 39"/>
                    <a:gd name="T28" fmla="*/ 6 w 35"/>
                    <a:gd name="T29" fmla="*/ 1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5" h="39">
                      <a:moveTo>
                        <a:pt x="33" y="39"/>
                      </a:moveTo>
                      <a:cubicBezTo>
                        <a:pt x="33" y="39"/>
                        <a:pt x="32" y="39"/>
                        <a:pt x="32" y="39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1" y="21"/>
                        <a:pt x="0" y="20"/>
                        <a:pt x="0" y="19"/>
                      </a:cubicBezTo>
                      <a:cubicBezTo>
                        <a:pt x="0" y="19"/>
                        <a:pt x="1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3" y="0"/>
                        <a:pt x="33" y="0"/>
                        <a:pt x="34" y="0"/>
                      </a:cubicBezTo>
                      <a:cubicBezTo>
                        <a:pt x="35" y="0"/>
                        <a:pt x="35" y="1"/>
                        <a:pt x="35" y="2"/>
                      </a:cubicBezTo>
                      <a:cubicBezTo>
                        <a:pt x="35" y="37"/>
                        <a:pt x="35" y="37"/>
                        <a:pt x="35" y="37"/>
                      </a:cubicBezTo>
                      <a:cubicBezTo>
                        <a:pt x="35" y="38"/>
                        <a:pt x="35" y="39"/>
                        <a:pt x="34" y="39"/>
                      </a:cubicBezTo>
                      <a:cubicBezTo>
                        <a:pt x="34" y="39"/>
                        <a:pt x="33" y="39"/>
                        <a:pt x="33" y="39"/>
                      </a:cubicBezTo>
                      <a:close/>
                      <a:moveTo>
                        <a:pt x="6" y="19"/>
                      </a:moveTo>
                      <a:cubicBezTo>
                        <a:pt x="31" y="34"/>
                        <a:pt x="31" y="34"/>
                        <a:pt x="31" y="34"/>
                      </a:cubicBezTo>
                      <a:cubicBezTo>
                        <a:pt x="31" y="5"/>
                        <a:pt x="31" y="5"/>
                        <a:pt x="31" y="5"/>
                      </a:cubicBezTo>
                      <a:lnTo>
                        <a:pt x="6" y="1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7" name="Freeform 830">
                  <a:extLst>
                    <a:ext uri="{FF2B5EF4-FFF2-40B4-BE49-F238E27FC236}">
                      <a16:creationId xmlns:a16="http://schemas.microsoft.com/office/drawing/2014/main" id="{5A2D08CD-B926-4C21-8A57-DDD0D8FE07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202"/>
                  <a:ext cx="149" cy="253"/>
                </a:xfrm>
                <a:custGeom>
                  <a:avLst/>
                  <a:gdLst>
                    <a:gd name="T0" fmla="*/ 2 w 63"/>
                    <a:gd name="T1" fmla="*/ 107 h 107"/>
                    <a:gd name="T2" fmla="*/ 1 w 63"/>
                    <a:gd name="T3" fmla="*/ 106 h 107"/>
                    <a:gd name="T4" fmla="*/ 0 w 63"/>
                    <a:gd name="T5" fmla="*/ 105 h 107"/>
                    <a:gd name="T6" fmla="*/ 0 w 63"/>
                    <a:gd name="T7" fmla="*/ 36 h 107"/>
                    <a:gd name="T8" fmla="*/ 1 w 63"/>
                    <a:gd name="T9" fmla="*/ 35 h 107"/>
                    <a:gd name="T10" fmla="*/ 60 w 63"/>
                    <a:gd name="T11" fmla="*/ 1 h 107"/>
                    <a:gd name="T12" fmla="*/ 62 w 63"/>
                    <a:gd name="T13" fmla="*/ 1 h 107"/>
                    <a:gd name="T14" fmla="*/ 63 w 63"/>
                    <a:gd name="T15" fmla="*/ 2 h 107"/>
                    <a:gd name="T16" fmla="*/ 63 w 63"/>
                    <a:gd name="T17" fmla="*/ 60 h 107"/>
                    <a:gd name="T18" fmla="*/ 62 w 63"/>
                    <a:gd name="T19" fmla="*/ 61 h 107"/>
                    <a:gd name="T20" fmla="*/ 46 w 63"/>
                    <a:gd name="T21" fmla="*/ 70 h 107"/>
                    <a:gd name="T22" fmla="*/ 53 w 63"/>
                    <a:gd name="T23" fmla="*/ 74 h 107"/>
                    <a:gd name="T24" fmla="*/ 54 w 63"/>
                    <a:gd name="T25" fmla="*/ 76 h 107"/>
                    <a:gd name="T26" fmla="*/ 53 w 63"/>
                    <a:gd name="T27" fmla="*/ 77 h 107"/>
                    <a:gd name="T28" fmla="*/ 3 w 63"/>
                    <a:gd name="T29" fmla="*/ 106 h 107"/>
                    <a:gd name="T30" fmla="*/ 2 w 63"/>
                    <a:gd name="T31" fmla="*/ 107 h 107"/>
                    <a:gd name="T32" fmla="*/ 4 w 63"/>
                    <a:gd name="T33" fmla="*/ 38 h 107"/>
                    <a:gd name="T34" fmla="*/ 4 w 63"/>
                    <a:gd name="T35" fmla="*/ 101 h 107"/>
                    <a:gd name="T36" fmla="*/ 48 w 63"/>
                    <a:gd name="T37" fmla="*/ 76 h 107"/>
                    <a:gd name="T38" fmla="*/ 41 w 63"/>
                    <a:gd name="T39" fmla="*/ 72 h 107"/>
                    <a:gd name="T40" fmla="*/ 40 w 63"/>
                    <a:gd name="T41" fmla="*/ 70 h 107"/>
                    <a:gd name="T42" fmla="*/ 41 w 63"/>
                    <a:gd name="T43" fmla="*/ 69 h 107"/>
                    <a:gd name="T44" fmla="*/ 59 w 63"/>
                    <a:gd name="T45" fmla="*/ 59 h 107"/>
                    <a:gd name="T46" fmla="*/ 59 w 63"/>
                    <a:gd name="T47" fmla="*/ 6 h 107"/>
                    <a:gd name="T48" fmla="*/ 4 w 63"/>
                    <a:gd name="T49" fmla="*/ 38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3" h="107">
                      <a:moveTo>
                        <a:pt x="2" y="107"/>
                      </a:moveTo>
                      <a:cubicBezTo>
                        <a:pt x="1" y="107"/>
                        <a:pt x="1" y="106"/>
                        <a:pt x="1" y="106"/>
                      </a:cubicBezTo>
                      <a:cubicBezTo>
                        <a:pt x="0" y="106"/>
                        <a:pt x="0" y="105"/>
                        <a:pt x="0" y="105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0" y="0"/>
                        <a:pt x="61" y="0"/>
                        <a:pt x="62" y="1"/>
                      </a:cubicBezTo>
                      <a:cubicBezTo>
                        <a:pt x="62" y="1"/>
                        <a:pt x="63" y="2"/>
                        <a:pt x="63" y="2"/>
                      </a:cubicBezTo>
                      <a:cubicBezTo>
                        <a:pt x="63" y="60"/>
                        <a:pt x="63" y="60"/>
                        <a:pt x="63" y="60"/>
                      </a:cubicBezTo>
                      <a:cubicBezTo>
                        <a:pt x="63" y="60"/>
                        <a:pt x="62" y="61"/>
                        <a:pt x="62" y="61"/>
                      </a:cubicBezTo>
                      <a:cubicBezTo>
                        <a:pt x="46" y="70"/>
                        <a:pt x="46" y="70"/>
                        <a:pt x="46" y="70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74"/>
                        <a:pt x="54" y="75"/>
                        <a:pt x="54" y="76"/>
                      </a:cubicBezTo>
                      <a:cubicBezTo>
                        <a:pt x="54" y="76"/>
                        <a:pt x="53" y="77"/>
                        <a:pt x="53" y="77"/>
                      </a:cubicBezTo>
                      <a:cubicBezTo>
                        <a:pt x="3" y="106"/>
                        <a:pt x="3" y="106"/>
                        <a:pt x="3" y="106"/>
                      </a:cubicBezTo>
                      <a:cubicBezTo>
                        <a:pt x="2" y="106"/>
                        <a:pt x="2" y="107"/>
                        <a:pt x="2" y="107"/>
                      </a:cubicBezTo>
                      <a:close/>
                      <a:moveTo>
                        <a:pt x="4" y="38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8" y="76"/>
                        <a:pt x="48" y="76"/>
                        <a:pt x="48" y="76"/>
                      </a:cubicBezTo>
                      <a:cubicBezTo>
                        <a:pt x="41" y="72"/>
                        <a:pt x="41" y="72"/>
                        <a:pt x="41" y="72"/>
                      </a:cubicBezTo>
                      <a:cubicBezTo>
                        <a:pt x="41" y="72"/>
                        <a:pt x="40" y="71"/>
                        <a:pt x="40" y="70"/>
                      </a:cubicBezTo>
                      <a:cubicBezTo>
                        <a:pt x="40" y="70"/>
                        <a:pt x="41" y="69"/>
                        <a:pt x="41" y="69"/>
                      </a:cubicBezTo>
                      <a:cubicBezTo>
                        <a:pt x="59" y="59"/>
                        <a:pt x="59" y="59"/>
                        <a:pt x="59" y="59"/>
                      </a:cubicBezTo>
                      <a:cubicBezTo>
                        <a:pt x="59" y="6"/>
                        <a:pt x="59" y="6"/>
                        <a:pt x="59" y="6"/>
                      </a:cubicBezTo>
                      <a:lnTo>
                        <a:pt x="4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8" name="Freeform 831">
                  <a:extLst>
                    <a:ext uri="{FF2B5EF4-FFF2-40B4-BE49-F238E27FC236}">
                      <a16:creationId xmlns:a16="http://schemas.microsoft.com/office/drawing/2014/main" id="{625EBE2F-60CC-4162-BF97-D83FC61E8A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96" y="1618"/>
                  <a:ext cx="33" cy="36"/>
                </a:xfrm>
                <a:custGeom>
                  <a:avLst/>
                  <a:gdLst>
                    <a:gd name="T0" fmla="*/ 2 w 14"/>
                    <a:gd name="T1" fmla="*/ 15 h 15"/>
                    <a:gd name="T2" fmla="*/ 1 w 14"/>
                    <a:gd name="T3" fmla="*/ 15 h 15"/>
                    <a:gd name="T4" fmla="*/ 0 w 14"/>
                    <a:gd name="T5" fmla="*/ 13 h 15"/>
                    <a:gd name="T6" fmla="*/ 0 w 14"/>
                    <a:gd name="T7" fmla="*/ 2 h 15"/>
                    <a:gd name="T8" fmla="*/ 1 w 14"/>
                    <a:gd name="T9" fmla="*/ 0 h 15"/>
                    <a:gd name="T10" fmla="*/ 3 w 14"/>
                    <a:gd name="T11" fmla="*/ 0 h 15"/>
                    <a:gd name="T12" fmla="*/ 13 w 14"/>
                    <a:gd name="T13" fmla="*/ 6 h 15"/>
                    <a:gd name="T14" fmla="*/ 14 w 14"/>
                    <a:gd name="T15" fmla="*/ 7 h 15"/>
                    <a:gd name="T16" fmla="*/ 13 w 14"/>
                    <a:gd name="T17" fmla="*/ 9 h 15"/>
                    <a:gd name="T18" fmla="*/ 3 w 14"/>
                    <a:gd name="T19" fmla="*/ 15 h 15"/>
                    <a:gd name="T20" fmla="*/ 2 w 14"/>
                    <a:gd name="T21" fmla="*/ 15 h 15"/>
                    <a:gd name="T22" fmla="*/ 4 w 14"/>
                    <a:gd name="T23" fmla="*/ 5 h 15"/>
                    <a:gd name="T24" fmla="*/ 4 w 14"/>
                    <a:gd name="T25" fmla="*/ 9 h 15"/>
                    <a:gd name="T26" fmla="*/ 8 w 14"/>
                    <a:gd name="T27" fmla="*/ 7 h 15"/>
                    <a:gd name="T28" fmla="*/ 4 w 14"/>
                    <a:gd name="T29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5">
                      <a:moveTo>
                        <a:pt x="2" y="15"/>
                      </a:moveTo>
                      <a:cubicBezTo>
                        <a:pt x="2" y="15"/>
                        <a:pt x="2" y="15"/>
                        <a:pt x="1" y="15"/>
                      </a:cubicBezTo>
                      <a:cubicBezTo>
                        <a:pt x="1" y="14"/>
                        <a:pt x="0" y="14"/>
                        <a:pt x="0" y="1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4" y="6"/>
                        <a:pt x="14" y="7"/>
                        <a:pt x="14" y="7"/>
                      </a:cubicBezTo>
                      <a:cubicBezTo>
                        <a:pt x="14" y="8"/>
                        <a:pt x="14" y="9"/>
                        <a:pt x="13" y="9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3" y="15"/>
                        <a:pt x="3" y="15"/>
                        <a:pt x="2" y="15"/>
                      </a:cubicBezTo>
                      <a:close/>
                      <a:moveTo>
                        <a:pt x="4" y="5"/>
                      </a:move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8" y="7"/>
                        <a:pt x="8" y="7"/>
                        <a:pt x="8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9" name="Freeform 832">
                  <a:extLst>
                    <a:ext uri="{FF2B5EF4-FFF2-40B4-BE49-F238E27FC236}">
                      <a16:creationId xmlns:a16="http://schemas.microsoft.com/office/drawing/2014/main" id="{23D8EAE3-BBE5-48CF-B760-9251157EFD3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01" y="1337"/>
                  <a:ext cx="182" cy="121"/>
                </a:xfrm>
                <a:custGeom>
                  <a:avLst/>
                  <a:gdLst>
                    <a:gd name="T0" fmla="*/ 55 w 77"/>
                    <a:gd name="T1" fmla="*/ 51 h 51"/>
                    <a:gd name="T2" fmla="*/ 54 w 77"/>
                    <a:gd name="T3" fmla="*/ 51 h 51"/>
                    <a:gd name="T4" fmla="*/ 1 w 77"/>
                    <a:gd name="T5" fmla="*/ 20 h 51"/>
                    <a:gd name="T6" fmla="*/ 0 w 77"/>
                    <a:gd name="T7" fmla="*/ 19 h 51"/>
                    <a:gd name="T8" fmla="*/ 1 w 77"/>
                    <a:gd name="T9" fmla="*/ 17 h 51"/>
                    <a:gd name="T10" fmla="*/ 7 w 77"/>
                    <a:gd name="T11" fmla="*/ 13 h 51"/>
                    <a:gd name="T12" fmla="*/ 7 w 77"/>
                    <a:gd name="T13" fmla="*/ 4 h 51"/>
                    <a:gd name="T14" fmla="*/ 8 w 77"/>
                    <a:gd name="T15" fmla="*/ 2 h 51"/>
                    <a:gd name="T16" fmla="*/ 12 w 77"/>
                    <a:gd name="T17" fmla="*/ 0 h 51"/>
                    <a:gd name="T18" fmla="*/ 14 w 77"/>
                    <a:gd name="T19" fmla="*/ 0 h 51"/>
                    <a:gd name="T20" fmla="*/ 76 w 77"/>
                    <a:gd name="T21" fmla="*/ 36 h 51"/>
                    <a:gd name="T22" fmla="*/ 77 w 77"/>
                    <a:gd name="T23" fmla="*/ 37 h 51"/>
                    <a:gd name="T24" fmla="*/ 76 w 77"/>
                    <a:gd name="T25" fmla="*/ 39 h 51"/>
                    <a:gd name="T26" fmla="*/ 56 w 77"/>
                    <a:gd name="T27" fmla="*/ 51 h 51"/>
                    <a:gd name="T28" fmla="*/ 55 w 77"/>
                    <a:gd name="T29" fmla="*/ 51 h 51"/>
                    <a:gd name="T30" fmla="*/ 6 w 77"/>
                    <a:gd name="T31" fmla="*/ 19 h 51"/>
                    <a:gd name="T32" fmla="*/ 55 w 77"/>
                    <a:gd name="T33" fmla="*/ 47 h 51"/>
                    <a:gd name="T34" fmla="*/ 71 w 77"/>
                    <a:gd name="T35" fmla="*/ 37 h 51"/>
                    <a:gd name="T36" fmla="*/ 13 w 77"/>
                    <a:gd name="T37" fmla="*/ 4 h 51"/>
                    <a:gd name="T38" fmla="*/ 11 w 77"/>
                    <a:gd name="T39" fmla="*/ 5 h 51"/>
                    <a:gd name="T40" fmla="*/ 11 w 77"/>
                    <a:gd name="T41" fmla="*/ 14 h 51"/>
                    <a:gd name="T42" fmla="*/ 10 w 77"/>
                    <a:gd name="T43" fmla="*/ 16 h 51"/>
                    <a:gd name="T44" fmla="*/ 6 w 77"/>
                    <a:gd name="T45" fmla="*/ 19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7" h="51">
                      <a:moveTo>
                        <a:pt x="55" y="51"/>
                      </a:moveTo>
                      <a:cubicBezTo>
                        <a:pt x="54" y="51"/>
                        <a:pt x="54" y="51"/>
                        <a:pt x="54" y="51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0" y="20"/>
                        <a:pt x="0" y="19"/>
                        <a:pt x="0" y="19"/>
                      </a:cubicBezTo>
                      <a:cubicBezTo>
                        <a:pt x="0" y="18"/>
                        <a:pt x="0" y="17"/>
                        <a:pt x="1" y="17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3"/>
                        <a:pt x="8" y="2"/>
                        <a:pt x="8" y="2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76" y="36"/>
                        <a:pt x="76" y="36"/>
                        <a:pt x="76" y="36"/>
                      </a:cubicBezTo>
                      <a:cubicBezTo>
                        <a:pt x="76" y="36"/>
                        <a:pt x="77" y="37"/>
                        <a:pt x="77" y="37"/>
                      </a:cubicBezTo>
                      <a:cubicBezTo>
                        <a:pt x="77" y="38"/>
                        <a:pt x="76" y="39"/>
                        <a:pt x="76" y="39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5" y="51"/>
                        <a:pt x="55" y="51"/>
                        <a:pt x="55" y="51"/>
                      </a:cubicBezTo>
                      <a:close/>
                      <a:moveTo>
                        <a:pt x="6" y="19"/>
                      </a:moveTo>
                      <a:cubicBezTo>
                        <a:pt x="55" y="47"/>
                        <a:pt x="55" y="47"/>
                        <a:pt x="55" y="47"/>
                      </a:cubicBezTo>
                      <a:cubicBezTo>
                        <a:pt x="71" y="37"/>
                        <a:pt x="71" y="37"/>
                        <a:pt x="71" y="37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1" y="15"/>
                        <a:pt x="11" y="16"/>
                        <a:pt x="10" y="16"/>
                      </a:cubicBezTo>
                      <a:lnTo>
                        <a:pt x="6" y="1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0" name="Freeform 833">
                  <a:extLst>
                    <a:ext uri="{FF2B5EF4-FFF2-40B4-BE49-F238E27FC236}">
                      <a16:creationId xmlns:a16="http://schemas.microsoft.com/office/drawing/2014/main" id="{A8847CA0-3EE5-44A6-B987-CB850B75109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30" y="1311"/>
                  <a:ext cx="153" cy="116"/>
                </a:xfrm>
                <a:custGeom>
                  <a:avLst/>
                  <a:gdLst>
                    <a:gd name="T0" fmla="*/ 63 w 65"/>
                    <a:gd name="T1" fmla="*/ 49 h 49"/>
                    <a:gd name="T2" fmla="*/ 62 w 65"/>
                    <a:gd name="T3" fmla="*/ 48 h 49"/>
                    <a:gd name="T4" fmla="*/ 1 w 65"/>
                    <a:gd name="T5" fmla="*/ 14 h 49"/>
                    <a:gd name="T6" fmla="*/ 0 w 65"/>
                    <a:gd name="T7" fmla="*/ 12 h 49"/>
                    <a:gd name="T8" fmla="*/ 1 w 65"/>
                    <a:gd name="T9" fmla="*/ 10 h 49"/>
                    <a:gd name="T10" fmla="*/ 19 w 65"/>
                    <a:gd name="T11" fmla="*/ 0 h 49"/>
                    <a:gd name="T12" fmla="*/ 21 w 65"/>
                    <a:gd name="T13" fmla="*/ 0 h 49"/>
                    <a:gd name="T14" fmla="*/ 64 w 65"/>
                    <a:gd name="T15" fmla="*/ 25 h 49"/>
                    <a:gd name="T16" fmla="*/ 65 w 65"/>
                    <a:gd name="T17" fmla="*/ 27 h 49"/>
                    <a:gd name="T18" fmla="*/ 65 w 65"/>
                    <a:gd name="T19" fmla="*/ 47 h 49"/>
                    <a:gd name="T20" fmla="*/ 64 w 65"/>
                    <a:gd name="T21" fmla="*/ 48 h 49"/>
                    <a:gd name="T22" fmla="*/ 63 w 65"/>
                    <a:gd name="T23" fmla="*/ 49 h 49"/>
                    <a:gd name="T24" fmla="*/ 6 w 65"/>
                    <a:gd name="T25" fmla="*/ 12 h 49"/>
                    <a:gd name="T26" fmla="*/ 61 w 65"/>
                    <a:gd name="T27" fmla="*/ 43 h 49"/>
                    <a:gd name="T28" fmla="*/ 61 w 65"/>
                    <a:gd name="T29" fmla="*/ 28 h 49"/>
                    <a:gd name="T30" fmla="*/ 20 w 65"/>
                    <a:gd name="T31" fmla="*/ 4 h 49"/>
                    <a:gd name="T32" fmla="*/ 6 w 65"/>
                    <a:gd name="T33" fmla="*/ 12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5" h="49">
                      <a:moveTo>
                        <a:pt x="63" y="49"/>
                      </a:moveTo>
                      <a:cubicBezTo>
                        <a:pt x="63" y="49"/>
                        <a:pt x="62" y="49"/>
                        <a:pt x="62" y="48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1" y="13"/>
                        <a:pt x="0" y="13"/>
                        <a:pt x="0" y="12"/>
                      </a:cubicBezTo>
                      <a:cubicBezTo>
                        <a:pt x="0" y="11"/>
                        <a:pt x="1" y="10"/>
                        <a:pt x="1" y="1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9" y="0"/>
                        <a:pt x="20" y="0"/>
                        <a:pt x="21" y="0"/>
                      </a:cubicBezTo>
                      <a:cubicBezTo>
                        <a:pt x="64" y="25"/>
                        <a:pt x="64" y="25"/>
                        <a:pt x="64" y="25"/>
                      </a:cubicBezTo>
                      <a:cubicBezTo>
                        <a:pt x="64" y="25"/>
                        <a:pt x="65" y="26"/>
                        <a:pt x="65" y="27"/>
                      </a:cubicBezTo>
                      <a:cubicBezTo>
                        <a:pt x="65" y="47"/>
                        <a:pt x="65" y="47"/>
                        <a:pt x="65" y="47"/>
                      </a:cubicBezTo>
                      <a:cubicBezTo>
                        <a:pt x="65" y="47"/>
                        <a:pt x="64" y="48"/>
                        <a:pt x="64" y="48"/>
                      </a:cubicBezTo>
                      <a:cubicBezTo>
                        <a:pt x="64" y="49"/>
                        <a:pt x="63" y="49"/>
                        <a:pt x="63" y="49"/>
                      </a:cubicBezTo>
                      <a:close/>
                      <a:moveTo>
                        <a:pt x="6" y="12"/>
                      </a:moveTo>
                      <a:cubicBezTo>
                        <a:pt x="61" y="43"/>
                        <a:pt x="61" y="43"/>
                        <a:pt x="61" y="43"/>
                      </a:cubicBezTo>
                      <a:cubicBezTo>
                        <a:pt x="61" y="28"/>
                        <a:pt x="61" y="28"/>
                        <a:pt x="61" y="28"/>
                      </a:cubicBezTo>
                      <a:cubicBezTo>
                        <a:pt x="20" y="4"/>
                        <a:pt x="20" y="4"/>
                        <a:pt x="20" y="4"/>
                      </a:cubicBez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1" name="Freeform 834">
                  <a:extLst>
                    <a:ext uri="{FF2B5EF4-FFF2-40B4-BE49-F238E27FC236}">
                      <a16:creationId xmlns:a16="http://schemas.microsoft.com/office/drawing/2014/main" id="{8FCC6288-2EC0-41F0-A4CC-EA9C589162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451"/>
                  <a:ext cx="149" cy="160"/>
                </a:xfrm>
                <a:custGeom>
                  <a:avLst/>
                  <a:gdLst>
                    <a:gd name="T0" fmla="*/ 2 w 63"/>
                    <a:gd name="T1" fmla="*/ 68 h 68"/>
                    <a:gd name="T2" fmla="*/ 1 w 63"/>
                    <a:gd name="T3" fmla="*/ 68 h 68"/>
                    <a:gd name="T4" fmla="*/ 0 w 63"/>
                    <a:gd name="T5" fmla="*/ 66 h 68"/>
                    <a:gd name="T6" fmla="*/ 0 w 63"/>
                    <a:gd name="T7" fmla="*/ 2 h 68"/>
                    <a:gd name="T8" fmla="*/ 1 w 63"/>
                    <a:gd name="T9" fmla="*/ 1 h 68"/>
                    <a:gd name="T10" fmla="*/ 3 w 63"/>
                    <a:gd name="T11" fmla="*/ 1 h 68"/>
                    <a:gd name="T12" fmla="*/ 62 w 63"/>
                    <a:gd name="T13" fmla="*/ 35 h 68"/>
                    <a:gd name="T14" fmla="*/ 63 w 63"/>
                    <a:gd name="T15" fmla="*/ 36 h 68"/>
                    <a:gd name="T16" fmla="*/ 63 w 63"/>
                    <a:gd name="T17" fmla="*/ 51 h 68"/>
                    <a:gd name="T18" fmla="*/ 62 w 63"/>
                    <a:gd name="T19" fmla="*/ 53 h 68"/>
                    <a:gd name="T20" fmla="*/ 60 w 63"/>
                    <a:gd name="T21" fmla="*/ 53 h 68"/>
                    <a:gd name="T22" fmla="*/ 44 w 63"/>
                    <a:gd name="T23" fmla="*/ 44 h 68"/>
                    <a:gd name="T24" fmla="*/ 3 w 63"/>
                    <a:gd name="T25" fmla="*/ 68 h 68"/>
                    <a:gd name="T26" fmla="*/ 2 w 63"/>
                    <a:gd name="T27" fmla="*/ 68 h 68"/>
                    <a:gd name="T28" fmla="*/ 4 w 63"/>
                    <a:gd name="T29" fmla="*/ 6 h 68"/>
                    <a:gd name="T30" fmla="*/ 4 w 63"/>
                    <a:gd name="T31" fmla="*/ 62 h 68"/>
                    <a:gd name="T32" fmla="*/ 43 w 63"/>
                    <a:gd name="T33" fmla="*/ 40 h 68"/>
                    <a:gd name="T34" fmla="*/ 45 w 63"/>
                    <a:gd name="T35" fmla="*/ 40 h 68"/>
                    <a:gd name="T36" fmla="*/ 59 w 63"/>
                    <a:gd name="T37" fmla="*/ 47 h 68"/>
                    <a:gd name="T38" fmla="*/ 59 w 63"/>
                    <a:gd name="T39" fmla="*/ 38 h 68"/>
                    <a:gd name="T40" fmla="*/ 4 w 63"/>
                    <a:gd name="T41" fmla="*/ 6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" h="68">
                      <a:moveTo>
                        <a:pt x="2" y="68"/>
                      </a:moveTo>
                      <a:cubicBezTo>
                        <a:pt x="1" y="68"/>
                        <a:pt x="1" y="68"/>
                        <a:pt x="1" y="68"/>
                      </a:cubicBezTo>
                      <a:cubicBezTo>
                        <a:pt x="0" y="67"/>
                        <a:pt x="0" y="67"/>
                        <a:pt x="0" y="6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62" y="35"/>
                        <a:pt x="62" y="35"/>
                        <a:pt x="62" y="35"/>
                      </a:cubicBezTo>
                      <a:cubicBezTo>
                        <a:pt x="62" y="35"/>
                        <a:pt x="63" y="36"/>
                        <a:pt x="63" y="36"/>
                      </a:cubicBezTo>
                      <a:cubicBezTo>
                        <a:pt x="63" y="51"/>
                        <a:pt x="63" y="51"/>
                        <a:pt x="63" y="51"/>
                      </a:cubicBezTo>
                      <a:cubicBezTo>
                        <a:pt x="63" y="52"/>
                        <a:pt x="62" y="52"/>
                        <a:pt x="62" y="53"/>
                      </a:cubicBezTo>
                      <a:cubicBezTo>
                        <a:pt x="61" y="53"/>
                        <a:pt x="60" y="53"/>
                        <a:pt x="60" y="53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3" y="68"/>
                        <a:pt x="3" y="68"/>
                        <a:pt x="3" y="68"/>
                      </a:cubicBezTo>
                      <a:cubicBezTo>
                        <a:pt x="2" y="68"/>
                        <a:pt x="2" y="68"/>
                        <a:pt x="2" y="68"/>
                      </a:cubicBezTo>
                      <a:close/>
                      <a:moveTo>
                        <a:pt x="4" y="6"/>
                      </a:move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39"/>
                        <a:pt x="45" y="39"/>
                        <a:pt x="45" y="40"/>
                      </a:cubicBez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9" y="38"/>
                        <a:pt x="59" y="38"/>
                        <a:pt x="59" y="38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2" name="Freeform 835">
                  <a:extLst>
                    <a:ext uri="{FF2B5EF4-FFF2-40B4-BE49-F238E27FC236}">
                      <a16:creationId xmlns:a16="http://schemas.microsoft.com/office/drawing/2014/main" id="{59D39984-1898-41A5-B45D-83B8DB1C96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25" y="1113"/>
                  <a:ext cx="87" cy="54"/>
                </a:xfrm>
                <a:custGeom>
                  <a:avLst/>
                  <a:gdLst>
                    <a:gd name="T0" fmla="*/ 3 w 37"/>
                    <a:gd name="T1" fmla="*/ 23 h 23"/>
                    <a:gd name="T2" fmla="*/ 2 w 37"/>
                    <a:gd name="T3" fmla="*/ 23 h 23"/>
                    <a:gd name="T4" fmla="*/ 1 w 37"/>
                    <a:gd name="T5" fmla="*/ 23 h 23"/>
                    <a:gd name="T6" fmla="*/ 0 w 37"/>
                    <a:gd name="T7" fmla="*/ 21 h 23"/>
                    <a:gd name="T8" fmla="*/ 1 w 37"/>
                    <a:gd name="T9" fmla="*/ 19 h 23"/>
                    <a:gd name="T10" fmla="*/ 34 w 37"/>
                    <a:gd name="T11" fmla="*/ 0 h 23"/>
                    <a:gd name="T12" fmla="*/ 36 w 37"/>
                    <a:gd name="T13" fmla="*/ 0 h 23"/>
                    <a:gd name="T14" fmla="*/ 37 w 37"/>
                    <a:gd name="T15" fmla="*/ 2 h 23"/>
                    <a:gd name="T16" fmla="*/ 37 w 37"/>
                    <a:gd name="T17" fmla="*/ 3 h 23"/>
                    <a:gd name="T18" fmla="*/ 36 w 37"/>
                    <a:gd name="T19" fmla="*/ 5 h 23"/>
                    <a:gd name="T20" fmla="*/ 4 w 37"/>
                    <a:gd name="T21" fmla="*/ 23 h 23"/>
                    <a:gd name="T22" fmla="*/ 3 w 37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7" h="23">
                      <a:moveTo>
                        <a:pt x="3" y="23"/>
                      </a:move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1" y="23"/>
                        <a:pt x="0" y="22"/>
                        <a:pt x="0" y="21"/>
                      </a:cubicBezTo>
                      <a:cubicBezTo>
                        <a:pt x="0" y="20"/>
                        <a:pt x="1" y="20"/>
                        <a:pt x="1" y="19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5" y="0"/>
                        <a:pt x="35" y="0"/>
                        <a:pt x="36" y="0"/>
                      </a:cubicBezTo>
                      <a:cubicBezTo>
                        <a:pt x="37" y="1"/>
                        <a:pt x="37" y="1"/>
                        <a:pt x="37" y="2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7" y="4"/>
                        <a:pt x="37" y="4"/>
                        <a:pt x="36" y="5"/>
                      </a:cubicBezTo>
                      <a:cubicBezTo>
                        <a:pt x="4" y="23"/>
                        <a:pt x="4" y="23"/>
                        <a:pt x="4" y="23"/>
                      </a:cubicBezTo>
                      <a:cubicBezTo>
                        <a:pt x="3" y="23"/>
                        <a:pt x="3" y="23"/>
                        <a:pt x="3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3" name="Freeform 836">
                  <a:extLst>
                    <a:ext uri="{FF2B5EF4-FFF2-40B4-BE49-F238E27FC236}">
                      <a16:creationId xmlns:a16="http://schemas.microsoft.com/office/drawing/2014/main" id="{AE122B99-4C28-44BF-8781-C8A5C2B406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377"/>
                  <a:ext cx="255" cy="244"/>
                </a:xfrm>
                <a:custGeom>
                  <a:avLst/>
                  <a:gdLst>
                    <a:gd name="T0" fmla="*/ 94 w 108"/>
                    <a:gd name="T1" fmla="*/ 103 h 103"/>
                    <a:gd name="T2" fmla="*/ 93 w 108"/>
                    <a:gd name="T3" fmla="*/ 103 h 103"/>
                    <a:gd name="T4" fmla="*/ 61 w 108"/>
                    <a:gd name="T5" fmla="*/ 85 h 103"/>
                    <a:gd name="T6" fmla="*/ 60 w 108"/>
                    <a:gd name="T7" fmla="*/ 83 h 103"/>
                    <a:gd name="T8" fmla="*/ 60 w 108"/>
                    <a:gd name="T9" fmla="*/ 68 h 103"/>
                    <a:gd name="T10" fmla="*/ 1 w 108"/>
                    <a:gd name="T11" fmla="*/ 34 h 103"/>
                    <a:gd name="T12" fmla="*/ 0 w 108"/>
                    <a:gd name="T13" fmla="*/ 32 h 103"/>
                    <a:gd name="T14" fmla="*/ 1 w 108"/>
                    <a:gd name="T15" fmla="*/ 30 h 103"/>
                    <a:gd name="T16" fmla="*/ 52 w 108"/>
                    <a:gd name="T17" fmla="*/ 1 h 103"/>
                    <a:gd name="T18" fmla="*/ 54 w 108"/>
                    <a:gd name="T19" fmla="*/ 1 h 103"/>
                    <a:gd name="T20" fmla="*/ 107 w 108"/>
                    <a:gd name="T21" fmla="*/ 31 h 103"/>
                    <a:gd name="T22" fmla="*/ 108 w 108"/>
                    <a:gd name="T23" fmla="*/ 33 h 103"/>
                    <a:gd name="T24" fmla="*/ 107 w 108"/>
                    <a:gd name="T25" fmla="*/ 35 h 103"/>
                    <a:gd name="T26" fmla="*/ 96 w 108"/>
                    <a:gd name="T27" fmla="*/ 41 h 103"/>
                    <a:gd name="T28" fmla="*/ 96 w 108"/>
                    <a:gd name="T29" fmla="*/ 101 h 103"/>
                    <a:gd name="T30" fmla="*/ 95 w 108"/>
                    <a:gd name="T31" fmla="*/ 103 h 103"/>
                    <a:gd name="T32" fmla="*/ 94 w 108"/>
                    <a:gd name="T33" fmla="*/ 103 h 103"/>
                    <a:gd name="T34" fmla="*/ 64 w 108"/>
                    <a:gd name="T35" fmla="*/ 82 h 103"/>
                    <a:gd name="T36" fmla="*/ 92 w 108"/>
                    <a:gd name="T37" fmla="*/ 98 h 103"/>
                    <a:gd name="T38" fmla="*/ 92 w 108"/>
                    <a:gd name="T39" fmla="*/ 40 h 103"/>
                    <a:gd name="T40" fmla="*/ 93 w 108"/>
                    <a:gd name="T41" fmla="*/ 38 h 103"/>
                    <a:gd name="T42" fmla="*/ 102 w 108"/>
                    <a:gd name="T43" fmla="*/ 33 h 103"/>
                    <a:gd name="T44" fmla="*/ 53 w 108"/>
                    <a:gd name="T45" fmla="*/ 5 h 103"/>
                    <a:gd name="T46" fmla="*/ 6 w 108"/>
                    <a:gd name="T47" fmla="*/ 32 h 103"/>
                    <a:gd name="T48" fmla="*/ 63 w 108"/>
                    <a:gd name="T49" fmla="*/ 65 h 103"/>
                    <a:gd name="T50" fmla="*/ 64 w 108"/>
                    <a:gd name="T51" fmla="*/ 66 h 103"/>
                    <a:gd name="T52" fmla="*/ 64 w 108"/>
                    <a:gd name="T53" fmla="*/ 82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8" h="103">
                      <a:moveTo>
                        <a:pt x="94" y="103"/>
                      </a:moveTo>
                      <a:cubicBezTo>
                        <a:pt x="93" y="103"/>
                        <a:pt x="93" y="103"/>
                        <a:pt x="93" y="103"/>
                      </a:cubicBezTo>
                      <a:cubicBezTo>
                        <a:pt x="61" y="85"/>
                        <a:pt x="61" y="85"/>
                        <a:pt x="61" y="85"/>
                      </a:cubicBezTo>
                      <a:cubicBezTo>
                        <a:pt x="61" y="84"/>
                        <a:pt x="60" y="84"/>
                        <a:pt x="60" y="83"/>
                      </a:cubicBez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3"/>
                        <a:pt x="0" y="33"/>
                        <a:pt x="0" y="32"/>
                      </a:cubicBezTo>
                      <a:cubicBezTo>
                        <a:pt x="0" y="31"/>
                        <a:pt x="1" y="31"/>
                        <a:pt x="1" y="30"/>
                      </a:cubicBezTo>
                      <a:cubicBezTo>
                        <a:pt x="52" y="1"/>
                        <a:pt x="52" y="1"/>
                        <a:pt x="52" y="1"/>
                      </a:cubicBezTo>
                      <a:cubicBezTo>
                        <a:pt x="53" y="0"/>
                        <a:pt x="54" y="0"/>
                        <a:pt x="54" y="1"/>
                      </a:cubicBezTo>
                      <a:cubicBezTo>
                        <a:pt x="107" y="31"/>
                        <a:pt x="107" y="31"/>
                        <a:pt x="107" y="31"/>
                      </a:cubicBezTo>
                      <a:cubicBezTo>
                        <a:pt x="108" y="32"/>
                        <a:pt x="108" y="32"/>
                        <a:pt x="108" y="33"/>
                      </a:cubicBezTo>
                      <a:cubicBezTo>
                        <a:pt x="108" y="34"/>
                        <a:pt x="108" y="34"/>
                        <a:pt x="107" y="35"/>
                      </a:cubicBezTo>
                      <a:cubicBezTo>
                        <a:pt x="96" y="41"/>
                        <a:pt x="96" y="41"/>
                        <a:pt x="96" y="41"/>
                      </a:cubicBezTo>
                      <a:cubicBezTo>
                        <a:pt x="96" y="101"/>
                        <a:pt x="96" y="101"/>
                        <a:pt x="96" y="101"/>
                      </a:cubicBezTo>
                      <a:cubicBezTo>
                        <a:pt x="96" y="102"/>
                        <a:pt x="95" y="102"/>
                        <a:pt x="95" y="103"/>
                      </a:cubicBezTo>
                      <a:cubicBezTo>
                        <a:pt x="94" y="103"/>
                        <a:pt x="94" y="103"/>
                        <a:pt x="94" y="103"/>
                      </a:cubicBezTo>
                      <a:close/>
                      <a:moveTo>
                        <a:pt x="64" y="82"/>
                      </a:moveTo>
                      <a:cubicBezTo>
                        <a:pt x="92" y="98"/>
                        <a:pt x="92" y="98"/>
                        <a:pt x="92" y="98"/>
                      </a:cubicBezTo>
                      <a:cubicBezTo>
                        <a:pt x="92" y="40"/>
                        <a:pt x="92" y="40"/>
                        <a:pt x="92" y="40"/>
                      </a:cubicBezTo>
                      <a:cubicBezTo>
                        <a:pt x="92" y="39"/>
                        <a:pt x="92" y="39"/>
                        <a:pt x="93" y="38"/>
                      </a:cubicBezTo>
                      <a:cubicBezTo>
                        <a:pt x="102" y="33"/>
                        <a:pt x="102" y="33"/>
                        <a:pt x="102" y="33"/>
                      </a:cubicBezTo>
                      <a:cubicBezTo>
                        <a:pt x="53" y="5"/>
                        <a:pt x="53" y="5"/>
                        <a:pt x="53" y="5"/>
                      </a:cubicBezTo>
                      <a:cubicBezTo>
                        <a:pt x="6" y="32"/>
                        <a:pt x="6" y="32"/>
                        <a:pt x="6" y="32"/>
                      </a:cubicBezTo>
                      <a:cubicBezTo>
                        <a:pt x="63" y="65"/>
                        <a:pt x="63" y="65"/>
                        <a:pt x="63" y="65"/>
                      </a:cubicBezTo>
                      <a:cubicBezTo>
                        <a:pt x="64" y="65"/>
                        <a:pt x="64" y="66"/>
                        <a:pt x="64" y="66"/>
                      </a:cubicBezTo>
                      <a:lnTo>
                        <a:pt x="64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4" name="Freeform 837">
                  <a:extLst>
                    <a:ext uri="{FF2B5EF4-FFF2-40B4-BE49-F238E27FC236}">
                      <a16:creationId xmlns:a16="http://schemas.microsoft.com/office/drawing/2014/main" id="{0BACB565-5DA5-4663-ABFA-5D0D5DA868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547"/>
                  <a:ext cx="149" cy="156"/>
                </a:xfrm>
                <a:custGeom>
                  <a:avLst/>
                  <a:gdLst>
                    <a:gd name="T0" fmla="*/ 61 w 63"/>
                    <a:gd name="T1" fmla="*/ 66 h 66"/>
                    <a:gd name="T2" fmla="*/ 60 w 63"/>
                    <a:gd name="T3" fmla="*/ 65 h 66"/>
                    <a:gd name="T4" fmla="*/ 1 w 63"/>
                    <a:gd name="T5" fmla="*/ 31 h 66"/>
                    <a:gd name="T6" fmla="*/ 0 w 63"/>
                    <a:gd name="T7" fmla="*/ 29 h 66"/>
                    <a:gd name="T8" fmla="*/ 0 w 63"/>
                    <a:gd name="T9" fmla="*/ 27 h 66"/>
                    <a:gd name="T10" fmla="*/ 1 w 63"/>
                    <a:gd name="T11" fmla="*/ 25 h 66"/>
                    <a:gd name="T12" fmla="*/ 43 w 63"/>
                    <a:gd name="T13" fmla="*/ 1 h 66"/>
                    <a:gd name="T14" fmla="*/ 45 w 63"/>
                    <a:gd name="T15" fmla="*/ 1 h 66"/>
                    <a:gd name="T16" fmla="*/ 62 w 63"/>
                    <a:gd name="T17" fmla="*/ 10 h 66"/>
                    <a:gd name="T18" fmla="*/ 63 w 63"/>
                    <a:gd name="T19" fmla="*/ 12 h 66"/>
                    <a:gd name="T20" fmla="*/ 63 w 63"/>
                    <a:gd name="T21" fmla="*/ 64 h 66"/>
                    <a:gd name="T22" fmla="*/ 62 w 63"/>
                    <a:gd name="T23" fmla="*/ 65 h 66"/>
                    <a:gd name="T24" fmla="*/ 61 w 63"/>
                    <a:gd name="T25" fmla="*/ 66 h 66"/>
                    <a:gd name="T26" fmla="*/ 4 w 63"/>
                    <a:gd name="T27" fmla="*/ 28 h 66"/>
                    <a:gd name="T28" fmla="*/ 59 w 63"/>
                    <a:gd name="T29" fmla="*/ 60 h 66"/>
                    <a:gd name="T30" fmla="*/ 59 w 63"/>
                    <a:gd name="T31" fmla="*/ 13 h 66"/>
                    <a:gd name="T32" fmla="*/ 44 w 63"/>
                    <a:gd name="T33" fmla="*/ 5 h 66"/>
                    <a:gd name="T34" fmla="*/ 4 w 63"/>
                    <a:gd name="T35" fmla="*/ 28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3" h="66">
                      <a:moveTo>
                        <a:pt x="61" y="66"/>
                      </a:moveTo>
                      <a:cubicBezTo>
                        <a:pt x="60" y="66"/>
                        <a:pt x="60" y="65"/>
                        <a:pt x="60" y="65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29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26"/>
                        <a:pt x="0" y="25"/>
                        <a:pt x="1" y="25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4" y="0"/>
                        <a:pt x="45" y="0"/>
                        <a:pt x="45" y="1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10"/>
                        <a:pt x="63" y="11"/>
                        <a:pt x="63" y="12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ubicBezTo>
                        <a:pt x="63" y="64"/>
                        <a:pt x="62" y="65"/>
                        <a:pt x="62" y="65"/>
                      </a:cubicBezTo>
                      <a:cubicBezTo>
                        <a:pt x="61" y="65"/>
                        <a:pt x="61" y="66"/>
                        <a:pt x="61" y="66"/>
                      </a:cubicBezTo>
                      <a:close/>
                      <a:moveTo>
                        <a:pt x="4" y="28"/>
                      </a:moveTo>
                      <a:cubicBezTo>
                        <a:pt x="59" y="60"/>
                        <a:pt x="59" y="60"/>
                        <a:pt x="59" y="60"/>
                      </a:cubicBezTo>
                      <a:cubicBezTo>
                        <a:pt x="59" y="13"/>
                        <a:pt x="59" y="13"/>
                        <a:pt x="59" y="13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" y="28"/>
                        <a:pt x="4" y="28"/>
                        <a:pt x="4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5" name="Freeform 838">
                  <a:extLst>
                    <a:ext uri="{FF2B5EF4-FFF2-40B4-BE49-F238E27FC236}">
                      <a16:creationId xmlns:a16="http://schemas.microsoft.com/office/drawing/2014/main" id="{BA095C2C-C178-4767-B2A2-48F31452E0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08" y="1451"/>
                  <a:ext cx="42" cy="96"/>
                </a:xfrm>
                <a:custGeom>
                  <a:avLst/>
                  <a:gdLst>
                    <a:gd name="T0" fmla="*/ 2 w 18"/>
                    <a:gd name="T1" fmla="*/ 41 h 41"/>
                    <a:gd name="T2" fmla="*/ 1 w 18"/>
                    <a:gd name="T3" fmla="*/ 40 h 41"/>
                    <a:gd name="T4" fmla="*/ 0 w 18"/>
                    <a:gd name="T5" fmla="*/ 39 h 41"/>
                    <a:gd name="T6" fmla="*/ 0 w 18"/>
                    <a:gd name="T7" fmla="*/ 10 h 41"/>
                    <a:gd name="T8" fmla="*/ 1 w 18"/>
                    <a:gd name="T9" fmla="*/ 8 h 41"/>
                    <a:gd name="T10" fmla="*/ 15 w 18"/>
                    <a:gd name="T11" fmla="*/ 0 h 41"/>
                    <a:gd name="T12" fmla="*/ 17 w 18"/>
                    <a:gd name="T13" fmla="*/ 0 h 41"/>
                    <a:gd name="T14" fmla="*/ 18 w 18"/>
                    <a:gd name="T15" fmla="*/ 2 h 41"/>
                    <a:gd name="T16" fmla="*/ 18 w 18"/>
                    <a:gd name="T17" fmla="*/ 32 h 41"/>
                    <a:gd name="T18" fmla="*/ 17 w 18"/>
                    <a:gd name="T19" fmla="*/ 34 h 41"/>
                    <a:gd name="T20" fmla="*/ 15 w 18"/>
                    <a:gd name="T21" fmla="*/ 34 h 41"/>
                    <a:gd name="T22" fmla="*/ 14 w 18"/>
                    <a:gd name="T23" fmla="*/ 34 h 41"/>
                    <a:gd name="T24" fmla="*/ 3 w 18"/>
                    <a:gd name="T25" fmla="*/ 40 h 41"/>
                    <a:gd name="T26" fmla="*/ 2 w 18"/>
                    <a:gd name="T27" fmla="*/ 41 h 41"/>
                    <a:gd name="T28" fmla="*/ 4 w 18"/>
                    <a:gd name="T29" fmla="*/ 11 h 41"/>
                    <a:gd name="T30" fmla="*/ 4 w 18"/>
                    <a:gd name="T31" fmla="*/ 35 h 41"/>
                    <a:gd name="T32" fmla="*/ 13 w 18"/>
                    <a:gd name="T33" fmla="*/ 30 h 41"/>
                    <a:gd name="T34" fmla="*/ 14 w 18"/>
                    <a:gd name="T35" fmla="*/ 29 h 41"/>
                    <a:gd name="T36" fmla="*/ 14 w 18"/>
                    <a:gd name="T37" fmla="*/ 5 h 41"/>
                    <a:gd name="T38" fmla="*/ 4 w 18"/>
                    <a:gd name="T39" fmla="*/ 1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8" h="41">
                      <a:moveTo>
                        <a:pt x="2" y="41"/>
                      </a:moveTo>
                      <a:cubicBezTo>
                        <a:pt x="1" y="41"/>
                        <a:pt x="1" y="40"/>
                        <a:pt x="1" y="40"/>
                      </a:cubicBezTo>
                      <a:cubicBezTo>
                        <a:pt x="0" y="40"/>
                        <a:pt x="0" y="39"/>
                        <a:pt x="0" y="39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6" y="0"/>
                        <a:pt x="17" y="0"/>
                      </a:cubicBezTo>
                      <a:cubicBezTo>
                        <a:pt x="17" y="1"/>
                        <a:pt x="18" y="1"/>
                        <a:pt x="18" y="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33"/>
                        <a:pt x="17" y="33"/>
                        <a:pt x="17" y="34"/>
                      </a:cubicBezTo>
                      <a:cubicBezTo>
                        <a:pt x="16" y="34"/>
                        <a:pt x="15" y="34"/>
                        <a:pt x="15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2" y="40"/>
                        <a:pt x="2" y="41"/>
                        <a:pt x="2" y="41"/>
                      </a:cubicBezTo>
                      <a:close/>
                      <a:moveTo>
                        <a:pt x="4" y="11"/>
                      </a:move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29"/>
                        <a:pt x="14" y="29"/>
                      </a:cubicBezTo>
                      <a:cubicBezTo>
                        <a:pt x="14" y="5"/>
                        <a:pt x="14" y="5"/>
                        <a:pt x="14" y="5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6" name="Freeform 839">
                  <a:extLst>
                    <a:ext uri="{FF2B5EF4-FFF2-40B4-BE49-F238E27FC236}">
                      <a16:creationId xmlns:a16="http://schemas.microsoft.com/office/drawing/2014/main" id="{4E8FCF6C-9BC9-4B97-94D4-4240F72895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87" y="1363"/>
                  <a:ext cx="161" cy="217"/>
                </a:xfrm>
                <a:custGeom>
                  <a:avLst/>
                  <a:gdLst>
                    <a:gd name="T0" fmla="*/ 28 w 68"/>
                    <a:gd name="T1" fmla="*/ 92 h 92"/>
                    <a:gd name="T2" fmla="*/ 27 w 68"/>
                    <a:gd name="T3" fmla="*/ 92 h 92"/>
                    <a:gd name="T4" fmla="*/ 1 w 68"/>
                    <a:gd name="T5" fmla="*/ 77 h 92"/>
                    <a:gd name="T6" fmla="*/ 0 w 68"/>
                    <a:gd name="T7" fmla="*/ 75 h 92"/>
                    <a:gd name="T8" fmla="*/ 0 w 68"/>
                    <a:gd name="T9" fmla="*/ 4 h 92"/>
                    <a:gd name="T10" fmla="*/ 1 w 68"/>
                    <a:gd name="T11" fmla="*/ 2 h 92"/>
                    <a:gd name="T12" fmla="*/ 4 w 68"/>
                    <a:gd name="T13" fmla="*/ 1 h 92"/>
                    <a:gd name="T14" fmla="*/ 6 w 68"/>
                    <a:gd name="T15" fmla="*/ 1 h 92"/>
                    <a:gd name="T16" fmla="*/ 67 w 68"/>
                    <a:gd name="T17" fmla="*/ 36 h 92"/>
                    <a:gd name="T18" fmla="*/ 68 w 68"/>
                    <a:gd name="T19" fmla="*/ 38 h 92"/>
                    <a:gd name="T20" fmla="*/ 67 w 68"/>
                    <a:gd name="T21" fmla="*/ 39 h 92"/>
                    <a:gd name="T22" fmla="*/ 53 w 68"/>
                    <a:gd name="T23" fmla="*/ 47 h 92"/>
                    <a:gd name="T24" fmla="*/ 53 w 68"/>
                    <a:gd name="T25" fmla="*/ 76 h 92"/>
                    <a:gd name="T26" fmla="*/ 52 w 68"/>
                    <a:gd name="T27" fmla="*/ 78 h 92"/>
                    <a:gd name="T28" fmla="*/ 29 w 68"/>
                    <a:gd name="T29" fmla="*/ 92 h 92"/>
                    <a:gd name="T30" fmla="*/ 28 w 68"/>
                    <a:gd name="T31" fmla="*/ 92 h 92"/>
                    <a:gd name="T32" fmla="*/ 4 w 68"/>
                    <a:gd name="T33" fmla="*/ 74 h 92"/>
                    <a:gd name="T34" fmla="*/ 28 w 68"/>
                    <a:gd name="T35" fmla="*/ 88 h 92"/>
                    <a:gd name="T36" fmla="*/ 49 w 68"/>
                    <a:gd name="T37" fmla="*/ 75 h 92"/>
                    <a:gd name="T38" fmla="*/ 49 w 68"/>
                    <a:gd name="T39" fmla="*/ 46 h 92"/>
                    <a:gd name="T40" fmla="*/ 50 w 68"/>
                    <a:gd name="T41" fmla="*/ 44 h 92"/>
                    <a:gd name="T42" fmla="*/ 62 w 68"/>
                    <a:gd name="T43" fmla="*/ 38 h 92"/>
                    <a:gd name="T44" fmla="*/ 5 w 68"/>
                    <a:gd name="T45" fmla="*/ 5 h 92"/>
                    <a:gd name="T46" fmla="*/ 4 w 68"/>
                    <a:gd name="T47" fmla="*/ 5 h 92"/>
                    <a:gd name="T48" fmla="*/ 4 w 68"/>
                    <a:gd name="T49" fmla="*/ 74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8" h="92">
                      <a:moveTo>
                        <a:pt x="28" y="92"/>
                      </a:moveTo>
                      <a:cubicBezTo>
                        <a:pt x="27" y="92"/>
                        <a:pt x="27" y="92"/>
                        <a:pt x="27" y="92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1" y="76"/>
                        <a:pt x="0" y="76"/>
                        <a:pt x="0" y="75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3"/>
                        <a:pt x="1" y="3"/>
                        <a:pt x="1" y="2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0"/>
                        <a:pt x="5" y="0"/>
                        <a:pt x="6" y="1"/>
                      </a:cubicBezTo>
                      <a:cubicBezTo>
                        <a:pt x="67" y="36"/>
                        <a:pt x="67" y="36"/>
                        <a:pt x="67" y="36"/>
                      </a:cubicBezTo>
                      <a:cubicBezTo>
                        <a:pt x="67" y="36"/>
                        <a:pt x="68" y="37"/>
                        <a:pt x="68" y="38"/>
                      </a:cubicBezTo>
                      <a:cubicBezTo>
                        <a:pt x="68" y="38"/>
                        <a:pt x="67" y="39"/>
                        <a:pt x="67" y="39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76"/>
                        <a:pt x="53" y="76"/>
                        <a:pt x="53" y="76"/>
                      </a:cubicBezTo>
                      <a:cubicBezTo>
                        <a:pt x="53" y="77"/>
                        <a:pt x="53" y="78"/>
                        <a:pt x="52" y="78"/>
                      </a:cubicBezTo>
                      <a:cubicBezTo>
                        <a:pt x="29" y="92"/>
                        <a:pt x="29" y="92"/>
                        <a:pt x="29" y="92"/>
                      </a:cubicBezTo>
                      <a:cubicBezTo>
                        <a:pt x="29" y="92"/>
                        <a:pt x="28" y="92"/>
                        <a:pt x="28" y="92"/>
                      </a:cubicBezTo>
                      <a:close/>
                      <a:moveTo>
                        <a:pt x="4" y="74"/>
                      </a:moveTo>
                      <a:cubicBezTo>
                        <a:pt x="28" y="88"/>
                        <a:pt x="28" y="88"/>
                        <a:pt x="28" y="88"/>
                      </a:cubicBezTo>
                      <a:cubicBezTo>
                        <a:pt x="49" y="75"/>
                        <a:pt x="49" y="75"/>
                        <a:pt x="49" y="75"/>
                      </a:cubicBezTo>
                      <a:cubicBezTo>
                        <a:pt x="49" y="46"/>
                        <a:pt x="49" y="46"/>
                        <a:pt x="49" y="46"/>
                      </a:cubicBezTo>
                      <a:cubicBezTo>
                        <a:pt x="49" y="45"/>
                        <a:pt x="49" y="45"/>
                        <a:pt x="50" y="44"/>
                      </a:cubicBezTo>
                      <a:cubicBezTo>
                        <a:pt x="62" y="38"/>
                        <a:pt x="62" y="38"/>
                        <a:pt x="62" y="38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7" name="Freeform 840">
                  <a:extLst>
                    <a:ext uri="{FF2B5EF4-FFF2-40B4-BE49-F238E27FC236}">
                      <a16:creationId xmlns:a16="http://schemas.microsoft.com/office/drawing/2014/main" id="{6F89712F-9727-4003-A941-BE93BD310C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7" y="1576"/>
                  <a:ext cx="368" cy="165"/>
                </a:xfrm>
                <a:custGeom>
                  <a:avLst/>
                  <a:gdLst>
                    <a:gd name="T0" fmla="*/ 78 w 156"/>
                    <a:gd name="T1" fmla="*/ 70 h 70"/>
                    <a:gd name="T2" fmla="*/ 77 w 156"/>
                    <a:gd name="T3" fmla="*/ 69 h 70"/>
                    <a:gd name="T4" fmla="*/ 1 w 156"/>
                    <a:gd name="T5" fmla="*/ 26 h 70"/>
                    <a:gd name="T6" fmla="*/ 0 w 156"/>
                    <a:gd name="T7" fmla="*/ 24 h 70"/>
                    <a:gd name="T8" fmla="*/ 1 w 156"/>
                    <a:gd name="T9" fmla="*/ 22 h 70"/>
                    <a:gd name="T10" fmla="*/ 40 w 156"/>
                    <a:gd name="T11" fmla="*/ 0 h 70"/>
                    <a:gd name="T12" fmla="*/ 42 w 156"/>
                    <a:gd name="T13" fmla="*/ 0 h 70"/>
                    <a:gd name="T14" fmla="*/ 65 w 156"/>
                    <a:gd name="T15" fmla="*/ 13 h 70"/>
                    <a:gd name="T16" fmla="*/ 66 w 156"/>
                    <a:gd name="T17" fmla="*/ 15 h 70"/>
                    <a:gd name="T18" fmla="*/ 66 w 156"/>
                    <a:gd name="T19" fmla="*/ 30 h 70"/>
                    <a:gd name="T20" fmla="*/ 79 w 156"/>
                    <a:gd name="T21" fmla="*/ 23 h 70"/>
                    <a:gd name="T22" fmla="*/ 80 w 156"/>
                    <a:gd name="T23" fmla="*/ 23 h 70"/>
                    <a:gd name="T24" fmla="*/ 80 w 156"/>
                    <a:gd name="T25" fmla="*/ 22 h 70"/>
                    <a:gd name="T26" fmla="*/ 117 w 156"/>
                    <a:gd name="T27" fmla="*/ 1 h 70"/>
                    <a:gd name="T28" fmla="*/ 119 w 156"/>
                    <a:gd name="T29" fmla="*/ 1 h 70"/>
                    <a:gd name="T30" fmla="*/ 155 w 156"/>
                    <a:gd name="T31" fmla="*/ 22 h 70"/>
                    <a:gd name="T32" fmla="*/ 156 w 156"/>
                    <a:gd name="T33" fmla="*/ 24 h 70"/>
                    <a:gd name="T34" fmla="*/ 155 w 156"/>
                    <a:gd name="T35" fmla="*/ 26 h 70"/>
                    <a:gd name="T36" fmla="*/ 79 w 156"/>
                    <a:gd name="T37" fmla="*/ 69 h 70"/>
                    <a:gd name="T38" fmla="*/ 78 w 156"/>
                    <a:gd name="T39" fmla="*/ 70 h 70"/>
                    <a:gd name="T40" fmla="*/ 6 w 156"/>
                    <a:gd name="T41" fmla="*/ 24 h 70"/>
                    <a:gd name="T42" fmla="*/ 78 w 156"/>
                    <a:gd name="T43" fmla="*/ 65 h 70"/>
                    <a:gd name="T44" fmla="*/ 150 w 156"/>
                    <a:gd name="T45" fmla="*/ 24 h 70"/>
                    <a:gd name="T46" fmla="*/ 118 w 156"/>
                    <a:gd name="T47" fmla="*/ 5 h 70"/>
                    <a:gd name="T48" fmla="*/ 83 w 156"/>
                    <a:gd name="T49" fmla="*/ 25 h 70"/>
                    <a:gd name="T50" fmla="*/ 82 w 156"/>
                    <a:gd name="T51" fmla="*/ 27 h 70"/>
                    <a:gd name="T52" fmla="*/ 80 w 156"/>
                    <a:gd name="T53" fmla="*/ 27 h 70"/>
                    <a:gd name="T54" fmla="*/ 80 w 156"/>
                    <a:gd name="T55" fmla="*/ 27 h 70"/>
                    <a:gd name="T56" fmla="*/ 65 w 156"/>
                    <a:gd name="T57" fmla="*/ 36 h 70"/>
                    <a:gd name="T58" fmla="*/ 63 w 156"/>
                    <a:gd name="T59" fmla="*/ 36 h 70"/>
                    <a:gd name="T60" fmla="*/ 62 w 156"/>
                    <a:gd name="T61" fmla="*/ 34 h 70"/>
                    <a:gd name="T62" fmla="*/ 62 w 156"/>
                    <a:gd name="T63" fmla="*/ 16 h 70"/>
                    <a:gd name="T64" fmla="*/ 41 w 156"/>
                    <a:gd name="T65" fmla="*/ 4 h 70"/>
                    <a:gd name="T66" fmla="*/ 6 w 156"/>
                    <a:gd name="T67" fmla="*/ 2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56" h="70">
                      <a:moveTo>
                        <a:pt x="78" y="70"/>
                      </a:moveTo>
                      <a:cubicBezTo>
                        <a:pt x="78" y="70"/>
                        <a:pt x="78" y="70"/>
                        <a:pt x="77" y="69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5"/>
                        <a:pt x="0" y="25"/>
                        <a:pt x="0" y="24"/>
                      </a:cubicBezTo>
                      <a:cubicBezTo>
                        <a:pt x="0" y="23"/>
                        <a:pt x="1" y="23"/>
                        <a:pt x="1" y="22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0" y="0"/>
                        <a:pt x="41" y="0"/>
                        <a:pt x="42" y="0"/>
                      </a:cubicBezTo>
                      <a:cubicBezTo>
                        <a:pt x="65" y="13"/>
                        <a:pt x="65" y="13"/>
                        <a:pt x="65" y="13"/>
                      </a:cubicBezTo>
                      <a:cubicBezTo>
                        <a:pt x="66" y="14"/>
                        <a:pt x="66" y="15"/>
                        <a:pt x="66" y="15"/>
                      </a:cubicBezTo>
                      <a:cubicBezTo>
                        <a:pt x="66" y="30"/>
                        <a:pt x="66" y="30"/>
                        <a:pt x="66" y="30"/>
                      </a:cubicBezTo>
                      <a:cubicBezTo>
                        <a:pt x="79" y="23"/>
                        <a:pt x="79" y="23"/>
                        <a:pt x="79" y="23"/>
                      </a:cubicBezTo>
                      <a:cubicBezTo>
                        <a:pt x="79" y="23"/>
                        <a:pt x="80" y="23"/>
                        <a:pt x="80" y="23"/>
                      </a:cubicBezTo>
                      <a:cubicBezTo>
                        <a:pt x="80" y="22"/>
                        <a:pt x="80" y="22"/>
                        <a:pt x="80" y="22"/>
                      </a:cubicBezTo>
                      <a:cubicBezTo>
                        <a:pt x="117" y="1"/>
                        <a:pt x="117" y="1"/>
                        <a:pt x="117" y="1"/>
                      </a:cubicBezTo>
                      <a:cubicBezTo>
                        <a:pt x="117" y="1"/>
                        <a:pt x="118" y="1"/>
                        <a:pt x="119" y="1"/>
                      </a:cubicBezTo>
                      <a:cubicBezTo>
                        <a:pt x="155" y="22"/>
                        <a:pt x="155" y="22"/>
                        <a:pt x="155" y="22"/>
                      </a:cubicBezTo>
                      <a:cubicBezTo>
                        <a:pt x="156" y="23"/>
                        <a:pt x="156" y="23"/>
                        <a:pt x="156" y="24"/>
                      </a:cubicBezTo>
                      <a:cubicBezTo>
                        <a:pt x="156" y="25"/>
                        <a:pt x="156" y="25"/>
                        <a:pt x="155" y="26"/>
                      </a:cubicBezTo>
                      <a:cubicBezTo>
                        <a:pt x="79" y="69"/>
                        <a:pt x="79" y="69"/>
                        <a:pt x="79" y="69"/>
                      </a:cubicBezTo>
                      <a:cubicBezTo>
                        <a:pt x="79" y="70"/>
                        <a:pt x="79" y="70"/>
                        <a:pt x="78" y="70"/>
                      </a:cubicBezTo>
                      <a:close/>
                      <a:moveTo>
                        <a:pt x="6" y="24"/>
                      </a:move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150" y="24"/>
                        <a:pt x="150" y="24"/>
                        <a:pt x="150" y="24"/>
                      </a:cubicBezTo>
                      <a:cubicBezTo>
                        <a:pt x="118" y="5"/>
                        <a:pt x="118" y="5"/>
                        <a:pt x="118" y="5"/>
                      </a:cubicBezTo>
                      <a:cubicBezTo>
                        <a:pt x="83" y="25"/>
                        <a:pt x="83" y="25"/>
                        <a:pt x="83" y="25"/>
                      </a:cubicBezTo>
                      <a:cubicBezTo>
                        <a:pt x="83" y="26"/>
                        <a:pt x="83" y="26"/>
                        <a:pt x="82" y="27"/>
                      </a:cubicBezTo>
                      <a:cubicBezTo>
                        <a:pt x="82" y="27"/>
                        <a:pt x="81" y="27"/>
                        <a:pt x="80" y="27"/>
                      </a:cubicBezTo>
                      <a:cubicBezTo>
                        <a:pt x="80" y="27"/>
                        <a:pt x="80" y="27"/>
                        <a:pt x="80" y="27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4" y="36"/>
                        <a:pt x="64" y="36"/>
                        <a:pt x="63" y="36"/>
                      </a:cubicBezTo>
                      <a:cubicBezTo>
                        <a:pt x="62" y="35"/>
                        <a:pt x="62" y="34"/>
                        <a:pt x="62" y="34"/>
                      </a:cubicBezTo>
                      <a:cubicBezTo>
                        <a:pt x="62" y="16"/>
                        <a:pt x="62" y="16"/>
                        <a:pt x="62" y="16"/>
                      </a:cubicBezTo>
                      <a:cubicBezTo>
                        <a:pt x="41" y="4"/>
                        <a:pt x="41" y="4"/>
                        <a:pt x="41" y="4"/>
                      </a:cubicBezTo>
                      <a:lnTo>
                        <a:pt x="6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8" name="Freeform 841">
                  <a:extLst>
                    <a:ext uri="{FF2B5EF4-FFF2-40B4-BE49-F238E27FC236}">
                      <a16:creationId xmlns:a16="http://schemas.microsoft.com/office/drawing/2014/main" id="{59657D66-BD90-4B1E-AE31-7881A18AF6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3" y="1382"/>
                  <a:ext cx="125" cy="201"/>
                </a:xfrm>
                <a:custGeom>
                  <a:avLst/>
                  <a:gdLst>
                    <a:gd name="T0" fmla="*/ 39 w 53"/>
                    <a:gd name="T1" fmla="*/ 85 h 85"/>
                    <a:gd name="T2" fmla="*/ 38 w 53"/>
                    <a:gd name="T3" fmla="*/ 85 h 85"/>
                    <a:gd name="T4" fmla="*/ 1 w 53"/>
                    <a:gd name="T5" fmla="*/ 64 h 85"/>
                    <a:gd name="T6" fmla="*/ 0 w 53"/>
                    <a:gd name="T7" fmla="*/ 62 h 85"/>
                    <a:gd name="T8" fmla="*/ 0 w 53"/>
                    <a:gd name="T9" fmla="*/ 30 h 85"/>
                    <a:gd name="T10" fmla="*/ 1 w 53"/>
                    <a:gd name="T11" fmla="*/ 28 h 85"/>
                    <a:gd name="T12" fmla="*/ 50 w 53"/>
                    <a:gd name="T13" fmla="*/ 0 h 85"/>
                    <a:gd name="T14" fmla="*/ 52 w 53"/>
                    <a:gd name="T15" fmla="*/ 0 h 85"/>
                    <a:gd name="T16" fmla="*/ 53 w 53"/>
                    <a:gd name="T17" fmla="*/ 2 h 85"/>
                    <a:gd name="T18" fmla="*/ 53 w 53"/>
                    <a:gd name="T19" fmla="*/ 76 h 85"/>
                    <a:gd name="T20" fmla="*/ 52 w 53"/>
                    <a:gd name="T21" fmla="*/ 78 h 85"/>
                    <a:gd name="T22" fmla="*/ 40 w 53"/>
                    <a:gd name="T23" fmla="*/ 85 h 85"/>
                    <a:gd name="T24" fmla="*/ 39 w 53"/>
                    <a:gd name="T25" fmla="*/ 85 h 85"/>
                    <a:gd name="T26" fmla="*/ 4 w 53"/>
                    <a:gd name="T27" fmla="*/ 61 h 85"/>
                    <a:gd name="T28" fmla="*/ 39 w 53"/>
                    <a:gd name="T29" fmla="*/ 81 h 85"/>
                    <a:gd name="T30" fmla="*/ 49 w 53"/>
                    <a:gd name="T31" fmla="*/ 75 h 85"/>
                    <a:gd name="T32" fmla="*/ 49 w 53"/>
                    <a:gd name="T33" fmla="*/ 5 h 85"/>
                    <a:gd name="T34" fmla="*/ 4 w 53"/>
                    <a:gd name="T35" fmla="*/ 31 h 85"/>
                    <a:gd name="T36" fmla="*/ 4 w 53"/>
                    <a:gd name="T37" fmla="*/ 61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3" h="85">
                      <a:moveTo>
                        <a:pt x="39" y="85"/>
                      </a:moveTo>
                      <a:cubicBezTo>
                        <a:pt x="38" y="85"/>
                        <a:pt x="38" y="85"/>
                        <a:pt x="38" y="85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3"/>
                        <a:pt x="0" y="63"/>
                        <a:pt x="0" y="62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29"/>
                        <a:pt x="1" y="29"/>
                        <a:pt x="1" y="28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0" y="0"/>
                        <a:pt x="51" y="0"/>
                        <a:pt x="52" y="0"/>
                      </a:cubicBezTo>
                      <a:cubicBezTo>
                        <a:pt x="52" y="1"/>
                        <a:pt x="53" y="1"/>
                        <a:pt x="53" y="2"/>
                      </a:cubicBezTo>
                      <a:cubicBezTo>
                        <a:pt x="53" y="76"/>
                        <a:pt x="53" y="76"/>
                        <a:pt x="53" y="76"/>
                      </a:cubicBezTo>
                      <a:cubicBezTo>
                        <a:pt x="53" y="77"/>
                        <a:pt x="52" y="77"/>
                        <a:pt x="52" y="78"/>
                      </a:cubicBezTo>
                      <a:cubicBezTo>
                        <a:pt x="40" y="85"/>
                        <a:pt x="40" y="85"/>
                        <a:pt x="40" y="85"/>
                      </a:cubicBezTo>
                      <a:cubicBezTo>
                        <a:pt x="39" y="85"/>
                        <a:pt x="39" y="85"/>
                        <a:pt x="39" y="85"/>
                      </a:cubicBezTo>
                      <a:close/>
                      <a:moveTo>
                        <a:pt x="4" y="61"/>
                      </a:moveTo>
                      <a:cubicBezTo>
                        <a:pt x="39" y="81"/>
                        <a:pt x="39" y="81"/>
                        <a:pt x="39" y="81"/>
                      </a:cubicBezTo>
                      <a:cubicBezTo>
                        <a:pt x="49" y="75"/>
                        <a:pt x="49" y="75"/>
                        <a:pt x="49" y="75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" y="31"/>
                        <a:pt x="4" y="31"/>
                        <a:pt x="4" y="31"/>
                      </a:cubicBezTo>
                      <a:lnTo>
                        <a:pt x="4" y="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9" name="Freeform 842">
                  <a:extLst>
                    <a:ext uri="{FF2B5EF4-FFF2-40B4-BE49-F238E27FC236}">
                      <a16:creationId xmlns:a16="http://schemas.microsoft.com/office/drawing/2014/main" id="{D7B2CB21-603A-413D-9014-2F18F3BC98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58" y="1108"/>
                  <a:ext cx="234" cy="132"/>
                </a:xfrm>
                <a:custGeom>
                  <a:avLst/>
                  <a:gdLst>
                    <a:gd name="T0" fmla="*/ 82 w 99"/>
                    <a:gd name="T1" fmla="*/ 56 h 56"/>
                    <a:gd name="T2" fmla="*/ 81 w 99"/>
                    <a:gd name="T3" fmla="*/ 56 h 56"/>
                    <a:gd name="T4" fmla="*/ 60 w 99"/>
                    <a:gd name="T5" fmla="*/ 44 h 56"/>
                    <a:gd name="T6" fmla="*/ 41 w 99"/>
                    <a:gd name="T7" fmla="*/ 55 h 56"/>
                    <a:gd name="T8" fmla="*/ 39 w 99"/>
                    <a:gd name="T9" fmla="*/ 55 h 56"/>
                    <a:gd name="T10" fmla="*/ 1 w 99"/>
                    <a:gd name="T11" fmla="*/ 33 h 56"/>
                    <a:gd name="T12" fmla="*/ 0 w 99"/>
                    <a:gd name="T13" fmla="*/ 31 h 56"/>
                    <a:gd name="T14" fmla="*/ 1 w 99"/>
                    <a:gd name="T15" fmla="*/ 30 h 56"/>
                    <a:gd name="T16" fmla="*/ 44 w 99"/>
                    <a:gd name="T17" fmla="*/ 5 h 56"/>
                    <a:gd name="T18" fmla="*/ 44 w 99"/>
                    <a:gd name="T19" fmla="*/ 2 h 56"/>
                    <a:gd name="T20" fmla="*/ 45 w 99"/>
                    <a:gd name="T21" fmla="*/ 1 h 56"/>
                    <a:gd name="T22" fmla="*/ 47 w 99"/>
                    <a:gd name="T23" fmla="*/ 1 h 56"/>
                    <a:gd name="T24" fmla="*/ 98 w 99"/>
                    <a:gd name="T25" fmla="*/ 30 h 56"/>
                    <a:gd name="T26" fmla="*/ 99 w 99"/>
                    <a:gd name="T27" fmla="*/ 32 h 56"/>
                    <a:gd name="T28" fmla="*/ 98 w 99"/>
                    <a:gd name="T29" fmla="*/ 34 h 56"/>
                    <a:gd name="T30" fmla="*/ 84 w 99"/>
                    <a:gd name="T31" fmla="*/ 41 h 56"/>
                    <a:gd name="T32" fmla="*/ 84 w 99"/>
                    <a:gd name="T33" fmla="*/ 54 h 56"/>
                    <a:gd name="T34" fmla="*/ 83 w 99"/>
                    <a:gd name="T35" fmla="*/ 56 h 56"/>
                    <a:gd name="T36" fmla="*/ 82 w 99"/>
                    <a:gd name="T37" fmla="*/ 56 h 56"/>
                    <a:gd name="T38" fmla="*/ 60 w 99"/>
                    <a:gd name="T39" fmla="*/ 40 h 56"/>
                    <a:gd name="T40" fmla="*/ 61 w 99"/>
                    <a:gd name="T41" fmla="*/ 40 h 56"/>
                    <a:gd name="T42" fmla="*/ 80 w 99"/>
                    <a:gd name="T43" fmla="*/ 51 h 56"/>
                    <a:gd name="T44" fmla="*/ 80 w 99"/>
                    <a:gd name="T45" fmla="*/ 40 h 56"/>
                    <a:gd name="T46" fmla="*/ 81 w 99"/>
                    <a:gd name="T47" fmla="*/ 38 h 56"/>
                    <a:gd name="T48" fmla="*/ 93 w 99"/>
                    <a:gd name="T49" fmla="*/ 32 h 56"/>
                    <a:gd name="T50" fmla="*/ 48 w 99"/>
                    <a:gd name="T51" fmla="*/ 6 h 56"/>
                    <a:gd name="T52" fmla="*/ 48 w 99"/>
                    <a:gd name="T53" fmla="*/ 6 h 56"/>
                    <a:gd name="T54" fmla="*/ 47 w 99"/>
                    <a:gd name="T55" fmla="*/ 8 h 56"/>
                    <a:gd name="T56" fmla="*/ 6 w 99"/>
                    <a:gd name="T57" fmla="*/ 31 h 56"/>
                    <a:gd name="T58" fmla="*/ 40 w 99"/>
                    <a:gd name="T59" fmla="*/ 51 h 56"/>
                    <a:gd name="T60" fmla="*/ 59 w 99"/>
                    <a:gd name="T61" fmla="*/ 40 h 56"/>
                    <a:gd name="T62" fmla="*/ 60 w 99"/>
                    <a:gd name="T63" fmla="*/ 4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99" h="56">
                      <a:moveTo>
                        <a:pt x="82" y="56"/>
                      </a:moveTo>
                      <a:cubicBezTo>
                        <a:pt x="82" y="56"/>
                        <a:pt x="82" y="56"/>
                        <a:pt x="81" y="56"/>
                      </a:cubicBezTo>
                      <a:cubicBezTo>
                        <a:pt x="60" y="44"/>
                        <a:pt x="60" y="44"/>
                        <a:pt x="60" y="44"/>
                      </a:cubicBezTo>
                      <a:cubicBezTo>
                        <a:pt x="41" y="55"/>
                        <a:pt x="41" y="55"/>
                        <a:pt x="41" y="55"/>
                      </a:cubicBezTo>
                      <a:cubicBezTo>
                        <a:pt x="41" y="55"/>
                        <a:pt x="40" y="55"/>
                        <a:pt x="39" y="55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3"/>
                        <a:pt x="0" y="32"/>
                        <a:pt x="0" y="31"/>
                      </a:cubicBezTo>
                      <a:cubicBezTo>
                        <a:pt x="0" y="31"/>
                        <a:pt x="1" y="30"/>
                        <a:pt x="1" y="3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2"/>
                        <a:pt x="44" y="2"/>
                        <a:pt x="44" y="2"/>
                      </a:cubicBezTo>
                      <a:cubicBezTo>
                        <a:pt x="44" y="2"/>
                        <a:pt x="44" y="1"/>
                        <a:pt x="45" y="1"/>
                      </a:cubicBezTo>
                      <a:cubicBezTo>
                        <a:pt x="46" y="0"/>
                        <a:pt x="46" y="0"/>
                        <a:pt x="47" y="1"/>
                      </a:cubicBezTo>
                      <a:cubicBezTo>
                        <a:pt x="98" y="30"/>
                        <a:pt x="98" y="30"/>
                        <a:pt x="98" y="30"/>
                      </a:cubicBezTo>
                      <a:cubicBezTo>
                        <a:pt x="99" y="30"/>
                        <a:pt x="99" y="31"/>
                        <a:pt x="99" y="32"/>
                      </a:cubicBezTo>
                      <a:cubicBezTo>
                        <a:pt x="99" y="33"/>
                        <a:pt x="99" y="33"/>
                        <a:pt x="98" y="34"/>
                      </a:cubicBezTo>
                      <a:cubicBezTo>
                        <a:pt x="84" y="41"/>
                        <a:pt x="84" y="41"/>
                        <a:pt x="84" y="41"/>
                      </a:cubicBezTo>
                      <a:cubicBezTo>
                        <a:pt x="84" y="54"/>
                        <a:pt x="84" y="54"/>
                        <a:pt x="84" y="54"/>
                      </a:cubicBezTo>
                      <a:cubicBezTo>
                        <a:pt x="84" y="55"/>
                        <a:pt x="84" y="56"/>
                        <a:pt x="83" y="56"/>
                      </a:cubicBezTo>
                      <a:cubicBezTo>
                        <a:pt x="83" y="56"/>
                        <a:pt x="83" y="56"/>
                        <a:pt x="82" y="56"/>
                      </a:cubicBezTo>
                      <a:close/>
                      <a:moveTo>
                        <a:pt x="60" y="40"/>
                      </a:moveTo>
                      <a:cubicBezTo>
                        <a:pt x="61" y="40"/>
                        <a:pt x="61" y="40"/>
                        <a:pt x="61" y="40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cubicBezTo>
                        <a:pt x="80" y="40"/>
                        <a:pt x="80" y="40"/>
                        <a:pt x="80" y="40"/>
                      </a:cubicBezTo>
                      <a:cubicBezTo>
                        <a:pt x="80" y="40"/>
                        <a:pt x="81" y="39"/>
                        <a:pt x="81" y="38"/>
                      </a:cubicBezTo>
                      <a:cubicBezTo>
                        <a:pt x="93" y="32"/>
                        <a:pt x="93" y="32"/>
                        <a:pt x="93" y="32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48" y="7"/>
                        <a:pt x="48" y="8"/>
                        <a:pt x="47" y="8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40" y="51"/>
                        <a:pt x="40" y="51"/>
                        <a:pt x="40" y="51"/>
                      </a:cubicBezTo>
                      <a:cubicBezTo>
                        <a:pt x="59" y="40"/>
                        <a:pt x="59" y="40"/>
                        <a:pt x="59" y="40"/>
                      </a:cubicBezTo>
                      <a:cubicBezTo>
                        <a:pt x="60" y="40"/>
                        <a:pt x="60" y="40"/>
                        <a:pt x="60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0" name="Freeform 843">
                  <a:extLst>
                    <a:ext uri="{FF2B5EF4-FFF2-40B4-BE49-F238E27FC236}">
                      <a16:creationId xmlns:a16="http://schemas.microsoft.com/office/drawing/2014/main" id="{5B49F6F1-CF3B-4AF5-88FC-219093B2A6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3" y="1528"/>
                  <a:ext cx="92" cy="104"/>
                </a:xfrm>
                <a:custGeom>
                  <a:avLst/>
                  <a:gdLst>
                    <a:gd name="T0" fmla="*/ 2 w 39"/>
                    <a:gd name="T1" fmla="*/ 44 h 44"/>
                    <a:gd name="T2" fmla="*/ 1 w 39"/>
                    <a:gd name="T3" fmla="*/ 44 h 44"/>
                    <a:gd name="T4" fmla="*/ 0 w 39"/>
                    <a:gd name="T5" fmla="*/ 42 h 44"/>
                    <a:gd name="T6" fmla="*/ 0 w 39"/>
                    <a:gd name="T7" fmla="*/ 2 h 44"/>
                    <a:gd name="T8" fmla="*/ 1 w 39"/>
                    <a:gd name="T9" fmla="*/ 0 h 44"/>
                    <a:gd name="T10" fmla="*/ 3 w 39"/>
                    <a:gd name="T11" fmla="*/ 0 h 44"/>
                    <a:gd name="T12" fmla="*/ 38 w 39"/>
                    <a:gd name="T13" fmla="*/ 20 h 44"/>
                    <a:gd name="T14" fmla="*/ 39 w 39"/>
                    <a:gd name="T15" fmla="*/ 22 h 44"/>
                    <a:gd name="T16" fmla="*/ 38 w 39"/>
                    <a:gd name="T17" fmla="*/ 24 h 44"/>
                    <a:gd name="T18" fmla="*/ 3 w 39"/>
                    <a:gd name="T19" fmla="*/ 44 h 44"/>
                    <a:gd name="T20" fmla="*/ 2 w 39"/>
                    <a:gd name="T21" fmla="*/ 44 h 44"/>
                    <a:gd name="T22" fmla="*/ 4 w 39"/>
                    <a:gd name="T23" fmla="*/ 5 h 44"/>
                    <a:gd name="T24" fmla="*/ 4 w 39"/>
                    <a:gd name="T25" fmla="*/ 39 h 44"/>
                    <a:gd name="T26" fmla="*/ 33 w 39"/>
                    <a:gd name="T27" fmla="*/ 22 h 44"/>
                    <a:gd name="T28" fmla="*/ 4 w 39"/>
                    <a:gd name="T29" fmla="*/ 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44">
                      <a:moveTo>
                        <a:pt x="2" y="44"/>
                      </a:moveTo>
                      <a:cubicBezTo>
                        <a:pt x="2" y="44"/>
                        <a:pt x="1" y="44"/>
                        <a:pt x="1" y="44"/>
                      </a:cubicBezTo>
                      <a:cubicBezTo>
                        <a:pt x="1" y="43"/>
                        <a:pt x="0" y="43"/>
                        <a:pt x="0" y="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8" y="20"/>
                        <a:pt x="38" y="20"/>
                        <a:pt x="38" y="20"/>
                      </a:cubicBezTo>
                      <a:cubicBezTo>
                        <a:pt x="39" y="21"/>
                        <a:pt x="39" y="21"/>
                        <a:pt x="39" y="22"/>
                      </a:cubicBezTo>
                      <a:cubicBezTo>
                        <a:pt x="39" y="23"/>
                        <a:pt x="39" y="23"/>
                        <a:pt x="38" y="2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3" y="44"/>
                        <a:pt x="2" y="44"/>
                      </a:cubicBezTo>
                      <a:close/>
                      <a:moveTo>
                        <a:pt x="4" y="5"/>
                      </a:moveTo>
                      <a:cubicBezTo>
                        <a:pt x="4" y="39"/>
                        <a:pt x="4" y="39"/>
                        <a:pt x="4" y="39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1" name="Freeform 844">
                  <a:extLst>
                    <a:ext uri="{FF2B5EF4-FFF2-40B4-BE49-F238E27FC236}">
                      <a16:creationId xmlns:a16="http://schemas.microsoft.com/office/drawing/2014/main" id="{B6F7B658-12D9-4E6F-9A9A-64569A21B5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61" y="1309"/>
                  <a:ext cx="71" cy="56"/>
                </a:xfrm>
                <a:custGeom>
                  <a:avLst/>
                  <a:gdLst>
                    <a:gd name="T0" fmla="*/ 11 w 30"/>
                    <a:gd name="T1" fmla="*/ 24 h 24"/>
                    <a:gd name="T2" fmla="*/ 10 w 30"/>
                    <a:gd name="T3" fmla="*/ 24 h 24"/>
                    <a:gd name="T4" fmla="*/ 1 w 30"/>
                    <a:gd name="T5" fmla="*/ 19 h 24"/>
                    <a:gd name="T6" fmla="*/ 0 w 30"/>
                    <a:gd name="T7" fmla="*/ 17 h 24"/>
                    <a:gd name="T8" fmla="*/ 1 w 30"/>
                    <a:gd name="T9" fmla="*/ 15 h 24"/>
                    <a:gd name="T10" fmla="*/ 27 w 30"/>
                    <a:gd name="T11" fmla="*/ 0 h 24"/>
                    <a:gd name="T12" fmla="*/ 29 w 30"/>
                    <a:gd name="T13" fmla="*/ 0 h 24"/>
                    <a:gd name="T14" fmla="*/ 30 w 30"/>
                    <a:gd name="T15" fmla="*/ 2 h 24"/>
                    <a:gd name="T16" fmla="*/ 30 w 30"/>
                    <a:gd name="T17" fmla="*/ 13 h 24"/>
                    <a:gd name="T18" fmla="*/ 29 w 30"/>
                    <a:gd name="T19" fmla="*/ 14 h 24"/>
                    <a:gd name="T20" fmla="*/ 14 w 30"/>
                    <a:gd name="T21" fmla="*/ 23 h 24"/>
                    <a:gd name="T22" fmla="*/ 13 w 30"/>
                    <a:gd name="T23" fmla="*/ 24 h 24"/>
                    <a:gd name="T24" fmla="*/ 13 w 30"/>
                    <a:gd name="T25" fmla="*/ 24 h 24"/>
                    <a:gd name="T26" fmla="*/ 12 w 30"/>
                    <a:gd name="T27" fmla="*/ 24 h 24"/>
                    <a:gd name="T28" fmla="*/ 11 w 30"/>
                    <a:gd name="T29" fmla="*/ 24 h 24"/>
                    <a:gd name="T30" fmla="*/ 6 w 30"/>
                    <a:gd name="T31" fmla="*/ 17 h 24"/>
                    <a:gd name="T32" fmla="*/ 10 w 30"/>
                    <a:gd name="T33" fmla="*/ 19 h 24"/>
                    <a:gd name="T34" fmla="*/ 11 w 30"/>
                    <a:gd name="T35" fmla="*/ 19 h 24"/>
                    <a:gd name="T36" fmla="*/ 13 w 30"/>
                    <a:gd name="T37" fmla="*/ 19 h 24"/>
                    <a:gd name="T38" fmla="*/ 13 w 30"/>
                    <a:gd name="T39" fmla="*/ 19 h 24"/>
                    <a:gd name="T40" fmla="*/ 26 w 30"/>
                    <a:gd name="T41" fmla="*/ 11 h 24"/>
                    <a:gd name="T42" fmla="*/ 26 w 30"/>
                    <a:gd name="T43" fmla="*/ 5 h 24"/>
                    <a:gd name="T44" fmla="*/ 6 w 30"/>
                    <a:gd name="T45" fmla="*/ 17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24">
                      <a:moveTo>
                        <a:pt x="11" y="24"/>
                      </a:moveTo>
                      <a:cubicBezTo>
                        <a:pt x="11" y="24"/>
                        <a:pt x="11" y="24"/>
                        <a:pt x="10" y="24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0" y="18"/>
                        <a:pt x="0" y="18"/>
                        <a:pt x="0" y="17"/>
                      </a:cubicBezTo>
                      <a:cubicBezTo>
                        <a:pt x="0" y="16"/>
                        <a:pt x="0" y="16"/>
                        <a:pt x="1" y="15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8" y="0"/>
                        <a:pt x="29" y="0"/>
                        <a:pt x="29" y="0"/>
                      </a:cubicBezTo>
                      <a:cubicBezTo>
                        <a:pt x="30" y="0"/>
                        <a:pt x="30" y="1"/>
                        <a:pt x="30" y="2"/>
                      </a:cubicBezTo>
                      <a:cubicBezTo>
                        <a:pt x="30" y="13"/>
                        <a:pt x="30" y="13"/>
                        <a:pt x="30" y="13"/>
                      </a:cubicBezTo>
                      <a:cubicBezTo>
                        <a:pt x="30" y="13"/>
                        <a:pt x="30" y="14"/>
                        <a:pt x="29" y="14"/>
                      </a:cubicBezTo>
                      <a:cubicBezTo>
                        <a:pt x="14" y="23"/>
                        <a:pt x="14" y="23"/>
                        <a:pt x="14" y="23"/>
                      </a:cubicBezTo>
                      <a:cubicBezTo>
                        <a:pt x="14" y="24"/>
                        <a:pt x="13" y="24"/>
                        <a:pt x="13" y="24"/>
                      </a:cubicBezTo>
                      <a:cubicBezTo>
                        <a:pt x="13" y="24"/>
                        <a:pt x="13" y="24"/>
                        <a:pt x="13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4"/>
                        <a:pt x="11" y="24"/>
                      </a:cubicBezTo>
                      <a:close/>
                      <a:moveTo>
                        <a:pt x="6" y="17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9"/>
                      </a:cubicBezTo>
                      <a:cubicBezTo>
                        <a:pt x="11" y="19"/>
                        <a:pt x="12" y="19"/>
                        <a:pt x="13" y="19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5"/>
                        <a:pt x="26" y="5"/>
                        <a:pt x="26" y="5"/>
                      </a:cubicBezTo>
                      <a:lnTo>
                        <a:pt x="6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2" name="Freeform 845">
                  <a:extLst>
                    <a:ext uri="{FF2B5EF4-FFF2-40B4-BE49-F238E27FC236}">
                      <a16:creationId xmlns:a16="http://schemas.microsoft.com/office/drawing/2014/main" id="{DC6B0B06-563E-4902-ABCC-72D6B90573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62" y="1002"/>
                  <a:ext cx="293" cy="184"/>
                </a:xfrm>
                <a:custGeom>
                  <a:avLst/>
                  <a:gdLst>
                    <a:gd name="T0" fmla="*/ 55 w 124"/>
                    <a:gd name="T1" fmla="*/ 78 h 78"/>
                    <a:gd name="T2" fmla="*/ 54 w 124"/>
                    <a:gd name="T3" fmla="*/ 78 h 78"/>
                    <a:gd name="T4" fmla="*/ 1 w 124"/>
                    <a:gd name="T5" fmla="*/ 47 h 78"/>
                    <a:gd name="T6" fmla="*/ 0 w 124"/>
                    <a:gd name="T7" fmla="*/ 46 h 78"/>
                    <a:gd name="T8" fmla="*/ 0 w 124"/>
                    <a:gd name="T9" fmla="*/ 34 h 78"/>
                    <a:gd name="T10" fmla="*/ 1 w 124"/>
                    <a:gd name="T11" fmla="*/ 32 h 78"/>
                    <a:gd name="T12" fmla="*/ 56 w 124"/>
                    <a:gd name="T13" fmla="*/ 0 h 78"/>
                    <a:gd name="T14" fmla="*/ 58 w 124"/>
                    <a:gd name="T15" fmla="*/ 0 h 78"/>
                    <a:gd name="T16" fmla="*/ 123 w 124"/>
                    <a:gd name="T17" fmla="*/ 38 h 78"/>
                    <a:gd name="T18" fmla="*/ 124 w 124"/>
                    <a:gd name="T19" fmla="*/ 40 h 78"/>
                    <a:gd name="T20" fmla="*/ 123 w 124"/>
                    <a:gd name="T21" fmla="*/ 41 h 78"/>
                    <a:gd name="T22" fmla="*/ 107 w 124"/>
                    <a:gd name="T23" fmla="*/ 51 h 78"/>
                    <a:gd name="T24" fmla="*/ 105 w 124"/>
                    <a:gd name="T25" fmla="*/ 51 h 78"/>
                    <a:gd name="T26" fmla="*/ 104 w 124"/>
                    <a:gd name="T27" fmla="*/ 50 h 78"/>
                    <a:gd name="T28" fmla="*/ 56 w 124"/>
                    <a:gd name="T29" fmla="*/ 78 h 78"/>
                    <a:gd name="T30" fmla="*/ 55 w 124"/>
                    <a:gd name="T31" fmla="*/ 78 h 78"/>
                    <a:gd name="T32" fmla="*/ 4 w 124"/>
                    <a:gd name="T33" fmla="*/ 44 h 78"/>
                    <a:gd name="T34" fmla="*/ 55 w 124"/>
                    <a:gd name="T35" fmla="*/ 74 h 78"/>
                    <a:gd name="T36" fmla="*/ 105 w 124"/>
                    <a:gd name="T37" fmla="*/ 45 h 78"/>
                    <a:gd name="T38" fmla="*/ 107 w 124"/>
                    <a:gd name="T39" fmla="*/ 45 h 78"/>
                    <a:gd name="T40" fmla="*/ 108 w 124"/>
                    <a:gd name="T41" fmla="*/ 45 h 78"/>
                    <a:gd name="T42" fmla="*/ 118 w 124"/>
                    <a:gd name="T43" fmla="*/ 40 h 78"/>
                    <a:gd name="T44" fmla="*/ 57 w 124"/>
                    <a:gd name="T45" fmla="*/ 4 h 78"/>
                    <a:gd name="T46" fmla="*/ 4 w 124"/>
                    <a:gd name="T47" fmla="*/ 35 h 78"/>
                    <a:gd name="T48" fmla="*/ 4 w 124"/>
                    <a:gd name="T49" fmla="*/ 44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4" h="78">
                      <a:moveTo>
                        <a:pt x="55" y="78"/>
                      </a:moveTo>
                      <a:cubicBezTo>
                        <a:pt x="54" y="78"/>
                        <a:pt x="54" y="78"/>
                        <a:pt x="54" y="78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0" y="47"/>
                        <a:pt x="0" y="46"/>
                        <a:pt x="0" y="46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33"/>
                        <a:pt x="0" y="32"/>
                        <a:pt x="1" y="32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7" y="0"/>
                        <a:pt x="58" y="0"/>
                      </a:cubicBezTo>
                      <a:cubicBezTo>
                        <a:pt x="123" y="38"/>
                        <a:pt x="123" y="38"/>
                        <a:pt x="123" y="38"/>
                      </a:cubicBezTo>
                      <a:cubicBezTo>
                        <a:pt x="124" y="38"/>
                        <a:pt x="124" y="39"/>
                        <a:pt x="124" y="40"/>
                      </a:cubicBezTo>
                      <a:cubicBezTo>
                        <a:pt x="124" y="40"/>
                        <a:pt x="124" y="41"/>
                        <a:pt x="123" y="41"/>
                      </a:cubicBezTo>
                      <a:cubicBezTo>
                        <a:pt x="107" y="51"/>
                        <a:pt x="107" y="51"/>
                        <a:pt x="107" y="51"/>
                      </a:cubicBezTo>
                      <a:cubicBezTo>
                        <a:pt x="106" y="51"/>
                        <a:pt x="105" y="51"/>
                        <a:pt x="105" y="51"/>
                      </a:cubicBezTo>
                      <a:cubicBezTo>
                        <a:pt x="104" y="50"/>
                        <a:pt x="104" y="50"/>
                        <a:pt x="104" y="50"/>
                      </a:cubicBezTo>
                      <a:cubicBezTo>
                        <a:pt x="56" y="78"/>
                        <a:pt x="56" y="78"/>
                        <a:pt x="56" y="78"/>
                      </a:cubicBezTo>
                      <a:cubicBezTo>
                        <a:pt x="55" y="78"/>
                        <a:pt x="55" y="78"/>
                        <a:pt x="55" y="78"/>
                      </a:cubicBezTo>
                      <a:close/>
                      <a:moveTo>
                        <a:pt x="4" y="44"/>
                      </a:moveTo>
                      <a:cubicBezTo>
                        <a:pt x="55" y="74"/>
                        <a:pt x="55" y="74"/>
                        <a:pt x="55" y="74"/>
                      </a:cubicBezTo>
                      <a:cubicBezTo>
                        <a:pt x="105" y="45"/>
                        <a:pt x="105" y="45"/>
                        <a:pt x="105" y="45"/>
                      </a:cubicBezTo>
                      <a:cubicBezTo>
                        <a:pt x="105" y="44"/>
                        <a:pt x="106" y="44"/>
                        <a:pt x="107" y="45"/>
                      </a:cubicBezTo>
                      <a:cubicBezTo>
                        <a:pt x="107" y="45"/>
                        <a:pt x="107" y="45"/>
                        <a:pt x="108" y="45"/>
                      </a:cubicBezTo>
                      <a:cubicBezTo>
                        <a:pt x="118" y="40"/>
                        <a:pt x="118" y="40"/>
                        <a:pt x="118" y="40"/>
                      </a:cubicBezTo>
                      <a:cubicBezTo>
                        <a:pt x="57" y="4"/>
                        <a:pt x="57" y="4"/>
                        <a:pt x="57" y="4"/>
                      </a:cubicBezTo>
                      <a:cubicBezTo>
                        <a:pt x="4" y="35"/>
                        <a:pt x="4" y="35"/>
                        <a:pt x="4" y="35"/>
                      </a:cubicBez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3" name="Freeform 846">
                  <a:extLst>
                    <a:ext uri="{FF2B5EF4-FFF2-40B4-BE49-F238E27FC236}">
                      <a16:creationId xmlns:a16="http://schemas.microsoft.com/office/drawing/2014/main" id="{71CA99A1-2479-4191-AA73-7BAF5FCDA7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754"/>
                  <a:ext cx="83" cy="61"/>
                </a:xfrm>
                <a:custGeom>
                  <a:avLst/>
                  <a:gdLst>
                    <a:gd name="T0" fmla="*/ 2 w 35"/>
                    <a:gd name="T1" fmla="*/ 26 h 26"/>
                    <a:gd name="T2" fmla="*/ 1 w 35"/>
                    <a:gd name="T3" fmla="*/ 26 h 26"/>
                    <a:gd name="T4" fmla="*/ 0 w 35"/>
                    <a:gd name="T5" fmla="*/ 24 h 26"/>
                    <a:gd name="T6" fmla="*/ 0 w 35"/>
                    <a:gd name="T7" fmla="*/ 16 h 26"/>
                    <a:gd name="T8" fmla="*/ 1 w 35"/>
                    <a:gd name="T9" fmla="*/ 15 h 26"/>
                    <a:gd name="T10" fmla="*/ 26 w 35"/>
                    <a:gd name="T11" fmla="*/ 1 h 26"/>
                    <a:gd name="T12" fmla="*/ 28 w 35"/>
                    <a:gd name="T13" fmla="*/ 1 h 26"/>
                    <a:gd name="T14" fmla="*/ 34 w 35"/>
                    <a:gd name="T15" fmla="*/ 5 h 26"/>
                    <a:gd name="T16" fmla="*/ 35 w 35"/>
                    <a:gd name="T17" fmla="*/ 6 h 26"/>
                    <a:gd name="T18" fmla="*/ 34 w 35"/>
                    <a:gd name="T19" fmla="*/ 8 h 26"/>
                    <a:gd name="T20" fmla="*/ 3 w 35"/>
                    <a:gd name="T21" fmla="*/ 26 h 26"/>
                    <a:gd name="T22" fmla="*/ 2 w 35"/>
                    <a:gd name="T23" fmla="*/ 26 h 26"/>
                    <a:gd name="T24" fmla="*/ 4 w 35"/>
                    <a:gd name="T25" fmla="*/ 18 h 26"/>
                    <a:gd name="T26" fmla="*/ 4 w 35"/>
                    <a:gd name="T27" fmla="*/ 21 h 26"/>
                    <a:gd name="T28" fmla="*/ 29 w 35"/>
                    <a:gd name="T29" fmla="*/ 6 h 26"/>
                    <a:gd name="T30" fmla="*/ 27 w 35"/>
                    <a:gd name="T31" fmla="*/ 5 h 26"/>
                    <a:gd name="T32" fmla="*/ 4 w 35"/>
                    <a:gd name="T33" fmla="*/ 18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26">
                      <a:moveTo>
                        <a:pt x="2" y="26"/>
                      </a:moveTo>
                      <a:cubicBezTo>
                        <a:pt x="2" y="26"/>
                        <a:pt x="2" y="26"/>
                        <a:pt x="1" y="26"/>
                      </a:cubicBezTo>
                      <a:cubicBezTo>
                        <a:pt x="1" y="26"/>
                        <a:pt x="0" y="25"/>
                        <a:pt x="0" y="24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6"/>
                        <a:pt x="1" y="15"/>
                        <a:pt x="1" y="15"/>
                      </a:cubicBezTo>
                      <a:cubicBezTo>
                        <a:pt x="26" y="1"/>
                        <a:pt x="26" y="1"/>
                        <a:pt x="26" y="1"/>
                      </a:cubicBezTo>
                      <a:cubicBezTo>
                        <a:pt x="26" y="0"/>
                        <a:pt x="27" y="0"/>
                        <a:pt x="28" y="1"/>
                      </a:cubicBezTo>
                      <a:cubicBezTo>
                        <a:pt x="34" y="5"/>
                        <a:pt x="34" y="5"/>
                        <a:pt x="34" y="5"/>
                      </a:cubicBezTo>
                      <a:cubicBezTo>
                        <a:pt x="35" y="5"/>
                        <a:pt x="35" y="6"/>
                        <a:pt x="35" y="6"/>
                      </a:cubicBezTo>
                      <a:cubicBezTo>
                        <a:pt x="35" y="7"/>
                        <a:pt x="35" y="8"/>
                        <a:pt x="34" y="8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26"/>
                        <a:pt x="3" y="26"/>
                        <a:pt x="2" y="26"/>
                      </a:cubicBezTo>
                      <a:close/>
                      <a:moveTo>
                        <a:pt x="4" y="18"/>
                      </a:move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29" y="6"/>
                        <a:pt x="29" y="6"/>
                        <a:pt x="29" y="6"/>
                      </a:cubicBezTo>
                      <a:cubicBezTo>
                        <a:pt x="27" y="5"/>
                        <a:pt x="27" y="5"/>
                        <a:pt x="27" y="5"/>
                      </a:cubicBezTo>
                      <a:lnTo>
                        <a:pt x="4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4" name="Freeform 847">
                  <a:extLst>
                    <a:ext uri="{FF2B5EF4-FFF2-40B4-BE49-F238E27FC236}">
                      <a16:creationId xmlns:a16="http://schemas.microsoft.com/office/drawing/2014/main" id="{DD190C8D-1704-4A62-AECA-6CDE5ECDA57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75" y="1276"/>
                  <a:ext cx="108" cy="99"/>
                </a:xfrm>
                <a:custGeom>
                  <a:avLst/>
                  <a:gdLst>
                    <a:gd name="T0" fmla="*/ 44 w 46"/>
                    <a:gd name="T1" fmla="*/ 42 h 42"/>
                    <a:gd name="T2" fmla="*/ 43 w 46"/>
                    <a:gd name="T3" fmla="*/ 41 h 42"/>
                    <a:gd name="T4" fmla="*/ 1 w 46"/>
                    <a:gd name="T5" fmla="*/ 17 h 42"/>
                    <a:gd name="T6" fmla="*/ 0 w 46"/>
                    <a:gd name="T7" fmla="*/ 16 h 42"/>
                    <a:gd name="T8" fmla="*/ 1 w 46"/>
                    <a:gd name="T9" fmla="*/ 14 h 42"/>
                    <a:gd name="T10" fmla="*/ 26 w 46"/>
                    <a:gd name="T11" fmla="*/ 0 h 42"/>
                    <a:gd name="T12" fmla="*/ 28 w 46"/>
                    <a:gd name="T13" fmla="*/ 0 h 42"/>
                    <a:gd name="T14" fmla="*/ 45 w 46"/>
                    <a:gd name="T15" fmla="*/ 10 h 42"/>
                    <a:gd name="T16" fmla="*/ 46 w 46"/>
                    <a:gd name="T17" fmla="*/ 11 h 42"/>
                    <a:gd name="T18" fmla="*/ 46 w 46"/>
                    <a:gd name="T19" fmla="*/ 40 h 42"/>
                    <a:gd name="T20" fmla="*/ 45 w 46"/>
                    <a:gd name="T21" fmla="*/ 41 h 42"/>
                    <a:gd name="T22" fmla="*/ 44 w 46"/>
                    <a:gd name="T23" fmla="*/ 42 h 42"/>
                    <a:gd name="T24" fmla="*/ 6 w 46"/>
                    <a:gd name="T25" fmla="*/ 16 h 42"/>
                    <a:gd name="T26" fmla="*/ 42 w 46"/>
                    <a:gd name="T27" fmla="*/ 36 h 42"/>
                    <a:gd name="T28" fmla="*/ 42 w 46"/>
                    <a:gd name="T29" fmla="*/ 13 h 42"/>
                    <a:gd name="T30" fmla="*/ 27 w 46"/>
                    <a:gd name="T31" fmla="*/ 4 h 42"/>
                    <a:gd name="T32" fmla="*/ 6 w 46"/>
                    <a:gd name="T33" fmla="*/ 1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6" h="42">
                      <a:moveTo>
                        <a:pt x="44" y="42"/>
                      </a:moveTo>
                      <a:cubicBezTo>
                        <a:pt x="44" y="42"/>
                        <a:pt x="43" y="42"/>
                        <a:pt x="43" y="41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1" y="17"/>
                        <a:pt x="0" y="16"/>
                        <a:pt x="0" y="16"/>
                      </a:cubicBezTo>
                      <a:cubicBezTo>
                        <a:pt x="0" y="15"/>
                        <a:pt x="1" y="14"/>
                        <a:pt x="1" y="14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7" y="0"/>
                        <a:pt x="27" y="0"/>
                        <a:pt x="28" y="0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45" y="10"/>
                        <a:pt x="46" y="11"/>
                        <a:pt x="46" y="11"/>
                      </a:cubicBezTo>
                      <a:cubicBezTo>
                        <a:pt x="46" y="40"/>
                        <a:pt x="46" y="40"/>
                        <a:pt x="46" y="40"/>
                      </a:cubicBezTo>
                      <a:cubicBezTo>
                        <a:pt x="46" y="40"/>
                        <a:pt x="45" y="41"/>
                        <a:pt x="45" y="41"/>
                      </a:cubicBezTo>
                      <a:cubicBezTo>
                        <a:pt x="45" y="42"/>
                        <a:pt x="44" y="42"/>
                        <a:pt x="44" y="42"/>
                      </a:cubicBezTo>
                      <a:close/>
                      <a:moveTo>
                        <a:pt x="6" y="16"/>
                      </a:moveTo>
                      <a:cubicBezTo>
                        <a:pt x="42" y="36"/>
                        <a:pt x="42" y="36"/>
                        <a:pt x="42" y="36"/>
                      </a:cubicBezTo>
                      <a:cubicBezTo>
                        <a:pt x="42" y="13"/>
                        <a:pt x="42" y="13"/>
                        <a:pt x="42" y="13"/>
                      </a:cubicBezTo>
                      <a:cubicBezTo>
                        <a:pt x="27" y="4"/>
                        <a:pt x="27" y="4"/>
                        <a:pt x="27" y="4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5" name="Freeform 848">
                  <a:extLst>
                    <a:ext uri="{FF2B5EF4-FFF2-40B4-BE49-F238E27FC236}">
                      <a16:creationId xmlns:a16="http://schemas.microsoft.com/office/drawing/2014/main" id="{B77982BF-BA6F-43FC-9A6E-A7D9AC7E1E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1238"/>
                  <a:ext cx="80" cy="113"/>
                </a:xfrm>
                <a:custGeom>
                  <a:avLst/>
                  <a:gdLst>
                    <a:gd name="T0" fmla="*/ 4 w 34"/>
                    <a:gd name="T1" fmla="*/ 48 h 48"/>
                    <a:gd name="T2" fmla="*/ 3 w 34"/>
                    <a:gd name="T3" fmla="*/ 48 h 48"/>
                    <a:gd name="T4" fmla="*/ 1 w 34"/>
                    <a:gd name="T5" fmla="*/ 46 h 48"/>
                    <a:gd name="T6" fmla="*/ 0 w 34"/>
                    <a:gd name="T7" fmla="*/ 45 h 48"/>
                    <a:gd name="T8" fmla="*/ 0 w 34"/>
                    <a:gd name="T9" fmla="*/ 2 h 48"/>
                    <a:gd name="T10" fmla="*/ 1 w 34"/>
                    <a:gd name="T11" fmla="*/ 1 h 48"/>
                    <a:gd name="T12" fmla="*/ 3 w 34"/>
                    <a:gd name="T13" fmla="*/ 1 h 48"/>
                    <a:gd name="T14" fmla="*/ 33 w 34"/>
                    <a:gd name="T15" fmla="*/ 18 h 48"/>
                    <a:gd name="T16" fmla="*/ 34 w 34"/>
                    <a:gd name="T17" fmla="*/ 20 h 48"/>
                    <a:gd name="T18" fmla="*/ 34 w 34"/>
                    <a:gd name="T19" fmla="*/ 30 h 48"/>
                    <a:gd name="T20" fmla="*/ 33 w 34"/>
                    <a:gd name="T21" fmla="*/ 32 h 48"/>
                    <a:gd name="T22" fmla="*/ 5 w 34"/>
                    <a:gd name="T23" fmla="*/ 48 h 48"/>
                    <a:gd name="T24" fmla="*/ 4 w 34"/>
                    <a:gd name="T25" fmla="*/ 48 h 48"/>
                    <a:gd name="T26" fmla="*/ 4 w 34"/>
                    <a:gd name="T27" fmla="*/ 44 h 48"/>
                    <a:gd name="T28" fmla="*/ 4 w 34"/>
                    <a:gd name="T29" fmla="*/ 44 h 48"/>
                    <a:gd name="T30" fmla="*/ 30 w 34"/>
                    <a:gd name="T31" fmla="*/ 29 h 48"/>
                    <a:gd name="T32" fmla="*/ 30 w 34"/>
                    <a:gd name="T33" fmla="*/ 21 h 48"/>
                    <a:gd name="T34" fmla="*/ 4 w 34"/>
                    <a:gd name="T35" fmla="*/ 6 h 48"/>
                    <a:gd name="T36" fmla="*/ 4 w 34"/>
                    <a:gd name="T37" fmla="*/ 44 h 48"/>
                    <a:gd name="T38" fmla="*/ 32 w 34"/>
                    <a:gd name="T39" fmla="*/ 30 h 48"/>
                    <a:gd name="T40" fmla="*/ 32 w 34"/>
                    <a:gd name="T41" fmla="*/ 3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48">
                      <a:moveTo>
                        <a:pt x="4" y="48"/>
                      </a:moveTo>
                      <a:cubicBezTo>
                        <a:pt x="4" y="48"/>
                        <a:pt x="4" y="48"/>
                        <a:pt x="3" y="48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6"/>
                        <a:pt x="0" y="45"/>
                        <a:pt x="0" y="4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8"/>
                        <a:pt x="34" y="19"/>
                        <a:pt x="34" y="20"/>
                      </a:cubicBezTo>
                      <a:cubicBezTo>
                        <a:pt x="34" y="30"/>
                        <a:pt x="34" y="30"/>
                        <a:pt x="34" y="30"/>
                      </a:cubicBezTo>
                      <a:cubicBezTo>
                        <a:pt x="34" y="31"/>
                        <a:pt x="34" y="31"/>
                        <a:pt x="33" y="32"/>
                      </a:cubicBezTo>
                      <a:cubicBezTo>
                        <a:pt x="5" y="48"/>
                        <a:pt x="5" y="48"/>
                        <a:pt x="5" y="48"/>
                      </a:cubicBezTo>
                      <a:cubicBezTo>
                        <a:pt x="5" y="48"/>
                        <a:pt x="5" y="48"/>
                        <a:pt x="4" y="48"/>
                      </a:cubicBezTo>
                      <a:close/>
                      <a:moveTo>
                        <a:pt x="4" y="44"/>
                      </a:move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30" y="29"/>
                        <a:pt x="30" y="29"/>
                        <a:pt x="30" y="29"/>
                      </a:cubicBezTo>
                      <a:cubicBezTo>
                        <a:pt x="30" y="21"/>
                        <a:pt x="30" y="21"/>
                        <a:pt x="30" y="21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44"/>
                      </a:lnTo>
                      <a:close/>
                      <a:moveTo>
                        <a:pt x="32" y="30"/>
                      </a:moveTo>
                      <a:cubicBezTo>
                        <a:pt x="32" y="30"/>
                        <a:pt x="32" y="30"/>
                        <a:pt x="32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6" name="Freeform 849">
                  <a:extLst>
                    <a:ext uri="{FF2B5EF4-FFF2-40B4-BE49-F238E27FC236}">
                      <a16:creationId xmlns:a16="http://schemas.microsoft.com/office/drawing/2014/main" id="{D8BADE33-EA92-4B60-9C1B-90040FC4D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53" y="1207"/>
                  <a:ext cx="104" cy="140"/>
                </a:xfrm>
                <a:custGeom>
                  <a:avLst/>
                  <a:gdLst>
                    <a:gd name="T0" fmla="*/ 42 w 44"/>
                    <a:gd name="T1" fmla="*/ 59 h 59"/>
                    <a:gd name="T2" fmla="*/ 41 w 44"/>
                    <a:gd name="T3" fmla="*/ 58 h 59"/>
                    <a:gd name="T4" fmla="*/ 12 w 44"/>
                    <a:gd name="T5" fmla="*/ 41 h 59"/>
                    <a:gd name="T6" fmla="*/ 11 w 44"/>
                    <a:gd name="T7" fmla="*/ 39 h 59"/>
                    <a:gd name="T8" fmla="*/ 11 w 44"/>
                    <a:gd name="T9" fmla="*/ 20 h 59"/>
                    <a:gd name="T10" fmla="*/ 1 w 44"/>
                    <a:gd name="T11" fmla="*/ 14 h 59"/>
                    <a:gd name="T12" fmla="*/ 0 w 44"/>
                    <a:gd name="T13" fmla="*/ 12 h 59"/>
                    <a:gd name="T14" fmla="*/ 1 w 44"/>
                    <a:gd name="T15" fmla="*/ 10 h 59"/>
                    <a:gd name="T16" fmla="*/ 19 w 44"/>
                    <a:gd name="T17" fmla="*/ 0 h 59"/>
                    <a:gd name="T18" fmla="*/ 21 w 44"/>
                    <a:gd name="T19" fmla="*/ 0 h 59"/>
                    <a:gd name="T20" fmla="*/ 43 w 44"/>
                    <a:gd name="T21" fmla="*/ 13 h 59"/>
                    <a:gd name="T22" fmla="*/ 44 w 44"/>
                    <a:gd name="T23" fmla="*/ 14 h 59"/>
                    <a:gd name="T24" fmla="*/ 44 w 44"/>
                    <a:gd name="T25" fmla="*/ 57 h 59"/>
                    <a:gd name="T26" fmla="*/ 43 w 44"/>
                    <a:gd name="T27" fmla="*/ 58 h 59"/>
                    <a:gd name="T28" fmla="*/ 42 w 44"/>
                    <a:gd name="T29" fmla="*/ 59 h 59"/>
                    <a:gd name="T30" fmla="*/ 15 w 44"/>
                    <a:gd name="T31" fmla="*/ 38 h 59"/>
                    <a:gd name="T32" fmla="*/ 40 w 44"/>
                    <a:gd name="T33" fmla="*/ 53 h 59"/>
                    <a:gd name="T34" fmla="*/ 40 w 44"/>
                    <a:gd name="T35" fmla="*/ 16 h 59"/>
                    <a:gd name="T36" fmla="*/ 20 w 44"/>
                    <a:gd name="T37" fmla="*/ 4 h 59"/>
                    <a:gd name="T38" fmla="*/ 6 w 44"/>
                    <a:gd name="T39" fmla="*/ 12 h 59"/>
                    <a:gd name="T40" fmla="*/ 14 w 44"/>
                    <a:gd name="T41" fmla="*/ 17 h 59"/>
                    <a:gd name="T42" fmla="*/ 15 w 44"/>
                    <a:gd name="T43" fmla="*/ 18 h 59"/>
                    <a:gd name="T44" fmla="*/ 15 w 44"/>
                    <a:gd name="T45" fmla="*/ 38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4" h="59">
                      <a:moveTo>
                        <a:pt x="42" y="59"/>
                      </a:moveTo>
                      <a:cubicBezTo>
                        <a:pt x="42" y="59"/>
                        <a:pt x="42" y="59"/>
                        <a:pt x="41" y="58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1" y="41"/>
                        <a:pt x="11" y="40"/>
                        <a:pt x="11" y="39"/>
                      </a:cubicBezTo>
                      <a:cubicBezTo>
                        <a:pt x="11" y="20"/>
                        <a:pt x="11" y="20"/>
                        <a:pt x="11" y="20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0" y="14"/>
                        <a:pt x="0" y="13"/>
                        <a:pt x="0" y="12"/>
                      </a:cubicBezTo>
                      <a:cubicBezTo>
                        <a:pt x="0" y="12"/>
                        <a:pt x="0" y="11"/>
                        <a:pt x="1" y="1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1" y="0"/>
                        <a:pt x="21" y="0"/>
                      </a:cubicBezTo>
                      <a:cubicBezTo>
                        <a:pt x="43" y="13"/>
                        <a:pt x="43" y="13"/>
                        <a:pt x="43" y="13"/>
                      </a:cubicBezTo>
                      <a:cubicBezTo>
                        <a:pt x="44" y="13"/>
                        <a:pt x="44" y="14"/>
                        <a:pt x="44" y="14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44" y="57"/>
                        <a:pt x="44" y="58"/>
                        <a:pt x="43" y="58"/>
                      </a:cubicBezTo>
                      <a:cubicBezTo>
                        <a:pt x="43" y="59"/>
                        <a:pt x="43" y="59"/>
                        <a:pt x="42" y="59"/>
                      </a:cubicBezTo>
                      <a:close/>
                      <a:moveTo>
                        <a:pt x="15" y="38"/>
                      </a:moveTo>
                      <a:cubicBezTo>
                        <a:pt x="40" y="53"/>
                        <a:pt x="40" y="53"/>
                        <a:pt x="40" y="53"/>
                      </a:cubicBezTo>
                      <a:cubicBezTo>
                        <a:pt x="40" y="16"/>
                        <a:pt x="40" y="16"/>
                        <a:pt x="40" y="16"/>
                      </a:cubicBezTo>
                      <a:cubicBezTo>
                        <a:pt x="20" y="4"/>
                        <a:pt x="20" y="4"/>
                        <a:pt x="20" y="4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4" y="17"/>
                        <a:pt x="15" y="18"/>
                        <a:pt x="15" y="18"/>
                      </a:cubicBezTo>
                      <a:lnTo>
                        <a:pt x="15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7" name="Freeform 850">
                  <a:extLst>
                    <a:ext uri="{FF2B5EF4-FFF2-40B4-BE49-F238E27FC236}">
                      <a16:creationId xmlns:a16="http://schemas.microsoft.com/office/drawing/2014/main" id="{DB1153F7-E3F2-414F-BFFB-7F85B8312F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1165"/>
                  <a:ext cx="80" cy="120"/>
                </a:xfrm>
                <a:custGeom>
                  <a:avLst/>
                  <a:gdLst>
                    <a:gd name="T0" fmla="*/ 32 w 34"/>
                    <a:gd name="T1" fmla="*/ 51 h 51"/>
                    <a:gd name="T2" fmla="*/ 31 w 34"/>
                    <a:gd name="T3" fmla="*/ 51 h 51"/>
                    <a:gd name="T4" fmla="*/ 1 w 34"/>
                    <a:gd name="T5" fmla="*/ 33 h 51"/>
                    <a:gd name="T6" fmla="*/ 0 w 34"/>
                    <a:gd name="T7" fmla="*/ 31 h 51"/>
                    <a:gd name="T8" fmla="*/ 0 w 34"/>
                    <a:gd name="T9" fmla="*/ 17 h 51"/>
                    <a:gd name="T10" fmla="*/ 1 w 34"/>
                    <a:gd name="T11" fmla="*/ 15 h 51"/>
                    <a:gd name="T12" fmla="*/ 16 w 34"/>
                    <a:gd name="T13" fmla="*/ 7 h 51"/>
                    <a:gd name="T14" fmla="*/ 18 w 34"/>
                    <a:gd name="T15" fmla="*/ 7 h 51"/>
                    <a:gd name="T16" fmla="*/ 19 w 34"/>
                    <a:gd name="T17" fmla="*/ 8 h 51"/>
                    <a:gd name="T18" fmla="*/ 31 w 34"/>
                    <a:gd name="T19" fmla="*/ 0 h 51"/>
                    <a:gd name="T20" fmla="*/ 33 w 34"/>
                    <a:gd name="T21" fmla="*/ 0 h 51"/>
                    <a:gd name="T22" fmla="*/ 34 w 34"/>
                    <a:gd name="T23" fmla="*/ 2 h 51"/>
                    <a:gd name="T24" fmla="*/ 34 w 34"/>
                    <a:gd name="T25" fmla="*/ 49 h 51"/>
                    <a:gd name="T26" fmla="*/ 33 w 34"/>
                    <a:gd name="T27" fmla="*/ 51 h 51"/>
                    <a:gd name="T28" fmla="*/ 32 w 34"/>
                    <a:gd name="T29" fmla="*/ 51 h 51"/>
                    <a:gd name="T30" fmla="*/ 4 w 34"/>
                    <a:gd name="T31" fmla="*/ 30 h 51"/>
                    <a:gd name="T32" fmla="*/ 30 w 34"/>
                    <a:gd name="T33" fmla="*/ 46 h 51"/>
                    <a:gd name="T34" fmla="*/ 30 w 34"/>
                    <a:gd name="T35" fmla="*/ 6 h 51"/>
                    <a:gd name="T36" fmla="*/ 20 w 34"/>
                    <a:gd name="T37" fmla="*/ 12 h 51"/>
                    <a:gd name="T38" fmla="*/ 18 w 34"/>
                    <a:gd name="T39" fmla="*/ 12 h 51"/>
                    <a:gd name="T40" fmla="*/ 17 w 34"/>
                    <a:gd name="T41" fmla="*/ 11 h 51"/>
                    <a:gd name="T42" fmla="*/ 4 w 34"/>
                    <a:gd name="T43" fmla="*/ 18 h 51"/>
                    <a:gd name="T44" fmla="*/ 4 w 34"/>
                    <a:gd name="T45" fmla="*/ 3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4" h="51">
                      <a:moveTo>
                        <a:pt x="32" y="51"/>
                      </a:moveTo>
                      <a:cubicBezTo>
                        <a:pt x="32" y="51"/>
                        <a:pt x="32" y="51"/>
                        <a:pt x="31" y="51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0" y="33"/>
                        <a:pt x="0" y="32"/>
                        <a:pt x="0" y="31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0" y="16"/>
                        <a:pt x="1" y="15"/>
                      </a:cubicBez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16" y="7"/>
                        <a:pt x="17" y="7"/>
                        <a:pt x="18" y="7"/>
                      </a:cubicBezTo>
                      <a:cubicBezTo>
                        <a:pt x="19" y="8"/>
                        <a:pt x="19" y="8"/>
                        <a:pt x="19" y="8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2" y="0"/>
                        <a:pt x="33" y="0"/>
                        <a:pt x="33" y="0"/>
                      </a:cubicBezTo>
                      <a:cubicBezTo>
                        <a:pt x="34" y="1"/>
                        <a:pt x="34" y="1"/>
                        <a:pt x="34" y="2"/>
                      </a:cubicBezTo>
                      <a:cubicBezTo>
                        <a:pt x="34" y="49"/>
                        <a:pt x="34" y="49"/>
                        <a:pt x="34" y="49"/>
                      </a:cubicBezTo>
                      <a:cubicBezTo>
                        <a:pt x="34" y="50"/>
                        <a:pt x="34" y="50"/>
                        <a:pt x="33" y="51"/>
                      </a:cubicBezTo>
                      <a:cubicBezTo>
                        <a:pt x="33" y="51"/>
                        <a:pt x="33" y="51"/>
                        <a:pt x="32" y="51"/>
                      </a:cubicBezTo>
                      <a:close/>
                      <a:moveTo>
                        <a:pt x="4" y="30"/>
                      </a:move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19" y="12"/>
                        <a:pt x="18" y="12"/>
                        <a:pt x="18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8" name="Freeform 851">
                  <a:extLst>
                    <a:ext uri="{FF2B5EF4-FFF2-40B4-BE49-F238E27FC236}">
                      <a16:creationId xmlns:a16="http://schemas.microsoft.com/office/drawing/2014/main" id="{216E6187-B2B0-4308-A7C2-5DA28DDBA2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51" y="1543"/>
                  <a:ext cx="61" cy="68"/>
                </a:xfrm>
                <a:custGeom>
                  <a:avLst/>
                  <a:gdLst>
                    <a:gd name="T0" fmla="*/ 24 w 26"/>
                    <a:gd name="T1" fmla="*/ 29 h 29"/>
                    <a:gd name="T2" fmla="*/ 23 w 26"/>
                    <a:gd name="T3" fmla="*/ 29 h 29"/>
                    <a:gd name="T4" fmla="*/ 1 w 26"/>
                    <a:gd name="T5" fmla="*/ 17 h 29"/>
                    <a:gd name="T6" fmla="*/ 0 w 26"/>
                    <a:gd name="T7" fmla="*/ 15 h 29"/>
                    <a:gd name="T8" fmla="*/ 1 w 26"/>
                    <a:gd name="T9" fmla="*/ 13 h 29"/>
                    <a:gd name="T10" fmla="*/ 23 w 26"/>
                    <a:gd name="T11" fmla="*/ 1 h 29"/>
                    <a:gd name="T12" fmla="*/ 25 w 26"/>
                    <a:gd name="T13" fmla="*/ 1 h 29"/>
                    <a:gd name="T14" fmla="*/ 26 w 26"/>
                    <a:gd name="T15" fmla="*/ 2 h 29"/>
                    <a:gd name="T16" fmla="*/ 26 w 26"/>
                    <a:gd name="T17" fmla="*/ 27 h 29"/>
                    <a:gd name="T18" fmla="*/ 25 w 26"/>
                    <a:gd name="T19" fmla="*/ 29 h 29"/>
                    <a:gd name="T20" fmla="*/ 24 w 26"/>
                    <a:gd name="T21" fmla="*/ 29 h 29"/>
                    <a:gd name="T22" fmla="*/ 6 w 26"/>
                    <a:gd name="T23" fmla="*/ 15 h 29"/>
                    <a:gd name="T24" fmla="*/ 22 w 26"/>
                    <a:gd name="T25" fmla="*/ 24 h 29"/>
                    <a:gd name="T26" fmla="*/ 22 w 26"/>
                    <a:gd name="T27" fmla="*/ 6 h 29"/>
                    <a:gd name="T28" fmla="*/ 6 w 26"/>
                    <a:gd name="T29" fmla="*/ 1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6" h="29">
                      <a:moveTo>
                        <a:pt x="24" y="29"/>
                      </a:moveTo>
                      <a:cubicBezTo>
                        <a:pt x="24" y="29"/>
                        <a:pt x="23" y="29"/>
                        <a:pt x="23" y="29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1" y="16"/>
                        <a:pt x="0" y="16"/>
                        <a:pt x="0" y="15"/>
                      </a:cubicBezTo>
                      <a:cubicBezTo>
                        <a:pt x="0" y="14"/>
                        <a:pt x="1" y="13"/>
                        <a:pt x="1" y="13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4" y="0"/>
                        <a:pt x="24" y="0"/>
                        <a:pt x="25" y="1"/>
                      </a:cubicBezTo>
                      <a:cubicBezTo>
                        <a:pt x="26" y="1"/>
                        <a:pt x="26" y="2"/>
                        <a:pt x="26" y="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28"/>
                        <a:pt x="26" y="29"/>
                        <a:pt x="25" y="29"/>
                      </a:cubicBezTo>
                      <a:cubicBezTo>
                        <a:pt x="25" y="29"/>
                        <a:pt x="24" y="29"/>
                        <a:pt x="24" y="29"/>
                      </a:cubicBezTo>
                      <a:close/>
                      <a:moveTo>
                        <a:pt x="6" y="15"/>
                      </a:moveTo>
                      <a:cubicBezTo>
                        <a:pt x="22" y="24"/>
                        <a:pt x="22" y="24"/>
                        <a:pt x="22" y="24"/>
                      </a:cubicBezTo>
                      <a:cubicBezTo>
                        <a:pt x="22" y="6"/>
                        <a:pt x="22" y="6"/>
                        <a:pt x="22" y="6"/>
                      </a:cubicBezTo>
                      <a:lnTo>
                        <a:pt x="6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9" name="Freeform 852">
                  <a:extLst>
                    <a:ext uri="{FF2B5EF4-FFF2-40B4-BE49-F238E27FC236}">
                      <a16:creationId xmlns:a16="http://schemas.microsoft.com/office/drawing/2014/main" id="{62A7B58C-16AE-431C-9C80-EF86547955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08" y="1524"/>
                  <a:ext cx="42" cy="108"/>
                </a:xfrm>
                <a:custGeom>
                  <a:avLst/>
                  <a:gdLst>
                    <a:gd name="T0" fmla="*/ 16 w 18"/>
                    <a:gd name="T1" fmla="*/ 46 h 46"/>
                    <a:gd name="T2" fmla="*/ 15 w 18"/>
                    <a:gd name="T3" fmla="*/ 46 h 46"/>
                    <a:gd name="T4" fmla="*/ 1 w 18"/>
                    <a:gd name="T5" fmla="*/ 38 h 46"/>
                    <a:gd name="T6" fmla="*/ 0 w 18"/>
                    <a:gd name="T7" fmla="*/ 36 h 46"/>
                    <a:gd name="T8" fmla="*/ 0 w 18"/>
                    <a:gd name="T9" fmla="*/ 9 h 46"/>
                    <a:gd name="T10" fmla="*/ 1 w 18"/>
                    <a:gd name="T11" fmla="*/ 8 h 46"/>
                    <a:gd name="T12" fmla="*/ 13 w 18"/>
                    <a:gd name="T13" fmla="*/ 0 h 46"/>
                    <a:gd name="T14" fmla="*/ 15 w 18"/>
                    <a:gd name="T15" fmla="*/ 0 h 46"/>
                    <a:gd name="T16" fmla="*/ 17 w 18"/>
                    <a:gd name="T17" fmla="*/ 1 h 46"/>
                    <a:gd name="T18" fmla="*/ 18 w 18"/>
                    <a:gd name="T19" fmla="*/ 3 h 46"/>
                    <a:gd name="T20" fmla="*/ 18 w 18"/>
                    <a:gd name="T21" fmla="*/ 44 h 46"/>
                    <a:gd name="T22" fmla="*/ 17 w 18"/>
                    <a:gd name="T23" fmla="*/ 46 h 46"/>
                    <a:gd name="T24" fmla="*/ 16 w 18"/>
                    <a:gd name="T25" fmla="*/ 46 h 46"/>
                    <a:gd name="T26" fmla="*/ 4 w 18"/>
                    <a:gd name="T27" fmla="*/ 35 h 46"/>
                    <a:gd name="T28" fmla="*/ 14 w 18"/>
                    <a:gd name="T29" fmla="*/ 41 h 46"/>
                    <a:gd name="T30" fmla="*/ 14 w 18"/>
                    <a:gd name="T31" fmla="*/ 5 h 46"/>
                    <a:gd name="T32" fmla="*/ 4 w 18"/>
                    <a:gd name="T33" fmla="*/ 11 h 46"/>
                    <a:gd name="T34" fmla="*/ 4 w 18"/>
                    <a:gd name="T35" fmla="*/ 35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8" h="46">
                      <a:moveTo>
                        <a:pt x="16" y="46"/>
                      </a:move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6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8"/>
                        <a:pt x="1" y="8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5" y="0"/>
                        <a:pt x="15" y="0"/>
                      </a:cubicBezTo>
                      <a:cubicBezTo>
                        <a:pt x="17" y="1"/>
                        <a:pt x="17" y="1"/>
                        <a:pt x="17" y="1"/>
                      </a:cubicBezTo>
                      <a:cubicBezTo>
                        <a:pt x="17" y="2"/>
                        <a:pt x="18" y="2"/>
                        <a:pt x="18" y="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5"/>
                        <a:pt x="17" y="46"/>
                        <a:pt x="17" y="46"/>
                      </a:cubicBezTo>
                      <a:cubicBezTo>
                        <a:pt x="16" y="46"/>
                        <a:pt x="16" y="46"/>
                        <a:pt x="16" y="46"/>
                      </a:cubicBezTo>
                      <a:close/>
                      <a:moveTo>
                        <a:pt x="4" y="35"/>
                      </a:move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4" y="11"/>
                        <a:pt x="4" y="11"/>
                        <a:pt x="4" y="11"/>
                      </a:cubicBezTo>
                      <a:lnTo>
                        <a:pt x="4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0" name="Freeform 853">
                  <a:extLst>
                    <a:ext uri="{FF2B5EF4-FFF2-40B4-BE49-F238E27FC236}">
                      <a16:creationId xmlns:a16="http://schemas.microsoft.com/office/drawing/2014/main" id="{BB7398F9-0466-4BF8-849A-BCBFDD6019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08" y="1609"/>
                  <a:ext cx="40" cy="45"/>
                </a:xfrm>
                <a:custGeom>
                  <a:avLst/>
                  <a:gdLst>
                    <a:gd name="T0" fmla="*/ 2 w 17"/>
                    <a:gd name="T1" fmla="*/ 19 h 19"/>
                    <a:gd name="T2" fmla="*/ 1 w 17"/>
                    <a:gd name="T3" fmla="*/ 19 h 19"/>
                    <a:gd name="T4" fmla="*/ 0 w 17"/>
                    <a:gd name="T5" fmla="*/ 17 h 19"/>
                    <a:gd name="T6" fmla="*/ 0 w 17"/>
                    <a:gd name="T7" fmla="*/ 2 h 19"/>
                    <a:gd name="T8" fmla="*/ 1 w 17"/>
                    <a:gd name="T9" fmla="*/ 0 h 19"/>
                    <a:gd name="T10" fmla="*/ 3 w 17"/>
                    <a:gd name="T11" fmla="*/ 0 h 19"/>
                    <a:gd name="T12" fmla="*/ 16 w 17"/>
                    <a:gd name="T13" fmla="*/ 8 h 19"/>
                    <a:gd name="T14" fmla="*/ 17 w 17"/>
                    <a:gd name="T15" fmla="*/ 10 h 19"/>
                    <a:gd name="T16" fmla="*/ 16 w 17"/>
                    <a:gd name="T17" fmla="*/ 11 h 19"/>
                    <a:gd name="T18" fmla="*/ 3 w 17"/>
                    <a:gd name="T19" fmla="*/ 19 h 19"/>
                    <a:gd name="T20" fmla="*/ 2 w 17"/>
                    <a:gd name="T21" fmla="*/ 19 h 19"/>
                    <a:gd name="T22" fmla="*/ 4 w 17"/>
                    <a:gd name="T23" fmla="*/ 6 h 19"/>
                    <a:gd name="T24" fmla="*/ 4 w 17"/>
                    <a:gd name="T25" fmla="*/ 13 h 19"/>
                    <a:gd name="T26" fmla="*/ 11 w 17"/>
                    <a:gd name="T27" fmla="*/ 10 h 19"/>
                    <a:gd name="T28" fmla="*/ 4 w 17"/>
                    <a:gd name="T29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9">
                      <a:moveTo>
                        <a:pt x="2" y="19"/>
                      </a:move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0" y="18"/>
                        <a:pt x="0" y="18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8"/>
                        <a:pt x="17" y="9"/>
                        <a:pt x="17" y="10"/>
                      </a:cubicBezTo>
                      <a:cubicBezTo>
                        <a:pt x="17" y="10"/>
                        <a:pt x="16" y="11"/>
                        <a:pt x="16" y="1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lose/>
                      <a:moveTo>
                        <a:pt x="4" y="6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1" name="Freeform 854">
                  <a:extLst>
                    <a:ext uri="{FF2B5EF4-FFF2-40B4-BE49-F238E27FC236}">
                      <a16:creationId xmlns:a16="http://schemas.microsoft.com/office/drawing/2014/main" id="{7088C5C7-8817-4C00-B958-C8D0E1828E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90" y="1160"/>
                  <a:ext cx="42" cy="28"/>
                </a:xfrm>
                <a:custGeom>
                  <a:avLst/>
                  <a:gdLst>
                    <a:gd name="T0" fmla="*/ 3 w 18"/>
                    <a:gd name="T1" fmla="*/ 12 h 12"/>
                    <a:gd name="T2" fmla="*/ 2 w 18"/>
                    <a:gd name="T3" fmla="*/ 12 h 12"/>
                    <a:gd name="T4" fmla="*/ 1 w 18"/>
                    <a:gd name="T5" fmla="*/ 12 h 12"/>
                    <a:gd name="T6" fmla="*/ 0 w 18"/>
                    <a:gd name="T7" fmla="*/ 10 h 12"/>
                    <a:gd name="T8" fmla="*/ 1 w 18"/>
                    <a:gd name="T9" fmla="*/ 8 h 12"/>
                    <a:gd name="T10" fmla="*/ 15 w 18"/>
                    <a:gd name="T11" fmla="*/ 0 h 12"/>
                    <a:gd name="T12" fmla="*/ 17 w 18"/>
                    <a:gd name="T13" fmla="*/ 0 h 12"/>
                    <a:gd name="T14" fmla="*/ 18 w 18"/>
                    <a:gd name="T15" fmla="*/ 2 h 12"/>
                    <a:gd name="T16" fmla="*/ 18 w 18"/>
                    <a:gd name="T17" fmla="*/ 2 h 12"/>
                    <a:gd name="T18" fmla="*/ 17 w 18"/>
                    <a:gd name="T19" fmla="*/ 4 h 12"/>
                    <a:gd name="T20" fmla="*/ 4 w 18"/>
                    <a:gd name="T21" fmla="*/ 12 h 12"/>
                    <a:gd name="T22" fmla="*/ 3 w 18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12">
                      <a:moveTo>
                        <a:pt x="3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1"/>
                        <a:pt x="0" y="11"/>
                        <a:pt x="0" y="10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6" y="0"/>
                        <a:pt x="17" y="0"/>
                        <a:pt x="17" y="0"/>
                      </a:cubicBezTo>
                      <a:cubicBezTo>
                        <a:pt x="18" y="0"/>
                        <a:pt x="18" y="1"/>
                        <a:pt x="18" y="2"/>
                      </a:cubicBez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8" y="3"/>
                        <a:pt x="18" y="4"/>
                        <a:pt x="17" y="4"/>
                      </a:cubicBezTo>
                      <a:cubicBezTo>
                        <a:pt x="4" y="12"/>
                        <a:pt x="4" y="12"/>
                        <a:pt x="4" y="12"/>
                      </a:cubicBezTo>
                      <a:cubicBezTo>
                        <a:pt x="3" y="12"/>
                        <a:pt x="3" y="12"/>
                        <a:pt x="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2" name="Freeform 855">
                  <a:extLst>
                    <a:ext uri="{FF2B5EF4-FFF2-40B4-BE49-F238E27FC236}">
                      <a16:creationId xmlns:a16="http://schemas.microsoft.com/office/drawing/2014/main" id="{7B7024FE-D6B6-43D5-B483-E0E4BB6D85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31" y="739"/>
                  <a:ext cx="130" cy="90"/>
                </a:xfrm>
                <a:custGeom>
                  <a:avLst/>
                  <a:gdLst>
                    <a:gd name="T0" fmla="*/ 2 w 55"/>
                    <a:gd name="T1" fmla="*/ 38 h 38"/>
                    <a:gd name="T2" fmla="*/ 1 w 55"/>
                    <a:gd name="T3" fmla="*/ 38 h 38"/>
                    <a:gd name="T4" fmla="*/ 0 w 55"/>
                    <a:gd name="T5" fmla="*/ 36 h 38"/>
                    <a:gd name="T6" fmla="*/ 0 w 55"/>
                    <a:gd name="T7" fmla="*/ 32 h 38"/>
                    <a:gd name="T8" fmla="*/ 1 w 55"/>
                    <a:gd name="T9" fmla="*/ 30 h 38"/>
                    <a:gd name="T10" fmla="*/ 52 w 55"/>
                    <a:gd name="T11" fmla="*/ 0 h 38"/>
                    <a:gd name="T12" fmla="*/ 54 w 55"/>
                    <a:gd name="T13" fmla="*/ 0 h 38"/>
                    <a:gd name="T14" fmla="*/ 55 w 55"/>
                    <a:gd name="T15" fmla="*/ 2 h 38"/>
                    <a:gd name="T16" fmla="*/ 55 w 55"/>
                    <a:gd name="T17" fmla="*/ 7 h 38"/>
                    <a:gd name="T18" fmla="*/ 54 w 55"/>
                    <a:gd name="T19" fmla="*/ 8 h 38"/>
                    <a:gd name="T20" fmla="*/ 3 w 55"/>
                    <a:gd name="T21" fmla="*/ 38 h 38"/>
                    <a:gd name="T22" fmla="*/ 2 w 55"/>
                    <a:gd name="T23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" h="38">
                      <a:moveTo>
                        <a:pt x="2" y="38"/>
                      </a:move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6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0" y="30"/>
                        <a:pt x="1" y="3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3" y="0"/>
                        <a:pt x="53" y="0"/>
                        <a:pt x="54" y="0"/>
                      </a:cubicBezTo>
                      <a:cubicBezTo>
                        <a:pt x="55" y="1"/>
                        <a:pt x="55" y="1"/>
                        <a:pt x="55" y="2"/>
                      </a:cubicBezTo>
                      <a:cubicBezTo>
                        <a:pt x="55" y="7"/>
                        <a:pt x="55" y="7"/>
                        <a:pt x="55" y="7"/>
                      </a:cubicBezTo>
                      <a:cubicBezTo>
                        <a:pt x="55" y="7"/>
                        <a:pt x="55" y="8"/>
                        <a:pt x="54" y="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3" name="Freeform 856">
                  <a:extLst>
                    <a:ext uri="{FF2B5EF4-FFF2-40B4-BE49-F238E27FC236}">
                      <a16:creationId xmlns:a16="http://schemas.microsoft.com/office/drawing/2014/main" id="{4229B58F-1654-4367-BCB1-76F6766AAD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574"/>
                  <a:ext cx="130" cy="241"/>
                </a:xfrm>
                <a:custGeom>
                  <a:avLst/>
                  <a:gdLst>
                    <a:gd name="T0" fmla="*/ 2 w 55"/>
                    <a:gd name="T1" fmla="*/ 102 h 102"/>
                    <a:gd name="T2" fmla="*/ 1 w 55"/>
                    <a:gd name="T3" fmla="*/ 102 h 102"/>
                    <a:gd name="T4" fmla="*/ 0 w 55"/>
                    <a:gd name="T5" fmla="*/ 100 h 102"/>
                    <a:gd name="T6" fmla="*/ 0 w 55"/>
                    <a:gd name="T7" fmla="*/ 32 h 102"/>
                    <a:gd name="T8" fmla="*/ 1 w 55"/>
                    <a:gd name="T9" fmla="*/ 30 h 102"/>
                    <a:gd name="T10" fmla="*/ 52 w 55"/>
                    <a:gd name="T11" fmla="*/ 1 h 102"/>
                    <a:gd name="T12" fmla="*/ 54 w 55"/>
                    <a:gd name="T13" fmla="*/ 1 h 102"/>
                    <a:gd name="T14" fmla="*/ 55 w 55"/>
                    <a:gd name="T15" fmla="*/ 3 h 102"/>
                    <a:gd name="T16" fmla="*/ 55 w 55"/>
                    <a:gd name="T17" fmla="*/ 70 h 102"/>
                    <a:gd name="T18" fmla="*/ 54 w 55"/>
                    <a:gd name="T19" fmla="*/ 72 h 102"/>
                    <a:gd name="T20" fmla="*/ 3 w 55"/>
                    <a:gd name="T21" fmla="*/ 102 h 102"/>
                    <a:gd name="T22" fmla="*/ 2 w 55"/>
                    <a:gd name="T23" fmla="*/ 102 h 102"/>
                    <a:gd name="T24" fmla="*/ 4 w 55"/>
                    <a:gd name="T25" fmla="*/ 33 h 102"/>
                    <a:gd name="T26" fmla="*/ 4 w 55"/>
                    <a:gd name="T27" fmla="*/ 96 h 102"/>
                    <a:gd name="T28" fmla="*/ 51 w 55"/>
                    <a:gd name="T29" fmla="*/ 69 h 102"/>
                    <a:gd name="T30" fmla="*/ 51 w 55"/>
                    <a:gd name="T31" fmla="*/ 6 h 102"/>
                    <a:gd name="T32" fmla="*/ 4 w 55"/>
                    <a:gd name="T33" fmla="*/ 33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5" h="102">
                      <a:moveTo>
                        <a:pt x="2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0" y="101"/>
                        <a:pt x="0" y="101"/>
                        <a:pt x="0" y="10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2"/>
                        <a:pt x="0" y="31"/>
                        <a:pt x="1" y="30"/>
                      </a:cubicBezTo>
                      <a:cubicBezTo>
                        <a:pt x="52" y="1"/>
                        <a:pt x="52" y="1"/>
                        <a:pt x="52" y="1"/>
                      </a:cubicBezTo>
                      <a:cubicBezTo>
                        <a:pt x="53" y="0"/>
                        <a:pt x="53" y="0"/>
                        <a:pt x="54" y="1"/>
                      </a:cubicBezTo>
                      <a:cubicBezTo>
                        <a:pt x="55" y="1"/>
                        <a:pt x="55" y="2"/>
                        <a:pt x="55" y="3"/>
                      </a:cubicBezTo>
                      <a:cubicBezTo>
                        <a:pt x="55" y="70"/>
                        <a:pt x="55" y="70"/>
                        <a:pt x="55" y="70"/>
                      </a:cubicBezTo>
                      <a:cubicBezTo>
                        <a:pt x="55" y="71"/>
                        <a:pt x="55" y="72"/>
                        <a:pt x="54" y="72"/>
                      </a:cubicBezTo>
                      <a:cubicBezTo>
                        <a:pt x="3" y="102"/>
                        <a:pt x="3" y="102"/>
                        <a:pt x="3" y="102"/>
                      </a:cubicBezTo>
                      <a:cubicBezTo>
                        <a:pt x="2" y="102"/>
                        <a:pt x="2" y="102"/>
                        <a:pt x="2" y="102"/>
                      </a:cubicBezTo>
                      <a:close/>
                      <a:moveTo>
                        <a:pt x="4" y="33"/>
                      </a:moveTo>
                      <a:cubicBezTo>
                        <a:pt x="4" y="96"/>
                        <a:pt x="4" y="96"/>
                        <a:pt x="4" y="96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"/>
                        <a:pt x="51" y="6"/>
                        <a:pt x="51" y="6"/>
                      </a:cubicBezTo>
                      <a:lnTo>
                        <a:pt x="4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4" name="Freeform 857">
                  <a:extLst>
                    <a:ext uri="{FF2B5EF4-FFF2-40B4-BE49-F238E27FC236}">
                      <a16:creationId xmlns:a16="http://schemas.microsoft.com/office/drawing/2014/main" id="{9C089500-7F8D-401A-B59C-C11EFE4CED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46" y="1233"/>
                  <a:ext cx="137" cy="83"/>
                </a:xfrm>
                <a:custGeom>
                  <a:avLst/>
                  <a:gdLst>
                    <a:gd name="T0" fmla="*/ 13 w 58"/>
                    <a:gd name="T1" fmla="*/ 35 h 35"/>
                    <a:gd name="T2" fmla="*/ 12 w 58"/>
                    <a:gd name="T3" fmla="*/ 35 h 35"/>
                    <a:gd name="T4" fmla="*/ 1 w 58"/>
                    <a:gd name="T5" fmla="*/ 29 h 35"/>
                    <a:gd name="T6" fmla="*/ 0 w 58"/>
                    <a:gd name="T7" fmla="*/ 27 h 35"/>
                    <a:gd name="T8" fmla="*/ 1 w 58"/>
                    <a:gd name="T9" fmla="*/ 25 h 35"/>
                    <a:gd name="T10" fmla="*/ 44 w 58"/>
                    <a:gd name="T11" fmla="*/ 0 h 35"/>
                    <a:gd name="T12" fmla="*/ 46 w 58"/>
                    <a:gd name="T13" fmla="*/ 0 h 35"/>
                    <a:gd name="T14" fmla="*/ 57 w 58"/>
                    <a:gd name="T15" fmla="*/ 7 h 35"/>
                    <a:gd name="T16" fmla="*/ 58 w 58"/>
                    <a:gd name="T17" fmla="*/ 8 h 35"/>
                    <a:gd name="T18" fmla="*/ 58 w 58"/>
                    <a:gd name="T19" fmla="*/ 28 h 35"/>
                    <a:gd name="T20" fmla="*/ 57 w 58"/>
                    <a:gd name="T21" fmla="*/ 29 h 35"/>
                    <a:gd name="T22" fmla="*/ 55 w 58"/>
                    <a:gd name="T23" fmla="*/ 29 h 35"/>
                    <a:gd name="T24" fmla="*/ 39 w 58"/>
                    <a:gd name="T25" fmla="*/ 20 h 35"/>
                    <a:gd name="T26" fmla="*/ 14 w 58"/>
                    <a:gd name="T27" fmla="*/ 35 h 35"/>
                    <a:gd name="T28" fmla="*/ 13 w 58"/>
                    <a:gd name="T29" fmla="*/ 35 h 35"/>
                    <a:gd name="T30" fmla="*/ 6 w 58"/>
                    <a:gd name="T31" fmla="*/ 27 h 35"/>
                    <a:gd name="T32" fmla="*/ 13 w 58"/>
                    <a:gd name="T33" fmla="*/ 31 h 35"/>
                    <a:gd name="T34" fmla="*/ 38 w 58"/>
                    <a:gd name="T35" fmla="*/ 16 h 35"/>
                    <a:gd name="T36" fmla="*/ 40 w 58"/>
                    <a:gd name="T37" fmla="*/ 16 h 35"/>
                    <a:gd name="T38" fmla="*/ 54 w 58"/>
                    <a:gd name="T39" fmla="*/ 24 h 35"/>
                    <a:gd name="T40" fmla="*/ 54 w 58"/>
                    <a:gd name="T41" fmla="*/ 9 h 35"/>
                    <a:gd name="T42" fmla="*/ 45 w 58"/>
                    <a:gd name="T43" fmla="*/ 4 h 35"/>
                    <a:gd name="T44" fmla="*/ 6 w 58"/>
                    <a:gd name="T45" fmla="*/ 2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8" h="35">
                      <a:moveTo>
                        <a:pt x="13" y="35"/>
                      </a:move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1" y="28"/>
                        <a:pt x="0" y="28"/>
                        <a:pt x="0" y="27"/>
                      </a:cubicBezTo>
                      <a:cubicBezTo>
                        <a:pt x="0" y="26"/>
                        <a:pt x="1" y="25"/>
                        <a:pt x="1" y="25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5" y="0"/>
                        <a:pt x="46" y="0"/>
                        <a:pt x="46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7" y="7"/>
                        <a:pt x="58" y="8"/>
                        <a:pt x="58" y="8"/>
                      </a:cubicBezTo>
                      <a:cubicBezTo>
                        <a:pt x="58" y="28"/>
                        <a:pt x="58" y="28"/>
                        <a:pt x="58" y="28"/>
                      </a:cubicBezTo>
                      <a:cubicBezTo>
                        <a:pt x="58" y="28"/>
                        <a:pt x="57" y="29"/>
                        <a:pt x="57" y="29"/>
                      </a:cubicBezTo>
                      <a:cubicBezTo>
                        <a:pt x="56" y="30"/>
                        <a:pt x="55" y="30"/>
                        <a:pt x="55" y="29"/>
                      </a:cubicBez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14" y="35"/>
                        <a:pt x="14" y="35"/>
                        <a:pt x="14" y="35"/>
                      </a:cubicBezTo>
                      <a:cubicBezTo>
                        <a:pt x="13" y="35"/>
                        <a:pt x="13" y="35"/>
                        <a:pt x="13" y="35"/>
                      </a:cubicBezTo>
                      <a:close/>
                      <a:moveTo>
                        <a:pt x="6" y="27"/>
                      </a:move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9" y="16"/>
                        <a:pt x="39" y="16"/>
                        <a:pt x="40" y="16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9"/>
                        <a:pt x="54" y="9"/>
                        <a:pt x="54" y="9"/>
                      </a:cubicBezTo>
                      <a:cubicBezTo>
                        <a:pt x="45" y="4"/>
                        <a:pt x="45" y="4"/>
                        <a:pt x="45" y="4"/>
                      </a:cubicBezTo>
                      <a:lnTo>
                        <a:pt x="6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5" name="Freeform 858">
                  <a:extLst>
                    <a:ext uri="{FF2B5EF4-FFF2-40B4-BE49-F238E27FC236}">
                      <a16:creationId xmlns:a16="http://schemas.microsoft.com/office/drawing/2014/main" id="{23BF9F63-CBED-4606-8FED-252B60747A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827"/>
                  <a:ext cx="319" cy="269"/>
                </a:xfrm>
                <a:custGeom>
                  <a:avLst/>
                  <a:gdLst>
                    <a:gd name="T0" fmla="*/ 74 w 135"/>
                    <a:gd name="T1" fmla="*/ 114 h 114"/>
                    <a:gd name="T2" fmla="*/ 73 w 135"/>
                    <a:gd name="T3" fmla="*/ 114 h 114"/>
                    <a:gd name="T4" fmla="*/ 55 w 135"/>
                    <a:gd name="T5" fmla="*/ 104 h 114"/>
                    <a:gd name="T6" fmla="*/ 54 w 135"/>
                    <a:gd name="T7" fmla="*/ 102 h 114"/>
                    <a:gd name="T8" fmla="*/ 54 w 135"/>
                    <a:gd name="T9" fmla="*/ 70 h 114"/>
                    <a:gd name="T10" fmla="*/ 1 w 135"/>
                    <a:gd name="T11" fmla="*/ 40 h 114"/>
                    <a:gd name="T12" fmla="*/ 0 w 135"/>
                    <a:gd name="T13" fmla="*/ 38 h 114"/>
                    <a:gd name="T14" fmla="*/ 0 w 135"/>
                    <a:gd name="T15" fmla="*/ 8 h 114"/>
                    <a:gd name="T16" fmla="*/ 1 w 135"/>
                    <a:gd name="T17" fmla="*/ 7 h 114"/>
                    <a:gd name="T18" fmla="*/ 12 w 135"/>
                    <a:gd name="T19" fmla="*/ 0 h 114"/>
                    <a:gd name="T20" fmla="*/ 14 w 135"/>
                    <a:gd name="T21" fmla="*/ 0 h 114"/>
                    <a:gd name="T22" fmla="*/ 74 w 135"/>
                    <a:gd name="T23" fmla="*/ 35 h 114"/>
                    <a:gd name="T24" fmla="*/ 88 w 135"/>
                    <a:gd name="T25" fmla="*/ 27 h 114"/>
                    <a:gd name="T26" fmla="*/ 90 w 135"/>
                    <a:gd name="T27" fmla="*/ 27 h 114"/>
                    <a:gd name="T28" fmla="*/ 134 w 135"/>
                    <a:gd name="T29" fmla="*/ 53 h 114"/>
                    <a:gd name="T30" fmla="*/ 135 w 135"/>
                    <a:gd name="T31" fmla="*/ 55 h 114"/>
                    <a:gd name="T32" fmla="*/ 134 w 135"/>
                    <a:gd name="T33" fmla="*/ 57 h 114"/>
                    <a:gd name="T34" fmla="*/ 76 w 135"/>
                    <a:gd name="T35" fmla="*/ 91 h 114"/>
                    <a:gd name="T36" fmla="*/ 76 w 135"/>
                    <a:gd name="T37" fmla="*/ 112 h 114"/>
                    <a:gd name="T38" fmla="*/ 75 w 135"/>
                    <a:gd name="T39" fmla="*/ 114 h 114"/>
                    <a:gd name="T40" fmla="*/ 74 w 135"/>
                    <a:gd name="T41" fmla="*/ 114 h 114"/>
                    <a:gd name="T42" fmla="*/ 58 w 135"/>
                    <a:gd name="T43" fmla="*/ 101 h 114"/>
                    <a:gd name="T44" fmla="*/ 72 w 135"/>
                    <a:gd name="T45" fmla="*/ 109 h 114"/>
                    <a:gd name="T46" fmla="*/ 72 w 135"/>
                    <a:gd name="T47" fmla="*/ 89 h 114"/>
                    <a:gd name="T48" fmla="*/ 73 w 135"/>
                    <a:gd name="T49" fmla="*/ 88 h 114"/>
                    <a:gd name="T50" fmla="*/ 129 w 135"/>
                    <a:gd name="T51" fmla="*/ 55 h 114"/>
                    <a:gd name="T52" fmla="*/ 89 w 135"/>
                    <a:gd name="T53" fmla="*/ 31 h 114"/>
                    <a:gd name="T54" fmla="*/ 75 w 135"/>
                    <a:gd name="T55" fmla="*/ 39 h 114"/>
                    <a:gd name="T56" fmla="*/ 73 w 135"/>
                    <a:gd name="T57" fmla="*/ 39 h 114"/>
                    <a:gd name="T58" fmla="*/ 13 w 135"/>
                    <a:gd name="T59" fmla="*/ 4 h 114"/>
                    <a:gd name="T60" fmla="*/ 4 w 135"/>
                    <a:gd name="T61" fmla="*/ 10 h 114"/>
                    <a:gd name="T62" fmla="*/ 4 w 135"/>
                    <a:gd name="T63" fmla="*/ 37 h 114"/>
                    <a:gd name="T64" fmla="*/ 57 w 135"/>
                    <a:gd name="T65" fmla="*/ 68 h 114"/>
                    <a:gd name="T66" fmla="*/ 58 w 135"/>
                    <a:gd name="T67" fmla="*/ 69 h 114"/>
                    <a:gd name="T68" fmla="*/ 58 w 135"/>
                    <a:gd name="T69" fmla="*/ 101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5" h="114">
                      <a:moveTo>
                        <a:pt x="74" y="114"/>
                      </a:moveTo>
                      <a:cubicBezTo>
                        <a:pt x="73" y="114"/>
                        <a:pt x="73" y="114"/>
                        <a:pt x="73" y="114"/>
                      </a:cubicBezTo>
                      <a:cubicBezTo>
                        <a:pt x="55" y="104"/>
                        <a:pt x="55" y="104"/>
                        <a:pt x="55" y="104"/>
                      </a:cubicBezTo>
                      <a:cubicBezTo>
                        <a:pt x="54" y="103"/>
                        <a:pt x="54" y="102"/>
                        <a:pt x="54" y="102"/>
                      </a:cubicBezTo>
                      <a:cubicBezTo>
                        <a:pt x="54" y="70"/>
                        <a:pt x="54" y="70"/>
                        <a:pt x="54" y="70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0" y="40"/>
                        <a:pt x="0" y="39"/>
                        <a:pt x="0" y="3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4" y="0"/>
                        <a:pt x="14" y="0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cubicBezTo>
                        <a:pt x="88" y="27"/>
                        <a:pt x="88" y="27"/>
                        <a:pt x="88" y="27"/>
                      </a:cubicBezTo>
                      <a:cubicBezTo>
                        <a:pt x="88" y="27"/>
                        <a:pt x="89" y="27"/>
                        <a:pt x="90" y="27"/>
                      </a:cubicBezTo>
                      <a:cubicBezTo>
                        <a:pt x="134" y="53"/>
                        <a:pt x="134" y="53"/>
                        <a:pt x="134" y="53"/>
                      </a:cubicBezTo>
                      <a:cubicBezTo>
                        <a:pt x="135" y="54"/>
                        <a:pt x="135" y="54"/>
                        <a:pt x="135" y="55"/>
                      </a:cubicBezTo>
                      <a:cubicBezTo>
                        <a:pt x="135" y="56"/>
                        <a:pt x="135" y="56"/>
                        <a:pt x="134" y="57"/>
                      </a:cubicBezTo>
                      <a:cubicBezTo>
                        <a:pt x="76" y="91"/>
                        <a:pt x="76" y="91"/>
                        <a:pt x="76" y="91"/>
                      </a:cubicBezTo>
                      <a:cubicBezTo>
                        <a:pt x="76" y="112"/>
                        <a:pt x="76" y="112"/>
                        <a:pt x="76" y="112"/>
                      </a:cubicBezTo>
                      <a:cubicBezTo>
                        <a:pt x="76" y="113"/>
                        <a:pt x="75" y="114"/>
                        <a:pt x="75" y="114"/>
                      </a:cubicBezTo>
                      <a:cubicBezTo>
                        <a:pt x="74" y="114"/>
                        <a:pt x="74" y="114"/>
                        <a:pt x="74" y="114"/>
                      </a:cubicBezTo>
                      <a:close/>
                      <a:moveTo>
                        <a:pt x="58" y="101"/>
                      </a:moveTo>
                      <a:cubicBezTo>
                        <a:pt x="72" y="109"/>
                        <a:pt x="72" y="109"/>
                        <a:pt x="72" y="109"/>
                      </a:cubicBezTo>
                      <a:cubicBezTo>
                        <a:pt x="72" y="89"/>
                        <a:pt x="72" y="89"/>
                        <a:pt x="72" y="89"/>
                      </a:cubicBezTo>
                      <a:cubicBezTo>
                        <a:pt x="72" y="89"/>
                        <a:pt x="72" y="88"/>
                        <a:pt x="73" y="88"/>
                      </a:cubicBezTo>
                      <a:cubicBezTo>
                        <a:pt x="129" y="55"/>
                        <a:pt x="129" y="55"/>
                        <a:pt x="129" y="55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75" y="39"/>
                        <a:pt x="75" y="39"/>
                        <a:pt x="75" y="39"/>
                      </a:cubicBezTo>
                      <a:cubicBezTo>
                        <a:pt x="75" y="39"/>
                        <a:pt x="74" y="39"/>
                        <a:pt x="73" y="39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57" y="68"/>
                        <a:pt x="57" y="68"/>
                        <a:pt x="57" y="68"/>
                      </a:cubicBezTo>
                      <a:cubicBezTo>
                        <a:pt x="57" y="68"/>
                        <a:pt x="58" y="69"/>
                        <a:pt x="58" y="69"/>
                      </a:cubicBezTo>
                      <a:lnTo>
                        <a:pt x="58" y="10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6" name="Freeform 859">
                  <a:extLst>
                    <a:ext uri="{FF2B5EF4-FFF2-40B4-BE49-F238E27FC236}">
                      <a16:creationId xmlns:a16="http://schemas.microsoft.com/office/drawing/2014/main" id="{AEE6EF52-462E-4FB0-A4A1-6ABBB9E6DD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730"/>
                  <a:ext cx="179" cy="184"/>
                </a:xfrm>
                <a:custGeom>
                  <a:avLst/>
                  <a:gdLst>
                    <a:gd name="T0" fmla="*/ 61 w 76"/>
                    <a:gd name="T1" fmla="*/ 78 h 78"/>
                    <a:gd name="T2" fmla="*/ 60 w 76"/>
                    <a:gd name="T3" fmla="*/ 78 h 78"/>
                    <a:gd name="T4" fmla="*/ 1 w 76"/>
                    <a:gd name="T5" fmla="*/ 44 h 78"/>
                    <a:gd name="T6" fmla="*/ 0 w 76"/>
                    <a:gd name="T7" fmla="*/ 42 h 78"/>
                    <a:gd name="T8" fmla="*/ 1 w 76"/>
                    <a:gd name="T9" fmla="*/ 40 h 78"/>
                    <a:gd name="T10" fmla="*/ 53 w 76"/>
                    <a:gd name="T11" fmla="*/ 10 h 78"/>
                    <a:gd name="T12" fmla="*/ 53 w 76"/>
                    <a:gd name="T13" fmla="*/ 5 h 78"/>
                    <a:gd name="T14" fmla="*/ 54 w 76"/>
                    <a:gd name="T15" fmla="*/ 3 h 78"/>
                    <a:gd name="T16" fmla="*/ 60 w 76"/>
                    <a:gd name="T17" fmla="*/ 0 h 78"/>
                    <a:gd name="T18" fmla="*/ 62 w 76"/>
                    <a:gd name="T19" fmla="*/ 0 h 78"/>
                    <a:gd name="T20" fmla="*/ 63 w 76"/>
                    <a:gd name="T21" fmla="*/ 2 h 78"/>
                    <a:gd name="T22" fmla="*/ 63 w 76"/>
                    <a:gd name="T23" fmla="*/ 60 h 78"/>
                    <a:gd name="T24" fmla="*/ 75 w 76"/>
                    <a:gd name="T25" fmla="*/ 67 h 78"/>
                    <a:gd name="T26" fmla="*/ 76 w 76"/>
                    <a:gd name="T27" fmla="*/ 69 h 78"/>
                    <a:gd name="T28" fmla="*/ 75 w 76"/>
                    <a:gd name="T29" fmla="*/ 71 h 78"/>
                    <a:gd name="T30" fmla="*/ 62 w 76"/>
                    <a:gd name="T31" fmla="*/ 78 h 78"/>
                    <a:gd name="T32" fmla="*/ 61 w 76"/>
                    <a:gd name="T33" fmla="*/ 78 h 78"/>
                    <a:gd name="T34" fmla="*/ 6 w 76"/>
                    <a:gd name="T35" fmla="*/ 42 h 78"/>
                    <a:gd name="T36" fmla="*/ 61 w 76"/>
                    <a:gd name="T37" fmla="*/ 74 h 78"/>
                    <a:gd name="T38" fmla="*/ 70 w 76"/>
                    <a:gd name="T39" fmla="*/ 69 h 78"/>
                    <a:gd name="T40" fmla="*/ 60 w 76"/>
                    <a:gd name="T41" fmla="*/ 63 h 78"/>
                    <a:gd name="T42" fmla="*/ 59 w 76"/>
                    <a:gd name="T43" fmla="*/ 61 h 78"/>
                    <a:gd name="T44" fmla="*/ 59 w 76"/>
                    <a:gd name="T45" fmla="*/ 5 h 78"/>
                    <a:gd name="T46" fmla="*/ 57 w 76"/>
                    <a:gd name="T47" fmla="*/ 6 h 78"/>
                    <a:gd name="T48" fmla="*/ 57 w 76"/>
                    <a:gd name="T49" fmla="*/ 11 h 78"/>
                    <a:gd name="T50" fmla="*/ 56 w 76"/>
                    <a:gd name="T51" fmla="*/ 13 h 78"/>
                    <a:gd name="T52" fmla="*/ 6 w 76"/>
                    <a:gd name="T53" fmla="*/ 42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76" h="78">
                      <a:moveTo>
                        <a:pt x="61" y="78"/>
                      </a:moveTo>
                      <a:cubicBezTo>
                        <a:pt x="61" y="78"/>
                        <a:pt x="61" y="78"/>
                        <a:pt x="60" y="78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43"/>
                        <a:pt x="0" y="43"/>
                        <a:pt x="0" y="42"/>
                      </a:cubicBezTo>
                      <a:cubicBezTo>
                        <a:pt x="0" y="41"/>
                        <a:pt x="0" y="41"/>
                        <a:pt x="1" y="40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5"/>
                        <a:pt x="53" y="5"/>
                        <a:pt x="53" y="5"/>
                      </a:cubicBezTo>
                      <a:cubicBezTo>
                        <a:pt x="53" y="4"/>
                        <a:pt x="53" y="4"/>
                        <a:pt x="54" y="3"/>
                      </a:cubicBezTo>
                      <a:cubicBezTo>
                        <a:pt x="60" y="0"/>
                        <a:pt x="60" y="0"/>
                        <a:pt x="60" y="0"/>
                      </a:cubicBezTo>
                      <a:cubicBezTo>
                        <a:pt x="60" y="0"/>
                        <a:pt x="61" y="0"/>
                        <a:pt x="62" y="0"/>
                      </a:cubicBezTo>
                      <a:cubicBezTo>
                        <a:pt x="62" y="0"/>
                        <a:pt x="63" y="1"/>
                        <a:pt x="63" y="2"/>
                      </a:cubicBezTo>
                      <a:cubicBezTo>
                        <a:pt x="63" y="60"/>
                        <a:pt x="63" y="60"/>
                        <a:pt x="63" y="60"/>
                      </a:cubicBezTo>
                      <a:cubicBezTo>
                        <a:pt x="75" y="67"/>
                        <a:pt x="75" y="67"/>
                        <a:pt x="75" y="67"/>
                      </a:cubicBezTo>
                      <a:cubicBezTo>
                        <a:pt x="76" y="68"/>
                        <a:pt x="76" y="68"/>
                        <a:pt x="76" y="69"/>
                      </a:cubicBezTo>
                      <a:cubicBezTo>
                        <a:pt x="76" y="70"/>
                        <a:pt x="76" y="71"/>
                        <a:pt x="75" y="71"/>
                      </a:cubicBezTo>
                      <a:cubicBezTo>
                        <a:pt x="62" y="78"/>
                        <a:pt x="62" y="78"/>
                        <a:pt x="62" y="78"/>
                      </a:cubicBezTo>
                      <a:cubicBezTo>
                        <a:pt x="62" y="78"/>
                        <a:pt x="62" y="78"/>
                        <a:pt x="61" y="78"/>
                      </a:cubicBezTo>
                      <a:close/>
                      <a:moveTo>
                        <a:pt x="6" y="42"/>
                      </a:moveTo>
                      <a:cubicBezTo>
                        <a:pt x="61" y="74"/>
                        <a:pt x="61" y="74"/>
                        <a:pt x="61" y="74"/>
                      </a:cubicBezTo>
                      <a:cubicBezTo>
                        <a:pt x="70" y="69"/>
                        <a:pt x="70" y="69"/>
                        <a:pt x="70" y="69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59" y="63"/>
                        <a:pt x="59" y="62"/>
                        <a:pt x="59" y="61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7" y="6"/>
                        <a:pt x="57" y="6"/>
                        <a:pt x="57" y="6"/>
                      </a:cubicBezTo>
                      <a:cubicBezTo>
                        <a:pt x="57" y="11"/>
                        <a:pt x="57" y="11"/>
                        <a:pt x="57" y="11"/>
                      </a:cubicBezTo>
                      <a:cubicBezTo>
                        <a:pt x="57" y="12"/>
                        <a:pt x="56" y="13"/>
                        <a:pt x="56" y="13"/>
                      </a:cubicBezTo>
                      <a:lnTo>
                        <a:pt x="6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7" name="Freeform 860">
                  <a:extLst>
                    <a:ext uri="{FF2B5EF4-FFF2-40B4-BE49-F238E27FC236}">
                      <a16:creationId xmlns:a16="http://schemas.microsoft.com/office/drawing/2014/main" id="{096FFCCC-AFCB-440C-8445-7B3FCAA744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706"/>
                  <a:ext cx="149" cy="109"/>
                </a:xfrm>
                <a:custGeom>
                  <a:avLst/>
                  <a:gdLst>
                    <a:gd name="T0" fmla="*/ 61 w 63"/>
                    <a:gd name="T1" fmla="*/ 46 h 46"/>
                    <a:gd name="T2" fmla="*/ 60 w 63"/>
                    <a:gd name="T3" fmla="*/ 46 h 46"/>
                    <a:gd name="T4" fmla="*/ 1 w 63"/>
                    <a:gd name="T5" fmla="*/ 12 h 46"/>
                    <a:gd name="T6" fmla="*/ 0 w 63"/>
                    <a:gd name="T7" fmla="*/ 10 h 46"/>
                    <a:gd name="T8" fmla="*/ 0 w 63"/>
                    <a:gd name="T9" fmla="*/ 2 h 46"/>
                    <a:gd name="T10" fmla="*/ 1 w 63"/>
                    <a:gd name="T11" fmla="*/ 1 h 46"/>
                    <a:gd name="T12" fmla="*/ 3 w 63"/>
                    <a:gd name="T13" fmla="*/ 1 h 46"/>
                    <a:gd name="T14" fmla="*/ 62 w 63"/>
                    <a:gd name="T15" fmla="*/ 35 h 46"/>
                    <a:gd name="T16" fmla="*/ 63 w 63"/>
                    <a:gd name="T17" fmla="*/ 36 h 46"/>
                    <a:gd name="T18" fmla="*/ 63 w 63"/>
                    <a:gd name="T19" fmla="*/ 44 h 46"/>
                    <a:gd name="T20" fmla="*/ 62 w 63"/>
                    <a:gd name="T21" fmla="*/ 46 h 46"/>
                    <a:gd name="T22" fmla="*/ 61 w 63"/>
                    <a:gd name="T23" fmla="*/ 46 h 46"/>
                    <a:gd name="T24" fmla="*/ 4 w 63"/>
                    <a:gd name="T25" fmla="*/ 9 h 46"/>
                    <a:gd name="T26" fmla="*/ 59 w 63"/>
                    <a:gd name="T27" fmla="*/ 40 h 46"/>
                    <a:gd name="T28" fmla="*/ 59 w 63"/>
                    <a:gd name="T29" fmla="*/ 38 h 46"/>
                    <a:gd name="T30" fmla="*/ 4 w 63"/>
                    <a:gd name="T31" fmla="*/ 6 h 46"/>
                    <a:gd name="T32" fmla="*/ 4 w 63"/>
                    <a:gd name="T33" fmla="*/ 9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3" h="46">
                      <a:moveTo>
                        <a:pt x="61" y="46"/>
                      </a:moveTo>
                      <a:cubicBezTo>
                        <a:pt x="61" y="46"/>
                        <a:pt x="61" y="46"/>
                        <a:pt x="60" y="46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1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2" y="35"/>
                        <a:pt x="62" y="35"/>
                        <a:pt x="62" y="35"/>
                      </a:cubicBezTo>
                      <a:cubicBezTo>
                        <a:pt x="63" y="35"/>
                        <a:pt x="63" y="36"/>
                        <a:pt x="63" y="36"/>
                      </a:cubicBezTo>
                      <a:cubicBezTo>
                        <a:pt x="63" y="44"/>
                        <a:pt x="63" y="44"/>
                        <a:pt x="63" y="44"/>
                      </a:cubicBezTo>
                      <a:cubicBezTo>
                        <a:pt x="63" y="45"/>
                        <a:pt x="63" y="45"/>
                        <a:pt x="62" y="46"/>
                      </a:cubicBezTo>
                      <a:cubicBezTo>
                        <a:pt x="62" y="46"/>
                        <a:pt x="62" y="46"/>
                        <a:pt x="61" y="46"/>
                      </a:cubicBezTo>
                      <a:close/>
                      <a:moveTo>
                        <a:pt x="4" y="9"/>
                      </a:moveTo>
                      <a:cubicBezTo>
                        <a:pt x="59" y="40"/>
                        <a:pt x="59" y="40"/>
                        <a:pt x="59" y="40"/>
                      </a:cubicBezTo>
                      <a:cubicBezTo>
                        <a:pt x="59" y="38"/>
                        <a:pt x="59" y="38"/>
                        <a:pt x="59" y="38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8" name="Freeform 861">
                  <a:extLst>
                    <a:ext uri="{FF2B5EF4-FFF2-40B4-BE49-F238E27FC236}">
                      <a16:creationId xmlns:a16="http://schemas.microsoft.com/office/drawing/2014/main" id="{93D52275-E477-449D-90B2-D009FC455C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16" y="1002"/>
                  <a:ext cx="584" cy="368"/>
                </a:xfrm>
                <a:custGeom>
                  <a:avLst/>
                  <a:gdLst>
                    <a:gd name="T0" fmla="*/ 134 w 247"/>
                    <a:gd name="T1" fmla="*/ 156 h 156"/>
                    <a:gd name="T2" fmla="*/ 133 w 247"/>
                    <a:gd name="T3" fmla="*/ 156 h 156"/>
                    <a:gd name="T4" fmla="*/ 1 w 247"/>
                    <a:gd name="T5" fmla="*/ 80 h 156"/>
                    <a:gd name="T6" fmla="*/ 0 w 247"/>
                    <a:gd name="T7" fmla="*/ 78 h 156"/>
                    <a:gd name="T8" fmla="*/ 1 w 247"/>
                    <a:gd name="T9" fmla="*/ 76 h 156"/>
                    <a:gd name="T10" fmla="*/ 31 w 247"/>
                    <a:gd name="T11" fmla="*/ 59 h 156"/>
                    <a:gd name="T12" fmla="*/ 33 w 247"/>
                    <a:gd name="T13" fmla="*/ 59 h 156"/>
                    <a:gd name="T14" fmla="*/ 47 w 247"/>
                    <a:gd name="T15" fmla="*/ 67 h 156"/>
                    <a:gd name="T16" fmla="*/ 47 w 247"/>
                    <a:gd name="T17" fmla="*/ 51 h 156"/>
                    <a:gd name="T18" fmla="*/ 48 w 247"/>
                    <a:gd name="T19" fmla="*/ 50 h 156"/>
                    <a:gd name="T20" fmla="*/ 66 w 247"/>
                    <a:gd name="T21" fmla="*/ 39 h 156"/>
                    <a:gd name="T22" fmla="*/ 68 w 247"/>
                    <a:gd name="T23" fmla="*/ 39 h 156"/>
                    <a:gd name="T24" fmla="*/ 69 w 247"/>
                    <a:gd name="T25" fmla="*/ 41 h 156"/>
                    <a:gd name="T26" fmla="*/ 69 w 247"/>
                    <a:gd name="T27" fmla="*/ 84 h 156"/>
                    <a:gd name="T28" fmla="*/ 127 w 247"/>
                    <a:gd name="T29" fmla="*/ 50 h 156"/>
                    <a:gd name="T30" fmla="*/ 127 w 247"/>
                    <a:gd name="T31" fmla="*/ 5 h 156"/>
                    <a:gd name="T32" fmla="*/ 128 w 247"/>
                    <a:gd name="T33" fmla="*/ 3 h 156"/>
                    <a:gd name="T34" fmla="*/ 133 w 247"/>
                    <a:gd name="T35" fmla="*/ 0 h 156"/>
                    <a:gd name="T36" fmla="*/ 135 w 247"/>
                    <a:gd name="T37" fmla="*/ 0 h 156"/>
                    <a:gd name="T38" fmla="*/ 198 w 247"/>
                    <a:gd name="T39" fmla="*/ 36 h 156"/>
                    <a:gd name="T40" fmla="*/ 199 w 247"/>
                    <a:gd name="T41" fmla="*/ 38 h 156"/>
                    <a:gd name="T42" fmla="*/ 198 w 247"/>
                    <a:gd name="T43" fmla="*/ 40 h 156"/>
                    <a:gd name="T44" fmla="*/ 180 w 247"/>
                    <a:gd name="T45" fmla="*/ 50 h 156"/>
                    <a:gd name="T46" fmla="*/ 246 w 247"/>
                    <a:gd name="T47" fmla="*/ 89 h 156"/>
                    <a:gd name="T48" fmla="*/ 247 w 247"/>
                    <a:gd name="T49" fmla="*/ 90 h 156"/>
                    <a:gd name="T50" fmla="*/ 246 w 247"/>
                    <a:gd name="T51" fmla="*/ 92 h 156"/>
                    <a:gd name="T52" fmla="*/ 135 w 247"/>
                    <a:gd name="T53" fmla="*/ 156 h 156"/>
                    <a:gd name="T54" fmla="*/ 134 w 247"/>
                    <a:gd name="T55" fmla="*/ 156 h 156"/>
                    <a:gd name="T56" fmla="*/ 6 w 247"/>
                    <a:gd name="T57" fmla="*/ 78 h 156"/>
                    <a:gd name="T58" fmla="*/ 134 w 247"/>
                    <a:gd name="T59" fmla="*/ 152 h 156"/>
                    <a:gd name="T60" fmla="*/ 241 w 247"/>
                    <a:gd name="T61" fmla="*/ 90 h 156"/>
                    <a:gd name="T62" fmla="*/ 175 w 247"/>
                    <a:gd name="T63" fmla="*/ 52 h 156"/>
                    <a:gd name="T64" fmla="*/ 174 w 247"/>
                    <a:gd name="T65" fmla="*/ 50 h 156"/>
                    <a:gd name="T66" fmla="*/ 175 w 247"/>
                    <a:gd name="T67" fmla="*/ 49 h 156"/>
                    <a:gd name="T68" fmla="*/ 193 w 247"/>
                    <a:gd name="T69" fmla="*/ 38 h 156"/>
                    <a:gd name="T70" fmla="*/ 134 w 247"/>
                    <a:gd name="T71" fmla="*/ 4 h 156"/>
                    <a:gd name="T72" fmla="*/ 131 w 247"/>
                    <a:gd name="T73" fmla="*/ 6 h 156"/>
                    <a:gd name="T74" fmla="*/ 131 w 247"/>
                    <a:gd name="T75" fmla="*/ 51 h 156"/>
                    <a:gd name="T76" fmla="*/ 130 w 247"/>
                    <a:gd name="T77" fmla="*/ 53 h 156"/>
                    <a:gd name="T78" fmla="*/ 68 w 247"/>
                    <a:gd name="T79" fmla="*/ 89 h 156"/>
                    <a:gd name="T80" fmla="*/ 66 w 247"/>
                    <a:gd name="T81" fmla="*/ 89 h 156"/>
                    <a:gd name="T82" fmla="*/ 65 w 247"/>
                    <a:gd name="T83" fmla="*/ 87 h 156"/>
                    <a:gd name="T84" fmla="*/ 65 w 247"/>
                    <a:gd name="T85" fmla="*/ 44 h 156"/>
                    <a:gd name="T86" fmla="*/ 51 w 247"/>
                    <a:gd name="T87" fmla="*/ 52 h 156"/>
                    <a:gd name="T88" fmla="*/ 51 w 247"/>
                    <a:gd name="T89" fmla="*/ 71 h 156"/>
                    <a:gd name="T90" fmla="*/ 50 w 247"/>
                    <a:gd name="T91" fmla="*/ 72 h 156"/>
                    <a:gd name="T92" fmla="*/ 48 w 247"/>
                    <a:gd name="T93" fmla="*/ 72 h 156"/>
                    <a:gd name="T94" fmla="*/ 32 w 247"/>
                    <a:gd name="T95" fmla="*/ 63 h 156"/>
                    <a:gd name="T96" fmla="*/ 6 w 247"/>
                    <a:gd name="T97" fmla="*/ 78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7" h="156">
                      <a:moveTo>
                        <a:pt x="134" y="156"/>
                      </a:moveTo>
                      <a:cubicBezTo>
                        <a:pt x="134" y="156"/>
                        <a:pt x="134" y="156"/>
                        <a:pt x="133" y="156"/>
                      </a:cubicBezTo>
                      <a:cubicBezTo>
                        <a:pt x="1" y="80"/>
                        <a:pt x="1" y="80"/>
                        <a:pt x="1" y="80"/>
                      </a:cubicBezTo>
                      <a:cubicBezTo>
                        <a:pt x="1" y="79"/>
                        <a:pt x="0" y="79"/>
                        <a:pt x="0" y="78"/>
                      </a:cubicBezTo>
                      <a:cubicBezTo>
                        <a:pt x="0" y="77"/>
                        <a:pt x="1" y="77"/>
                        <a:pt x="1" y="76"/>
                      </a:cubicBezTo>
                      <a:cubicBezTo>
                        <a:pt x="31" y="59"/>
                        <a:pt x="31" y="59"/>
                        <a:pt x="31" y="59"/>
                      </a:cubicBezTo>
                      <a:cubicBezTo>
                        <a:pt x="32" y="59"/>
                        <a:pt x="32" y="59"/>
                        <a:pt x="33" y="59"/>
                      </a:cubicBezTo>
                      <a:cubicBezTo>
                        <a:pt x="47" y="67"/>
                        <a:pt x="47" y="67"/>
                        <a:pt x="47" y="67"/>
                      </a:cubicBezTo>
                      <a:cubicBezTo>
                        <a:pt x="47" y="51"/>
                        <a:pt x="47" y="51"/>
                        <a:pt x="47" y="51"/>
                      </a:cubicBezTo>
                      <a:cubicBezTo>
                        <a:pt x="47" y="51"/>
                        <a:pt x="47" y="50"/>
                        <a:pt x="48" y="50"/>
                      </a:cubicBez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9"/>
                        <a:pt x="67" y="39"/>
                        <a:pt x="68" y="39"/>
                      </a:cubicBezTo>
                      <a:cubicBezTo>
                        <a:pt x="68" y="40"/>
                        <a:pt x="69" y="40"/>
                        <a:pt x="69" y="41"/>
                      </a:cubicBezTo>
                      <a:cubicBezTo>
                        <a:pt x="69" y="84"/>
                        <a:pt x="69" y="84"/>
                        <a:pt x="69" y="84"/>
                      </a:cubicBezTo>
                      <a:cubicBezTo>
                        <a:pt x="127" y="50"/>
                        <a:pt x="127" y="50"/>
                        <a:pt x="127" y="50"/>
                      </a:cubicBezTo>
                      <a:cubicBezTo>
                        <a:pt x="127" y="5"/>
                        <a:pt x="127" y="5"/>
                        <a:pt x="127" y="5"/>
                      </a:cubicBezTo>
                      <a:cubicBezTo>
                        <a:pt x="127" y="4"/>
                        <a:pt x="127" y="4"/>
                        <a:pt x="128" y="3"/>
                      </a:cubicBezTo>
                      <a:cubicBezTo>
                        <a:pt x="133" y="0"/>
                        <a:pt x="133" y="0"/>
                        <a:pt x="133" y="0"/>
                      </a:cubicBezTo>
                      <a:cubicBezTo>
                        <a:pt x="134" y="0"/>
                        <a:pt x="135" y="0"/>
                        <a:pt x="135" y="0"/>
                      </a:cubicBezTo>
                      <a:cubicBezTo>
                        <a:pt x="198" y="36"/>
                        <a:pt x="198" y="36"/>
                        <a:pt x="198" y="36"/>
                      </a:cubicBezTo>
                      <a:cubicBezTo>
                        <a:pt x="199" y="37"/>
                        <a:pt x="199" y="37"/>
                        <a:pt x="199" y="38"/>
                      </a:cubicBezTo>
                      <a:cubicBezTo>
                        <a:pt x="199" y="39"/>
                        <a:pt x="199" y="39"/>
                        <a:pt x="198" y="40"/>
                      </a:cubicBezTo>
                      <a:cubicBezTo>
                        <a:pt x="180" y="50"/>
                        <a:pt x="180" y="50"/>
                        <a:pt x="180" y="50"/>
                      </a:cubicBezTo>
                      <a:cubicBezTo>
                        <a:pt x="246" y="89"/>
                        <a:pt x="246" y="89"/>
                        <a:pt x="246" y="89"/>
                      </a:cubicBezTo>
                      <a:cubicBezTo>
                        <a:pt x="246" y="89"/>
                        <a:pt x="247" y="90"/>
                        <a:pt x="247" y="90"/>
                      </a:cubicBezTo>
                      <a:cubicBezTo>
                        <a:pt x="247" y="91"/>
                        <a:pt x="246" y="92"/>
                        <a:pt x="246" y="92"/>
                      </a:cubicBezTo>
                      <a:cubicBezTo>
                        <a:pt x="135" y="156"/>
                        <a:pt x="135" y="156"/>
                        <a:pt x="135" y="156"/>
                      </a:cubicBezTo>
                      <a:cubicBezTo>
                        <a:pt x="135" y="156"/>
                        <a:pt x="135" y="156"/>
                        <a:pt x="134" y="156"/>
                      </a:cubicBezTo>
                      <a:close/>
                      <a:moveTo>
                        <a:pt x="6" y="78"/>
                      </a:moveTo>
                      <a:cubicBezTo>
                        <a:pt x="134" y="152"/>
                        <a:pt x="134" y="152"/>
                        <a:pt x="134" y="152"/>
                      </a:cubicBezTo>
                      <a:cubicBezTo>
                        <a:pt x="241" y="90"/>
                        <a:pt x="241" y="90"/>
                        <a:pt x="241" y="90"/>
                      </a:cubicBezTo>
                      <a:cubicBezTo>
                        <a:pt x="175" y="52"/>
                        <a:pt x="175" y="52"/>
                        <a:pt x="175" y="52"/>
                      </a:cubicBezTo>
                      <a:cubicBezTo>
                        <a:pt x="174" y="52"/>
                        <a:pt x="174" y="51"/>
                        <a:pt x="174" y="50"/>
                      </a:cubicBezTo>
                      <a:cubicBezTo>
                        <a:pt x="174" y="50"/>
                        <a:pt x="174" y="49"/>
                        <a:pt x="175" y="49"/>
                      </a:cubicBezTo>
                      <a:cubicBezTo>
                        <a:pt x="193" y="38"/>
                        <a:pt x="193" y="38"/>
                        <a:pt x="193" y="38"/>
                      </a:cubicBezTo>
                      <a:cubicBezTo>
                        <a:pt x="134" y="4"/>
                        <a:pt x="134" y="4"/>
                        <a:pt x="134" y="4"/>
                      </a:cubicBezTo>
                      <a:cubicBezTo>
                        <a:pt x="131" y="6"/>
                        <a:pt x="131" y="6"/>
                        <a:pt x="131" y="6"/>
                      </a:cubicBezTo>
                      <a:cubicBezTo>
                        <a:pt x="131" y="51"/>
                        <a:pt x="131" y="51"/>
                        <a:pt x="131" y="51"/>
                      </a:cubicBezTo>
                      <a:cubicBezTo>
                        <a:pt x="131" y="52"/>
                        <a:pt x="131" y="53"/>
                        <a:pt x="130" y="53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7" y="89"/>
                        <a:pt x="66" y="89"/>
                        <a:pt x="66" y="89"/>
                      </a:cubicBezTo>
                      <a:cubicBezTo>
                        <a:pt x="65" y="89"/>
                        <a:pt x="65" y="88"/>
                        <a:pt x="65" y="87"/>
                      </a:cubicBezTo>
                      <a:cubicBezTo>
                        <a:pt x="65" y="44"/>
                        <a:pt x="65" y="44"/>
                        <a:pt x="65" y="44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71"/>
                        <a:pt x="51" y="71"/>
                        <a:pt x="51" y="71"/>
                      </a:cubicBezTo>
                      <a:cubicBezTo>
                        <a:pt x="51" y="71"/>
                        <a:pt x="50" y="72"/>
                        <a:pt x="50" y="72"/>
                      </a:cubicBezTo>
                      <a:cubicBezTo>
                        <a:pt x="49" y="73"/>
                        <a:pt x="48" y="73"/>
                        <a:pt x="48" y="72"/>
                      </a:cubicBezTo>
                      <a:cubicBezTo>
                        <a:pt x="32" y="63"/>
                        <a:pt x="32" y="63"/>
                        <a:pt x="32" y="63"/>
                      </a:cubicBezTo>
                      <a:lnTo>
                        <a:pt x="6" y="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9" name="Freeform 862">
                  <a:extLst>
                    <a:ext uri="{FF2B5EF4-FFF2-40B4-BE49-F238E27FC236}">
                      <a16:creationId xmlns:a16="http://schemas.microsoft.com/office/drawing/2014/main" id="{ED178D4D-5FB1-45DF-B5DC-0177CAE4BE1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730"/>
                  <a:ext cx="149" cy="165"/>
                </a:xfrm>
                <a:custGeom>
                  <a:avLst/>
                  <a:gdLst>
                    <a:gd name="T0" fmla="*/ 16 w 63"/>
                    <a:gd name="T1" fmla="*/ 70 h 70"/>
                    <a:gd name="T2" fmla="*/ 15 w 63"/>
                    <a:gd name="T3" fmla="*/ 70 h 70"/>
                    <a:gd name="T4" fmla="*/ 1 w 63"/>
                    <a:gd name="T5" fmla="*/ 62 h 70"/>
                    <a:gd name="T6" fmla="*/ 0 w 63"/>
                    <a:gd name="T7" fmla="*/ 60 h 70"/>
                    <a:gd name="T8" fmla="*/ 0 w 63"/>
                    <a:gd name="T9" fmla="*/ 2 h 70"/>
                    <a:gd name="T10" fmla="*/ 1 w 63"/>
                    <a:gd name="T11" fmla="*/ 0 h 70"/>
                    <a:gd name="T12" fmla="*/ 3 w 63"/>
                    <a:gd name="T13" fmla="*/ 0 h 70"/>
                    <a:gd name="T14" fmla="*/ 62 w 63"/>
                    <a:gd name="T15" fmla="*/ 34 h 70"/>
                    <a:gd name="T16" fmla="*/ 63 w 63"/>
                    <a:gd name="T17" fmla="*/ 36 h 70"/>
                    <a:gd name="T18" fmla="*/ 63 w 63"/>
                    <a:gd name="T19" fmla="*/ 42 h 70"/>
                    <a:gd name="T20" fmla="*/ 62 w 63"/>
                    <a:gd name="T21" fmla="*/ 44 h 70"/>
                    <a:gd name="T22" fmla="*/ 17 w 63"/>
                    <a:gd name="T23" fmla="*/ 70 h 70"/>
                    <a:gd name="T24" fmla="*/ 16 w 63"/>
                    <a:gd name="T25" fmla="*/ 70 h 70"/>
                    <a:gd name="T26" fmla="*/ 4 w 63"/>
                    <a:gd name="T27" fmla="*/ 59 h 70"/>
                    <a:gd name="T28" fmla="*/ 16 w 63"/>
                    <a:gd name="T29" fmla="*/ 66 h 70"/>
                    <a:gd name="T30" fmla="*/ 59 w 63"/>
                    <a:gd name="T31" fmla="*/ 41 h 70"/>
                    <a:gd name="T32" fmla="*/ 59 w 63"/>
                    <a:gd name="T33" fmla="*/ 37 h 70"/>
                    <a:gd name="T34" fmla="*/ 4 w 63"/>
                    <a:gd name="T35" fmla="*/ 5 h 70"/>
                    <a:gd name="T36" fmla="*/ 4 w 63"/>
                    <a:gd name="T37" fmla="*/ 5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3" h="70">
                      <a:moveTo>
                        <a:pt x="16" y="70"/>
                      </a:move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1" y="62"/>
                        <a:pt x="1" y="62"/>
                        <a:pt x="1" y="62"/>
                      </a:cubicBezTo>
                      <a:cubicBezTo>
                        <a:pt x="1" y="62"/>
                        <a:pt x="0" y="61"/>
                        <a:pt x="0" y="6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63" y="34"/>
                        <a:pt x="63" y="35"/>
                        <a:pt x="63" y="36"/>
                      </a:cubicBezTo>
                      <a:cubicBezTo>
                        <a:pt x="63" y="42"/>
                        <a:pt x="63" y="42"/>
                        <a:pt x="63" y="42"/>
                      </a:cubicBezTo>
                      <a:cubicBezTo>
                        <a:pt x="63" y="43"/>
                        <a:pt x="63" y="43"/>
                        <a:pt x="62" y="44"/>
                      </a:cubicBezTo>
                      <a:cubicBezTo>
                        <a:pt x="17" y="70"/>
                        <a:pt x="17" y="70"/>
                        <a:pt x="17" y="70"/>
                      </a:cubicBezTo>
                      <a:cubicBezTo>
                        <a:pt x="16" y="70"/>
                        <a:pt x="16" y="70"/>
                        <a:pt x="16" y="70"/>
                      </a:cubicBezTo>
                      <a:close/>
                      <a:moveTo>
                        <a:pt x="4" y="59"/>
                      </a:moveTo>
                      <a:cubicBezTo>
                        <a:pt x="16" y="66"/>
                        <a:pt x="16" y="66"/>
                        <a:pt x="16" y="66"/>
                      </a:cubicBezTo>
                      <a:cubicBezTo>
                        <a:pt x="59" y="41"/>
                        <a:pt x="59" y="41"/>
                        <a:pt x="59" y="41"/>
                      </a:cubicBezTo>
                      <a:cubicBezTo>
                        <a:pt x="59" y="37"/>
                        <a:pt x="59" y="37"/>
                        <a:pt x="59" y="37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0" name="Freeform 863">
                  <a:extLst>
                    <a:ext uri="{FF2B5EF4-FFF2-40B4-BE49-F238E27FC236}">
                      <a16:creationId xmlns:a16="http://schemas.microsoft.com/office/drawing/2014/main" id="{8E8CC33F-D458-4E28-BE53-7BA6ACCDA5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631"/>
                  <a:ext cx="160" cy="175"/>
                </a:xfrm>
                <a:custGeom>
                  <a:avLst/>
                  <a:gdLst>
                    <a:gd name="T0" fmla="*/ 53 w 68"/>
                    <a:gd name="T1" fmla="*/ 74 h 74"/>
                    <a:gd name="T2" fmla="*/ 52 w 68"/>
                    <a:gd name="T3" fmla="*/ 74 h 74"/>
                    <a:gd name="T4" fmla="*/ 1 w 68"/>
                    <a:gd name="T5" fmla="*/ 44 h 74"/>
                    <a:gd name="T6" fmla="*/ 0 w 68"/>
                    <a:gd name="T7" fmla="*/ 42 h 74"/>
                    <a:gd name="T8" fmla="*/ 0 w 68"/>
                    <a:gd name="T9" fmla="*/ 36 h 74"/>
                    <a:gd name="T10" fmla="*/ 1 w 68"/>
                    <a:gd name="T11" fmla="*/ 35 h 74"/>
                    <a:gd name="T12" fmla="*/ 60 w 68"/>
                    <a:gd name="T13" fmla="*/ 1 h 74"/>
                    <a:gd name="T14" fmla="*/ 62 w 68"/>
                    <a:gd name="T15" fmla="*/ 1 h 74"/>
                    <a:gd name="T16" fmla="*/ 67 w 68"/>
                    <a:gd name="T17" fmla="*/ 4 h 74"/>
                    <a:gd name="T18" fmla="*/ 68 w 68"/>
                    <a:gd name="T19" fmla="*/ 5 h 74"/>
                    <a:gd name="T20" fmla="*/ 68 w 68"/>
                    <a:gd name="T21" fmla="*/ 7 h 74"/>
                    <a:gd name="T22" fmla="*/ 67 w 68"/>
                    <a:gd name="T23" fmla="*/ 9 h 74"/>
                    <a:gd name="T24" fmla="*/ 55 w 68"/>
                    <a:gd name="T25" fmla="*/ 16 h 74"/>
                    <a:gd name="T26" fmla="*/ 55 w 68"/>
                    <a:gd name="T27" fmla="*/ 72 h 74"/>
                    <a:gd name="T28" fmla="*/ 54 w 68"/>
                    <a:gd name="T29" fmla="*/ 74 h 74"/>
                    <a:gd name="T30" fmla="*/ 53 w 68"/>
                    <a:gd name="T31" fmla="*/ 74 h 74"/>
                    <a:gd name="T32" fmla="*/ 4 w 68"/>
                    <a:gd name="T33" fmla="*/ 41 h 74"/>
                    <a:gd name="T34" fmla="*/ 51 w 68"/>
                    <a:gd name="T35" fmla="*/ 69 h 74"/>
                    <a:gd name="T36" fmla="*/ 51 w 68"/>
                    <a:gd name="T37" fmla="*/ 15 h 74"/>
                    <a:gd name="T38" fmla="*/ 52 w 68"/>
                    <a:gd name="T39" fmla="*/ 13 h 74"/>
                    <a:gd name="T40" fmla="*/ 64 w 68"/>
                    <a:gd name="T41" fmla="*/ 6 h 74"/>
                    <a:gd name="T42" fmla="*/ 61 w 68"/>
                    <a:gd name="T43" fmla="*/ 5 h 74"/>
                    <a:gd name="T44" fmla="*/ 4 w 68"/>
                    <a:gd name="T45" fmla="*/ 38 h 74"/>
                    <a:gd name="T46" fmla="*/ 4 w 68"/>
                    <a:gd name="T47" fmla="*/ 4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8" h="74">
                      <a:moveTo>
                        <a:pt x="53" y="74"/>
                      </a:moveTo>
                      <a:cubicBezTo>
                        <a:pt x="53" y="74"/>
                        <a:pt x="53" y="74"/>
                        <a:pt x="52" y="74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44"/>
                        <a:pt x="0" y="43"/>
                        <a:pt x="0" y="42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1" y="0"/>
                        <a:pt x="61" y="0"/>
                        <a:pt x="62" y="1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68" y="4"/>
                        <a:pt x="68" y="5"/>
                        <a:pt x="68" y="5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8"/>
                        <a:pt x="68" y="9"/>
                        <a:pt x="67" y="9"/>
                      </a:cubicBezTo>
                      <a:cubicBezTo>
                        <a:pt x="55" y="16"/>
                        <a:pt x="55" y="16"/>
                        <a:pt x="55" y="16"/>
                      </a:cubicBezTo>
                      <a:cubicBezTo>
                        <a:pt x="55" y="72"/>
                        <a:pt x="55" y="72"/>
                        <a:pt x="55" y="72"/>
                      </a:cubicBezTo>
                      <a:cubicBezTo>
                        <a:pt x="55" y="73"/>
                        <a:pt x="55" y="74"/>
                        <a:pt x="54" y="74"/>
                      </a:cubicBezTo>
                      <a:cubicBezTo>
                        <a:pt x="54" y="74"/>
                        <a:pt x="54" y="74"/>
                        <a:pt x="53" y="74"/>
                      </a:cubicBezTo>
                      <a:close/>
                      <a:moveTo>
                        <a:pt x="4" y="41"/>
                      </a:move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15"/>
                        <a:pt x="51" y="15"/>
                        <a:pt x="51" y="15"/>
                      </a:cubicBezTo>
                      <a:cubicBezTo>
                        <a:pt x="51" y="14"/>
                        <a:pt x="52" y="13"/>
                        <a:pt x="52" y="13"/>
                      </a:cubicBezTo>
                      <a:cubicBezTo>
                        <a:pt x="64" y="6"/>
                        <a:pt x="64" y="6"/>
                        <a:pt x="64" y="6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4" y="38"/>
                        <a:pt x="4" y="38"/>
                        <a:pt x="4" y="38"/>
                      </a:cubicBezTo>
                      <a:lnTo>
                        <a:pt x="4" y="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1" name="Freeform 864">
                  <a:extLst>
                    <a:ext uri="{FF2B5EF4-FFF2-40B4-BE49-F238E27FC236}">
                      <a16:creationId xmlns:a16="http://schemas.microsoft.com/office/drawing/2014/main" id="{83F89B1D-38E1-4628-B527-7067AFCFAD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574"/>
                  <a:ext cx="109" cy="187"/>
                </a:xfrm>
                <a:custGeom>
                  <a:avLst/>
                  <a:gdLst>
                    <a:gd name="T0" fmla="*/ 27 w 46"/>
                    <a:gd name="T1" fmla="*/ 79 h 79"/>
                    <a:gd name="T2" fmla="*/ 26 w 46"/>
                    <a:gd name="T3" fmla="*/ 78 h 79"/>
                    <a:gd name="T4" fmla="*/ 1 w 46"/>
                    <a:gd name="T5" fmla="*/ 64 h 79"/>
                    <a:gd name="T6" fmla="*/ 0 w 46"/>
                    <a:gd name="T7" fmla="*/ 63 h 79"/>
                    <a:gd name="T8" fmla="*/ 0 w 46"/>
                    <a:gd name="T9" fmla="*/ 26 h 79"/>
                    <a:gd name="T10" fmla="*/ 1 w 46"/>
                    <a:gd name="T11" fmla="*/ 25 h 79"/>
                    <a:gd name="T12" fmla="*/ 43 w 46"/>
                    <a:gd name="T13" fmla="*/ 1 h 79"/>
                    <a:gd name="T14" fmla="*/ 45 w 46"/>
                    <a:gd name="T15" fmla="*/ 1 h 79"/>
                    <a:gd name="T16" fmla="*/ 46 w 46"/>
                    <a:gd name="T17" fmla="*/ 3 h 79"/>
                    <a:gd name="T18" fmla="*/ 46 w 46"/>
                    <a:gd name="T19" fmla="*/ 67 h 79"/>
                    <a:gd name="T20" fmla="*/ 45 w 46"/>
                    <a:gd name="T21" fmla="*/ 68 h 79"/>
                    <a:gd name="T22" fmla="*/ 28 w 46"/>
                    <a:gd name="T23" fmla="*/ 78 h 79"/>
                    <a:gd name="T24" fmla="*/ 27 w 46"/>
                    <a:gd name="T25" fmla="*/ 79 h 79"/>
                    <a:gd name="T26" fmla="*/ 4 w 46"/>
                    <a:gd name="T27" fmla="*/ 61 h 79"/>
                    <a:gd name="T28" fmla="*/ 27 w 46"/>
                    <a:gd name="T29" fmla="*/ 74 h 79"/>
                    <a:gd name="T30" fmla="*/ 42 w 46"/>
                    <a:gd name="T31" fmla="*/ 66 h 79"/>
                    <a:gd name="T32" fmla="*/ 42 w 46"/>
                    <a:gd name="T33" fmla="*/ 6 h 79"/>
                    <a:gd name="T34" fmla="*/ 4 w 46"/>
                    <a:gd name="T35" fmla="*/ 28 h 79"/>
                    <a:gd name="T36" fmla="*/ 4 w 46"/>
                    <a:gd name="T37" fmla="*/ 6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6" h="79">
                      <a:moveTo>
                        <a:pt x="27" y="79"/>
                      </a:moveTo>
                      <a:cubicBezTo>
                        <a:pt x="26" y="79"/>
                        <a:pt x="26" y="78"/>
                        <a:pt x="26" y="78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3"/>
                        <a:pt x="0" y="63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0" y="26"/>
                        <a:pt x="1" y="25"/>
                        <a:pt x="1" y="25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3" y="0"/>
                        <a:pt x="44" y="0"/>
                        <a:pt x="45" y="1"/>
                      </a:cubicBezTo>
                      <a:cubicBezTo>
                        <a:pt x="45" y="1"/>
                        <a:pt x="46" y="2"/>
                        <a:pt x="46" y="3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46" y="67"/>
                        <a:pt x="45" y="68"/>
                        <a:pt x="45" y="68"/>
                      </a:cubicBezTo>
                      <a:cubicBezTo>
                        <a:pt x="28" y="78"/>
                        <a:pt x="28" y="78"/>
                        <a:pt x="28" y="78"/>
                      </a:cubicBezTo>
                      <a:cubicBezTo>
                        <a:pt x="27" y="78"/>
                        <a:pt x="27" y="79"/>
                        <a:pt x="27" y="79"/>
                      </a:cubicBezTo>
                      <a:close/>
                      <a:moveTo>
                        <a:pt x="4" y="61"/>
                      </a:moveTo>
                      <a:cubicBezTo>
                        <a:pt x="27" y="74"/>
                        <a:pt x="27" y="74"/>
                        <a:pt x="27" y="74"/>
                      </a:cubicBezTo>
                      <a:cubicBezTo>
                        <a:pt x="42" y="66"/>
                        <a:pt x="42" y="66"/>
                        <a:pt x="42" y="66"/>
                      </a:cubicBezTo>
                      <a:cubicBezTo>
                        <a:pt x="42" y="6"/>
                        <a:pt x="42" y="6"/>
                        <a:pt x="42" y="6"/>
                      </a:cubicBezTo>
                      <a:cubicBezTo>
                        <a:pt x="4" y="28"/>
                        <a:pt x="4" y="28"/>
                        <a:pt x="4" y="28"/>
                      </a:cubicBezTo>
                      <a:lnTo>
                        <a:pt x="4" y="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2" name="Freeform 865">
                  <a:extLst>
                    <a:ext uri="{FF2B5EF4-FFF2-40B4-BE49-F238E27FC236}">
                      <a16:creationId xmlns:a16="http://schemas.microsoft.com/office/drawing/2014/main" id="{A0E4CAD0-4B39-4B25-A1EB-A2397A6B94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721"/>
                  <a:ext cx="64" cy="73"/>
                </a:xfrm>
                <a:custGeom>
                  <a:avLst/>
                  <a:gdLst>
                    <a:gd name="T0" fmla="*/ 2 w 27"/>
                    <a:gd name="T1" fmla="*/ 31 h 31"/>
                    <a:gd name="T2" fmla="*/ 1 w 27"/>
                    <a:gd name="T3" fmla="*/ 30 h 31"/>
                    <a:gd name="T4" fmla="*/ 0 w 27"/>
                    <a:gd name="T5" fmla="*/ 29 h 31"/>
                    <a:gd name="T6" fmla="*/ 0 w 27"/>
                    <a:gd name="T7" fmla="*/ 3 h 31"/>
                    <a:gd name="T8" fmla="*/ 1 w 27"/>
                    <a:gd name="T9" fmla="*/ 1 h 31"/>
                    <a:gd name="T10" fmla="*/ 3 w 27"/>
                    <a:gd name="T11" fmla="*/ 1 h 31"/>
                    <a:gd name="T12" fmla="*/ 26 w 27"/>
                    <a:gd name="T13" fmla="*/ 14 h 31"/>
                    <a:gd name="T14" fmla="*/ 27 w 27"/>
                    <a:gd name="T15" fmla="*/ 16 h 31"/>
                    <a:gd name="T16" fmla="*/ 26 w 27"/>
                    <a:gd name="T17" fmla="*/ 17 h 31"/>
                    <a:gd name="T18" fmla="*/ 3 w 27"/>
                    <a:gd name="T19" fmla="*/ 30 h 31"/>
                    <a:gd name="T20" fmla="*/ 2 w 27"/>
                    <a:gd name="T21" fmla="*/ 31 h 31"/>
                    <a:gd name="T22" fmla="*/ 4 w 27"/>
                    <a:gd name="T23" fmla="*/ 6 h 31"/>
                    <a:gd name="T24" fmla="*/ 4 w 27"/>
                    <a:gd name="T25" fmla="*/ 25 h 31"/>
                    <a:gd name="T26" fmla="*/ 21 w 27"/>
                    <a:gd name="T27" fmla="*/ 16 h 31"/>
                    <a:gd name="T28" fmla="*/ 4 w 27"/>
                    <a:gd name="T29" fmla="*/ 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7" h="31">
                      <a:moveTo>
                        <a:pt x="2" y="31"/>
                      </a:moveTo>
                      <a:cubicBezTo>
                        <a:pt x="2" y="31"/>
                        <a:pt x="2" y="30"/>
                        <a:pt x="1" y="30"/>
                      </a:cubicBezTo>
                      <a:cubicBezTo>
                        <a:pt x="1" y="30"/>
                        <a:pt x="0" y="29"/>
                        <a:pt x="0" y="29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26" y="14"/>
                        <a:pt x="26" y="14"/>
                        <a:pt x="26" y="14"/>
                      </a:cubicBezTo>
                      <a:cubicBezTo>
                        <a:pt x="27" y="14"/>
                        <a:pt x="27" y="15"/>
                        <a:pt x="27" y="16"/>
                      </a:cubicBezTo>
                      <a:cubicBezTo>
                        <a:pt x="27" y="16"/>
                        <a:pt x="27" y="17"/>
                        <a:pt x="26" y="17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1"/>
                        <a:pt x="2" y="31"/>
                      </a:cubicBezTo>
                      <a:close/>
                      <a:moveTo>
                        <a:pt x="4" y="6"/>
                      </a:move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21" y="16"/>
                        <a:pt x="21" y="16"/>
                        <a:pt x="21" y="1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3" name="Freeform 866">
                  <a:extLst>
                    <a:ext uri="{FF2B5EF4-FFF2-40B4-BE49-F238E27FC236}">
                      <a16:creationId xmlns:a16="http://schemas.microsoft.com/office/drawing/2014/main" id="{A1EC25B6-7466-4A19-86D9-C8C013B150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31" y="257"/>
                  <a:ext cx="274" cy="164"/>
                </a:xfrm>
                <a:custGeom>
                  <a:avLst/>
                  <a:gdLst>
                    <a:gd name="T0" fmla="*/ 38 w 116"/>
                    <a:gd name="T1" fmla="*/ 69 h 69"/>
                    <a:gd name="T2" fmla="*/ 37 w 116"/>
                    <a:gd name="T3" fmla="*/ 69 h 69"/>
                    <a:gd name="T4" fmla="*/ 1 w 116"/>
                    <a:gd name="T5" fmla="*/ 48 h 69"/>
                    <a:gd name="T6" fmla="*/ 0 w 116"/>
                    <a:gd name="T7" fmla="*/ 46 h 69"/>
                    <a:gd name="T8" fmla="*/ 1 w 116"/>
                    <a:gd name="T9" fmla="*/ 44 h 69"/>
                    <a:gd name="T10" fmla="*/ 77 w 116"/>
                    <a:gd name="T11" fmla="*/ 1 h 69"/>
                    <a:gd name="T12" fmla="*/ 79 w 116"/>
                    <a:gd name="T13" fmla="*/ 1 h 69"/>
                    <a:gd name="T14" fmla="*/ 115 w 116"/>
                    <a:gd name="T15" fmla="*/ 21 h 69"/>
                    <a:gd name="T16" fmla="*/ 116 w 116"/>
                    <a:gd name="T17" fmla="*/ 23 h 69"/>
                    <a:gd name="T18" fmla="*/ 115 w 116"/>
                    <a:gd name="T19" fmla="*/ 25 h 69"/>
                    <a:gd name="T20" fmla="*/ 39 w 116"/>
                    <a:gd name="T21" fmla="*/ 69 h 69"/>
                    <a:gd name="T22" fmla="*/ 38 w 116"/>
                    <a:gd name="T23" fmla="*/ 69 h 69"/>
                    <a:gd name="T24" fmla="*/ 6 w 116"/>
                    <a:gd name="T25" fmla="*/ 46 h 69"/>
                    <a:gd name="T26" fmla="*/ 38 w 116"/>
                    <a:gd name="T27" fmla="*/ 65 h 69"/>
                    <a:gd name="T28" fmla="*/ 110 w 116"/>
                    <a:gd name="T29" fmla="*/ 23 h 69"/>
                    <a:gd name="T30" fmla="*/ 78 w 116"/>
                    <a:gd name="T31" fmla="*/ 5 h 69"/>
                    <a:gd name="T32" fmla="*/ 6 w 116"/>
                    <a:gd name="T33" fmla="*/ 46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6" h="69">
                      <a:moveTo>
                        <a:pt x="38" y="69"/>
                      </a:moveTo>
                      <a:cubicBezTo>
                        <a:pt x="38" y="69"/>
                        <a:pt x="37" y="69"/>
                        <a:pt x="37" y="69"/>
                      </a:cubicBezTo>
                      <a:cubicBezTo>
                        <a:pt x="1" y="48"/>
                        <a:pt x="1" y="48"/>
                        <a:pt x="1" y="48"/>
                      </a:cubicBezTo>
                      <a:cubicBezTo>
                        <a:pt x="0" y="47"/>
                        <a:pt x="0" y="47"/>
                        <a:pt x="0" y="46"/>
                      </a:cubicBezTo>
                      <a:cubicBezTo>
                        <a:pt x="0" y="45"/>
                        <a:pt x="0" y="45"/>
                        <a:pt x="1" y="44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7" y="0"/>
                        <a:pt x="78" y="0"/>
                        <a:pt x="79" y="1"/>
                      </a:cubicBezTo>
                      <a:cubicBezTo>
                        <a:pt x="115" y="21"/>
                        <a:pt x="115" y="21"/>
                        <a:pt x="115" y="21"/>
                      </a:cubicBezTo>
                      <a:cubicBezTo>
                        <a:pt x="115" y="22"/>
                        <a:pt x="116" y="22"/>
                        <a:pt x="116" y="23"/>
                      </a:cubicBezTo>
                      <a:cubicBezTo>
                        <a:pt x="116" y="24"/>
                        <a:pt x="115" y="25"/>
                        <a:pt x="115" y="25"/>
                      </a:cubicBezTo>
                      <a:cubicBezTo>
                        <a:pt x="39" y="69"/>
                        <a:pt x="39" y="69"/>
                        <a:pt x="39" y="69"/>
                      </a:cubicBezTo>
                      <a:cubicBezTo>
                        <a:pt x="39" y="69"/>
                        <a:pt x="38" y="69"/>
                        <a:pt x="38" y="69"/>
                      </a:cubicBezTo>
                      <a:close/>
                      <a:moveTo>
                        <a:pt x="6" y="46"/>
                      </a:moveTo>
                      <a:cubicBezTo>
                        <a:pt x="38" y="65"/>
                        <a:pt x="38" y="65"/>
                        <a:pt x="38" y="65"/>
                      </a:cubicBezTo>
                      <a:cubicBezTo>
                        <a:pt x="110" y="23"/>
                        <a:pt x="110" y="23"/>
                        <a:pt x="110" y="23"/>
                      </a:cubicBezTo>
                      <a:cubicBezTo>
                        <a:pt x="78" y="5"/>
                        <a:pt x="78" y="5"/>
                        <a:pt x="78" y="5"/>
                      </a:cubicBezTo>
                      <a:lnTo>
                        <a:pt x="6" y="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4" name="Freeform 867">
                  <a:extLst>
                    <a:ext uri="{FF2B5EF4-FFF2-40B4-BE49-F238E27FC236}">
                      <a16:creationId xmlns:a16="http://schemas.microsoft.com/office/drawing/2014/main" id="{66B9346D-72C2-4C41-A9ED-8E117C1AB4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402"/>
                  <a:ext cx="293" cy="333"/>
                </a:xfrm>
                <a:custGeom>
                  <a:avLst/>
                  <a:gdLst>
                    <a:gd name="T0" fmla="*/ 45 w 124"/>
                    <a:gd name="T1" fmla="*/ 141 h 141"/>
                    <a:gd name="T2" fmla="*/ 44 w 124"/>
                    <a:gd name="T3" fmla="*/ 141 h 141"/>
                    <a:gd name="T4" fmla="*/ 43 w 124"/>
                    <a:gd name="T5" fmla="*/ 139 h 141"/>
                    <a:gd name="T6" fmla="*/ 43 w 124"/>
                    <a:gd name="T7" fmla="*/ 76 h 141"/>
                    <a:gd name="T8" fmla="*/ 3 w 124"/>
                    <a:gd name="T9" fmla="*/ 99 h 141"/>
                    <a:gd name="T10" fmla="*/ 1 w 124"/>
                    <a:gd name="T11" fmla="*/ 99 h 141"/>
                    <a:gd name="T12" fmla="*/ 0 w 124"/>
                    <a:gd name="T13" fmla="*/ 97 h 141"/>
                    <a:gd name="T14" fmla="*/ 0 w 124"/>
                    <a:gd name="T15" fmla="*/ 25 h 141"/>
                    <a:gd name="T16" fmla="*/ 1 w 124"/>
                    <a:gd name="T17" fmla="*/ 24 h 141"/>
                    <a:gd name="T18" fmla="*/ 32 w 124"/>
                    <a:gd name="T19" fmla="*/ 6 h 141"/>
                    <a:gd name="T20" fmla="*/ 34 w 124"/>
                    <a:gd name="T21" fmla="*/ 6 h 141"/>
                    <a:gd name="T22" fmla="*/ 73 w 124"/>
                    <a:gd name="T23" fmla="*/ 28 h 141"/>
                    <a:gd name="T24" fmla="*/ 121 w 124"/>
                    <a:gd name="T25" fmla="*/ 0 h 141"/>
                    <a:gd name="T26" fmla="*/ 123 w 124"/>
                    <a:gd name="T27" fmla="*/ 0 h 141"/>
                    <a:gd name="T28" fmla="*/ 124 w 124"/>
                    <a:gd name="T29" fmla="*/ 2 h 141"/>
                    <a:gd name="T30" fmla="*/ 124 w 124"/>
                    <a:gd name="T31" fmla="*/ 94 h 141"/>
                    <a:gd name="T32" fmla="*/ 123 w 124"/>
                    <a:gd name="T33" fmla="*/ 96 h 141"/>
                    <a:gd name="T34" fmla="*/ 118 w 124"/>
                    <a:gd name="T35" fmla="*/ 99 h 141"/>
                    <a:gd name="T36" fmla="*/ 116 w 124"/>
                    <a:gd name="T37" fmla="*/ 99 h 141"/>
                    <a:gd name="T38" fmla="*/ 58 w 124"/>
                    <a:gd name="T39" fmla="*/ 66 h 141"/>
                    <a:gd name="T40" fmla="*/ 58 w 124"/>
                    <a:gd name="T41" fmla="*/ 133 h 141"/>
                    <a:gd name="T42" fmla="*/ 57 w 124"/>
                    <a:gd name="T43" fmla="*/ 134 h 141"/>
                    <a:gd name="T44" fmla="*/ 46 w 124"/>
                    <a:gd name="T45" fmla="*/ 141 h 141"/>
                    <a:gd name="T46" fmla="*/ 45 w 124"/>
                    <a:gd name="T47" fmla="*/ 141 h 141"/>
                    <a:gd name="T48" fmla="*/ 45 w 124"/>
                    <a:gd name="T49" fmla="*/ 71 h 141"/>
                    <a:gd name="T50" fmla="*/ 46 w 124"/>
                    <a:gd name="T51" fmla="*/ 71 h 141"/>
                    <a:gd name="T52" fmla="*/ 47 w 124"/>
                    <a:gd name="T53" fmla="*/ 73 h 141"/>
                    <a:gd name="T54" fmla="*/ 47 w 124"/>
                    <a:gd name="T55" fmla="*/ 135 h 141"/>
                    <a:gd name="T56" fmla="*/ 54 w 124"/>
                    <a:gd name="T57" fmla="*/ 131 h 141"/>
                    <a:gd name="T58" fmla="*/ 54 w 124"/>
                    <a:gd name="T59" fmla="*/ 62 h 141"/>
                    <a:gd name="T60" fmla="*/ 55 w 124"/>
                    <a:gd name="T61" fmla="*/ 61 h 141"/>
                    <a:gd name="T62" fmla="*/ 57 w 124"/>
                    <a:gd name="T63" fmla="*/ 61 h 141"/>
                    <a:gd name="T64" fmla="*/ 117 w 124"/>
                    <a:gd name="T65" fmla="*/ 95 h 141"/>
                    <a:gd name="T66" fmla="*/ 120 w 124"/>
                    <a:gd name="T67" fmla="*/ 93 h 141"/>
                    <a:gd name="T68" fmla="*/ 120 w 124"/>
                    <a:gd name="T69" fmla="*/ 6 h 141"/>
                    <a:gd name="T70" fmla="*/ 74 w 124"/>
                    <a:gd name="T71" fmla="*/ 32 h 141"/>
                    <a:gd name="T72" fmla="*/ 72 w 124"/>
                    <a:gd name="T73" fmla="*/ 32 h 141"/>
                    <a:gd name="T74" fmla="*/ 33 w 124"/>
                    <a:gd name="T75" fmla="*/ 10 h 141"/>
                    <a:gd name="T76" fmla="*/ 4 w 124"/>
                    <a:gd name="T77" fmla="*/ 27 h 141"/>
                    <a:gd name="T78" fmla="*/ 4 w 124"/>
                    <a:gd name="T79" fmla="*/ 94 h 141"/>
                    <a:gd name="T80" fmla="*/ 44 w 124"/>
                    <a:gd name="T81" fmla="*/ 71 h 141"/>
                    <a:gd name="T82" fmla="*/ 45 w 124"/>
                    <a:gd name="T83" fmla="*/ 7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24" h="141">
                      <a:moveTo>
                        <a:pt x="45" y="141"/>
                      </a:moveTo>
                      <a:cubicBezTo>
                        <a:pt x="45" y="141"/>
                        <a:pt x="45" y="141"/>
                        <a:pt x="44" y="141"/>
                      </a:cubicBezTo>
                      <a:cubicBezTo>
                        <a:pt x="44" y="140"/>
                        <a:pt x="43" y="140"/>
                        <a:pt x="43" y="139"/>
                      </a:cubicBezTo>
                      <a:cubicBezTo>
                        <a:pt x="43" y="76"/>
                        <a:pt x="43" y="76"/>
                        <a:pt x="43" y="76"/>
                      </a:cubicBezTo>
                      <a:cubicBezTo>
                        <a:pt x="3" y="99"/>
                        <a:pt x="3" y="99"/>
                        <a:pt x="3" y="99"/>
                      </a:cubicBezTo>
                      <a:cubicBezTo>
                        <a:pt x="3" y="100"/>
                        <a:pt x="2" y="100"/>
                        <a:pt x="1" y="99"/>
                      </a:cubicBezTo>
                      <a:cubicBezTo>
                        <a:pt x="1" y="99"/>
                        <a:pt x="0" y="98"/>
                        <a:pt x="0" y="97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5"/>
                        <a:pt x="1" y="24"/>
                        <a:pt x="1" y="24"/>
                      </a:cubicBezTo>
                      <a:cubicBezTo>
                        <a:pt x="32" y="6"/>
                        <a:pt x="32" y="6"/>
                        <a:pt x="32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73" y="28"/>
                        <a:pt x="73" y="28"/>
                        <a:pt x="73" y="28"/>
                      </a:cubicBezTo>
                      <a:cubicBezTo>
                        <a:pt x="121" y="0"/>
                        <a:pt x="121" y="0"/>
                        <a:pt x="121" y="0"/>
                      </a:cubicBezTo>
                      <a:cubicBezTo>
                        <a:pt x="122" y="0"/>
                        <a:pt x="122" y="0"/>
                        <a:pt x="123" y="0"/>
                      </a:cubicBezTo>
                      <a:cubicBezTo>
                        <a:pt x="124" y="1"/>
                        <a:pt x="124" y="1"/>
                        <a:pt x="124" y="2"/>
                      </a:cubicBezTo>
                      <a:cubicBezTo>
                        <a:pt x="124" y="94"/>
                        <a:pt x="124" y="94"/>
                        <a:pt x="124" y="94"/>
                      </a:cubicBezTo>
                      <a:cubicBezTo>
                        <a:pt x="124" y="95"/>
                        <a:pt x="124" y="96"/>
                        <a:pt x="123" y="96"/>
                      </a:cubicBezTo>
                      <a:cubicBezTo>
                        <a:pt x="118" y="99"/>
                        <a:pt x="118" y="99"/>
                        <a:pt x="118" y="99"/>
                      </a:cubicBezTo>
                      <a:cubicBezTo>
                        <a:pt x="117" y="100"/>
                        <a:pt x="117" y="100"/>
                        <a:pt x="116" y="99"/>
                      </a:cubicBezTo>
                      <a:cubicBezTo>
                        <a:pt x="58" y="66"/>
                        <a:pt x="58" y="66"/>
                        <a:pt x="58" y="66"/>
                      </a:cubicBezTo>
                      <a:cubicBezTo>
                        <a:pt x="58" y="133"/>
                        <a:pt x="58" y="133"/>
                        <a:pt x="58" y="133"/>
                      </a:cubicBezTo>
                      <a:cubicBezTo>
                        <a:pt x="58" y="133"/>
                        <a:pt x="58" y="134"/>
                        <a:pt x="57" y="134"/>
                      </a:cubicBezTo>
                      <a:cubicBezTo>
                        <a:pt x="46" y="141"/>
                        <a:pt x="46" y="141"/>
                        <a:pt x="46" y="141"/>
                      </a:cubicBezTo>
                      <a:cubicBezTo>
                        <a:pt x="46" y="141"/>
                        <a:pt x="46" y="141"/>
                        <a:pt x="45" y="141"/>
                      </a:cubicBezTo>
                      <a:close/>
                      <a:moveTo>
                        <a:pt x="45" y="71"/>
                      </a:moveTo>
                      <a:cubicBezTo>
                        <a:pt x="46" y="71"/>
                        <a:pt x="46" y="71"/>
                        <a:pt x="46" y="71"/>
                      </a:cubicBezTo>
                      <a:cubicBezTo>
                        <a:pt x="47" y="71"/>
                        <a:pt x="47" y="72"/>
                        <a:pt x="47" y="73"/>
                      </a:cubicBezTo>
                      <a:cubicBezTo>
                        <a:pt x="47" y="135"/>
                        <a:pt x="47" y="135"/>
                        <a:pt x="47" y="135"/>
                      </a:cubicBezTo>
                      <a:cubicBezTo>
                        <a:pt x="54" y="131"/>
                        <a:pt x="54" y="131"/>
                        <a:pt x="54" y="131"/>
                      </a:cubicBezTo>
                      <a:cubicBezTo>
                        <a:pt x="54" y="62"/>
                        <a:pt x="54" y="62"/>
                        <a:pt x="54" y="62"/>
                      </a:cubicBezTo>
                      <a:cubicBezTo>
                        <a:pt x="54" y="62"/>
                        <a:pt x="54" y="61"/>
                        <a:pt x="55" y="61"/>
                      </a:cubicBezTo>
                      <a:cubicBezTo>
                        <a:pt x="56" y="60"/>
                        <a:pt x="56" y="60"/>
                        <a:pt x="57" y="61"/>
                      </a:cubicBezTo>
                      <a:cubicBezTo>
                        <a:pt x="117" y="95"/>
                        <a:pt x="117" y="95"/>
                        <a:pt x="117" y="95"/>
                      </a:cubicBezTo>
                      <a:cubicBezTo>
                        <a:pt x="120" y="93"/>
                        <a:pt x="120" y="93"/>
                        <a:pt x="120" y="93"/>
                      </a:cubicBezTo>
                      <a:cubicBezTo>
                        <a:pt x="120" y="6"/>
                        <a:pt x="120" y="6"/>
                        <a:pt x="120" y="6"/>
                      </a:cubicBezTo>
                      <a:cubicBezTo>
                        <a:pt x="74" y="32"/>
                        <a:pt x="74" y="32"/>
                        <a:pt x="74" y="32"/>
                      </a:cubicBezTo>
                      <a:cubicBezTo>
                        <a:pt x="73" y="33"/>
                        <a:pt x="72" y="33"/>
                        <a:pt x="72" y="32"/>
                      </a:cubicBezTo>
                      <a:cubicBezTo>
                        <a:pt x="33" y="10"/>
                        <a:pt x="33" y="10"/>
                        <a:pt x="33" y="10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4" y="94"/>
                        <a:pt x="4" y="94"/>
                        <a:pt x="4" y="94"/>
                      </a:cubicBezTo>
                      <a:cubicBezTo>
                        <a:pt x="44" y="71"/>
                        <a:pt x="44" y="71"/>
                        <a:pt x="44" y="71"/>
                      </a:cubicBezTo>
                      <a:cubicBezTo>
                        <a:pt x="45" y="71"/>
                        <a:pt x="45" y="71"/>
                        <a:pt x="45" y="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5" name="Freeform 868">
                  <a:extLst>
                    <a:ext uri="{FF2B5EF4-FFF2-40B4-BE49-F238E27FC236}">
                      <a16:creationId xmlns:a16="http://schemas.microsoft.com/office/drawing/2014/main" id="{C8F6488B-644E-4F7E-9AA3-8D1ECE4543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2" y="293"/>
                  <a:ext cx="33" cy="38"/>
                </a:xfrm>
                <a:custGeom>
                  <a:avLst/>
                  <a:gdLst>
                    <a:gd name="T0" fmla="*/ 12 w 14"/>
                    <a:gd name="T1" fmla="*/ 16 h 16"/>
                    <a:gd name="T2" fmla="*/ 11 w 14"/>
                    <a:gd name="T3" fmla="*/ 16 h 16"/>
                    <a:gd name="T4" fmla="*/ 1 w 14"/>
                    <a:gd name="T5" fmla="*/ 10 h 16"/>
                    <a:gd name="T6" fmla="*/ 0 w 14"/>
                    <a:gd name="T7" fmla="*/ 8 h 16"/>
                    <a:gd name="T8" fmla="*/ 1 w 14"/>
                    <a:gd name="T9" fmla="*/ 6 h 16"/>
                    <a:gd name="T10" fmla="*/ 11 w 14"/>
                    <a:gd name="T11" fmla="*/ 1 h 16"/>
                    <a:gd name="T12" fmla="*/ 13 w 14"/>
                    <a:gd name="T13" fmla="*/ 1 h 16"/>
                    <a:gd name="T14" fmla="*/ 14 w 14"/>
                    <a:gd name="T15" fmla="*/ 2 h 16"/>
                    <a:gd name="T16" fmla="*/ 14 w 14"/>
                    <a:gd name="T17" fmla="*/ 14 h 16"/>
                    <a:gd name="T18" fmla="*/ 13 w 14"/>
                    <a:gd name="T19" fmla="*/ 16 h 16"/>
                    <a:gd name="T20" fmla="*/ 12 w 14"/>
                    <a:gd name="T21" fmla="*/ 16 h 16"/>
                    <a:gd name="T22" fmla="*/ 6 w 14"/>
                    <a:gd name="T23" fmla="*/ 8 h 16"/>
                    <a:gd name="T24" fmla="*/ 10 w 14"/>
                    <a:gd name="T25" fmla="*/ 10 h 16"/>
                    <a:gd name="T26" fmla="*/ 10 w 14"/>
                    <a:gd name="T27" fmla="*/ 6 h 16"/>
                    <a:gd name="T28" fmla="*/ 6 w 14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6">
                      <a:moveTo>
                        <a:pt x="12" y="16"/>
                      </a:moveTo>
                      <a:cubicBezTo>
                        <a:pt x="12" y="16"/>
                        <a:pt x="11" y="16"/>
                        <a:pt x="11" y="1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2" y="0"/>
                        <a:pt x="12" y="0"/>
                        <a:pt x="13" y="1"/>
                      </a:cubicBezTo>
                      <a:cubicBezTo>
                        <a:pt x="14" y="1"/>
                        <a:pt x="14" y="2"/>
                        <a:pt x="14" y="2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4" y="15"/>
                        <a:pt x="14" y="15"/>
                        <a:pt x="13" y="16"/>
                      </a:cubicBezTo>
                      <a:cubicBezTo>
                        <a:pt x="13" y="16"/>
                        <a:pt x="12" y="16"/>
                        <a:pt x="12" y="16"/>
                      </a:cubicBezTo>
                      <a:close/>
                      <a:moveTo>
                        <a:pt x="6" y="8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6" name="Freeform 869">
                  <a:extLst>
                    <a:ext uri="{FF2B5EF4-FFF2-40B4-BE49-F238E27FC236}">
                      <a16:creationId xmlns:a16="http://schemas.microsoft.com/office/drawing/2014/main" id="{0BC4DE27-6BF9-4FB9-8CFD-0FA787DF7C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20" y="309"/>
                  <a:ext cx="215" cy="166"/>
                </a:xfrm>
                <a:custGeom>
                  <a:avLst/>
                  <a:gdLst>
                    <a:gd name="T0" fmla="*/ 40 w 91"/>
                    <a:gd name="T1" fmla="*/ 70 h 70"/>
                    <a:gd name="T2" fmla="*/ 39 w 91"/>
                    <a:gd name="T3" fmla="*/ 69 h 70"/>
                    <a:gd name="T4" fmla="*/ 1 w 91"/>
                    <a:gd name="T5" fmla="*/ 48 h 70"/>
                    <a:gd name="T6" fmla="*/ 0 w 91"/>
                    <a:gd name="T7" fmla="*/ 46 h 70"/>
                    <a:gd name="T8" fmla="*/ 1 w 91"/>
                    <a:gd name="T9" fmla="*/ 44 h 70"/>
                    <a:gd name="T10" fmla="*/ 76 w 91"/>
                    <a:gd name="T11" fmla="*/ 0 h 70"/>
                    <a:gd name="T12" fmla="*/ 78 w 91"/>
                    <a:gd name="T13" fmla="*/ 0 h 70"/>
                    <a:gd name="T14" fmla="*/ 90 w 91"/>
                    <a:gd name="T15" fmla="*/ 7 h 70"/>
                    <a:gd name="T16" fmla="*/ 91 w 91"/>
                    <a:gd name="T17" fmla="*/ 9 h 70"/>
                    <a:gd name="T18" fmla="*/ 91 w 91"/>
                    <a:gd name="T19" fmla="*/ 39 h 70"/>
                    <a:gd name="T20" fmla="*/ 90 w 91"/>
                    <a:gd name="T21" fmla="*/ 41 h 70"/>
                    <a:gd name="T22" fmla="*/ 41 w 91"/>
                    <a:gd name="T23" fmla="*/ 69 h 70"/>
                    <a:gd name="T24" fmla="*/ 40 w 91"/>
                    <a:gd name="T25" fmla="*/ 70 h 70"/>
                    <a:gd name="T26" fmla="*/ 6 w 91"/>
                    <a:gd name="T27" fmla="*/ 46 h 70"/>
                    <a:gd name="T28" fmla="*/ 40 w 91"/>
                    <a:gd name="T29" fmla="*/ 65 h 70"/>
                    <a:gd name="T30" fmla="*/ 87 w 91"/>
                    <a:gd name="T31" fmla="*/ 38 h 70"/>
                    <a:gd name="T32" fmla="*/ 87 w 91"/>
                    <a:gd name="T33" fmla="*/ 10 h 70"/>
                    <a:gd name="T34" fmla="*/ 77 w 91"/>
                    <a:gd name="T35" fmla="*/ 4 h 70"/>
                    <a:gd name="T36" fmla="*/ 6 w 91"/>
                    <a:gd name="T37" fmla="*/ 46 h 70"/>
                    <a:gd name="T38" fmla="*/ 89 w 91"/>
                    <a:gd name="T39" fmla="*/ 39 h 70"/>
                    <a:gd name="T40" fmla="*/ 89 w 91"/>
                    <a:gd name="T41" fmla="*/ 3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1" h="70">
                      <a:moveTo>
                        <a:pt x="40" y="70"/>
                      </a:moveTo>
                      <a:cubicBezTo>
                        <a:pt x="39" y="70"/>
                        <a:pt x="39" y="70"/>
                        <a:pt x="39" y="69"/>
                      </a:cubicBezTo>
                      <a:cubicBezTo>
                        <a:pt x="1" y="48"/>
                        <a:pt x="1" y="48"/>
                        <a:pt x="1" y="48"/>
                      </a:cubicBezTo>
                      <a:cubicBezTo>
                        <a:pt x="0" y="47"/>
                        <a:pt x="0" y="47"/>
                        <a:pt x="0" y="46"/>
                      </a:cubicBezTo>
                      <a:cubicBezTo>
                        <a:pt x="0" y="45"/>
                        <a:pt x="0" y="44"/>
                        <a:pt x="1" y="44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77" y="0"/>
                        <a:pt x="78" y="0"/>
                        <a:pt x="78" y="0"/>
                      </a:cubicBezTo>
                      <a:cubicBezTo>
                        <a:pt x="90" y="7"/>
                        <a:pt x="90" y="7"/>
                        <a:pt x="90" y="7"/>
                      </a:cubicBezTo>
                      <a:cubicBezTo>
                        <a:pt x="91" y="7"/>
                        <a:pt x="91" y="8"/>
                        <a:pt x="91" y="9"/>
                      </a:cubicBezTo>
                      <a:cubicBezTo>
                        <a:pt x="91" y="39"/>
                        <a:pt x="91" y="39"/>
                        <a:pt x="91" y="39"/>
                      </a:cubicBezTo>
                      <a:cubicBezTo>
                        <a:pt x="91" y="40"/>
                        <a:pt x="91" y="41"/>
                        <a:pt x="90" y="41"/>
                      </a:cubicBezTo>
                      <a:cubicBezTo>
                        <a:pt x="41" y="69"/>
                        <a:pt x="41" y="69"/>
                        <a:pt x="41" y="69"/>
                      </a:cubicBezTo>
                      <a:cubicBezTo>
                        <a:pt x="40" y="70"/>
                        <a:pt x="40" y="70"/>
                        <a:pt x="40" y="70"/>
                      </a:cubicBezTo>
                      <a:close/>
                      <a:moveTo>
                        <a:pt x="6" y="46"/>
                      </a:moveTo>
                      <a:cubicBezTo>
                        <a:pt x="40" y="65"/>
                        <a:pt x="40" y="65"/>
                        <a:pt x="40" y="65"/>
                      </a:cubicBezTo>
                      <a:cubicBezTo>
                        <a:pt x="87" y="38"/>
                        <a:pt x="87" y="38"/>
                        <a:pt x="87" y="38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77" y="4"/>
                        <a:pt x="77" y="4"/>
                        <a:pt x="77" y="4"/>
                      </a:cubicBezTo>
                      <a:lnTo>
                        <a:pt x="6" y="46"/>
                      </a:lnTo>
                      <a:close/>
                      <a:moveTo>
                        <a:pt x="89" y="39"/>
                      </a:moveTo>
                      <a:cubicBezTo>
                        <a:pt x="89" y="39"/>
                        <a:pt x="89" y="39"/>
                        <a:pt x="89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7" name="Freeform 870">
                  <a:extLst>
                    <a:ext uri="{FF2B5EF4-FFF2-40B4-BE49-F238E27FC236}">
                      <a16:creationId xmlns:a16="http://schemas.microsoft.com/office/drawing/2014/main" id="{1F64583D-853E-47DB-8248-3AEDA02FCD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16" y="815"/>
                  <a:ext cx="24" cy="17"/>
                </a:xfrm>
                <a:custGeom>
                  <a:avLst/>
                  <a:gdLst>
                    <a:gd name="T0" fmla="*/ 6 w 10"/>
                    <a:gd name="T1" fmla="*/ 7 h 7"/>
                    <a:gd name="T2" fmla="*/ 5 w 10"/>
                    <a:gd name="T3" fmla="*/ 7 h 7"/>
                    <a:gd name="T4" fmla="*/ 1 w 10"/>
                    <a:gd name="T5" fmla="*/ 5 h 7"/>
                    <a:gd name="T6" fmla="*/ 0 w 10"/>
                    <a:gd name="T7" fmla="*/ 3 h 7"/>
                    <a:gd name="T8" fmla="*/ 1 w 10"/>
                    <a:gd name="T9" fmla="*/ 1 h 7"/>
                    <a:gd name="T10" fmla="*/ 3 w 10"/>
                    <a:gd name="T11" fmla="*/ 0 h 7"/>
                    <a:gd name="T12" fmla="*/ 5 w 10"/>
                    <a:gd name="T13" fmla="*/ 0 h 7"/>
                    <a:gd name="T14" fmla="*/ 9 w 10"/>
                    <a:gd name="T15" fmla="*/ 3 h 7"/>
                    <a:gd name="T16" fmla="*/ 10 w 10"/>
                    <a:gd name="T17" fmla="*/ 4 h 7"/>
                    <a:gd name="T18" fmla="*/ 9 w 10"/>
                    <a:gd name="T19" fmla="*/ 6 h 7"/>
                    <a:gd name="T20" fmla="*/ 7 w 10"/>
                    <a:gd name="T21" fmla="*/ 7 h 7"/>
                    <a:gd name="T22" fmla="*/ 6 w 10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7">
                      <a:moveTo>
                        <a:pt x="6" y="7"/>
                      </a:moveTo>
                      <a:cubicBezTo>
                        <a:pt x="6" y="7"/>
                        <a:pt x="6" y="7"/>
                        <a:pt x="5" y="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9" y="3"/>
                        <a:pt x="10" y="4"/>
                        <a:pt x="10" y="4"/>
                      </a:cubicBezTo>
                      <a:cubicBezTo>
                        <a:pt x="10" y="5"/>
                        <a:pt x="9" y="6"/>
                        <a:pt x="9" y="6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8" name="Freeform 871">
                  <a:extLst>
                    <a:ext uri="{FF2B5EF4-FFF2-40B4-BE49-F238E27FC236}">
                      <a16:creationId xmlns:a16="http://schemas.microsoft.com/office/drawing/2014/main" id="{363AE6DA-C4DA-406B-A291-D2A10BED6CE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38" y="1077"/>
                  <a:ext cx="29" cy="36"/>
                </a:xfrm>
                <a:custGeom>
                  <a:avLst/>
                  <a:gdLst>
                    <a:gd name="T0" fmla="*/ 10 w 12"/>
                    <a:gd name="T1" fmla="*/ 15 h 15"/>
                    <a:gd name="T2" fmla="*/ 9 w 12"/>
                    <a:gd name="T3" fmla="*/ 14 h 15"/>
                    <a:gd name="T4" fmla="*/ 1 w 12"/>
                    <a:gd name="T5" fmla="*/ 9 h 15"/>
                    <a:gd name="T6" fmla="*/ 0 w 12"/>
                    <a:gd name="T7" fmla="*/ 8 h 15"/>
                    <a:gd name="T8" fmla="*/ 1 w 12"/>
                    <a:gd name="T9" fmla="*/ 6 h 15"/>
                    <a:gd name="T10" fmla="*/ 9 w 12"/>
                    <a:gd name="T11" fmla="*/ 1 h 15"/>
                    <a:gd name="T12" fmla="*/ 11 w 12"/>
                    <a:gd name="T13" fmla="*/ 1 h 15"/>
                    <a:gd name="T14" fmla="*/ 12 w 12"/>
                    <a:gd name="T15" fmla="*/ 3 h 15"/>
                    <a:gd name="T16" fmla="*/ 12 w 12"/>
                    <a:gd name="T17" fmla="*/ 13 h 15"/>
                    <a:gd name="T18" fmla="*/ 11 w 12"/>
                    <a:gd name="T19" fmla="*/ 14 h 15"/>
                    <a:gd name="T20" fmla="*/ 10 w 12"/>
                    <a:gd name="T21" fmla="*/ 15 h 15"/>
                    <a:gd name="T22" fmla="*/ 6 w 12"/>
                    <a:gd name="T23" fmla="*/ 8 h 15"/>
                    <a:gd name="T24" fmla="*/ 8 w 12"/>
                    <a:gd name="T25" fmla="*/ 9 h 15"/>
                    <a:gd name="T26" fmla="*/ 8 w 12"/>
                    <a:gd name="T27" fmla="*/ 6 h 15"/>
                    <a:gd name="T28" fmla="*/ 6 w 12"/>
                    <a:gd name="T29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5">
                      <a:moveTo>
                        <a:pt x="10" y="15"/>
                      </a:moveTo>
                      <a:cubicBezTo>
                        <a:pt x="10" y="15"/>
                        <a:pt x="10" y="14"/>
                        <a:pt x="9" y="14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9"/>
                        <a:pt x="0" y="8"/>
                        <a:pt x="0" y="8"/>
                      </a:cubicBezTo>
                      <a:cubicBezTo>
                        <a:pt x="0" y="7"/>
                        <a:pt x="0" y="6"/>
                        <a:pt x="1" y="6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0"/>
                        <a:pt x="11" y="0"/>
                        <a:pt x="11" y="1"/>
                      </a:cubicBezTo>
                      <a:cubicBezTo>
                        <a:pt x="12" y="1"/>
                        <a:pt x="12" y="2"/>
                        <a:pt x="12" y="3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2" y="13"/>
                        <a:pt x="12" y="14"/>
                        <a:pt x="11" y="14"/>
                      </a:cubicBezTo>
                      <a:cubicBezTo>
                        <a:pt x="11" y="14"/>
                        <a:pt x="11" y="15"/>
                        <a:pt x="10" y="15"/>
                      </a:cubicBezTo>
                      <a:close/>
                      <a:moveTo>
                        <a:pt x="6" y="8"/>
                      </a:move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6"/>
                        <a:pt x="8" y="6"/>
                        <a:pt x="8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9" name="Freeform 872">
                  <a:extLst>
                    <a:ext uri="{FF2B5EF4-FFF2-40B4-BE49-F238E27FC236}">
                      <a16:creationId xmlns:a16="http://schemas.microsoft.com/office/drawing/2014/main" id="{9E89B41A-835B-43FC-B0AC-BC41327FDE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395"/>
                  <a:ext cx="62" cy="153"/>
                </a:xfrm>
                <a:custGeom>
                  <a:avLst/>
                  <a:gdLst>
                    <a:gd name="T0" fmla="*/ 2 w 26"/>
                    <a:gd name="T1" fmla="*/ 65 h 65"/>
                    <a:gd name="T2" fmla="*/ 1 w 26"/>
                    <a:gd name="T3" fmla="*/ 65 h 65"/>
                    <a:gd name="T4" fmla="*/ 0 w 26"/>
                    <a:gd name="T5" fmla="*/ 63 h 65"/>
                    <a:gd name="T6" fmla="*/ 0 w 26"/>
                    <a:gd name="T7" fmla="*/ 2 h 65"/>
                    <a:gd name="T8" fmla="*/ 1 w 26"/>
                    <a:gd name="T9" fmla="*/ 0 h 65"/>
                    <a:gd name="T10" fmla="*/ 3 w 26"/>
                    <a:gd name="T11" fmla="*/ 0 h 65"/>
                    <a:gd name="T12" fmla="*/ 25 w 26"/>
                    <a:gd name="T13" fmla="*/ 13 h 65"/>
                    <a:gd name="T14" fmla="*/ 26 w 26"/>
                    <a:gd name="T15" fmla="*/ 14 h 65"/>
                    <a:gd name="T16" fmla="*/ 26 w 26"/>
                    <a:gd name="T17" fmla="*/ 51 h 65"/>
                    <a:gd name="T18" fmla="*/ 25 w 26"/>
                    <a:gd name="T19" fmla="*/ 53 h 65"/>
                    <a:gd name="T20" fmla="*/ 3 w 26"/>
                    <a:gd name="T21" fmla="*/ 65 h 65"/>
                    <a:gd name="T22" fmla="*/ 2 w 26"/>
                    <a:gd name="T23" fmla="*/ 65 h 65"/>
                    <a:gd name="T24" fmla="*/ 4 w 26"/>
                    <a:gd name="T25" fmla="*/ 6 h 65"/>
                    <a:gd name="T26" fmla="*/ 4 w 26"/>
                    <a:gd name="T27" fmla="*/ 60 h 65"/>
                    <a:gd name="T28" fmla="*/ 22 w 26"/>
                    <a:gd name="T29" fmla="*/ 50 h 65"/>
                    <a:gd name="T30" fmla="*/ 22 w 26"/>
                    <a:gd name="T31" fmla="*/ 16 h 65"/>
                    <a:gd name="T32" fmla="*/ 4 w 26"/>
                    <a:gd name="T33" fmla="*/ 6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65">
                      <a:moveTo>
                        <a:pt x="2" y="65"/>
                      </a:moveTo>
                      <a:cubicBezTo>
                        <a:pt x="2" y="65"/>
                        <a:pt x="2" y="65"/>
                        <a:pt x="1" y="65"/>
                      </a:cubicBezTo>
                      <a:cubicBezTo>
                        <a:pt x="1" y="65"/>
                        <a:pt x="0" y="64"/>
                        <a:pt x="0" y="6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5" y="13"/>
                        <a:pt x="26" y="14"/>
                        <a:pt x="26" y="14"/>
                      </a:cubicBezTo>
                      <a:cubicBezTo>
                        <a:pt x="26" y="51"/>
                        <a:pt x="26" y="51"/>
                        <a:pt x="26" y="51"/>
                      </a:cubicBezTo>
                      <a:cubicBezTo>
                        <a:pt x="26" y="52"/>
                        <a:pt x="25" y="52"/>
                        <a:pt x="25" y="53"/>
                      </a:cubicBezTo>
                      <a:cubicBezTo>
                        <a:pt x="3" y="65"/>
                        <a:pt x="3" y="65"/>
                        <a:pt x="3" y="65"/>
                      </a:cubicBezTo>
                      <a:cubicBezTo>
                        <a:pt x="3" y="65"/>
                        <a:pt x="3" y="65"/>
                        <a:pt x="2" y="65"/>
                      </a:cubicBezTo>
                      <a:close/>
                      <a:moveTo>
                        <a:pt x="4" y="6"/>
                      </a:move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0" name="Freeform 873">
                  <a:extLst>
                    <a:ext uri="{FF2B5EF4-FFF2-40B4-BE49-F238E27FC236}">
                      <a16:creationId xmlns:a16="http://schemas.microsoft.com/office/drawing/2014/main" id="{A206A5D1-DA1E-4285-8488-B6CFA598CF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05" y="761"/>
                  <a:ext cx="278" cy="491"/>
                </a:xfrm>
                <a:custGeom>
                  <a:avLst/>
                  <a:gdLst>
                    <a:gd name="T0" fmla="*/ 115 w 118"/>
                    <a:gd name="T1" fmla="*/ 208 h 208"/>
                    <a:gd name="T2" fmla="*/ 114 w 118"/>
                    <a:gd name="T3" fmla="*/ 208 h 208"/>
                    <a:gd name="T4" fmla="*/ 41 w 118"/>
                    <a:gd name="T5" fmla="*/ 165 h 208"/>
                    <a:gd name="T6" fmla="*/ 40 w 118"/>
                    <a:gd name="T7" fmla="*/ 164 h 208"/>
                    <a:gd name="T8" fmla="*/ 41 w 118"/>
                    <a:gd name="T9" fmla="*/ 162 h 208"/>
                    <a:gd name="T10" fmla="*/ 57 w 118"/>
                    <a:gd name="T11" fmla="*/ 152 h 208"/>
                    <a:gd name="T12" fmla="*/ 1 w 118"/>
                    <a:gd name="T13" fmla="*/ 120 h 208"/>
                    <a:gd name="T14" fmla="*/ 0 w 118"/>
                    <a:gd name="T15" fmla="*/ 119 h 208"/>
                    <a:gd name="T16" fmla="*/ 1 w 118"/>
                    <a:gd name="T17" fmla="*/ 117 h 208"/>
                    <a:gd name="T18" fmla="*/ 11 w 118"/>
                    <a:gd name="T19" fmla="*/ 111 h 208"/>
                    <a:gd name="T20" fmla="*/ 11 w 118"/>
                    <a:gd name="T21" fmla="*/ 2 h 208"/>
                    <a:gd name="T22" fmla="*/ 12 w 118"/>
                    <a:gd name="T23" fmla="*/ 1 h 208"/>
                    <a:gd name="T24" fmla="*/ 14 w 118"/>
                    <a:gd name="T25" fmla="*/ 1 h 208"/>
                    <a:gd name="T26" fmla="*/ 117 w 118"/>
                    <a:gd name="T27" fmla="*/ 60 h 208"/>
                    <a:gd name="T28" fmla="*/ 118 w 118"/>
                    <a:gd name="T29" fmla="*/ 62 h 208"/>
                    <a:gd name="T30" fmla="*/ 118 w 118"/>
                    <a:gd name="T31" fmla="*/ 82 h 208"/>
                    <a:gd name="T32" fmla="*/ 117 w 118"/>
                    <a:gd name="T33" fmla="*/ 84 h 208"/>
                    <a:gd name="T34" fmla="*/ 117 w 118"/>
                    <a:gd name="T35" fmla="*/ 206 h 208"/>
                    <a:gd name="T36" fmla="*/ 116 w 118"/>
                    <a:gd name="T37" fmla="*/ 208 h 208"/>
                    <a:gd name="T38" fmla="*/ 115 w 118"/>
                    <a:gd name="T39" fmla="*/ 208 h 208"/>
                    <a:gd name="T40" fmla="*/ 46 w 118"/>
                    <a:gd name="T41" fmla="*/ 164 h 208"/>
                    <a:gd name="T42" fmla="*/ 113 w 118"/>
                    <a:gd name="T43" fmla="*/ 202 h 208"/>
                    <a:gd name="T44" fmla="*/ 113 w 118"/>
                    <a:gd name="T45" fmla="*/ 82 h 208"/>
                    <a:gd name="T46" fmla="*/ 114 w 118"/>
                    <a:gd name="T47" fmla="*/ 81 h 208"/>
                    <a:gd name="T48" fmla="*/ 114 w 118"/>
                    <a:gd name="T49" fmla="*/ 63 h 208"/>
                    <a:gd name="T50" fmla="*/ 15 w 118"/>
                    <a:gd name="T51" fmla="*/ 6 h 208"/>
                    <a:gd name="T52" fmla="*/ 15 w 118"/>
                    <a:gd name="T53" fmla="*/ 112 h 208"/>
                    <a:gd name="T54" fmla="*/ 14 w 118"/>
                    <a:gd name="T55" fmla="*/ 114 h 208"/>
                    <a:gd name="T56" fmla="*/ 6 w 118"/>
                    <a:gd name="T57" fmla="*/ 119 h 208"/>
                    <a:gd name="T58" fmla="*/ 62 w 118"/>
                    <a:gd name="T59" fmla="*/ 151 h 208"/>
                    <a:gd name="T60" fmla="*/ 63 w 118"/>
                    <a:gd name="T61" fmla="*/ 152 h 208"/>
                    <a:gd name="T62" fmla="*/ 62 w 118"/>
                    <a:gd name="T63" fmla="*/ 154 h 208"/>
                    <a:gd name="T64" fmla="*/ 46 w 118"/>
                    <a:gd name="T65" fmla="*/ 164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8" h="208">
                      <a:moveTo>
                        <a:pt x="115" y="208"/>
                      </a:moveTo>
                      <a:cubicBezTo>
                        <a:pt x="115" y="208"/>
                        <a:pt x="114" y="208"/>
                        <a:pt x="114" y="208"/>
                      </a:cubicBezTo>
                      <a:cubicBezTo>
                        <a:pt x="41" y="165"/>
                        <a:pt x="41" y="165"/>
                        <a:pt x="41" y="165"/>
                      </a:cubicBezTo>
                      <a:cubicBezTo>
                        <a:pt x="40" y="165"/>
                        <a:pt x="40" y="164"/>
                        <a:pt x="40" y="164"/>
                      </a:cubicBezTo>
                      <a:cubicBezTo>
                        <a:pt x="40" y="163"/>
                        <a:pt x="40" y="162"/>
                        <a:pt x="41" y="162"/>
                      </a:cubicBezTo>
                      <a:cubicBezTo>
                        <a:pt x="57" y="152"/>
                        <a:pt x="57" y="152"/>
                        <a:pt x="57" y="152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20"/>
                        <a:pt x="0" y="119"/>
                        <a:pt x="0" y="119"/>
                      </a:cubicBezTo>
                      <a:cubicBezTo>
                        <a:pt x="0" y="118"/>
                        <a:pt x="1" y="117"/>
                        <a:pt x="1" y="117"/>
                      </a:cubicBezTo>
                      <a:cubicBezTo>
                        <a:pt x="11" y="111"/>
                        <a:pt x="11" y="111"/>
                        <a:pt x="11" y="111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11" y="2"/>
                        <a:pt x="12" y="1"/>
                        <a:pt x="12" y="1"/>
                      </a:cubicBezTo>
                      <a:cubicBezTo>
                        <a:pt x="13" y="0"/>
                        <a:pt x="14" y="0"/>
                        <a:pt x="14" y="1"/>
                      </a:cubicBezTo>
                      <a:cubicBezTo>
                        <a:pt x="117" y="60"/>
                        <a:pt x="117" y="60"/>
                        <a:pt x="117" y="60"/>
                      </a:cubicBezTo>
                      <a:cubicBezTo>
                        <a:pt x="117" y="60"/>
                        <a:pt x="118" y="61"/>
                        <a:pt x="118" y="62"/>
                      </a:cubicBezTo>
                      <a:cubicBezTo>
                        <a:pt x="118" y="82"/>
                        <a:pt x="118" y="82"/>
                        <a:pt x="118" y="82"/>
                      </a:cubicBezTo>
                      <a:cubicBezTo>
                        <a:pt x="118" y="83"/>
                        <a:pt x="118" y="83"/>
                        <a:pt x="117" y="84"/>
                      </a:cubicBezTo>
                      <a:cubicBezTo>
                        <a:pt x="117" y="206"/>
                        <a:pt x="117" y="206"/>
                        <a:pt x="117" y="206"/>
                      </a:cubicBezTo>
                      <a:cubicBezTo>
                        <a:pt x="117" y="207"/>
                        <a:pt x="117" y="207"/>
                        <a:pt x="116" y="208"/>
                      </a:cubicBezTo>
                      <a:cubicBezTo>
                        <a:pt x="116" y="208"/>
                        <a:pt x="115" y="208"/>
                        <a:pt x="115" y="208"/>
                      </a:cubicBezTo>
                      <a:close/>
                      <a:moveTo>
                        <a:pt x="46" y="164"/>
                      </a:moveTo>
                      <a:cubicBezTo>
                        <a:pt x="113" y="202"/>
                        <a:pt x="113" y="202"/>
                        <a:pt x="113" y="202"/>
                      </a:cubicBezTo>
                      <a:cubicBezTo>
                        <a:pt x="113" y="82"/>
                        <a:pt x="113" y="82"/>
                        <a:pt x="113" y="82"/>
                      </a:cubicBezTo>
                      <a:cubicBezTo>
                        <a:pt x="113" y="82"/>
                        <a:pt x="113" y="81"/>
                        <a:pt x="114" y="81"/>
                      </a:cubicBezTo>
                      <a:cubicBezTo>
                        <a:pt x="114" y="63"/>
                        <a:pt x="114" y="63"/>
                        <a:pt x="114" y="63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5" y="112"/>
                        <a:pt x="15" y="112"/>
                        <a:pt x="15" y="112"/>
                      </a:cubicBezTo>
                      <a:cubicBezTo>
                        <a:pt x="15" y="113"/>
                        <a:pt x="15" y="114"/>
                        <a:pt x="14" y="114"/>
                      </a:cubicBezTo>
                      <a:cubicBezTo>
                        <a:pt x="6" y="119"/>
                        <a:pt x="6" y="119"/>
                        <a:pt x="6" y="119"/>
                      </a:cubicBezTo>
                      <a:cubicBezTo>
                        <a:pt x="62" y="151"/>
                        <a:pt x="62" y="151"/>
                        <a:pt x="62" y="151"/>
                      </a:cubicBezTo>
                      <a:cubicBezTo>
                        <a:pt x="62" y="151"/>
                        <a:pt x="63" y="152"/>
                        <a:pt x="63" y="152"/>
                      </a:cubicBezTo>
                      <a:cubicBezTo>
                        <a:pt x="63" y="153"/>
                        <a:pt x="62" y="154"/>
                        <a:pt x="62" y="154"/>
                      </a:cubicBezTo>
                      <a:lnTo>
                        <a:pt x="46" y="1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1" name="Freeform 874">
                  <a:extLst>
                    <a:ext uri="{FF2B5EF4-FFF2-40B4-BE49-F238E27FC236}">
                      <a16:creationId xmlns:a16="http://schemas.microsoft.com/office/drawing/2014/main" id="{D08498F5-7830-46BD-B75B-CE8AEEF981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80" y="1344"/>
                  <a:ext cx="45" cy="40"/>
                </a:xfrm>
                <a:custGeom>
                  <a:avLst/>
                  <a:gdLst>
                    <a:gd name="T0" fmla="*/ 9 w 19"/>
                    <a:gd name="T1" fmla="*/ 17 h 17"/>
                    <a:gd name="T2" fmla="*/ 8 w 19"/>
                    <a:gd name="T3" fmla="*/ 16 h 17"/>
                    <a:gd name="T4" fmla="*/ 1 w 19"/>
                    <a:gd name="T5" fmla="*/ 12 h 17"/>
                    <a:gd name="T6" fmla="*/ 0 w 19"/>
                    <a:gd name="T7" fmla="*/ 10 h 17"/>
                    <a:gd name="T8" fmla="*/ 1 w 19"/>
                    <a:gd name="T9" fmla="*/ 9 h 17"/>
                    <a:gd name="T10" fmla="*/ 16 w 19"/>
                    <a:gd name="T11" fmla="*/ 0 h 17"/>
                    <a:gd name="T12" fmla="*/ 18 w 19"/>
                    <a:gd name="T13" fmla="*/ 0 h 17"/>
                    <a:gd name="T14" fmla="*/ 19 w 19"/>
                    <a:gd name="T15" fmla="*/ 2 h 17"/>
                    <a:gd name="T16" fmla="*/ 19 w 19"/>
                    <a:gd name="T17" fmla="*/ 10 h 17"/>
                    <a:gd name="T18" fmla="*/ 18 w 19"/>
                    <a:gd name="T19" fmla="*/ 12 h 17"/>
                    <a:gd name="T20" fmla="*/ 10 w 19"/>
                    <a:gd name="T21" fmla="*/ 16 h 17"/>
                    <a:gd name="T22" fmla="*/ 9 w 19"/>
                    <a:gd name="T23" fmla="*/ 17 h 17"/>
                    <a:gd name="T24" fmla="*/ 6 w 19"/>
                    <a:gd name="T25" fmla="*/ 10 h 17"/>
                    <a:gd name="T26" fmla="*/ 9 w 19"/>
                    <a:gd name="T27" fmla="*/ 12 h 17"/>
                    <a:gd name="T28" fmla="*/ 15 w 19"/>
                    <a:gd name="T29" fmla="*/ 9 h 17"/>
                    <a:gd name="T30" fmla="*/ 15 w 19"/>
                    <a:gd name="T31" fmla="*/ 5 h 17"/>
                    <a:gd name="T32" fmla="*/ 6 w 19"/>
                    <a:gd name="T33" fmla="*/ 1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17">
                      <a:moveTo>
                        <a:pt x="9" y="17"/>
                      </a:moveTo>
                      <a:cubicBezTo>
                        <a:pt x="9" y="17"/>
                        <a:pt x="9" y="17"/>
                        <a:pt x="8" y="16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7" y="0"/>
                        <a:pt x="18" y="0"/>
                      </a:cubicBezTo>
                      <a:cubicBezTo>
                        <a:pt x="18" y="0"/>
                        <a:pt x="19" y="1"/>
                        <a:pt x="19" y="2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19" y="11"/>
                        <a:pt x="18" y="12"/>
                        <a:pt x="18" y="12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7"/>
                        <a:pt x="10" y="17"/>
                        <a:pt x="9" y="17"/>
                      </a:cubicBezTo>
                      <a:close/>
                      <a:moveTo>
                        <a:pt x="6" y="10"/>
                      </a:move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5" y="5"/>
                        <a:pt x="15" y="5"/>
                        <a:pt x="15" y="5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2" name="Freeform 875">
                  <a:extLst>
                    <a:ext uri="{FF2B5EF4-FFF2-40B4-BE49-F238E27FC236}">
                      <a16:creationId xmlns:a16="http://schemas.microsoft.com/office/drawing/2014/main" id="{1FED9E80-58F9-45AC-AF41-DFD973CF63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18" y="1198"/>
                  <a:ext cx="14" cy="149"/>
                </a:xfrm>
                <a:custGeom>
                  <a:avLst/>
                  <a:gdLst>
                    <a:gd name="T0" fmla="*/ 2 w 6"/>
                    <a:gd name="T1" fmla="*/ 63 h 63"/>
                    <a:gd name="T2" fmla="*/ 1 w 6"/>
                    <a:gd name="T3" fmla="*/ 63 h 63"/>
                    <a:gd name="T4" fmla="*/ 0 w 6"/>
                    <a:gd name="T5" fmla="*/ 61 h 63"/>
                    <a:gd name="T6" fmla="*/ 0 w 6"/>
                    <a:gd name="T7" fmla="*/ 3 h 63"/>
                    <a:gd name="T8" fmla="*/ 1 w 6"/>
                    <a:gd name="T9" fmla="*/ 2 h 63"/>
                    <a:gd name="T10" fmla="*/ 3 w 6"/>
                    <a:gd name="T11" fmla="*/ 0 h 63"/>
                    <a:gd name="T12" fmla="*/ 5 w 6"/>
                    <a:gd name="T13" fmla="*/ 0 h 63"/>
                    <a:gd name="T14" fmla="*/ 6 w 6"/>
                    <a:gd name="T15" fmla="*/ 2 h 63"/>
                    <a:gd name="T16" fmla="*/ 6 w 6"/>
                    <a:gd name="T17" fmla="*/ 60 h 63"/>
                    <a:gd name="T18" fmla="*/ 5 w 6"/>
                    <a:gd name="T19" fmla="*/ 61 h 63"/>
                    <a:gd name="T20" fmla="*/ 3 w 6"/>
                    <a:gd name="T21" fmla="*/ 63 h 63"/>
                    <a:gd name="T22" fmla="*/ 2 w 6"/>
                    <a:gd name="T23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63">
                      <a:moveTo>
                        <a:pt x="2" y="63"/>
                      </a:moveTo>
                      <a:cubicBezTo>
                        <a:pt x="2" y="63"/>
                        <a:pt x="2" y="63"/>
                        <a:pt x="1" y="63"/>
                      </a:cubicBezTo>
                      <a:cubicBezTo>
                        <a:pt x="1" y="62"/>
                        <a:pt x="0" y="62"/>
                        <a:pt x="0" y="6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1" y="2"/>
                        <a:pt x="1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0"/>
                      </a:cubicBezTo>
                      <a:cubicBezTo>
                        <a:pt x="6" y="1"/>
                        <a:pt x="6" y="1"/>
                        <a:pt x="6" y="2"/>
                      </a:cubicBezTo>
                      <a:cubicBezTo>
                        <a:pt x="6" y="60"/>
                        <a:pt x="6" y="60"/>
                        <a:pt x="6" y="60"/>
                      </a:cubicBezTo>
                      <a:cubicBezTo>
                        <a:pt x="6" y="60"/>
                        <a:pt x="6" y="61"/>
                        <a:pt x="5" y="61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2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3" name="Freeform 876">
                  <a:extLst>
                    <a:ext uri="{FF2B5EF4-FFF2-40B4-BE49-F238E27FC236}">
                      <a16:creationId xmlns:a16="http://schemas.microsoft.com/office/drawing/2014/main" id="{28538190-2514-4FD1-B3AA-FA9F5514E2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27" y="1179"/>
                  <a:ext cx="128" cy="163"/>
                </a:xfrm>
                <a:custGeom>
                  <a:avLst/>
                  <a:gdLst>
                    <a:gd name="T0" fmla="*/ 2 w 54"/>
                    <a:gd name="T1" fmla="*/ 69 h 69"/>
                    <a:gd name="T2" fmla="*/ 1 w 54"/>
                    <a:gd name="T3" fmla="*/ 68 h 69"/>
                    <a:gd name="T4" fmla="*/ 0 w 54"/>
                    <a:gd name="T5" fmla="*/ 67 h 69"/>
                    <a:gd name="T6" fmla="*/ 0 w 54"/>
                    <a:gd name="T7" fmla="*/ 9 h 69"/>
                    <a:gd name="T8" fmla="*/ 1 w 54"/>
                    <a:gd name="T9" fmla="*/ 8 h 69"/>
                    <a:gd name="T10" fmla="*/ 13 w 54"/>
                    <a:gd name="T11" fmla="*/ 1 h 69"/>
                    <a:gd name="T12" fmla="*/ 15 w 54"/>
                    <a:gd name="T13" fmla="*/ 1 h 69"/>
                    <a:gd name="T14" fmla="*/ 53 w 54"/>
                    <a:gd name="T15" fmla="*/ 22 h 69"/>
                    <a:gd name="T16" fmla="*/ 54 w 54"/>
                    <a:gd name="T17" fmla="*/ 24 h 69"/>
                    <a:gd name="T18" fmla="*/ 53 w 54"/>
                    <a:gd name="T19" fmla="*/ 26 h 69"/>
                    <a:gd name="T20" fmla="*/ 11 w 54"/>
                    <a:gd name="T21" fmla="*/ 50 h 69"/>
                    <a:gd name="T22" fmla="*/ 20 w 54"/>
                    <a:gd name="T23" fmla="*/ 55 h 69"/>
                    <a:gd name="T24" fmla="*/ 21 w 54"/>
                    <a:gd name="T25" fmla="*/ 57 h 69"/>
                    <a:gd name="T26" fmla="*/ 20 w 54"/>
                    <a:gd name="T27" fmla="*/ 58 h 69"/>
                    <a:gd name="T28" fmla="*/ 3 w 54"/>
                    <a:gd name="T29" fmla="*/ 68 h 69"/>
                    <a:gd name="T30" fmla="*/ 2 w 54"/>
                    <a:gd name="T31" fmla="*/ 69 h 69"/>
                    <a:gd name="T32" fmla="*/ 4 w 54"/>
                    <a:gd name="T33" fmla="*/ 10 h 69"/>
                    <a:gd name="T34" fmla="*/ 4 w 54"/>
                    <a:gd name="T35" fmla="*/ 63 h 69"/>
                    <a:gd name="T36" fmla="*/ 15 w 54"/>
                    <a:gd name="T37" fmla="*/ 57 h 69"/>
                    <a:gd name="T38" fmla="*/ 6 w 54"/>
                    <a:gd name="T39" fmla="*/ 52 h 69"/>
                    <a:gd name="T40" fmla="*/ 5 w 54"/>
                    <a:gd name="T41" fmla="*/ 50 h 69"/>
                    <a:gd name="T42" fmla="*/ 6 w 54"/>
                    <a:gd name="T43" fmla="*/ 48 h 69"/>
                    <a:gd name="T44" fmla="*/ 48 w 54"/>
                    <a:gd name="T45" fmla="*/ 24 h 69"/>
                    <a:gd name="T46" fmla="*/ 14 w 54"/>
                    <a:gd name="T47" fmla="*/ 5 h 69"/>
                    <a:gd name="T48" fmla="*/ 4 w 54"/>
                    <a:gd name="T49" fmla="*/ 1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4" h="69">
                      <a:moveTo>
                        <a:pt x="2" y="69"/>
                      </a:moveTo>
                      <a:cubicBezTo>
                        <a:pt x="2" y="69"/>
                        <a:pt x="1" y="69"/>
                        <a:pt x="1" y="68"/>
                      </a:cubicBezTo>
                      <a:cubicBezTo>
                        <a:pt x="0" y="68"/>
                        <a:pt x="0" y="67"/>
                        <a:pt x="0" y="67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8"/>
                        <a:pt x="1" y="8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53" y="22"/>
                        <a:pt x="53" y="22"/>
                        <a:pt x="53" y="22"/>
                      </a:cubicBezTo>
                      <a:cubicBezTo>
                        <a:pt x="53" y="23"/>
                        <a:pt x="54" y="24"/>
                        <a:pt x="54" y="24"/>
                      </a:cubicBezTo>
                      <a:cubicBezTo>
                        <a:pt x="54" y="25"/>
                        <a:pt x="53" y="26"/>
                        <a:pt x="53" y="26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21" y="55"/>
                        <a:pt x="21" y="56"/>
                        <a:pt x="21" y="57"/>
                      </a:cubicBezTo>
                      <a:cubicBezTo>
                        <a:pt x="21" y="57"/>
                        <a:pt x="21" y="58"/>
                        <a:pt x="20" y="58"/>
                      </a:cubicBezTo>
                      <a:cubicBezTo>
                        <a:pt x="3" y="68"/>
                        <a:pt x="3" y="68"/>
                        <a:pt x="3" y="68"/>
                      </a:cubicBezTo>
                      <a:cubicBezTo>
                        <a:pt x="3" y="69"/>
                        <a:pt x="2" y="69"/>
                        <a:pt x="2" y="69"/>
                      </a:cubicBezTo>
                      <a:close/>
                      <a:moveTo>
                        <a:pt x="4" y="10"/>
                      </a:moveTo>
                      <a:cubicBezTo>
                        <a:pt x="4" y="63"/>
                        <a:pt x="4" y="63"/>
                        <a:pt x="4" y="63"/>
                      </a:cubicBezTo>
                      <a:cubicBezTo>
                        <a:pt x="15" y="57"/>
                        <a:pt x="15" y="57"/>
                        <a:pt x="15" y="57"/>
                      </a:cubicBezTo>
                      <a:cubicBezTo>
                        <a:pt x="6" y="52"/>
                        <a:pt x="6" y="52"/>
                        <a:pt x="6" y="52"/>
                      </a:cubicBezTo>
                      <a:cubicBezTo>
                        <a:pt x="6" y="51"/>
                        <a:pt x="5" y="51"/>
                        <a:pt x="5" y="50"/>
                      </a:cubicBezTo>
                      <a:cubicBezTo>
                        <a:pt x="5" y="49"/>
                        <a:pt x="6" y="48"/>
                        <a:pt x="6" y="48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14" y="5"/>
                        <a:pt x="14" y="5"/>
                        <a:pt x="14" y="5"/>
                      </a:cubicBezTo>
                      <a:lnTo>
                        <a:pt x="4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4" name="Freeform 877">
                  <a:extLst>
                    <a:ext uri="{FF2B5EF4-FFF2-40B4-BE49-F238E27FC236}">
                      <a16:creationId xmlns:a16="http://schemas.microsoft.com/office/drawing/2014/main" id="{718EB2DC-3DA6-45B1-81B5-EA681E773C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27" y="1162"/>
                  <a:ext cx="33" cy="38"/>
                </a:xfrm>
                <a:custGeom>
                  <a:avLst/>
                  <a:gdLst>
                    <a:gd name="T0" fmla="*/ 2 w 14"/>
                    <a:gd name="T1" fmla="*/ 16 h 16"/>
                    <a:gd name="T2" fmla="*/ 1 w 14"/>
                    <a:gd name="T3" fmla="*/ 16 h 16"/>
                    <a:gd name="T4" fmla="*/ 0 w 14"/>
                    <a:gd name="T5" fmla="*/ 14 h 16"/>
                    <a:gd name="T6" fmla="*/ 0 w 14"/>
                    <a:gd name="T7" fmla="*/ 3 h 16"/>
                    <a:gd name="T8" fmla="*/ 1 w 14"/>
                    <a:gd name="T9" fmla="*/ 1 h 16"/>
                    <a:gd name="T10" fmla="*/ 3 w 14"/>
                    <a:gd name="T11" fmla="*/ 1 h 16"/>
                    <a:gd name="T12" fmla="*/ 13 w 14"/>
                    <a:gd name="T13" fmla="*/ 7 h 16"/>
                    <a:gd name="T14" fmla="*/ 14 w 14"/>
                    <a:gd name="T15" fmla="*/ 8 h 16"/>
                    <a:gd name="T16" fmla="*/ 13 w 14"/>
                    <a:gd name="T17" fmla="*/ 10 h 16"/>
                    <a:gd name="T18" fmla="*/ 3 w 14"/>
                    <a:gd name="T19" fmla="*/ 16 h 16"/>
                    <a:gd name="T20" fmla="*/ 2 w 14"/>
                    <a:gd name="T21" fmla="*/ 16 h 16"/>
                    <a:gd name="T22" fmla="*/ 4 w 14"/>
                    <a:gd name="T23" fmla="*/ 6 h 16"/>
                    <a:gd name="T24" fmla="*/ 4 w 14"/>
                    <a:gd name="T25" fmla="*/ 11 h 16"/>
                    <a:gd name="T26" fmla="*/ 8 w 14"/>
                    <a:gd name="T27" fmla="*/ 8 h 16"/>
                    <a:gd name="T28" fmla="*/ 4 w 14"/>
                    <a:gd name="T29" fmla="*/ 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6">
                      <a:moveTo>
                        <a:pt x="2" y="16"/>
                      </a:moveTo>
                      <a:cubicBezTo>
                        <a:pt x="2" y="16"/>
                        <a:pt x="1" y="16"/>
                        <a:pt x="1" y="16"/>
                      </a:cubicBezTo>
                      <a:cubicBezTo>
                        <a:pt x="0" y="16"/>
                        <a:pt x="0" y="15"/>
                        <a:pt x="0" y="1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4" y="7"/>
                        <a:pt x="14" y="8"/>
                        <a:pt x="14" y="8"/>
                      </a:cubicBezTo>
                      <a:cubicBezTo>
                        <a:pt x="14" y="9"/>
                        <a:pt x="14" y="10"/>
                        <a:pt x="13" y="10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6"/>
                        <a:pt x="2" y="16"/>
                        <a:pt x="2" y="16"/>
                      </a:cubicBezTo>
                      <a:close/>
                      <a:moveTo>
                        <a:pt x="4" y="6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5" name="Freeform 878">
                  <a:extLst>
                    <a:ext uri="{FF2B5EF4-FFF2-40B4-BE49-F238E27FC236}">
                      <a16:creationId xmlns:a16="http://schemas.microsoft.com/office/drawing/2014/main" id="{77EC83EF-FEE6-4C02-B572-B69A136EF4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515"/>
                  <a:ext cx="62" cy="184"/>
                </a:xfrm>
                <a:custGeom>
                  <a:avLst/>
                  <a:gdLst>
                    <a:gd name="T0" fmla="*/ 2 w 26"/>
                    <a:gd name="T1" fmla="*/ 78 h 78"/>
                    <a:gd name="T2" fmla="*/ 1 w 26"/>
                    <a:gd name="T3" fmla="*/ 78 h 78"/>
                    <a:gd name="T4" fmla="*/ 0 w 26"/>
                    <a:gd name="T5" fmla="*/ 76 h 78"/>
                    <a:gd name="T6" fmla="*/ 0 w 26"/>
                    <a:gd name="T7" fmla="*/ 14 h 78"/>
                    <a:gd name="T8" fmla="*/ 1 w 26"/>
                    <a:gd name="T9" fmla="*/ 12 h 78"/>
                    <a:gd name="T10" fmla="*/ 23 w 26"/>
                    <a:gd name="T11" fmla="*/ 0 h 78"/>
                    <a:gd name="T12" fmla="*/ 25 w 26"/>
                    <a:gd name="T13" fmla="*/ 0 h 78"/>
                    <a:gd name="T14" fmla="*/ 26 w 26"/>
                    <a:gd name="T15" fmla="*/ 2 h 78"/>
                    <a:gd name="T16" fmla="*/ 26 w 26"/>
                    <a:gd name="T17" fmla="*/ 64 h 78"/>
                    <a:gd name="T18" fmla="*/ 25 w 26"/>
                    <a:gd name="T19" fmla="*/ 65 h 78"/>
                    <a:gd name="T20" fmla="*/ 3 w 26"/>
                    <a:gd name="T21" fmla="*/ 78 h 78"/>
                    <a:gd name="T22" fmla="*/ 2 w 26"/>
                    <a:gd name="T23" fmla="*/ 78 h 78"/>
                    <a:gd name="T24" fmla="*/ 4 w 26"/>
                    <a:gd name="T25" fmla="*/ 15 h 78"/>
                    <a:gd name="T26" fmla="*/ 4 w 26"/>
                    <a:gd name="T27" fmla="*/ 72 h 78"/>
                    <a:gd name="T28" fmla="*/ 22 w 26"/>
                    <a:gd name="T29" fmla="*/ 62 h 78"/>
                    <a:gd name="T30" fmla="*/ 22 w 26"/>
                    <a:gd name="T31" fmla="*/ 5 h 78"/>
                    <a:gd name="T32" fmla="*/ 4 w 26"/>
                    <a:gd name="T33" fmla="*/ 15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78">
                      <a:moveTo>
                        <a:pt x="2" y="78"/>
                      </a:moveTo>
                      <a:cubicBezTo>
                        <a:pt x="2" y="78"/>
                        <a:pt x="2" y="78"/>
                        <a:pt x="1" y="78"/>
                      </a:cubicBezTo>
                      <a:cubicBezTo>
                        <a:pt x="1" y="77"/>
                        <a:pt x="0" y="77"/>
                        <a:pt x="0" y="76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3"/>
                        <a:pt x="1" y="13"/>
                        <a:pt x="1" y="12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3" y="0"/>
                        <a:pt x="24" y="0"/>
                        <a:pt x="25" y="0"/>
                      </a:cubicBezTo>
                      <a:cubicBezTo>
                        <a:pt x="25" y="0"/>
                        <a:pt x="26" y="1"/>
                        <a:pt x="26" y="2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6" y="64"/>
                        <a:pt x="25" y="65"/>
                        <a:pt x="25" y="65"/>
                      </a:cubicBezTo>
                      <a:cubicBezTo>
                        <a:pt x="3" y="78"/>
                        <a:pt x="3" y="78"/>
                        <a:pt x="3" y="78"/>
                      </a:cubicBezTo>
                      <a:cubicBezTo>
                        <a:pt x="3" y="78"/>
                        <a:pt x="3" y="78"/>
                        <a:pt x="2" y="78"/>
                      </a:cubicBezTo>
                      <a:close/>
                      <a:moveTo>
                        <a:pt x="4" y="15"/>
                      </a:move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5"/>
                        <a:pt x="22" y="5"/>
                        <a:pt x="22" y="5"/>
                      </a:cubicBezTo>
                      <a:lnTo>
                        <a:pt x="4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6" name="Freeform 879">
                  <a:extLst>
                    <a:ext uri="{FF2B5EF4-FFF2-40B4-BE49-F238E27FC236}">
                      <a16:creationId xmlns:a16="http://schemas.microsoft.com/office/drawing/2014/main" id="{9636530F-F123-4711-9406-9E022624BCB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93"/>
                  <a:ext cx="33" cy="281"/>
                </a:xfrm>
                <a:custGeom>
                  <a:avLst/>
                  <a:gdLst>
                    <a:gd name="T0" fmla="*/ 12 w 14"/>
                    <a:gd name="T1" fmla="*/ 119 h 119"/>
                    <a:gd name="T2" fmla="*/ 11 w 14"/>
                    <a:gd name="T3" fmla="*/ 119 h 119"/>
                    <a:gd name="T4" fmla="*/ 1 w 14"/>
                    <a:gd name="T5" fmla="*/ 114 h 119"/>
                    <a:gd name="T6" fmla="*/ 0 w 14"/>
                    <a:gd name="T7" fmla="*/ 112 h 119"/>
                    <a:gd name="T8" fmla="*/ 0 w 14"/>
                    <a:gd name="T9" fmla="*/ 8 h 119"/>
                    <a:gd name="T10" fmla="*/ 1 w 14"/>
                    <a:gd name="T11" fmla="*/ 6 h 119"/>
                    <a:gd name="T12" fmla="*/ 11 w 14"/>
                    <a:gd name="T13" fmla="*/ 1 h 119"/>
                    <a:gd name="T14" fmla="*/ 13 w 14"/>
                    <a:gd name="T15" fmla="*/ 1 h 119"/>
                    <a:gd name="T16" fmla="*/ 14 w 14"/>
                    <a:gd name="T17" fmla="*/ 2 h 119"/>
                    <a:gd name="T18" fmla="*/ 14 w 14"/>
                    <a:gd name="T19" fmla="*/ 117 h 119"/>
                    <a:gd name="T20" fmla="*/ 13 w 14"/>
                    <a:gd name="T21" fmla="*/ 119 h 119"/>
                    <a:gd name="T22" fmla="*/ 12 w 14"/>
                    <a:gd name="T23" fmla="*/ 119 h 119"/>
                    <a:gd name="T24" fmla="*/ 4 w 14"/>
                    <a:gd name="T25" fmla="*/ 111 h 119"/>
                    <a:gd name="T26" fmla="*/ 10 w 14"/>
                    <a:gd name="T27" fmla="*/ 114 h 119"/>
                    <a:gd name="T28" fmla="*/ 10 w 14"/>
                    <a:gd name="T29" fmla="*/ 6 h 119"/>
                    <a:gd name="T30" fmla="*/ 4 w 14"/>
                    <a:gd name="T31" fmla="*/ 9 h 119"/>
                    <a:gd name="T32" fmla="*/ 4 w 14"/>
                    <a:gd name="T33" fmla="*/ 111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" h="119">
                      <a:moveTo>
                        <a:pt x="12" y="119"/>
                      </a:moveTo>
                      <a:cubicBezTo>
                        <a:pt x="11" y="119"/>
                        <a:pt x="11" y="119"/>
                        <a:pt x="11" y="119"/>
                      </a:cubicBezTo>
                      <a:cubicBezTo>
                        <a:pt x="1" y="114"/>
                        <a:pt x="1" y="114"/>
                        <a:pt x="1" y="114"/>
                      </a:cubicBezTo>
                      <a:cubicBezTo>
                        <a:pt x="1" y="113"/>
                        <a:pt x="0" y="113"/>
                        <a:pt x="0" y="112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7"/>
                        <a:pt x="1" y="6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13" y="1"/>
                        <a:pt x="14" y="2"/>
                        <a:pt x="14" y="2"/>
                      </a:cubicBezTo>
                      <a:cubicBezTo>
                        <a:pt x="14" y="117"/>
                        <a:pt x="14" y="117"/>
                        <a:pt x="14" y="117"/>
                      </a:cubicBezTo>
                      <a:cubicBezTo>
                        <a:pt x="14" y="118"/>
                        <a:pt x="13" y="119"/>
                        <a:pt x="13" y="119"/>
                      </a:cubicBezTo>
                      <a:cubicBezTo>
                        <a:pt x="12" y="119"/>
                        <a:pt x="12" y="119"/>
                        <a:pt x="12" y="119"/>
                      </a:cubicBezTo>
                      <a:close/>
                      <a:moveTo>
                        <a:pt x="4" y="111"/>
                      </a:moveTo>
                      <a:cubicBezTo>
                        <a:pt x="10" y="114"/>
                        <a:pt x="10" y="114"/>
                        <a:pt x="10" y="114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lnTo>
                        <a:pt x="4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7" name="Freeform 880">
                  <a:extLst>
                    <a:ext uri="{FF2B5EF4-FFF2-40B4-BE49-F238E27FC236}">
                      <a16:creationId xmlns:a16="http://schemas.microsoft.com/office/drawing/2014/main" id="{1986D933-BDF6-4A3E-BDDF-E9F538574F2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57"/>
                  <a:ext cx="307" cy="386"/>
                </a:xfrm>
                <a:custGeom>
                  <a:avLst/>
                  <a:gdLst>
                    <a:gd name="T0" fmla="*/ 61 w 130"/>
                    <a:gd name="T1" fmla="*/ 163 h 163"/>
                    <a:gd name="T2" fmla="*/ 60 w 130"/>
                    <a:gd name="T3" fmla="*/ 162 h 163"/>
                    <a:gd name="T4" fmla="*/ 12 w 130"/>
                    <a:gd name="T5" fmla="*/ 135 h 163"/>
                    <a:gd name="T6" fmla="*/ 11 w 130"/>
                    <a:gd name="T7" fmla="*/ 133 h 163"/>
                    <a:gd name="T8" fmla="*/ 11 w 130"/>
                    <a:gd name="T9" fmla="*/ 18 h 163"/>
                    <a:gd name="T10" fmla="*/ 3 w 130"/>
                    <a:gd name="T11" fmla="*/ 23 h 163"/>
                    <a:gd name="T12" fmla="*/ 1 w 130"/>
                    <a:gd name="T13" fmla="*/ 23 h 163"/>
                    <a:gd name="T14" fmla="*/ 0 w 130"/>
                    <a:gd name="T15" fmla="*/ 21 h 163"/>
                    <a:gd name="T16" fmla="*/ 0 w 130"/>
                    <a:gd name="T17" fmla="*/ 18 h 163"/>
                    <a:gd name="T18" fmla="*/ 1 w 130"/>
                    <a:gd name="T19" fmla="*/ 16 h 163"/>
                    <a:gd name="T20" fmla="*/ 28 w 130"/>
                    <a:gd name="T21" fmla="*/ 1 h 163"/>
                    <a:gd name="T22" fmla="*/ 30 w 130"/>
                    <a:gd name="T23" fmla="*/ 1 h 163"/>
                    <a:gd name="T24" fmla="*/ 129 w 130"/>
                    <a:gd name="T25" fmla="*/ 58 h 163"/>
                    <a:gd name="T26" fmla="*/ 130 w 130"/>
                    <a:gd name="T27" fmla="*/ 59 h 163"/>
                    <a:gd name="T28" fmla="*/ 130 w 130"/>
                    <a:gd name="T29" fmla="*/ 122 h 163"/>
                    <a:gd name="T30" fmla="*/ 129 w 130"/>
                    <a:gd name="T31" fmla="*/ 124 h 163"/>
                    <a:gd name="T32" fmla="*/ 62 w 130"/>
                    <a:gd name="T33" fmla="*/ 162 h 163"/>
                    <a:gd name="T34" fmla="*/ 61 w 130"/>
                    <a:gd name="T35" fmla="*/ 163 h 163"/>
                    <a:gd name="T36" fmla="*/ 15 w 130"/>
                    <a:gd name="T37" fmla="*/ 132 h 163"/>
                    <a:gd name="T38" fmla="*/ 61 w 130"/>
                    <a:gd name="T39" fmla="*/ 158 h 163"/>
                    <a:gd name="T40" fmla="*/ 126 w 130"/>
                    <a:gd name="T41" fmla="*/ 121 h 163"/>
                    <a:gd name="T42" fmla="*/ 126 w 130"/>
                    <a:gd name="T43" fmla="*/ 60 h 163"/>
                    <a:gd name="T44" fmla="*/ 29 w 130"/>
                    <a:gd name="T45" fmla="*/ 5 h 163"/>
                    <a:gd name="T46" fmla="*/ 14 w 130"/>
                    <a:gd name="T47" fmla="*/ 13 h 163"/>
                    <a:gd name="T48" fmla="*/ 15 w 130"/>
                    <a:gd name="T49" fmla="*/ 15 h 163"/>
                    <a:gd name="T50" fmla="*/ 15 w 130"/>
                    <a:gd name="T51" fmla="*/ 132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0" h="163">
                      <a:moveTo>
                        <a:pt x="61" y="163"/>
                      </a:moveTo>
                      <a:cubicBezTo>
                        <a:pt x="60" y="163"/>
                        <a:pt x="60" y="163"/>
                        <a:pt x="60" y="162"/>
                      </a:cubicBezTo>
                      <a:cubicBezTo>
                        <a:pt x="12" y="135"/>
                        <a:pt x="12" y="135"/>
                        <a:pt x="12" y="135"/>
                      </a:cubicBezTo>
                      <a:cubicBezTo>
                        <a:pt x="12" y="135"/>
                        <a:pt x="11" y="134"/>
                        <a:pt x="11" y="133"/>
                      </a:cubicBezTo>
                      <a:cubicBezTo>
                        <a:pt x="11" y="18"/>
                        <a:pt x="11" y="18"/>
                        <a:pt x="11" y="18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3" y="23"/>
                        <a:pt x="2" y="23"/>
                        <a:pt x="1" y="23"/>
                      </a:cubicBezTo>
                      <a:cubicBezTo>
                        <a:pt x="1" y="22"/>
                        <a:pt x="0" y="21"/>
                        <a:pt x="0" y="21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7"/>
                        <a:pt x="1" y="16"/>
                        <a:pt x="1" y="16"/>
                      </a:cubicBezTo>
                      <a:cubicBezTo>
                        <a:pt x="28" y="1"/>
                        <a:pt x="28" y="1"/>
                        <a:pt x="28" y="1"/>
                      </a:cubicBezTo>
                      <a:cubicBezTo>
                        <a:pt x="29" y="0"/>
                        <a:pt x="29" y="0"/>
                        <a:pt x="30" y="1"/>
                      </a:cubicBezTo>
                      <a:cubicBezTo>
                        <a:pt x="129" y="58"/>
                        <a:pt x="129" y="58"/>
                        <a:pt x="129" y="58"/>
                      </a:cubicBezTo>
                      <a:cubicBezTo>
                        <a:pt x="129" y="58"/>
                        <a:pt x="130" y="59"/>
                        <a:pt x="130" y="59"/>
                      </a:cubicBezTo>
                      <a:cubicBezTo>
                        <a:pt x="130" y="122"/>
                        <a:pt x="130" y="122"/>
                        <a:pt x="130" y="122"/>
                      </a:cubicBezTo>
                      <a:cubicBezTo>
                        <a:pt x="130" y="123"/>
                        <a:pt x="129" y="123"/>
                        <a:pt x="129" y="124"/>
                      </a:cubicBezTo>
                      <a:cubicBezTo>
                        <a:pt x="62" y="162"/>
                        <a:pt x="62" y="162"/>
                        <a:pt x="62" y="162"/>
                      </a:cubicBezTo>
                      <a:cubicBezTo>
                        <a:pt x="62" y="163"/>
                        <a:pt x="61" y="163"/>
                        <a:pt x="61" y="163"/>
                      </a:cubicBezTo>
                      <a:close/>
                      <a:moveTo>
                        <a:pt x="15" y="132"/>
                      </a:moveTo>
                      <a:cubicBezTo>
                        <a:pt x="61" y="158"/>
                        <a:pt x="61" y="158"/>
                        <a:pt x="61" y="158"/>
                      </a:cubicBezTo>
                      <a:cubicBezTo>
                        <a:pt x="126" y="121"/>
                        <a:pt x="126" y="121"/>
                        <a:pt x="126" y="121"/>
                      </a:cubicBezTo>
                      <a:cubicBezTo>
                        <a:pt x="126" y="60"/>
                        <a:pt x="126" y="60"/>
                        <a:pt x="126" y="60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5" y="13"/>
                        <a:pt x="15" y="14"/>
                        <a:pt x="15" y="15"/>
                      </a:cubicBezTo>
                      <a:lnTo>
                        <a:pt x="15" y="13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8" name="Freeform 881">
                  <a:extLst>
                    <a:ext uri="{FF2B5EF4-FFF2-40B4-BE49-F238E27FC236}">
                      <a16:creationId xmlns:a16="http://schemas.microsoft.com/office/drawing/2014/main" id="{5192DC7A-38A3-4A6B-8863-3A157CE1CF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679" y="298"/>
                  <a:ext cx="304" cy="198"/>
                </a:xfrm>
                <a:custGeom>
                  <a:avLst/>
                  <a:gdLst>
                    <a:gd name="T0" fmla="*/ 16 w 129"/>
                    <a:gd name="T1" fmla="*/ 84 h 84"/>
                    <a:gd name="T2" fmla="*/ 15 w 129"/>
                    <a:gd name="T3" fmla="*/ 84 h 84"/>
                    <a:gd name="T4" fmla="*/ 1 w 129"/>
                    <a:gd name="T5" fmla="*/ 75 h 84"/>
                    <a:gd name="T6" fmla="*/ 0 w 129"/>
                    <a:gd name="T7" fmla="*/ 74 h 84"/>
                    <a:gd name="T8" fmla="*/ 1 w 129"/>
                    <a:gd name="T9" fmla="*/ 72 h 84"/>
                    <a:gd name="T10" fmla="*/ 126 w 129"/>
                    <a:gd name="T11" fmla="*/ 0 h 84"/>
                    <a:gd name="T12" fmla="*/ 128 w 129"/>
                    <a:gd name="T13" fmla="*/ 0 h 84"/>
                    <a:gd name="T14" fmla="*/ 129 w 129"/>
                    <a:gd name="T15" fmla="*/ 2 h 84"/>
                    <a:gd name="T16" fmla="*/ 129 w 129"/>
                    <a:gd name="T17" fmla="*/ 5 h 84"/>
                    <a:gd name="T18" fmla="*/ 128 w 129"/>
                    <a:gd name="T19" fmla="*/ 6 h 84"/>
                    <a:gd name="T20" fmla="*/ 18 w 129"/>
                    <a:gd name="T21" fmla="*/ 70 h 84"/>
                    <a:gd name="T22" fmla="*/ 18 w 129"/>
                    <a:gd name="T23" fmla="*/ 82 h 84"/>
                    <a:gd name="T24" fmla="*/ 17 w 129"/>
                    <a:gd name="T25" fmla="*/ 84 h 84"/>
                    <a:gd name="T26" fmla="*/ 16 w 129"/>
                    <a:gd name="T27" fmla="*/ 84 h 84"/>
                    <a:gd name="T28" fmla="*/ 6 w 129"/>
                    <a:gd name="T29" fmla="*/ 74 h 84"/>
                    <a:gd name="T30" fmla="*/ 14 w 129"/>
                    <a:gd name="T31" fmla="*/ 78 h 84"/>
                    <a:gd name="T32" fmla="*/ 14 w 129"/>
                    <a:gd name="T33" fmla="*/ 69 h 84"/>
                    <a:gd name="T34" fmla="*/ 6 w 129"/>
                    <a:gd name="T35" fmla="*/ 7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29" h="84">
                      <a:moveTo>
                        <a:pt x="16" y="84"/>
                      </a:moveTo>
                      <a:cubicBezTo>
                        <a:pt x="16" y="84"/>
                        <a:pt x="16" y="84"/>
                        <a:pt x="15" y="84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0" y="75"/>
                        <a:pt x="0" y="74"/>
                        <a:pt x="0" y="74"/>
                      </a:cubicBezTo>
                      <a:cubicBezTo>
                        <a:pt x="0" y="73"/>
                        <a:pt x="0" y="72"/>
                        <a:pt x="1" y="72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7" y="0"/>
                        <a:pt x="128" y="0"/>
                      </a:cubicBezTo>
                      <a:cubicBezTo>
                        <a:pt x="128" y="0"/>
                        <a:pt x="129" y="1"/>
                        <a:pt x="129" y="2"/>
                      </a:cubicBezTo>
                      <a:cubicBezTo>
                        <a:pt x="129" y="5"/>
                        <a:pt x="129" y="5"/>
                        <a:pt x="129" y="5"/>
                      </a:cubicBezTo>
                      <a:cubicBezTo>
                        <a:pt x="129" y="5"/>
                        <a:pt x="128" y="6"/>
                        <a:pt x="128" y="6"/>
                      </a:cubicBezTo>
                      <a:cubicBezTo>
                        <a:pt x="18" y="70"/>
                        <a:pt x="18" y="70"/>
                        <a:pt x="18" y="70"/>
                      </a:cubicBezTo>
                      <a:cubicBezTo>
                        <a:pt x="18" y="82"/>
                        <a:pt x="18" y="82"/>
                        <a:pt x="18" y="82"/>
                      </a:cubicBezTo>
                      <a:cubicBezTo>
                        <a:pt x="18" y="83"/>
                        <a:pt x="18" y="83"/>
                        <a:pt x="17" y="84"/>
                      </a:cubicBezTo>
                      <a:cubicBezTo>
                        <a:pt x="17" y="84"/>
                        <a:pt x="17" y="84"/>
                        <a:pt x="16" y="84"/>
                      </a:cubicBezTo>
                      <a:close/>
                      <a:moveTo>
                        <a:pt x="6" y="74"/>
                      </a:moveTo>
                      <a:cubicBezTo>
                        <a:pt x="14" y="78"/>
                        <a:pt x="14" y="78"/>
                        <a:pt x="14" y="78"/>
                      </a:cubicBezTo>
                      <a:cubicBezTo>
                        <a:pt x="14" y="69"/>
                        <a:pt x="14" y="69"/>
                        <a:pt x="14" y="69"/>
                      </a:cubicBezTo>
                      <a:lnTo>
                        <a:pt x="6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9" name="Freeform 882">
                  <a:extLst>
                    <a:ext uri="{FF2B5EF4-FFF2-40B4-BE49-F238E27FC236}">
                      <a16:creationId xmlns:a16="http://schemas.microsoft.com/office/drawing/2014/main" id="{ADD60116-B3B9-4C37-ABE1-B045458D84D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309"/>
                  <a:ext cx="293" cy="336"/>
                </a:xfrm>
                <a:custGeom>
                  <a:avLst/>
                  <a:gdLst>
                    <a:gd name="T0" fmla="*/ 110 w 124"/>
                    <a:gd name="T1" fmla="*/ 142 h 142"/>
                    <a:gd name="T2" fmla="*/ 109 w 124"/>
                    <a:gd name="T3" fmla="*/ 142 h 142"/>
                    <a:gd name="T4" fmla="*/ 1 w 124"/>
                    <a:gd name="T5" fmla="*/ 80 h 142"/>
                    <a:gd name="T6" fmla="*/ 0 w 124"/>
                    <a:gd name="T7" fmla="*/ 78 h 142"/>
                    <a:gd name="T8" fmla="*/ 0 w 124"/>
                    <a:gd name="T9" fmla="*/ 64 h 142"/>
                    <a:gd name="T10" fmla="*/ 1 w 124"/>
                    <a:gd name="T11" fmla="*/ 63 h 142"/>
                    <a:gd name="T12" fmla="*/ 110 w 124"/>
                    <a:gd name="T13" fmla="*/ 0 h 142"/>
                    <a:gd name="T14" fmla="*/ 112 w 124"/>
                    <a:gd name="T15" fmla="*/ 0 h 142"/>
                    <a:gd name="T16" fmla="*/ 113 w 124"/>
                    <a:gd name="T17" fmla="*/ 2 h 142"/>
                    <a:gd name="T18" fmla="*/ 113 w 124"/>
                    <a:gd name="T19" fmla="*/ 105 h 142"/>
                    <a:gd name="T20" fmla="*/ 123 w 124"/>
                    <a:gd name="T21" fmla="*/ 110 h 142"/>
                    <a:gd name="T22" fmla="*/ 124 w 124"/>
                    <a:gd name="T23" fmla="*/ 112 h 142"/>
                    <a:gd name="T24" fmla="*/ 124 w 124"/>
                    <a:gd name="T25" fmla="*/ 133 h 142"/>
                    <a:gd name="T26" fmla="*/ 123 w 124"/>
                    <a:gd name="T27" fmla="*/ 135 h 142"/>
                    <a:gd name="T28" fmla="*/ 111 w 124"/>
                    <a:gd name="T29" fmla="*/ 142 h 142"/>
                    <a:gd name="T30" fmla="*/ 110 w 124"/>
                    <a:gd name="T31" fmla="*/ 142 h 142"/>
                    <a:gd name="T32" fmla="*/ 4 w 124"/>
                    <a:gd name="T33" fmla="*/ 77 h 142"/>
                    <a:gd name="T34" fmla="*/ 110 w 124"/>
                    <a:gd name="T35" fmla="*/ 138 h 142"/>
                    <a:gd name="T36" fmla="*/ 120 w 124"/>
                    <a:gd name="T37" fmla="*/ 132 h 142"/>
                    <a:gd name="T38" fmla="*/ 120 w 124"/>
                    <a:gd name="T39" fmla="*/ 113 h 142"/>
                    <a:gd name="T40" fmla="*/ 110 w 124"/>
                    <a:gd name="T41" fmla="*/ 108 h 142"/>
                    <a:gd name="T42" fmla="*/ 109 w 124"/>
                    <a:gd name="T43" fmla="*/ 106 h 142"/>
                    <a:gd name="T44" fmla="*/ 109 w 124"/>
                    <a:gd name="T45" fmla="*/ 5 h 142"/>
                    <a:gd name="T46" fmla="*/ 4 w 124"/>
                    <a:gd name="T47" fmla="*/ 66 h 142"/>
                    <a:gd name="T48" fmla="*/ 4 w 124"/>
                    <a:gd name="T49" fmla="*/ 77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4" h="142">
                      <a:moveTo>
                        <a:pt x="110" y="142"/>
                      </a:moveTo>
                      <a:cubicBezTo>
                        <a:pt x="110" y="142"/>
                        <a:pt x="109" y="142"/>
                        <a:pt x="109" y="142"/>
                      </a:cubicBezTo>
                      <a:cubicBezTo>
                        <a:pt x="1" y="80"/>
                        <a:pt x="1" y="80"/>
                        <a:pt x="1" y="80"/>
                      </a:cubicBezTo>
                      <a:cubicBezTo>
                        <a:pt x="0" y="79"/>
                        <a:pt x="0" y="79"/>
                        <a:pt x="0" y="7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3"/>
                        <a:pt x="1" y="63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110" y="0"/>
                        <a:pt x="111" y="0"/>
                        <a:pt x="112" y="0"/>
                      </a:cubicBezTo>
                      <a:cubicBezTo>
                        <a:pt x="112" y="0"/>
                        <a:pt x="113" y="1"/>
                        <a:pt x="113" y="2"/>
                      </a:cubicBezTo>
                      <a:cubicBezTo>
                        <a:pt x="113" y="105"/>
                        <a:pt x="113" y="105"/>
                        <a:pt x="113" y="105"/>
                      </a:cubicBezTo>
                      <a:cubicBezTo>
                        <a:pt x="123" y="110"/>
                        <a:pt x="123" y="110"/>
                        <a:pt x="123" y="110"/>
                      </a:cubicBezTo>
                      <a:cubicBezTo>
                        <a:pt x="123" y="111"/>
                        <a:pt x="124" y="111"/>
                        <a:pt x="124" y="112"/>
                      </a:cubicBezTo>
                      <a:cubicBezTo>
                        <a:pt x="124" y="133"/>
                        <a:pt x="124" y="133"/>
                        <a:pt x="124" y="133"/>
                      </a:cubicBezTo>
                      <a:cubicBezTo>
                        <a:pt x="124" y="134"/>
                        <a:pt x="123" y="135"/>
                        <a:pt x="123" y="135"/>
                      </a:cubicBezTo>
                      <a:cubicBezTo>
                        <a:pt x="111" y="142"/>
                        <a:pt x="111" y="142"/>
                        <a:pt x="111" y="142"/>
                      </a:cubicBezTo>
                      <a:cubicBezTo>
                        <a:pt x="111" y="142"/>
                        <a:pt x="110" y="142"/>
                        <a:pt x="110" y="142"/>
                      </a:cubicBezTo>
                      <a:close/>
                      <a:moveTo>
                        <a:pt x="4" y="77"/>
                      </a:moveTo>
                      <a:cubicBezTo>
                        <a:pt x="110" y="138"/>
                        <a:pt x="110" y="138"/>
                        <a:pt x="110" y="138"/>
                      </a:cubicBezTo>
                      <a:cubicBezTo>
                        <a:pt x="120" y="132"/>
                        <a:pt x="120" y="132"/>
                        <a:pt x="120" y="132"/>
                      </a:cubicBezTo>
                      <a:cubicBezTo>
                        <a:pt x="120" y="113"/>
                        <a:pt x="120" y="113"/>
                        <a:pt x="120" y="113"/>
                      </a:cubicBezTo>
                      <a:cubicBezTo>
                        <a:pt x="110" y="108"/>
                        <a:pt x="110" y="108"/>
                        <a:pt x="110" y="108"/>
                      </a:cubicBezTo>
                      <a:cubicBezTo>
                        <a:pt x="109" y="107"/>
                        <a:pt x="109" y="107"/>
                        <a:pt x="109" y="106"/>
                      </a:cubicBezTo>
                      <a:cubicBezTo>
                        <a:pt x="109" y="5"/>
                        <a:pt x="109" y="5"/>
                        <a:pt x="109" y="5"/>
                      </a:cubicBezTo>
                      <a:cubicBezTo>
                        <a:pt x="4" y="66"/>
                        <a:pt x="4" y="66"/>
                        <a:pt x="4" y="66"/>
                      </a:cubicBezTo>
                      <a:lnTo>
                        <a:pt x="4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0" name="Freeform 883">
                  <a:extLst>
                    <a:ext uri="{FF2B5EF4-FFF2-40B4-BE49-F238E27FC236}">
                      <a16:creationId xmlns:a16="http://schemas.microsoft.com/office/drawing/2014/main" id="{CDBF3C84-E55F-4CCA-A8B8-CC9D6B7E12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664"/>
                  <a:ext cx="62" cy="101"/>
                </a:xfrm>
                <a:custGeom>
                  <a:avLst/>
                  <a:gdLst>
                    <a:gd name="T0" fmla="*/ 24 w 26"/>
                    <a:gd name="T1" fmla="*/ 43 h 43"/>
                    <a:gd name="T2" fmla="*/ 23 w 26"/>
                    <a:gd name="T3" fmla="*/ 42 h 43"/>
                    <a:gd name="T4" fmla="*/ 1 w 26"/>
                    <a:gd name="T5" fmla="*/ 30 h 43"/>
                    <a:gd name="T6" fmla="*/ 0 w 26"/>
                    <a:gd name="T7" fmla="*/ 28 h 43"/>
                    <a:gd name="T8" fmla="*/ 0 w 26"/>
                    <a:gd name="T9" fmla="*/ 15 h 43"/>
                    <a:gd name="T10" fmla="*/ 1 w 26"/>
                    <a:gd name="T11" fmla="*/ 13 h 43"/>
                    <a:gd name="T12" fmla="*/ 23 w 26"/>
                    <a:gd name="T13" fmla="*/ 1 h 43"/>
                    <a:gd name="T14" fmla="*/ 25 w 26"/>
                    <a:gd name="T15" fmla="*/ 1 h 43"/>
                    <a:gd name="T16" fmla="*/ 26 w 26"/>
                    <a:gd name="T17" fmla="*/ 3 h 43"/>
                    <a:gd name="T18" fmla="*/ 26 w 26"/>
                    <a:gd name="T19" fmla="*/ 41 h 43"/>
                    <a:gd name="T20" fmla="*/ 25 w 26"/>
                    <a:gd name="T21" fmla="*/ 42 h 43"/>
                    <a:gd name="T22" fmla="*/ 24 w 26"/>
                    <a:gd name="T23" fmla="*/ 43 h 43"/>
                    <a:gd name="T24" fmla="*/ 4 w 26"/>
                    <a:gd name="T25" fmla="*/ 27 h 43"/>
                    <a:gd name="T26" fmla="*/ 22 w 26"/>
                    <a:gd name="T27" fmla="*/ 37 h 43"/>
                    <a:gd name="T28" fmla="*/ 22 w 26"/>
                    <a:gd name="T29" fmla="*/ 6 h 43"/>
                    <a:gd name="T30" fmla="*/ 4 w 26"/>
                    <a:gd name="T31" fmla="*/ 16 h 43"/>
                    <a:gd name="T32" fmla="*/ 4 w 26"/>
                    <a:gd name="T33" fmla="*/ 27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43">
                      <a:moveTo>
                        <a:pt x="24" y="43"/>
                      </a:moveTo>
                      <a:cubicBezTo>
                        <a:pt x="23" y="43"/>
                        <a:pt x="23" y="42"/>
                        <a:pt x="23" y="42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1" y="30"/>
                        <a:pt x="0" y="29"/>
                        <a:pt x="0" y="28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4"/>
                        <a:pt x="1" y="13"/>
                        <a:pt x="1" y="13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3" y="0"/>
                        <a:pt x="24" y="0"/>
                        <a:pt x="25" y="1"/>
                      </a:cubicBezTo>
                      <a:cubicBezTo>
                        <a:pt x="25" y="1"/>
                        <a:pt x="26" y="2"/>
                        <a:pt x="26" y="3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26" y="41"/>
                        <a:pt x="25" y="42"/>
                        <a:pt x="25" y="42"/>
                      </a:cubicBezTo>
                      <a:cubicBezTo>
                        <a:pt x="24" y="42"/>
                        <a:pt x="24" y="43"/>
                        <a:pt x="24" y="43"/>
                      </a:cubicBezTo>
                      <a:close/>
                      <a:moveTo>
                        <a:pt x="4" y="27"/>
                      </a:moveTo>
                      <a:cubicBezTo>
                        <a:pt x="22" y="37"/>
                        <a:pt x="22" y="37"/>
                        <a:pt x="22" y="37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4" y="16"/>
                        <a:pt x="4" y="16"/>
                        <a:pt x="4" y="16"/>
                      </a:cubicBezTo>
                      <a:lnTo>
                        <a:pt x="4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1" name="Freeform 884">
                  <a:extLst>
                    <a:ext uri="{FF2B5EF4-FFF2-40B4-BE49-F238E27FC236}">
                      <a16:creationId xmlns:a16="http://schemas.microsoft.com/office/drawing/2014/main" id="{F5775B16-FEF8-46AF-A96D-7C785FC7D0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10"/>
                  <a:ext cx="307" cy="187"/>
                </a:xfrm>
                <a:custGeom>
                  <a:avLst/>
                  <a:gdLst>
                    <a:gd name="T0" fmla="*/ 128 w 130"/>
                    <a:gd name="T1" fmla="*/ 79 h 79"/>
                    <a:gd name="T2" fmla="*/ 127 w 130"/>
                    <a:gd name="T3" fmla="*/ 79 h 79"/>
                    <a:gd name="T4" fmla="*/ 29 w 130"/>
                    <a:gd name="T5" fmla="*/ 23 h 79"/>
                    <a:gd name="T6" fmla="*/ 3 w 130"/>
                    <a:gd name="T7" fmla="*/ 38 h 79"/>
                    <a:gd name="T8" fmla="*/ 1 w 130"/>
                    <a:gd name="T9" fmla="*/ 38 h 79"/>
                    <a:gd name="T10" fmla="*/ 0 w 130"/>
                    <a:gd name="T11" fmla="*/ 36 h 79"/>
                    <a:gd name="T12" fmla="*/ 0 w 130"/>
                    <a:gd name="T13" fmla="*/ 2 h 79"/>
                    <a:gd name="T14" fmla="*/ 1 w 130"/>
                    <a:gd name="T15" fmla="*/ 0 h 79"/>
                    <a:gd name="T16" fmla="*/ 3 w 130"/>
                    <a:gd name="T17" fmla="*/ 0 h 79"/>
                    <a:gd name="T18" fmla="*/ 129 w 130"/>
                    <a:gd name="T19" fmla="*/ 73 h 79"/>
                    <a:gd name="T20" fmla="*/ 130 w 130"/>
                    <a:gd name="T21" fmla="*/ 75 h 79"/>
                    <a:gd name="T22" fmla="*/ 130 w 130"/>
                    <a:gd name="T23" fmla="*/ 77 h 79"/>
                    <a:gd name="T24" fmla="*/ 129 w 130"/>
                    <a:gd name="T25" fmla="*/ 79 h 79"/>
                    <a:gd name="T26" fmla="*/ 128 w 130"/>
                    <a:gd name="T27" fmla="*/ 79 h 79"/>
                    <a:gd name="T28" fmla="*/ 4 w 130"/>
                    <a:gd name="T29" fmla="*/ 6 h 79"/>
                    <a:gd name="T30" fmla="*/ 4 w 130"/>
                    <a:gd name="T31" fmla="*/ 32 h 79"/>
                    <a:gd name="T32" fmla="*/ 28 w 130"/>
                    <a:gd name="T33" fmla="*/ 19 h 79"/>
                    <a:gd name="T34" fmla="*/ 4 w 130"/>
                    <a:gd name="T35" fmla="*/ 6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30" h="79">
                      <a:moveTo>
                        <a:pt x="128" y="79"/>
                      </a:moveTo>
                      <a:cubicBezTo>
                        <a:pt x="127" y="79"/>
                        <a:pt x="127" y="79"/>
                        <a:pt x="127" y="79"/>
                      </a:cubicBezTo>
                      <a:cubicBezTo>
                        <a:pt x="29" y="23"/>
                        <a:pt x="29" y="23"/>
                        <a:pt x="29" y="23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2" y="38"/>
                        <a:pt x="1" y="38"/>
                      </a:cubicBezTo>
                      <a:cubicBezTo>
                        <a:pt x="1" y="37"/>
                        <a:pt x="0" y="37"/>
                        <a:pt x="0" y="3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29" y="73"/>
                        <a:pt x="129" y="73"/>
                        <a:pt x="129" y="73"/>
                      </a:cubicBezTo>
                      <a:cubicBezTo>
                        <a:pt x="129" y="73"/>
                        <a:pt x="130" y="74"/>
                        <a:pt x="130" y="75"/>
                      </a:cubicBezTo>
                      <a:cubicBezTo>
                        <a:pt x="130" y="77"/>
                        <a:pt x="130" y="77"/>
                        <a:pt x="130" y="77"/>
                      </a:cubicBezTo>
                      <a:cubicBezTo>
                        <a:pt x="130" y="78"/>
                        <a:pt x="129" y="79"/>
                        <a:pt x="129" y="79"/>
                      </a:cubicBezTo>
                      <a:cubicBezTo>
                        <a:pt x="128" y="79"/>
                        <a:pt x="128" y="79"/>
                        <a:pt x="128" y="79"/>
                      </a:cubicBezTo>
                      <a:close/>
                      <a:moveTo>
                        <a:pt x="4" y="6"/>
                      </a:move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2" name="Freeform 885">
                  <a:extLst>
                    <a:ext uri="{FF2B5EF4-FFF2-40B4-BE49-F238E27FC236}">
                      <a16:creationId xmlns:a16="http://schemas.microsoft.com/office/drawing/2014/main" id="{7A2D10B1-903E-4050-92CC-F570D49089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1054"/>
                  <a:ext cx="378" cy="245"/>
                </a:xfrm>
                <a:custGeom>
                  <a:avLst/>
                  <a:gdLst>
                    <a:gd name="T0" fmla="*/ 50 w 160"/>
                    <a:gd name="T1" fmla="*/ 104 h 104"/>
                    <a:gd name="T2" fmla="*/ 49 w 160"/>
                    <a:gd name="T3" fmla="*/ 104 h 104"/>
                    <a:gd name="T4" fmla="*/ 1 w 160"/>
                    <a:gd name="T5" fmla="*/ 76 h 104"/>
                    <a:gd name="T6" fmla="*/ 0 w 160"/>
                    <a:gd name="T7" fmla="*/ 74 h 104"/>
                    <a:gd name="T8" fmla="*/ 0 w 160"/>
                    <a:gd name="T9" fmla="*/ 64 h 104"/>
                    <a:gd name="T10" fmla="*/ 1 w 160"/>
                    <a:gd name="T11" fmla="*/ 62 h 104"/>
                    <a:gd name="T12" fmla="*/ 108 w 160"/>
                    <a:gd name="T13" fmla="*/ 1 h 104"/>
                    <a:gd name="T14" fmla="*/ 110 w 160"/>
                    <a:gd name="T15" fmla="*/ 1 h 104"/>
                    <a:gd name="T16" fmla="*/ 111 w 160"/>
                    <a:gd name="T17" fmla="*/ 2 h 104"/>
                    <a:gd name="T18" fmla="*/ 111 w 160"/>
                    <a:gd name="T19" fmla="*/ 10 h 104"/>
                    <a:gd name="T20" fmla="*/ 159 w 160"/>
                    <a:gd name="T21" fmla="*/ 38 h 104"/>
                    <a:gd name="T22" fmla="*/ 160 w 160"/>
                    <a:gd name="T23" fmla="*/ 40 h 104"/>
                    <a:gd name="T24" fmla="*/ 159 w 160"/>
                    <a:gd name="T25" fmla="*/ 41 h 104"/>
                    <a:gd name="T26" fmla="*/ 51 w 160"/>
                    <a:gd name="T27" fmla="*/ 104 h 104"/>
                    <a:gd name="T28" fmla="*/ 50 w 160"/>
                    <a:gd name="T29" fmla="*/ 104 h 104"/>
                    <a:gd name="T30" fmla="*/ 4 w 160"/>
                    <a:gd name="T31" fmla="*/ 73 h 104"/>
                    <a:gd name="T32" fmla="*/ 50 w 160"/>
                    <a:gd name="T33" fmla="*/ 100 h 104"/>
                    <a:gd name="T34" fmla="*/ 154 w 160"/>
                    <a:gd name="T35" fmla="*/ 40 h 104"/>
                    <a:gd name="T36" fmla="*/ 108 w 160"/>
                    <a:gd name="T37" fmla="*/ 13 h 104"/>
                    <a:gd name="T38" fmla="*/ 107 w 160"/>
                    <a:gd name="T39" fmla="*/ 11 h 104"/>
                    <a:gd name="T40" fmla="*/ 107 w 160"/>
                    <a:gd name="T41" fmla="*/ 6 h 104"/>
                    <a:gd name="T42" fmla="*/ 4 w 160"/>
                    <a:gd name="T43" fmla="*/ 65 h 104"/>
                    <a:gd name="T44" fmla="*/ 4 w 160"/>
                    <a:gd name="T45" fmla="*/ 7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0" h="104">
                      <a:moveTo>
                        <a:pt x="50" y="104"/>
                      </a:moveTo>
                      <a:cubicBezTo>
                        <a:pt x="50" y="104"/>
                        <a:pt x="49" y="104"/>
                        <a:pt x="49" y="104"/>
                      </a:cubicBezTo>
                      <a:cubicBezTo>
                        <a:pt x="1" y="76"/>
                        <a:pt x="1" y="76"/>
                        <a:pt x="1" y="76"/>
                      </a:cubicBezTo>
                      <a:cubicBezTo>
                        <a:pt x="0" y="75"/>
                        <a:pt x="0" y="75"/>
                        <a:pt x="0" y="7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3"/>
                        <a:pt x="0" y="63"/>
                        <a:pt x="1" y="62"/>
                      </a:cubicBezTo>
                      <a:cubicBezTo>
                        <a:pt x="108" y="1"/>
                        <a:pt x="108" y="1"/>
                        <a:pt x="108" y="1"/>
                      </a:cubicBezTo>
                      <a:cubicBezTo>
                        <a:pt x="108" y="0"/>
                        <a:pt x="109" y="0"/>
                        <a:pt x="110" y="1"/>
                      </a:cubicBezTo>
                      <a:cubicBezTo>
                        <a:pt x="110" y="1"/>
                        <a:pt x="111" y="2"/>
                        <a:pt x="111" y="2"/>
                      </a:cubicBezTo>
                      <a:cubicBezTo>
                        <a:pt x="111" y="10"/>
                        <a:pt x="111" y="10"/>
                        <a:pt x="111" y="10"/>
                      </a:cubicBezTo>
                      <a:cubicBezTo>
                        <a:pt x="159" y="38"/>
                        <a:pt x="159" y="38"/>
                        <a:pt x="159" y="38"/>
                      </a:cubicBezTo>
                      <a:cubicBezTo>
                        <a:pt x="160" y="38"/>
                        <a:pt x="160" y="39"/>
                        <a:pt x="160" y="40"/>
                      </a:cubicBezTo>
                      <a:cubicBezTo>
                        <a:pt x="160" y="40"/>
                        <a:pt x="160" y="41"/>
                        <a:pt x="159" y="41"/>
                      </a:cubicBezTo>
                      <a:cubicBezTo>
                        <a:pt x="51" y="104"/>
                        <a:pt x="51" y="104"/>
                        <a:pt x="51" y="104"/>
                      </a:cubicBezTo>
                      <a:cubicBezTo>
                        <a:pt x="51" y="104"/>
                        <a:pt x="50" y="104"/>
                        <a:pt x="50" y="104"/>
                      </a:cubicBezTo>
                      <a:close/>
                      <a:moveTo>
                        <a:pt x="4" y="73"/>
                      </a:move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154" y="40"/>
                        <a:pt x="154" y="40"/>
                        <a:pt x="154" y="40"/>
                      </a:cubicBezTo>
                      <a:cubicBezTo>
                        <a:pt x="108" y="13"/>
                        <a:pt x="108" y="13"/>
                        <a:pt x="108" y="13"/>
                      </a:cubicBezTo>
                      <a:cubicBezTo>
                        <a:pt x="107" y="12"/>
                        <a:pt x="107" y="12"/>
                        <a:pt x="107" y="11"/>
                      </a:cubicBezTo>
                      <a:cubicBezTo>
                        <a:pt x="107" y="6"/>
                        <a:pt x="107" y="6"/>
                        <a:pt x="107" y="6"/>
                      </a:cubicBezTo>
                      <a:cubicBezTo>
                        <a:pt x="4" y="65"/>
                        <a:pt x="4" y="65"/>
                        <a:pt x="4" y="65"/>
                      </a:cubicBezTo>
                      <a:lnTo>
                        <a:pt x="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3" name="Freeform 886">
                  <a:extLst>
                    <a:ext uri="{FF2B5EF4-FFF2-40B4-BE49-F238E27FC236}">
                      <a16:creationId xmlns:a16="http://schemas.microsoft.com/office/drawing/2014/main" id="{83C6E3B0-2BEC-40E4-9F99-EA7E40F43B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" y="1361"/>
                  <a:ext cx="42" cy="33"/>
                </a:xfrm>
                <a:custGeom>
                  <a:avLst/>
                  <a:gdLst>
                    <a:gd name="T0" fmla="*/ 2 w 18"/>
                    <a:gd name="T1" fmla="*/ 14 h 14"/>
                    <a:gd name="T2" fmla="*/ 1 w 18"/>
                    <a:gd name="T3" fmla="*/ 14 h 14"/>
                    <a:gd name="T4" fmla="*/ 0 w 18"/>
                    <a:gd name="T5" fmla="*/ 12 h 14"/>
                    <a:gd name="T6" fmla="*/ 0 w 18"/>
                    <a:gd name="T7" fmla="*/ 10 h 14"/>
                    <a:gd name="T8" fmla="*/ 1 w 18"/>
                    <a:gd name="T9" fmla="*/ 8 h 14"/>
                    <a:gd name="T10" fmla="*/ 14 w 18"/>
                    <a:gd name="T11" fmla="*/ 1 h 14"/>
                    <a:gd name="T12" fmla="*/ 16 w 18"/>
                    <a:gd name="T13" fmla="*/ 1 h 14"/>
                    <a:gd name="T14" fmla="*/ 18 w 18"/>
                    <a:gd name="T15" fmla="*/ 2 h 14"/>
                    <a:gd name="T16" fmla="*/ 18 w 18"/>
                    <a:gd name="T17" fmla="*/ 4 h 14"/>
                    <a:gd name="T18" fmla="*/ 17 w 18"/>
                    <a:gd name="T19" fmla="*/ 6 h 14"/>
                    <a:gd name="T20" fmla="*/ 3 w 18"/>
                    <a:gd name="T21" fmla="*/ 14 h 14"/>
                    <a:gd name="T22" fmla="*/ 2 w 18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14">
                      <a:moveTo>
                        <a:pt x="2" y="14"/>
                      </a:moveTo>
                      <a:cubicBezTo>
                        <a:pt x="2" y="14"/>
                        <a:pt x="1" y="14"/>
                        <a:pt x="1" y="14"/>
                      </a:cubicBezTo>
                      <a:cubicBezTo>
                        <a:pt x="0" y="13"/>
                        <a:pt x="0" y="13"/>
                        <a:pt x="0" y="1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6" y="0"/>
                        <a:pt x="16" y="1"/>
                      </a:cubicBezTo>
                      <a:cubicBezTo>
                        <a:pt x="17" y="1"/>
                        <a:pt x="18" y="2"/>
                        <a:pt x="18" y="2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8" y="5"/>
                        <a:pt x="17" y="5"/>
                        <a:pt x="17" y="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2" y="14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4" name="Freeform 887">
                  <a:extLst>
                    <a:ext uri="{FF2B5EF4-FFF2-40B4-BE49-F238E27FC236}">
                      <a16:creationId xmlns:a16="http://schemas.microsoft.com/office/drawing/2014/main" id="{050EA7F1-DF33-486F-9034-0A40F6B46F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1299"/>
                  <a:ext cx="78" cy="88"/>
                </a:xfrm>
                <a:custGeom>
                  <a:avLst/>
                  <a:gdLst>
                    <a:gd name="T0" fmla="*/ 9 w 33"/>
                    <a:gd name="T1" fmla="*/ 37 h 37"/>
                    <a:gd name="T2" fmla="*/ 8 w 33"/>
                    <a:gd name="T3" fmla="*/ 37 h 37"/>
                    <a:gd name="T4" fmla="*/ 1 w 33"/>
                    <a:gd name="T5" fmla="*/ 32 h 37"/>
                    <a:gd name="T6" fmla="*/ 0 w 33"/>
                    <a:gd name="T7" fmla="*/ 31 h 37"/>
                    <a:gd name="T8" fmla="*/ 0 w 33"/>
                    <a:gd name="T9" fmla="*/ 2 h 37"/>
                    <a:gd name="T10" fmla="*/ 1 w 33"/>
                    <a:gd name="T11" fmla="*/ 1 h 37"/>
                    <a:gd name="T12" fmla="*/ 3 w 33"/>
                    <a:gd name="T13" fmla="*/ 1 h 37"/>
                    <a:gd name="T14" fmla="*/ 32 w 33"/>
                    <a:gd name="T15" fmla="*/ 18 h 37"/>
                    <a:gd name="T16" fmla="*/ 33 w 33"/>
                    <a:gd name="T17" fmla="*/ 20 h 37"/>
                    <a:gd name="T18" fmla="*/ 33 w 33"/>
                    <a:gd name="T19" fmla="*/ 22 h 37"/>
                    <a:gd name="T20" fmla="*/ 32 w 33"/>
                    <a:gd name="T21" fmla="*/ 24 h 37"/>
                    <a:gd name="T22" fmla="*/ 10 w 33"/>
                    <a:gd name="T23" fmla="*/ 37 h 37"/>
                    <a:gd name="T24" fmla="*/ 9 w 33"/>
                    <a:gd name="T25" fmla="*/ 37 h 37"/>
                    <a:gd name="T26" fmla="*/ 4 w 33"/>
                    <a:gd name="T27" fmla="*/ 29 h 37"/>
                    <a:gd name="T28" fmla="*/ 9 w 33"/>
                    <a:gd name="T29" fmla="*/ 33 h 37"/>
                    <a:gd name="T30" fmla="*/ 29 w 33"/>
                    <a:gd name="T31" fmla="*/ 21 h 37"/>
                    <a:gd name="T32" fmla="*/ 29 w 33"/>
                    <a:gd name="T33" fmla="*/ 21 h 37"/>
                    <a:gd name="T34" fmla="*/ 4 w 33"/>
                    <a:gd name="T35" fmla="*/ 6 h 37"/>
                    <a:gd name="T36" fmla="*/ 4 w 33"/>
                    <a:gd name="T37" fmla="*/ 29 h 37"/>
                    <a:gd name="T38" fmla="*/ 31 w 33"/>
                    <a:gd name="T39" fmla="*/ 22 h 37"/>
                    <a:gd name="T40" fmla="*/ 31 w 33"/>
                    <a:gd name="T41" fmla="*/ 22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37">
                      <a:moveTo>
                        <a:pt x="9" y="37"/>
                      </a:moveTo>
                      <a:cubicBezTo>
                        <a:pt x="9" y="37"/>
                        <a:pt x="9" y="37"/>
                        <a:pt x="8" y="37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32" y="18"/>
                        <a:pt x="32" y="18"/>
                        <a:pt x="32" y="18"/>
                      </a:cubicBezTo>
                      <a:cubicBezTo>
                        <a:pt x="33" y="18"/>
                        <a:pt x="33" y="19"/>
                        <a:pt x="33" y="20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3"/>
                        <a:pt x="33" y="24"/>
                        <a:pt x="32" y="24"/>
                      </a:cubicBezTo>
                      <a:cubicBezTo>
                        <a:pt x="10" y="37"/>
                        <a:pt x="10" y="37"/>
                        <a:pt x="10" y="37"/>
                      </a:cubicBezTo>
                      <a:cubicBezTo>
                        <a:pt x="10" y="37"/>
                        <a:pt x="10" y="37"/>
                        <a:pt x="9" y="37"/>
                      </a:cubicBezTo>
                      <a:close/>
                      <a:moveTo>
                        <a:pt x="4" y="29"/>
                      </a:moveTo>
                      <a:cubicBezTo>
                        <a:pt x="9" y="33"/>
                        <a:pt x="9" y="33"/>
                        <a:pt x="9" y="33"/>
                      </a:cubicBezTo>
                      <a:cubicBezTo>
                        <a:pt x="29" y="21"/>
                        <a:pt x="29" y="21"/>
                        <a:pt x="29" y="21"/>
                      </a:cubicBezTo>
                      <a:cubicBezTo>
                        <a:pt x="29" y="21"/>
                        <a:pt x="29" y="21"/>
                        <a:pt x="29" y="21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29"/>
                      </a:lnTo>
                      <a:close/>
                      <a:moveTo>
                        <a:pt x="31" y="22"/>
                      </a:moveTo>
                      <a:cubicBezTo>
                        <a:pt x="31" y="22"/>
                        <a:pt x="31" y="22"/>
                        <a:pt x="3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5" name="Freeform 888">
                  <a:extLst>
                    <a:ext uri="{FF2B5EF4-FFF2-40B4-BE49-F238E27FC236}">
                      <a16:creationId xmlns:a16="http://schemas.microsoft.com/office/drawing/2014/main" id="{2041BE96-2F73-40B6-B46D-A90E74A157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3" y="3187"/>
                  <a:ext cx="508" cy="361"/>
                </a:xfrm>
                <a:custGeom>
                  <a:avLst/>
                  <a:gdLst>
                    <a:gd name="T0" fmla="*/ 120 w 215"/>
                    <a:gd name="T1" fmla="*/ 153 h 153"/>
                    <a:gd name="T2" fmla="*/ 119 w 215"/>
                    <a:gd name="T3" fmla="*/ 153 h 153"/>
                    <a:gd name="T4" fmla="*/ 104 w 215"/>
                    <a:gd name="T5" fmla="*/ 144 h 153"/>
                    <a:gd name="T6" fmla="*/ 103 w 215"/>
                    <a:gd name="T7" fmla="*/ 142 h 153"/>
                    <a:gd name="T8" fmla="*/ 103 w 215"/>
                    <a:gd name="T9" fmla="*/ 135 h 153"/>
                    <a:gd name="T10" fmla="*/ 1 w 215"/>
                    <a:gd name="T11" fmla="*/ 76 h 153"/>
                    <a:gd name="T12" fmla="*/ 0 w 215"/>
                    <a:gd name="T13" fmla="*/ 75 h 153"/>
                    <a:gd name="T14" fmla="*/ 1 w 215"/>
                    <a:gd name="T15" fmla="*/ 73 h 153"/>
                    <a:gd name="T16" fmla="*/ 126 w 215"/>
                    <a:gd name="T17" fmla="*/ 1 h 153"/>
                    <a:gd name="T18" fmla="*/ 128 w 215"/>
                    <a:gd name="T19" fmla="*/ 1 h 153"/>
                    <a:gd name="T20" fmla="*/ 214 w 215"/>
                    <a:gd name="T21" fmla="*/ 50 h 153"/>
                    <a:gd name="T22" fmla="*/ 215 w 215"/>
                    <a:gd name="T23" fmla="*/ 52 h 153"/>
                    <a:gd name="T24" fmla="*/ 214 w 215"/>
                    <a:gd name="T25" fmla="*/ 54 h 153"/>
                    <a:gd name="T26" fmla="*/ 122 w 215"/>
                    <a:gd name="T27" fmla="*/ 107 h 153"/>
                    <a:gd name="T28" fmla="*/ 122 w 215"/>
                    <a:gd name="T29" fmla="*/ 151 h 153"/>
                    <a:gd name="T30" fmla="*/ 121 w 215"/>
                    <a:gd name="T31" fmla="*/ 153 h 153"/>
                    <a:gd name="T32" fmla="*/ 120 w 215"/>
                    <a:gd name="T33" fmla="*/ 153 h 153"/>
                    <a:gd name="T34" fmla="*/ 107 w 215"/>
                    <a:gd name="T35" fmla="*/ 141 h 153"/>
                    <a:gd name="T36" fmla="*/ 118 w 215"/>
                    <a:gd name="T37" fmla="*/ 147 h 153"/>
                    <a:gd name="T38" fmla="*/ 118 w 215"/>
                    <a:gd name="T39" fmla="*/ 105 h 153"/>
                    <a:gd name="T40" fmla="*/ 119 w 215"/>
                    <a:gd name="T41" fmla="*/ 104 h 153"/>
                    <a:gd name="T42" fmla="*/ 209 w 215"/>
                    <a:gd name="T43" fmla="*/ 52 h 153"/>
                    <a:gd name="T44" fmla="*/ 127 w 215"/>
                    <a:gd name="T45" fmla="*/ 5 h 153"/>
                    <a:gd name="T46" fmla="*/ 6 w 215"/>
                    <a:gd name="T47" fmla="*/ 75 h 153"/>
                    <a:gd name="T48" fmla="*/ 106 w 215"/>
                    <a:gd name="T49" fmla="*/ 132 h 153"/>
                    <a:gd name="T50" fmla="*/ 107 w 215"/>
                    <a:gd name="T51" fmla="*/ 134 h 153"/>
                    <a:gd name="T52" fmla="*/ 107 w 215"/>
                    <a:gd name="T53" fmla="*/ 141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5" h="153">
                      <a:moveTo>
                        <a:pt x="120" y="153"/>
                      </a:moveTo>
                      <a:cubicBezTo>
                        <a:pt x="120" y="153"/>
                        <a:pt x="120" y="153"/>
                        <a:pt x="119" y="153"/>
                      </a:cubicBezTo>
                      <a:cubicBezTo>
                        <a:pt x="104" y="144"/>
                        <a:pt x="104" y="144"/>
                        <a:pt x="104" y="144"/>
                      </a:cubicBezTo>
                      <a:cubicBezTo>
                        <a:pt x="104" y="144"/>
                        <a:pt x="103" y="143"/>
                        <a:pt x="103" y="142"/>
                      </a:cubicBezTo>
                      <a:cubicBezTo>
                        <a:pt x="103" y="135"/>
                        <a:pt x="103" y="135"/>
                        <a:pt x="103" y="135"/>
                      </a:cubicBezTo>
                      <a:cubicBezTo>
                        <a:pt x="1" y="76"/>
                        <a:pt x="1" y="76"/>
                        <a:pt x="1" y="76"/>
                      </a:cubicBezTo>
                      <a:cubicBezTo>
                        <a:pt x="1" y="76"/>
                        <a:pt x="0" y="75"/>
                        <a:pt x="0" y="75"/>
                      </a:cubicBezTo>
                      <a:cubicBezTo>
                        <a:pt x="0" y="74"/>
                        <a:pt x="1" y="73"/>
                        <a:pt x="1" y="73"/>
                      </a:cubicBezTo>
                      <a:cubicBezTo>
                        <a:pt x="126" y="1"/>
                        <a:pt x="126" y="1"/>
                        <a:pt x="126" y="1"/>
                      </a:cubicBezTo>
                      <a:cubicBezTo>
                        <a:pt x="127" y="0"/>
                        <a:pt x="128" y="0"/>
                        <a:pt x="128" y="1"/>
                      </a:cubicBezTo>
                      <a:cubicBezTo>
                        <a:pt x="214" y="50"/>
                        <a:pt x="214" y="50"/>
                        <a:pt x="214" y="50"/>
                      </a:cubicBezTo>
                      <a:cubicBezTo>
                        <a:pt x="215" y="51"/>
                        <a:pt x="215" y="51"/>
                        <a:pt x="215" y="52"/>
                      </a:cubicBezTo>
                      <a:cubicBezTo>
                        <a:pt x="215" y="53"/>
                        <a:pt x="215" y="53"/>
                        <a:pt x="214" y="54"/>
                      </a:cubicBezTo>
                      <a:cubicBezTo>
                        <a:pt x="122" y="107"/>
                        <a:pt x="122" y="107"/>
                        <a:pt x="122" y="107"/>
                      </a:cubicBezTo>
                      <a:cubicBezTo>
                        <a:pt x="122" y="151"/>
                        <a:pt x="122" y="151"/>
                        <a:pt x="122" y="151"/>
                      </a:cubicBezTo>
                      <a:cubicBezTo>
                        <a:pt x="122" y="152"/>
                        <a:pt x="122" y="152"/>
                        <a:pt x="121" y="153"/>
                      </a:cubicBezTo>
                      <a:cubicBezTo>
                        <a:pt x="121" y="153"/>
                        <a:pt x="121" y="153"/>
                        <a:pt x="120" y="153"/>
                      </a:cubicBezTo>
                      <a:close/>
                      <a:moveTo>
                        <a:pt x="107" y="141"/>
                      </a:moveTo>
                      <a:cubicBezTo>
                        <a:pt x="118" y="147"/>
                        <a:pt x="118" y="147"/>
                        <a:pt x="118" y="147"/>
                      </a:cubicBezTo>
                      <a:cubicBezTo>
                        <a:pt x="118" y="105"/>
                        <a:pt x="118" y="105"/>
                        <a:pt x="118" y="105"/>
                      </a:cubicBezTo>
                      <a:cubicBezTo>
                        <a:pt x="118" y="105"/>
                        <a:pt x="119" y="104"/>
                        <a:pt x="119" y="104"/>
                      </a:cubicBezTo>
                      <a:cubicBezTo>
                        <a:pt x="209" y="52"/>
                        <a:pt x="209" y="52"/>
                        <a:pt x="209" y="52"/>
                      </a:cubicBezTo>
                      <a:cubicBezTo>
                        <a:pt x="127" y="5"/>
                        <a:pt x="127" y="5"/>
                        <a:pt x="127" y="5"/>
                      </a:cubicBezTo>
                      <a:cubicBezTo>
                        <a:pt x="6" y="75"/>
                        <a:pt x="6" y="75"/>
                        <a:pt x="6" y="75"/>
                      </a:cubicBezTo>
                      <a:cubicBezTo>
                        <a:pt x="106" y="132"/>
                        <a:pt x="106" y="132"/>
                        <a:pt x="106" y="132"/>
                      </a:cubicBezTo>
                      <a:cubicBezTo>
                        <a:pt x="107" y="133"/>
                        <a:pt x="107" y="133"/>
                        <a:pt x="107" y="134"/>
                      </a:cubicBezTo>
                      <a:lnTo>
                        <a:pt x="10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6" name="Freeform 889">
                  <a:extLst>
                    <a:ext uri="{FF2B5EF4-FFF2-40B4-BE49-F238E27FC236}">
                      <a16:creationId xmlns:a16="http://schemas.microsoft.com/office/drawing/2014/main" id="{E3DB6223-216A-4ADC-B4EF-25951B9808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3352"/>
                  <a:ext cx="29" cy="341"/>
                </a:xfrm>
                <a:custGeom>
                  <a:avLst/>
                  <a:gdLst>
                    <a:gd name="T0" fmla="*/ 10 w 12"/>
                    <a:gd name="T1" fmla="*/ 144 h 144"/>
                    <a:gd name="T2" fmla="*/ 9 w 12"/>
                    <a:gd name="T3" fmla="*/ 144 h 144"/>
                    <a:gd name="T4" fmla="*/ 1 w 12"/>
                    <a:gd name="T5" fmla="*/ 139 h 144"/>
                    <a:gd name="T6" fmla="*/ 0 w 12"/>
                    <a:gd name="T7" fmla="*/ 137 h 144"/>
                    <a:gd name="T8" fmla="*/ 0 w 12"/>
                    <a:gd name="T9" fmla="*/ 7 h 144"/>
                    <a:gd name="T10" fmla="*/ 1 w 12"/>
                    <a:gd name="T11" fmla="*/ 5 h 144"/>
                    <a:gd name="T12" fmla="*/ 9 w 12"/>
                    <a:gd name="T13" fmla="*/ 1 h 144"/>
                    <a:gd name="T14" fmla="*/ 11 w 12"/>
                    <a:gd name="T15" fmla="*/ 1 h 144"/>
                    <a:gd name="T16" fmla="*/ 12 w 12"/>
                    <a:gd name="T17" fmla="*/ 3 h 144"/>
                    <a:gd name="T18" fmla="*/ 12 w 12"/>
                    <a:gd name="T19" fmla="*/ 142 h 144"/>
                    <a:gd name="T20" fmla="*/ 11 w 12"/>
                    <a:gd name="T21" fmla="*/ 144 h 144"/>
                    <a:gd name="T22" fmla="*/ 10 w 12"/>
                    <a:gd name="T23" fmla="*/ 144 h 144"/>
                    <a:gd name="T24" fmla="*/ 4 w 12"/>
                    <a:gd name="T25" fmla="*/ 136 h 144"/>
                    <a:gd name="T26" fmla="*/ 8 w 12"/>
                    <a:gd name="T27" fmla="*/ 139 h 144"/>
                    <a:gd name="T28" fmla="*/ 8 w 12"/>
                    <a:gd name="T29" fmla="*/ 6 h 144"/>
                    <a:gd name="T30" fmla="*/ 4 w 12"/>
                    <a:gd name="T31" fmla="*/ 8 h 144"/>
                    <a:gd name="T32" fmla="*/ 4 w 12"/>
                    <a:gd name="T33" fmla="*/ 136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" h="144">
                      <a:moveTo>
                        <a:pt x="10" y="144"/>
                      </a:moveTo>
                      <a:cubicBezTo>
                        <a:pt x="10" y="144"/>
                        <a:pt x="10" y="144"/>
                        <a:pt x="9" y="144"/>
                      </a:cubicBezTo>
                      <a:cubicBezTo>
                        <a:pt x="1" y="139"/>
                        <a:pt x="1" y="139"/>
                        <a:pt x="1" y="139"/>
                      </a:cubicBezTo>
                      <a:cubicBezTo>
                        <a:pt x="1" y="139"/>
                        <a:pt x="0" y="138"/>
                        <a:pt x="0" y="13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1" y="6"/>
                        <a:pt x="1" y="5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0"/>
                        <a:pt x="11" y="0"/>
                        <a:pt x="11" y="1"/>
                      </a:cubicBezTo>
                      <a:cubicBezTo>
                        <a:pt x="12" y="1"/>
                        <a:pt x="12" y="2"/>
                        <a:pt x="12" y="3"/>
                      </a:cubicBezTo>
                      <a:cubicBezTo>
                        <a:pt x="12" y="142"/>
                        <a:pt x="12" y="142"/>
                        <a:pt x="12" y="142"/>
                      </a:cubicBezTo>
                      <a:cubicBezTo>
                        <a:pt x="12" y="143"/>
                        <a:pt x="12" y="143"/>
                        <a:pt x="11" y="144"/>
                      </a:cubicBezTo>
                      <a:cubicBezTo>
                        <a:pt x="11" y="144"/>
                        <a:pt x="11" y="144"/>
                        <a:pt x="10" y="144"/>
                      </a:cubicBezTo>
                      <a:close/>
                      <a:moveTo>
                        <a:pt x="4" y="136"/>
                      </a:moveTo>
                      <a:cubicBezTo>
                        <a:pt x="8" y="139"/>
                        <a:pt x="8" y="139"/>
                        <a:pt x="8" y="139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4" y="8"/>
                        <a:pt x="4" y="8"/>
                        <a:pt x="4" y="8"/>
                      </a:cubicBezTo>
                      <a:lnTo>
                        <a:pt x="4" y="1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7" name="Freeform 890">
                  <a:extLst>
                    <a:ext uri="{FF2B5EF4-FFF2-40B4-BE49-F238E27FC236}">
                      <a16:creationId xmlns:a16="http://schemas.microsoft.com/office/drawing/2014/main" id="{634A707F-E2AA-494E-B0E2-A72A6280BD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16" y="3359"/>
                  <a:ext cx="267" cy="166"/>
                </a:xfrm>
                <a:custGeom>
                  <a:avLst/>
                  <a:gdLst>
                    <a:gd name="T0" fmla="*/ 111 w 113"/>
                    <a:gd name="T1" fmla="*/ 70 h 70"/>
                    <a:gd name="T2" fmla="*/ 110 w 113"/>
                    <a:gd name="T3" fmla="*/ 70 h 70"/>
                    <a:gd name="T4" fmla="*/ 1 w 113"/>
                    <a:gd name="T5" fmla="*/ 7 h 70"/>
                    <a:gd name="T6" fmla="*/ 0 w 113"/>
                    <a:gd name="T7" fmla="*/ 6 h 70"/>
                    <a:gd name="T8" fmla="*/ 1 w 113"/>
                    <a:gd name="T9" fmla="*/ 4 h 70"/>
                    <a:gd name="T10" fmla="*/ 7 w 113"/>
                    <a:gd name="T11" fmla="*/ 1 h 70"/>
                    <a:gd name="T12" fmla="*/ 9 w 113"/>
                    <a:gd name="T13" fmla="*/ 1 h 70"/>
                    <a:gd name="T14" fmla="*/ 112 w 113"/>
                    <a:gd name="T15" fmla="*/ 60 h 70"/>
                    <a:gd name="T16" fmla="*/ 113 w 113"/>
                    <a:gd name="T17" fmla="*/ 62 h 70"/>
                    <a:gd name="T18" fmla="*/ 113 w 113"/>
                    <a:gd name="T19" fmla="*/ 68 h 70"/>
                    <a:gd name="T20" fmla="*/ 112 w 113"/>
                    <a:gd name="T21" fmla="*/ 70 h 70"/>
                    <a:gd name="T22" fmla="*/ 111 w 113"/>
                    <a:gd name="T23" fmla="*/ 70 h 70"/>
                    <a:gd name="T24" fmla="*/ 6 w 113"/>
                    <a:gd name="T25" fmla="*/ 6 h 70"/>
                    <a:gd name="T26" fmla="*/ 109 w 113"/>
                    <a:gd name="T27" fmla="*/ 65 h 70"/>
                    <a:gd name="T28" fmla="*/ 109 w 113"/>
                    <a:gd name="T29" fmla="*/ 63 h 70"/>
                    <a:gd name="T30" fmla="*/ 8 w 113"/>
                    <a:gd name="T31" fmla="*/ 5 h 70"/>
                    <a:gd name="T32" fmla="*/ 6 w 113"/>
                    <a:gd name="T33" fmla="*/ 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3" h="70">
                      <a:moveTo>
                        <a:pt x="111" y="70"/>
                      </a:moveTo>
                      <a:cubicBezTo>
                        <a:pt x="110" y="70"/>
                        <a:pt x="110" y="70"/>
                        <a:pt x="110" y="70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7" y="0"/>
                        <a:pt x="8" y="0"/>
                        <a:pt x="9" y="1"/>
                      </a:cubicBezTo>
                      <a:cubicBezTo>
                        <a:pt x="112" y="60"/>
                        <a:pt x="112" y="60"/>
                        <a:pt x="112" y="60"/>
                      </a:cubicBezTo>
                      <a:cubicBezTo>
                        <a:pt x="112" y="61"/>
                        <a:pt x="113" y="61"/>
                        <a:pt x="113" y="62"/>
                      </a:cubicBezTo>
                      <a:cubicBezTo>
                        <a:pt x="113" y="68"/>
                        <a:pt x="113" y="68"/>
                        <a:pt x="113" y="68"/>
                      </a:cubicBezTo>
                      <a:cubicBezTo>
                        <a:pt x="113" y="69"/>
                        <a:pt x="112" y="70"/>
                        <a:pt x="112" y="70"/>
                      </a:cubicBezTo>
                      <a:cubicBezTo>
                        <a:pt x="111" y="70"/>
                        <a:pt x="111" y="70"/>
                        <a:pt x="111" y="70"/>
                      </a:cubicBezTo>
                      <a:close/>
                      <a:moveTo>
                        <a:pt x="6" y="6"/>
                      </a:moveTo>
                      <a:cubicBezTo>
                        <a:pt x="109" y="65"/>
                        <a:pt x="109" y="65"/>
                        <a:pt x="109" y="65"/>
                      </a:cubicBezTo>
                      <a:cubicBezTo>
                        <a:pt x="109" y="63"/>
                        <a:pt x="109" y="63"/>
                        <a:pt x="109" y="63"/>
                      </a:cubicBezTo>
                      <a:cubicBezTo>
                        <a:pt x="8" y="5"/>
                        <a:pt x="8" y="5"/>
                        <a:pt x="8" y="5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8" name="Freeform 891">
                  <a:extLst>
                    <a:ext uri="{FF2B5EF4-FFF2-40B4-BE49-F238E27FC236}">
                      <a16:creationId xmlns:a16="http://schemas.microsoft.com/office/drawing/2014/main" id="{06B2D506-86A5-4EF4-B4E1-CF90D39178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3515"/>
                  <a:ext cx="34" cy="366"/>
                </a:xfrm>
                <a:custGeom>
                  <a:avLst/>
                  <a:gdLst>
                    <a:gd name="T0" fmla="*/ 11 w 14"/>
                    <a:gd name="T1" fmla="*/ 155 h 155"/>
                    <a:gd name="T2" fmla="*/ 10 w 14"/>
                    <a:gd name="T3" fmla="*/ 154 h 155"/>
                    <a:gd name="T4" fmla="*/ 1 w 14"/>
                    <a:gd name="T5" fmla="*/ 149 h 155"/>
                    <a:gd name="T6" fmla="*/ 0 w 14"/>
                    <a:gd name="T7" fmla="*/ 147 h 155"/>
                    <a:gd name="T8" fmla="*/ 0 w 14"/>
                    <a:gd name="T9" fmla="*/ 8 h 155"/>
                    <a:gd name="T10" fmla="*/ 1 w 14"/>
                    <a:gd name="T11" fmla="*/ 7 h 155"/>
                    <a:gd name="T12" fmla="*/ 11 w 14"/>
                    <a:gd name="T13" fmla="*/ 1 h 155"/>
                    <a:gd name="T14" fmla="*/ 13 w 14"/>
                    <a:gd name="T15" fmla="*/ 1 h 155"/>
                    <a:gd name="T16" fmla="*/ 13 w 14"/>
                    <a:gd name="T17" fmla="*/ 1 h 155"/>
                    <a:gd name="T18" fmla="*/ 14 w 14"/>
                    <a:gd name="T19" fmla="*/ 3 h 155"/>
                    <a:gd name="T20" fmla="*/ 14 w 14"/>
                    <a:gd name="T21" fmla="*/ 152 h 155"/>
                    <a:gd name="T22" fmla="*/ 13 w 14"/>
                    <a:gd name="T23" fmla="*/ 154 h 155"/>
                    <a:gd name="T24" fmla="*/ 12 w 14"/>
                    <a:gd name="T25" fmla="*/ 154 h 155"/>
                    <a:gd name="T26" fmla="*/ 11 w 14"/>
                    <a:gd name="T27" fmla="*/ 155 h 155"/>
                    <a:gd name="T28" fmla="*/ 4 w 14"/>
                    <a:gd name="T29" fmla="*/ 146 h 155"/>
                    <a:gd name="T30" fmla="*/ 10 w 14"/>
                    <a:gd name="T31" fmla="*/ 150 h 155"/>
                    <a:gd name="T32" fmla="*/ 10 w 14"/>
                    <a:gd name="T33" fmla="*/ 6 h 155"/>
                    <a:gd name="T34" fmla="*/ 4 w 14"/>
                    <a:gd name="T35" fmla="*/ 10 h 155"/>
                    <a:gd name="T36" fmla="*/ 4 w 14"/>
                    <a:gd name="T37" fmla="*/ 146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155">
                      <a:moveTo>
                        <a:pt x="11" y="155"/>
                      </a:moveTo>
                      <a:cubicBezTo>
                        <a:pt x="11" y="155"/>
                        <a:pt x="11" y="155"/>
                        <a:pt x="10" y="154"/>
                      </a:cubicBezTo>
                      <a:cubicBezTo>
                        <a:pt x="1" y="149"/>
                        <a:pt x="1" y="149"/>
                        <a:pt x="1" y="149"/>
                      </a:cubicBezTo>
                      <a:cubicBezTo>
                        <a:pt x="0" y="148"/>
                        <a:pt x="0" y="148"/>
                        <a:pt x="0" y="14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4" y="1"/>
                        <a:pt x="14" y="2"/>
                        <a:pt x="14" y="3"/>
                      </a:cubicBezTo>
                      <a:cubicBezTo>
                        <a:pt x="14" y="152"/>
                        <a:pt x="14" y="152"/>
                        <a:pt x="14" y="152"/>
                      </a:cubicBezTo>
                      <a:cubicBezTo>
                        <a:pt x="14" y="153"/>
                        <a:pt x="14" y="154"/>
                        <a:pt x="13" y="154"/>
                      </a:cubicBezTo>
                      <a:cubicBezTo>
                        <a:pt x="12" y="154"/>
                        <a:pt x="12" y="154"/>
                        <a:pt x="12" y="154"/>
                      </a:cubicBezTo>
                      <a:cubicBezTo>
                        <a:pt x="12" y="155"/>
                        <a:pt x="12" y="155"/>
                        <a:pt x="11" y="155"/>
                      </a:cubicBezTo>
                      <a:close/>
                      <a:moveTo>
                        <a:pt x="4" y="146"/>
                      </a:moveTo>
                      <a:cubicBezTo>
                        <a:pt x="10" y="150"/>
                        <a:pt x="10" y="150"/>
                        <a:pt x="10" y="150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1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9" name="Freeform 892">
                  <a:extLst>
                    <a:ext uri="{FF2B5EF4-FFF2-40B4-BE49-F238E27FC236}">
                      <a16:creationId xmlns:a16="http://schemas.microsoft.com/office/drawing/2014/main" id="{EE0168BD-4C75-4424-98BA-EB41D10352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2799"/>
                  <a:ext cx="896" cy="723"/>
                </a:xfrm>
                <a:custGeom>
                  <a:avLst/>
                  <a:gdLst>
                    <a:gd name="T0" fmla="*/ 18 w 379"/>
                    <a:gd name="T1" fmla="*/ 306 h 306"/>
                    <a:gd name="T2" fmla="*/ 17 w 379"/>
                    <a:gd name="T3" fmla="*/ 305 h 306"/>
                    <a:gd name="T4" fmla="*/ 1 w 379"/>
                    <a:gd name="T5" fmla="*/ 296 h 306"/>
                    <a:gd name="T6" fmla="*/ 0 w 379"/>
                    <a:gd name="T7" fmla="*/ 295 h 306"/>
                    <a:gd name="T8" fmla="*/ 0 w 379"/>
                    <a:gd name="T9" fmla="*/ 7 h 306"/>
                    <a:gd name="T10" fmla="*/ 1 w 379"/>
                    <a:gd name="T11" fmla="*/ 5 h 306"/>
                    <a:gd name="T12" fmla="*/ 3 w 379"/>
                    <a:gd name="T13" fmla="*/ 5 h 306"/>
                    <a:gd name="T14" fmla="*/ 11 w 379"/>
                    <a:gd name="T15" fmla="*/ 10 h 306"/>
                    <a:gd name="T16" fmla="*/ 28 w 379"/>
                    <a:gd name="T17" fmla="*/ 0 h 306"/>
                    <a:gd name="T18" fmla="*/ 30 w 379"/>
                    <a:gd name="T19" fmla="*/ 0 h 306"/>
                    <a:gd name="T20" fmla="*/ 31 w 379"/>
                    <a:gd name="T21" fmla="*/ 2 h 306"/>
                    <a:gd name="T22" fmla="*/ 31 w 379"/>
                    <a:gd name="T23" fmla="*/ 268 h 306"/>
                    <a:gd name="T24" fmla="*/ 271 w 379"/>
                    <a:gd name="T25" fmla="*/ 129 h 306"/>
                    <a:gd name="T26" fmla="*/ 271 w 379"/>
                    <a:gd name="T27" fmla="*/ 7 h 306"/>
                    <a:gd name="T28" fmla="*/ 272 w 379"/>
                    <a:gd name="T29" fmla="*/ 5 h 306"/>
                    <a:gd name="T30" fmla="*/ 274 w 379"/>
                    <a:gd name="T31" fmla="*/ 5 h 306"/>
                    <a:gd name="T32" fmla="*/ 283 w 379"/>
                    <a:gd name="T33" fmla="*/ 10 h 306"/>
                    <a:gd name="T34" fmla="*/ 284 w 379"/>
                    <a:gd name="T35" fmla="*/ 12 h 306"/>
                    <a:gd name="T36" fmla="*/ 284 w 379"/>
                    <a:gd name="T37" fmla="*/ 152 h 306"/>
                    <a:gd name="T38" fmla="*/ 378 w 379"/>
                    <a:gd name="T39" fmla="*/ 207 h 306"/>
                    <a:gd name="T40" fmla="*/ 379 w 379"/>
                    <a:gd name="T41" fmla="*/ 208 h 306"/>
                    <a:gd name="T42" fmla="*/ 378 w 379"/>
                    <a:gd name="T43" fmla="*/ 210 h 306"/>
                    <a:gd name="T44" fmla="*/ 367 w 379"/>
                    <a:gd name="T45" fmla="*/ 217 h 306"/>
                    <a:gd name="T46" fmla="*/ 365 w 379"/>
                    <a:gd name="T47" fmla="*/ 217 h 306"/>
                    <a:gd name="T48" fmla="*/ 278 w 379"/>
                    <a:gd name="T49" fmla="*/ 167 h 306"/>
                    <a:gd name="T50" fmla="*/ 153 w 379"/>
                    <a:gd name="T51" fmla="*/ 239 h 306"/>
                    <a:gd name="T52" fmla="*/ 151 w 379"/>
                    <a:gd name="T53" fmla="*/ 239 h 306"/>
                    <a:gd name="T54" fmla="*/ 130 w 379"/>
                    <a:gd name="T55" fmla="*/ 227 h 306"/>
                    <a:gd name="T56" fmla="*/ 130 w 379"/>
                    <a:gd name="T57" fmla="*/ 240 h 306"/>
                    <a:gd name="T58" fmla="*/ 129 w 379"/>
                    <a:gd name="T59" fmla="*/ 242 h 306"/>
                    <a:gd name="T60" fmla="*/ 19 w 379"/>
                    <a:gd name="T61" fmla="*/ 305 h 306"/>
                    <a:gd name="T62" fmla="*/ 18 w 379"/>
                    <a:gd name="T63" fmla="*/ 306 h 306"/>
                    <a:gd name="T64" fmla="*/ 4 w 379"/>
                    <a:gd name="T65" fmla="*/ 294 h 306"/>
                    <a:gd name="T66" fmla="*/ 18 w 379"/>
                    <a:gd name="T67" fmla="*/ 301 h 306"/>
                    <a:gd name="T68" fmla="*/ 126 w 379"/>
                    <a:gd name="T69" fmla="*/ 239 h 306"/>
                    <a:gd name="T70" fmla="*/ 126 w 379"/>
                    <a:gd name="T71" fmla="*/ 224 h 306"/>
                    <a:gd name="T72" fmla="*/ 127 w 379"/>
                    <a:gd name="T73" fmla="*/ 222 h 306"/>
                    <a:gd name="T74" fmla="*/ 129 w 379"/>
                    <a:gd name="T75" fmla="*/ 222 h 306"/>
                    <a:gd name="T76" fmla="*/ 152 w 379"/>
                    <a:gd name="T77" fmla="*/ 235 h 306"/>
                    <a:gd name="T78" fmla="*/ 277 w 379"/>
                    <a:gd name="T79" fmla="*/ 163 h 306"/>
                    <a:gd name="T80" fmla="*/ 279 w 379"/>
                    <a:gd name="T81" fmla="*/ 163 h 306"/>
                    <a:gd name="T82" fmla="*/ 366 w 379"/>
                    <a:gd name="T83" fmla="*/ 213 h 306"/>
                    <a:gd name="T84" fmla="*/ 373 w 379"/>
                    <a:gd name="T85" fmla="*/ 208 h 306"/>
                    <a:gd name="T86" fmla="*/ 281 w 379"/>
                    <a:gd name="T87" fmla="*/ 155 h 306"/>
                    <a:gd name="T88" fmla="*/ 280 w 379"/>
                    <a:gd name="T89" fmla="*/ 153 h 306"/>
                    <a:gd name="T90" fmla="*/ 280 w 379"/>
                    <a:gd name="T91" fmla="*/ 13 h 306"/>
                    <a:gd name="T92" fmla="*/ 275 w 379"/>
                    <a:gd name="T93" fmla="*/ 10 h 306"/>
                    <a:gd name="T94" fmla="*/ 275 w 379"/>
                    <a:gd name="T95" fmla="*/ 130 h 306"/>
                    <a:gd name="T96" fmla="*/ 274 w 379"/>
                    <a:gd name="T97" fmla="*/ 132 h 306"/>
                    <a:gd name="T98" fmla="*/ 30 w 379"/>
                    <a:gd name="T99" fmla="*/ 273 h 306"/>
                    <a:gd name="T100" fmla="*/ 28 w 379"/>
                    <a:gd name="T101" fmla="*/ 273 h 306"/>
                    <a:gd name="T102" fmla="*/ 27 w 379"/>
                    <a:gd name="T103" fmla="*/ 271 h 306"/>
                    <a:gd name="T104" fmla="*/ 27 w 379"/>
                    <a:gd name="T105" fmla="*/ 6 h 306"/>
                    <a:gd name="T106" fmla="*/ 12 w 379"/>
                    <a:gd name="T107" fmla="*/ 14 h 306"/>
                    <a:gd name="T108" fmla="*/ 10 w 379"/>
                    <a:gd name="T109" fmla="*/ 14 h 306"/>
                    <a:gd name="T110" fmla="*/ 4 w 379"/>
                    <a:gd name="T111" fmla="*/ 11 h 306"/>
                    <a:gd name="T112" fmla="*/ 4 w 379"/>
                    <a:gd name="T113" fmla="*/ 294 h 306"/>
                    <a:gd name="T114" fmla="*/ 128 w 379"/>
                    <a:gd name="T115" fmla="*/ 240 h 306"/>
                    <a:gd name="T116" fmla="*/ 128 w 379"/>
                    <a:gd name="T117" fmla="*/ 240 h 3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79" h="306">
                      <a:moveTo>
                        <a:pt x="18" y="306"/>
                      </a:moveTo>
                      <a:cubicBezTo>
                        <a:pt x="17" y="306"/>
                        <a:pt x="17" y="306"/>
                        <a:pt x="17" y="305"/>
                      </a:cubicBezTo>
                      <a:cubicBezTo>
                        <a:pt x="1" y="296"/>
                        <a:pt x="1" y="296"/>
                        <a:pt x="1" y="296"/>
                      </a:cubicBezTo>
                      <a:cubicBezTo>
                        <a:pt x="1" y="296"/>
                        <a:pt x="0" y="295"/>
                        <a:pt x="0" y="29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1" y="6"/>
                        <a:pt x="1" y="5"/>
                      </a:cubicBezTo>
                      <a:cubicBezTo>
                        <a:pt x="2" y="5"/>
                        <a:pt x="3" y="5"/>
                        <a:pt x="3" y="5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8" y="0"/>
                        <a:pt x="29" y="0"/>
                        <a:pt x="30" y="0"/>
                      </a:cubicBezTo>
                      <a:cubicBezTo>
                        <a:pt x="30" y="1"/>
                        <a:pt x="31" y="1"/>
                        <a:pt x="31" y="2"/>
                      </a:cubicBezTo>
                      <a:cubicBezTo>
                        <a:pt x="31" y="268"/>
                        <a:pt x="31" y="268"/>
                        <a:pt x="31" y="268"/>
                      </a:cubicBezTo>
                      <a:cubicBezTo>
                        <a:pt x="271" y="129"/>
                        <a:pt x="271" y="129"/>
                        <a:pt x="271" y="129"/>
                      </a:cubicBezTo>
                      <a:cubicBezTo>
                        <a:pt x="271" y="7"/>
                        <a:pt x="271" y="7"/>
                        <a:pt x="271" y="7"/>
                      </a:cubicBezTo>
                      <a:cubicBezTo>
                        <a:pt x="271" y="6"/>
                        <a:pt x="271" y="5"/>
                        <a:pt x="272" y="5"/>
                      </a:cubicBezTo>
                      <a:cubicBezTo>
                        <a:pt x="273" y="4"/>
                        <a:pt x="273" y="4"/>
                        <a:pt x="274" y="5"/>
                      </a:cubicBezTo>
                      <a:cubicBezTo>
                        <a:pt x="283" y="10"/>
                        <a:pt x="283" y="10"/>
                        <a:pt x="283" y="10"/>
                      </a:cubicBezTo>
                      <a:cubicBezTo>
                        <a:pt x="284" y="10"/>
                        <a:pt x="284" y="11"/>
                        <a:pt x="284" y="12"/>
                      </a:cubicBezTo>
                      <a:cubicBezTo>
                        <a:pt x="284" y="152"/>
                        <a:pt x="284" y="152"/>
                        <a:pt x="284" y="152"/>
                      </a:cubicBezTo>
                      <a:cubicBezTo>
                        <a:pt x="378" y="207"/>
                        <a:pt x="378" y="207"/>
                        <a:pt x="378" y="207"/>
                      </a:cubicBezTo>
                      <a:cubicBezTo>
                        <a:pt x="379" y="207"/>
                        <a:pt x="379" y="208"/>
                        <a:pt x="379" y="208"/>
                      </a:cubicBezTo>
                      <a:cubicBezTo>
                        <a:pt x="379" y="209"/>
                        <a:pt x="379" y="210"/>
                        <a:pt x="378" y="210"/>
                      </a:cubicBezTo>
                      <a:cubicBezTo>
                        <a:pt x="367" y="217"/>
                        <a:pt x="367" y="217"/>
                        <a:pt x="367" y="217"/>
                      </a:cubicBezTo>
                      <a:cubicBezTo>
                        <a:pt x="366" y="217"/>
                        <a:pt x="365" y="217"/>
                        <a:pt x="365" y="217"/>
                      </a:cubicBezTo>
                      <a:cubicBezTo>
                        <a:pt x="278" y="167"/>
                        <a:pt x="278" y="167"/>
                        <a:pt x="278" y="167"/>
                      </a:cubicBezTo>
                      <a:cubicBezTo>
                        <a:pt x="153" y="239"/>
                        <a:pt x="153" y="239"/>
                        <a:pt x="153" y="239"/>
                      </a:cubicBezTo>
                      <a:cubicBezTo>
                        <a:pt x="152" y="240"/>
                        <a:pt x="151" y="240"/>
                        <a:pt x="151" y="239"/>
                      </a:cubicBezTo>
                      <a:cubicBezTo>
                        <a:pt x="130" y="227"/>
                        <a:pt x="130" y="227"/>
                        <a:pt x="130" y="227"/>
                      </a:cubicBezTo>
                      <a:cubicBezTo>
                        <a:pt x="130" y="240"/>
                        <a:pt x="130" y="240"/>
                        <a:pt x="130" y="240"/>
                      </a:cubicBezTo>
                      <a:cubicBezTo>
                        <a:pt x="130" y="241"/>
                        <a:pt x="129" y="242"/>
                        <a:pt x="129" y="242"/>
                      </a:cubicBezTo>
                      <a:cubicBezTo>
                        <a:pt x="19" y="305"/>
                        <a:pt x="19" y="305"/>
                        <a:pt x="19" y="305"/>
                      </a:cubicBezTo>
                      <a:cubicBezTo>
                        <a:pt x="18" y="306"/>
                        <a:pt x="18" y="306"/>
                        <a:pt x="18" y="306"/>
                      </a:cubicBezTo>
                      <a:close/>
                      <a:moveTo>
                        <a:pt x="4" y="294"/>
                      </a:moveTo>
                      <a:cubicBezTo>
                        <a:pt x="18" y="301"/>
                        <a:pt x="18" y="301"/>
                        <a:pt x="18" y="301"/>
                      </a:cubicBezTo>
                      <a:cubicBezTo>
                        <a:pt x="126" y="239"/>
                        <a:pt x="126" y="239"/>
                        <a:pt x="126" y="239"/>
                      </a:cubicBezTo>
                      <a:cubicBezTo>
                        <a:pt x="126" y="224"/>
                        <a:pt x="126" y="224"/>
                        <a:pt x="126" y="224"/>
                      </a:cubicBezTo>
                      <a:cubicBezTo>
                        <a:pt x="126" y="223"/>
                        <a:pt x="126" y="222"/>
                        <a:pt x="127" y="222"/>
                      </a:cubicBezTo>
                      <a:cubicBezTo>
                        <a:pt x="127" y="222"/>
                        <a:pt x="128" y="222"/>
                        <a:pt x="129" y="222"/>
                      </a:cubicBezTo>
                      <a:cubicBezTo>
                        <a:pt x="152" y="235"/>
                        <a:pt x="152" y="235"/>
                        <a:pt x="152" y="235"/>
                      </a:cubicBezTo>
                      <a:cubicBezTo>
                        <a:pt x="277" y="163"/>
                        <a:pt x="277" y="163"/>
                        <a:pt x="277" y="163"/>
                      </a:cubicBezTo>
                      <a:cubicBezTo>
                        <a:pt x="278" y="163"/>
                        <a:pt x="279" y="163"/>
                        <a:pt x="279" y="163"/>
                      </a:cubicBezTo>
                      <a:cubicBezTo>
                        <a:pt x="366" y="213"/>
                        <a:pt x="366" y="213"/>
                        <a:pt x="366" y="213"/>
                      </a:cubicBezTo>
                      <a:cubicBezTo>
                        <a:pt x="373" y="208"/>
                        <a:pt x="373" y="208"/>
                        <a:pt x="373" y="208"/>
                      </a:cubicBezTo>
                      <a:cubicBezTo>
                        <a:pt x="281" y="155"/>
                        <a:pt x="281" y="155"/>
                        <a:pt x="281" y="155"/>
                      </a:cubicBezTo>
                      <a:cubicBezTo>
                        <a:pt x="280" y="155"/>
                        <a:pt x="280" y="154"/>
                        <a:pt x="280" y="153"/>
                      </a:cubicBezTo>
                      <a:cubicBezTo>
                        <a:pt x="280" y="13"/>
                        <a:pt x="280" y="13"/>
                        <a:pt x="280" y="13"/>
                      </a:cubicBezTo>
                      <a:cubicBezTo>
                        <a:pt x="275" y="10"/>
                        <a:pt x="275" y="10"/>
                        <a:pt x="275" y="10"/>
                      </a:cubicBezTo>
                      <a:cubicBezTo>
                        <a:pt x="275" y="130"/>
                        <a:pt x="275" y="130"/>
                        <a:pt x="275" y="130"/>
                      </a:cubicBezTo>
                      <a:cubicBezTo>
                        <a:pt x="275" y="131"/>
                        <a:pt x="275" y="132"/>
                        <a:pt x="274" y="132"/>
                      </a:cubicBezTo>
                      <a:cubicBezTo>
                        <a:pt x="30" y="273"/>
                        <a:pt x="30" y="273"/>
                        <a:pt x="30" y="273"/>
                      </a:cubicBezTo>
                      <a:cubicBezTo>
                        <a:pt x="29" y="273"/>
                        <a:pt x="28" y="273"/>
                        <a:pt x="28" y="273"/>
                      </a:cubicBezTo>
                      <a:cubicBezTo>
                        <a:pt x="27" y="273"/>
                        <a:pt x="27" y="272"/>
                        <a:pt x="27" y="271"/>
                      </a:cubicBezTo>
                      <a:cubicBezTo>
                        <a:pt x="27" y="6"/>
                        <a:pt x="27" y="6"/>
                        <a:pt x="27" y="6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11" y="14"/>
                        <a:pt x="11" y="14"/>
                        <a:pt x="10" y="14"/>
                      </a:cubicBezTo>
                      <a:cubicBezTo>
                        <a:pt x="4" y="11"/>
                        <a:pt x="4" y="11"/>
                        <a:pt x="4" y="11"/>
                      </a:cubicBezTo>
                      <a:lnTo>
                        <a:pt x="4" y="294"/>
                      </a:lnTo>
                      <a:close/>
                      <a:moveTo>
                        <a:pt x="128" y="240"/>
                      </a:moveTo>
                      <a:cubicBezTo>
                        <a:pt x="128" y="240"/>
                        <a:pt x="128" y="240"/>
                        <a:pt x="128" y="2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0" name="Freeform 893">
                  <a:extLst>
                    <a:ext uri="{FF2B5EF4-FFF2-40B4-BE49-F238E27FC236}">
                      <a16:creationId xmlns:a16="http://schemas.microsoft.com/office/drawing/2014/main" id="{B85A81FB-DF29-4B27-AF2D-C0E29FBAF4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16" y="3366"/>
                  <a:ext cx="289" cy="511"/>
                </a:xfrm>
                <a:custGeom>
                  <a:avLst/>
                  <a:gdLst>
                    <a:gd name="T0" fmla="*/ 3 w 122"/>
                    <a:gd name="T1" fmla="*/ 216 h 216"/>
                    <a:gd name="T2" fmla="*/ 2 w 122"/>
                    <a:gd name="T3" fmla="*/ 216 h 216"/>
                    <a:gd name="T4" fmla="*/ 1 w 122"/>
                    <a:gd name="T5" fmla="*/ 214 h 216"/>
                    <a:gd name="T6" fmla="*/ 1 w 122"/>
                    <a:gd name="T7" fmla="*/ 66 h 216"/>
                    <a:gd name="T8" fmla="*/ 0 w 122"/>
                    <a:gd name="T9" fmla="*/ 65 h 216"/>
                    <a:gd name="T10" fmla="*/ 1 w 122"/>
                    <a:gd name="T11" fmla="*/ 63 h 216"/>
                    <a:gd name="T12" fmla="*/ 110 w 122"/>
                    <a:gd name="T13" fmla="*/ 0 h 216"/>
                    <a:gd name="T14" fmla="*/ 112 w 122"/>
                    <a:gd name="T15" fmla="*/ 0 h 216"/>
                    <a:gd name="T16" fmla="*/ 113 w 122"/>
                    <a:gd name="T17" fmla="*/ 2 h 216"/>
                    <a:gd name="T18" fmla="*/ 113 w 122"/>
                    <a:gd name="T19" fmla="*/ 131 h 216"/>
                    <a:gd name="T20" fmla="*/ 121 w 122"/>
                    <a:gd name="T21" fmla="*/ 136 h 216"/>
                    <a:gd name="T22" fmla="*/ 122 w 122"/>
                    <a:gd name="T23" fmla="*/ 138 h 216"/>
                    <a:gd name="T24" fmla="*/ 122 w 122"/>
                    <a:gd name="T25" fmla="*/ 146 h 216"/>
                    <a:gd name="T26" fmla="*/ 121 w 122"/>
                    <a:gd name="T27" fmla="*/ 148 h 216"/>
                    <a:gd name="T28" fmla="*/ 4 w 122"/>
                    <a:gd name="T29" fmla="*/ 216 h 216"/>
                    <a:gd name="T30" fmla="*/ 3 w 122"/>
                    <a:gd name="T31" fmla="*/ 216 h 216"/>
                    <a:gd name="T32" fmla="*/ 5 w 122"/>
                    <a:gd name="T33" fmla="*/ 66 h 216"/>
                    <a:gd name="T34" fmla="*/ 5 w 122"/>
                    <a:gd name="T35" fmla="*/ 211 h 216"/>
                    <a:gd name="T36" fmla="*/ 118 w 122"/>
                    <a:gd name="T37" fmla="*/ 145 h 216"/>
                    <a:gd name="T38" fmla="*/ 118 w 122"/>
                    <a:gd name="T39" fmla="*/ 139 h 216"/>
                    <a:gd name="T40" fmla="*/ 110 w 122"/>
                    <a:gd name="T41" fmla="*/ 134 h 216"/>
                    <a:gd name="T42" fmla="*/ 109 w 122"/>
                    <a:gd name="T43" fmla="*/ 132 h 216"/>
                    <a:gd name="T44" fmla="*/ 109 w 122"/>
                    <a:gd name="T45" fmla="*/ 6 h 216"/>
                    <a:gd name="T46" fmla="*/ 5 w 122"/>
                    <a:gd name="T47" fmla="*/ 66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2" h="216">
                      <a:moveTo>
                        <a:pt x="3" y="216"/>
                      </a:moveTo>
                      <a:cubicBezTo>
                        <a:pt x="2" y="216"/>
                        <a:pt x="2" y="216"/>
                        <a:pt x="2" y="216"/>
                      </a:cubicBezTo>
                      <a:cubicBezTo>
                        <a:pt x="1" y="216"/>
                        <a:pt x="1" y="215"/>
                        <a:pt x="1" y="214"/>
                      </a:cubicBezTo>
                      <a:cubicBezTo>
                        <a:pt x="1" y="66"/>
                        <a:pt x="1" y="66"/>
                        <a:pt x="1" y="66"/>
                      </a:cubicBezTo>
                      <a:cubicBezTo>
                        <a:pt x="1" y="65"/>
                        <a:pt x="0" y="65"/>
                        <a:pt x="0" y="65"/>
                      </a:cubicBezTo>
                      <a:cubicBezTo>
                        <a:pt x="0" y="64"/>
                        <a:pt x="1" y="63"/>
                        <a:pt x="1" y="63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110" y="0"/>
                        <a:pt x="111" y="0"/>
                        <a:pt x="112" y="0"/>
                      </a:cubicBezTo>
                      <a:cubicBezTo>
                        <a:pt x="112" y="1"/>
                        <a:pt x="113" y="1"/>
                        <a:pt x="113" y="2"/>
                      </a:cubicBezTo>
                      <a:cubicBezTo>
                        <a:pt x="113" y="131"/>
                        <a:pt x="113" y="131"/>
                        <a:pt x="113" y="131"/>
                      </a:cubicBezTo>
                      <a:cubicBezTo>
                        <a:pt x="121" y="136"/>
                        <a:pt x="121" y="136"/>
                        <a:pt x="121" y="136"/>
                      </a:cubicBezTo>
                      <a:cubicBezTo>
                        <a:pt x="122" y="136"/>
                        <a:pt x="122" y="137"/>
                        <a:pt x="122" y="138"/>
                      </a:cubicBezTo>
                      <a:cubicBezTo>
                        <a:pt x="122" y="146"/>
                        <a:pt x="122" y="146"/>
                        <a:pt x="122" y="146"/>
                      </a:cubicBezTo>
                      <a:cubicBezTo>
                        <a:pt x="122" y="147"/>
                        <a:pt x="122" y="148"/>
                        <a:pt x="121" y="148"/>
                      </a:cubicBezTo>
                      <a:cubicBezTo>
                        <a:pt x="4" y="216"/>
                        <a:pt x="4" y="216"/>
                        <a:pt x="4" y="216"/>
                      </a:cubicBezTo>
                      <a:cubicBezTo>
                        <a:pt x="3" y="216"/>
                        <a:pt x="3" y="216"/>
                        <a:pt x="3" y="216"/>
                      </a:cubicBezTo>
                      <a:close/>
                      <a:moveTo>
                        <a:pt x="5" y="66"/>
                      </a:moveTo>
                      <a:cubicBezTo>
                        <a:pt x="5" y="211"/>
                        <a:pt x="5" y="211"/>
                        <a:pt x="5" y="211"/>
                      </a:cubicBezTo>
                      <a:cubicBezTo>
                        <a:pt x="118" y="145"/>
                        <a:pt x="118" y="145"/>
                        <a:pt x="118" y="145"/>
                      </a:cubicBezTo>
                      <a:cubicBezTo>
                        <a:pt x="118" y="139"/>
                        <a:pt x="118" y="139"/>
                        <a:pt x="118" y="139"/>
                      </a:cubicBezTo>
                      <a:cubicBezTo>
                        <a:pt x="110" y="134"/>
                        <a:pt x="110" y="134"/>
                        <a:pt x="110" y="134"/>
                      </a:cubicBezTo>
                      <a:cubicBezTo>
                        <a:pt x="109" y="134"/>
                        <a:pt x="109" y="133"/>
                        <a:pt x="109" y="132"/>
                      </a:cubicBezTo>
                      <a:cubicBezTo>
                        <a:pt x="109" y="6"/>
                        <a:pt x="109" y="6"/>
                        <a:pt x="109" y="6"/>
                      </a:cubicBezTo>
                      <a:lnTo>
                        <a:pt x="5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1" name="Freeform 894">
                  <a:extLst>
                    <a:ext uri="{FF2B5EF4-FFF2-40B4-BE49-F238E27FC236}">
                      <a16:creationId xmlns:a16="http://schemas.microsoft.com/office/drawing/2014/main" id="{0E5C6B86-28F1-4111-9A82-9B8E5B7B3E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3863"/>
                  <a:ext cx="29" cy="30"/>
                </a:xfrm>
                <a:custGeom>
                  <a:avLst/>
                  <a:gdLst>
                    <a:gd name="T0" fmla="*/ 2 w 12"/>
                    <a:gd name="T1" fmla="*/ 13 h 13"/>
                    <a:gd name="T2" fmla="*/ 1 w 12"/>
                    <a:gd name="T3" fmla="*/ 13 h 13"/>
                    <a:gd name="T4" fmla="*/ 0 w 12"/>
                    <a:gd name="T5" fmla="*/ 11 h 13"/>
                    <a:gd name="T6" fmla="*/ 0 w 12"/>
                    <a:gd name="T7" fmla="*/ 2 h 13"/>
                    <a:gd name="T8" fmla="*/ 1 w 12"/>
                    <a:gd name="T9" fmla="*/ 0 h 13"/>
                    <a:gd name="T10" fmla="*/ 3 w 12"/>
                    <a:gd name="T11" fmla="*/ 0 h 13"/>
                    <a:gd name="T12" fmla="*/ 11 w 12"/>
                    <a:gd name="T13" fmla="*/ 5 h 13"/>
                    <a:gd name="T14" fmla="*/ 12 w 12"/>
                    <a:gd name="T15" fmla="*/ 7 h 13"/>
                    <a:gd name="T16" fmla="*/ 11 w 12"/>
                    <a:gd name="T17" fmla="*/ 8 h 13"/>
                    <a:gd name="T18" fmla="*/ 3 w 12"/>
                    <a:gd name="T19" fmla="*/ 13 h 13"/>
                    <a:gd name="T20" fmla="*/ 2 w 12"/>
                    <a:gd name="T21" fmla="*/ 13 h 13"/>
                    <a:gd name="T22" fmla="*/ 4 w 12"/>
                    <a:gd name="T23" fmla="*/ 5 h 13"/>
                    <a:gd name="T24" fmla="*/ 4 w 12"/>
                    <a:gd name="T25" fmla="*/ 8 h 13"/>
                    <a:gd name="T26" fmla="*/ 6 w 12"/>
                    <a:gd name="T27" fmla="*/ 7 h 13"/>
                    <a:gd name="T28" fmla="*/ 4 w 12"/>
                    <a:gd name="T29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3">
                      <a:moveTo>
                        <a:pt x="2" y="13"/>
                      </a:move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5"/>
                        <a:pt x="12" y="6"/>
                        <a:pt x="12" y="7"/>
                      </a:cubicBezTo>
                      <a:cubicBezTo>
                        <a:pt x="12" y="7"/>
                        <a:pt x="11" y="8"/>
                        <a:pt x="11" y="8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2" y="13"/>
                        <a:pt x="2" y="13"/>
                        <a:pt x="2" y="13"/>
                      </a:cubicBezTo>
                      <a:close/>
                      <a:moveTo>
                        <a:pt x="4" y="5"/>
                      </a:move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2" name="Freeform 895">
                  <a:extLst>
                    <a:ext uri="{FF2B5EF4-FFF2-40B4-BE49-F238E27FC236}">
                      <a16:creationId xmlns:a16="http://schemas.microsoft.com/office/drawing/2014/main" id="{5385D968-014E-499E-BB06-53BDBCBAC83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2825"/>
                  <a:ext cx="267" cy="468"/>
                </a:xfrm>
                <a:custGeom>
                  <a:avLst/>
                  <a:gdLst>
                    <a:gd name="T0" fmla="*/ 97 w 113"/>
                    <a:gd name="T1" fmla="*/ 198 h 198"/>
                    <a:gd name="T2" fmla="*/ 96 w 113"/>
                    <a:gd name="T3" fmla="*/ 198 h 198"/>
                    <a:gd name="T4" fmla="*/ 1 w 113"/>
                    <a:gd name="T5" fmla="*/ 143 h 198"/>
                    <a:gd name="T6" fmla="*/ 0 w 113"/>
                    <a:gd name="T7" fmla="*/ 142 h 198"/>
                    <a:gd name="T8" fmla="*/ 0 w 113"/>
                    <a:gd name="T9" fmla="*/ 2 h 198"/>
                    <a:gd name="T10" fmla="*/ 1 w 113"/>
                    <a:gd name="T11" fmla="*/ 0 h 198"/>
                    <a:gd name="T12" fmla="*/ 3 w 113"/>
                    <a:gd name="T13" fmla="*/ 0 h 198"/>
                    <a:gd name="T14" fmla="*/ 39 w 113"/>
                    <a:gd name="T15" fmla="*/ 21 h 198"/>
                    <a:gd name="T16" fmla="*/ 47 w 113"/>
                    <a:gd name="T17" fmla="*/ 16 h 198"/>
                    <a:gd name="T18" fmla="*/ 49 w 113"/>
                    <a:gd name="T19" fmla="*/ 16 h 198"/>
                    <a:gd name="T20" fmla="*/ 112 w 113"/>
                    <a:gd name="T21" fmla="*/ 52 h 198"/>
                    <a:gd name="T22" fmla="*/ 113 w 113"/>
                    <a:gd name="T23" fmla="*/ 54 h 198"/>
                    <a:gd name="T24" fmla="*/ 113 w 113"/>
                    <a:gd name="T25" fmla="*/ 188 h 198"/>
                    <a:gd name="T26" fmla="*/ 112 w 113"/>
                    <a:gd name="T27" fmla="*/ 190 h 198"/>
                    <a:gd name="T28" fmla="*/ 98 w 113"/>
                    <a:gd name="T29" fmla="*/ 198 h 198"/>
                    <a:gd name="T30" fmla="*/ 97 w 113"/>
                    <a:gd name="T31" fmla="*/ 198 h 198"/>
                    <a:gd name="T32" fmla="*/ 4 w 113"/>
                    <a:gd name="T33" fmla="*/ 140 h 198"/>
                    <a:gd name="T34" fmla="*/ 97 w 113"/>
                    <a:gd name="T35" fmla="*/ 194 h 198"/>
                    <a:gd name="T36" fmla="*/ 109 w 113"/>
                    <a:gd name="T37" fmla="*/ 187 h 198"/>
                    <a:gd name="T38" fmla="*/ 109 w 113"/>
                    <a:gd name="T39" fmla="*/ 55 h 198"/>
                    <a:gd name="T40" fmla="*/ 48 w 113"/>
                    <a:gd name="T41" fmla="*/ 20 h 198"/>
                    <a:gd name="T42" fmla="*/ 40 w 113"/>
                    <a:gd name="T43" fmla="*/ 25 h 198"/>
                    <a:gd name="T44" fmla="*/ 38 w 113"/>
                    <a:gd name="T45" fmla="*/ 25 h 198"/>
                    <a:gd name="T46" fmla="*/ 4 w 113"/>
                    <a:gd name="T47" fmla="*/ 5 h 198"/>
                    <a:gd name="T48" fmla="*/ 4 w 113"/>
                    <a:gd name="T49" fmla="*/ 140 h 198"/>
                    <a:gd name="T50" fmla="*/ 111 w 113"/>
                    <a:gd name="T51" fmla="*/ 188 h 198"/>
                    <a:gd name="T52" fmla="*/ 111 w 113"/>
                    <a:gd name="T53" fmla="*/ 188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198">
                      <a:moveTo>
                        <a:pt x="97" y="198"/>
                      </a:moveTo>
                      <a:cubicBezTo>
                        <a:pt x="96" y="198"/>
                        <a:pt x="96" y="198"/>
                        <a:pt x="96" y="198"/>
                      </a:cubicBezTo>
                      <a:cubicBezTo>
                        <a:pt x="1" y="143"/>
                        <a:pt x="1" y="143"/>
                        <a:pt x="1" y="143"/>
                      </a:cubicBezTo>
                      <a:cubicBezTo>
                        <a:pt x="0" y="143"/>
                        <a:pt x="0" y="142"/>
                        <a:pt x="0" y="1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9" y="21"/>
                        <a:pt x="39" y="21"/>
                        <a:pt x="39" y="21"/>
                      </a:cubicBezTo>
                      <a:cubicBezTo>
                        <a:pt x="47" y="16"/>
                        <a:pt x="47" y="16"/>
                        <a:pt x="47" y="16"/>
                      </a:cubicBezTo>
                      <a:cubicBezTo>
                        <a:pt x="48" y="16"/>
                        <a:pt x="49" y="16"/>
                        <a:pt x="49" y="16"/>
                      </a:cubicBezTo>
                      <a:cubicBezTo>
                        <a:pt x="112" y="52"/>
                        <a:pt x="112" y="52"/>
                        <a:pt x="112" y="52"/>
                      </a:cubicBezTo>
                      <a:cubicBezTo>
                        <a:pt x="112" y="53"/>
                        <a:pt x="113" y="53"/>
                        <a:pt x="113" y="54"/>
                      </a:cubicBezTo>
                      <a:cubicBezTo>
                        <a:pt x="113" y="188"/>
                        <a:pt x="113" y="188"/>
                        <a:pt x="113" y="188"/>
                      </a:cubicBezTo>
                      <a:cubicBezTo>
                        <a:pt x="113" y="189"/>
                        <a:pt x="112" y="190"/>
                        <a:pt x="112" y="190"/>
                      </a:cubicBezTo>
                      <a:cubicBezTo>
                        <a:pt x="98" y="198"/>
                        <a:pt x="98" y="198"/>
                        <a:pt x="98" y="198"/>
                      </a:cubicBezTo>
                      <a:cubicBezTo>
                        <a:pt x="97" y="198"/>
                        <a:pt x="97" y="198"/>
                        <a:pt x="97" y="198"/>
                      </a:cubicBezTo>
                      <a:close/>
                      <a:moveTo>
                        <a:pt x="4" y="140"/>
                      </a:moveTo>
                      <a:cubicBezTo>
                        <a:pt x="97" y="194"/>
                        <a:pt x="97" y="194"/>
                        <a:pt x="97" y="194"/>
                      </a:cubicBezTo>
                      <a:cubicBezTo>
                        <a:pt x="109" y="187"/>
                        <a:pt x="109" y="187"/>
                        <a:pt x="109" y="187"/>
                      </a:cubicBezTo>
                      <a:cubicBezTo>
                        <a:pt x="109" y="55"/>
                        <a:pt x="109" y="55"/>
                        <a:pt x="109" y="55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cubicBezTo>
                        <a:pt x="40" y="25"/>
                        <a:pt x="40" y="25"/>
                        <a:pt x="40" y="25"/>
                      </a:cubicBezTo>
                      <a:cubicBezTo>
                        <a:pt x="40" y="26"/>
                        <a:pt x="39" y="26"/>
                        <a:pt x="38" y="2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40"/>
                      </a:lnTo>
                      <a:close/>
                      <a:moveTo>
                        <a:pt x="111" y="188"/>
                      </a:moveTo>
                      <a:cubicBezTo>
                        <a:pt x="111" y="188"/>
                        <a:pt x="111" y="188"/>
                        <a:pt x="111" y="1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3" name="Freeform 896">
                  <a:extLst>
                    <a:ext uri="{FF2B5EF4-FFF2-40B4-BE49-F238E27FC236}">
                      <a16:creationId xmlns:a16="http://schemas.microsoft.com/office/drawing/2014/main" id="{2EF92040-3425-4EC4-8285-0133E60301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3397"/>
                  <a:ext cx="293" cy="371"/>
                </a:xfrm>
                <a:custGeom>
                  <a:avLst/>
                  <a:gdLst>
                    <a:gd name="T0" fmla="*/ 2 w 124"/>
                    <a:gd name="T1" fmla="*/ 157 h 157"/>
                    <a:gd name="T2" fmla="*/ 1 w 124"/>
                    <a:gd name="T3" fmla="*/ 157 h 157"/>
                    <a:gd name="T4" fmla="*/ 0 w 124"/>
                    <a:gd name="T5" fmla="*/ 155 h 157"/>
                    <a:gd name="T6" fmla="*/ 0 w 124"/>
                    <a:gd name="T7" fmla="*/ 65 h 157"/>
                    <a:gd name="T8" fmla="*/ 1 w 124"/>
                    <a:gd name="T9" fmla="*/ 63 h 157"/>
                    <a:gd name="T10" fmla="*/ 3 w 124"/>
                    <a:gd name="T11" fmla="*/ 63 h 157"/>
                    <a:gd name="T12" fmla="*/ 7 w 124"/>
                    <a:gd name="T13" fmla="*/ 65 h 157"/>
                    <a:gd name="T14" fmla="*/ 121 w 124"/>
                    <a:gd name="T15" fmla="*/ 0 h 157"/>
                    <a:gd name="T16" fmla="*/ 123 w 124"/>
                    <a:gd name="T17" fmla="*/ 0 h 157"/>
                    <a:gd name="T18" fmla="*/ 124 w 124"/>
                    <a:gd name="T19" fmla="*/ 2 h 157"/>
                    <a:gd name="T20" fmla="*/ 124 w 124"/>
                    <a:gd name="T21" fmla="*/ 86 h 157"/>
                    <a:gd name="T22" fmla="*/ 123 w 124"/>
                    <a:gd name="T23" fmla="*/ 88 h 157"/>
                    <a:gd name="T24" fmla="*/ 3 w 124"/>
                    <a:gd name="T25" fmla="*/ 157 h 157"/>
                    <a:gd name="T26" fmla="*/ 2 w 124"/>
                    <a:gd name="T27" fmla="*/ 157 h 157"/>
                    <a:gd name="T28" fmla="*/ 4 w 124"/>
                    <a:gd name="T29" fmla="*/ 68 h 157"/>
                    <a:gd name="T30" fmla="*/ 4 w 124"/>
                    <a:gd name="T31" fmla="*/ 152 h 157"/>
                    <a:gd name="T32" fmla="*/ 120 w 124"/>
                    <a:gd name="T33" fmla="*/ 85 h 157"/>
                    <a:gd name="T34" fmla="*/ 120 w 124"/>
                    <a:gd name="T35" fmla="*/ 5 h 157"/>
                    <a:gd name="T36" fmla="*/ 8 w 124"/>
                    <a:gd name="T37" fmla="*/ 70 h 157"/>
                    <a:gd name="T38" fmla="*/ 6 w 124"/>
                    <a:gd name="T39" fmla="*/ 70 h 157"/>
                    <a:gd name="T40" fmla="*/ 4 w 124"/>
                    <a:gd name="T41" fmla="*/ 68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4" h="157">
                      <a:moveTo>
                        <a:pt x="2" y="157"/>
                      </a:moveTo>
                      <a:cubicBezTo>
                        <a:pt x="2" y="157"/>
                        <a:pt x="1" y="157"/>
                        <a:pt x="1" y="157"/>
                      </a:cubicBezTo>
                      <a:cubicBezTo>
                        <a:pt x="0" y="157"/>
                        <a:pt x="0" y="156"/>
                        <a:pt x="0" y="155"/>
                      </a:cubicBezTo>
                      <a:cubicBezTo>
                        <a:pt x="0" y="65"/>
                        <a:pt x="0" y="65"/>
                        <a:pt x="0" y="65"/>
                      </a:cubicBezTo>
                      <a:cubicBezTo>
                        <a:pt x="0" y="64"/>
                        <a:pt x="0" y="63"/>
                        <a:pt x="1" y="63"/>
                      </a:cubicBezTo>
                      <a:cubicBezTo>
                        <a:pt x="2" y="63"/>
                        <a:pt x="2" y="63"/>
                        <a:pt x="3" y="63"/>
                      </a:cubicBezTo>
                      <a:cubicBezTo>
                        <a:pt x="7" y="65"/>
                        <a:pt x="7" y="65"/>
                        <a:pt x="7" y="65"/>
                      </a:cubicBezTo>
                      <a:cubicBezTo>
                        <a:pt x="121" y="0"/>
                        <a:pt x="121" y="0"/>
                        <a:pt x="121" y="0"/>
                      </a:cubicBezTo>
                      <a:cubicBezTo>
                        <a:pt x="121" y="0"/>
                        <a:pt x="122" y="0"/>
                        <a:pt x="123" y="0"/>
                      </a:cubicBezTo>
                      <a:cubicBezTo>
                        <a:pt x="123" y="0"/>
                        <a:pt x="124" y="1"/>
                        <a:pt x="124" y="2"/>
                      </a:cubicBezTo>
                      <a:cubicBezTo>
                        <a:pt x="124" y="86"/>
                        <a:pt x="124" y="86"/>
                        <a:pt x="124" y="86"/>
                      </a:cubicBezTo>
                      <a:cubicBezTo>
                        <a:pt x="124" y="87"/>
                        <a:pt x="123" y="88"/>
                        <a:pt x="123" y="88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3" y="157"/>
                        <a:pt x="2" y="157"/>
                        <a:pt x="2" y="157"/>
                      </a:cubicBezTo>
                      <a:close/>
                      <a:moveTo>
                        <a:pt x="4" y="68"/>
                      </a:moveTo>
                      <a:cubicBezTo>
                        <a:pt x="4" y="152"/>
                        <a:pt x="4" y="152"/>
                        <a:pt x="4" y="152"/>
                      </a:cubicBezTo>
                      <a:cubicBezTo>
                        <a:pt x="120" y="85"/>
                        <a:pt x="120" y="85"/>
                        <a:pt x="120" y="85"/>
                      </a:cubicBezTo>
                      <a:cubicBezTo>
                        <a:pt x="120" y="5"/>
                        <a:pt x="120" y="5"/>
                        <a:pt x="120" y="5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0"/>
                        <a:pt x="6" y="70"/>
                      </a:cubicBezTo>
                      <a:lnTo>
                        <a:pt x="4" y="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4" name="Freeform 897">
                  <a:extLst>
                    <a:ext uri="{FF2B5EF4-FFF2-40B4-BE49-F238E27FC236}">
                      <a16:creationId xmlns:a16="http://schemas.microsoft.com/office/drawing/2014/main" id="{E100192D-246D-4F88-AEF0-341715645E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3345"/>
                  <a:ext cx="47" cy="55"/>
                </a:xfrm>
                <a:custGeom>
                  <a:avLst/>
                  <a:gdLst>
                    <a:gd name="T0" fmla="*/ 2 w 20"/>
                    <a:gd name="T1" fmla="*/ 23 h 23"/>
                    <a:gd name="T2" fmla="*/ 1 w 20"/>
                    <a:gd name="T3" fmla="*/ 23 h 23"/>
                    <a:gd name="T4" fmla="*/ 0 w 20"/>
                    <a:gd name="T5" fmla="*/ 21 h 23"/>
                    <a:gd name="T6" fmla="*/ 0 w 20"/>
                    <a:gd name="T7" fmla="*/ 2 h 23"/>
                    <a:gd name="T8" fmla="*/ 1 w 20"/>
                    <a:gd name="T9" fmla="*/ 1 h 23"/>
                    <a:gd name="T10" fmla="*/ 3 w 20"/>
                    <a:gd name="T11" fmla="*/ 1 h 23"/>
                    <a:gd name="T12" fmla="*/ 19 w 20"/>
                    <a:gd name="T13" fmla="*/ 10 h 23"/>
                    <a:gd name="T14" fmla="*/ 20 w 20"/>
                    <a:gd name="T15" fmla="*/ 12 h 23"/>
                    <a:gd name="T16" fmla="*/ 19 w 20"/>
                    <a:gd name="T17" fmla="*/ 13 h 23"/>
                    <a:gd name="T18" fmla="*/ 3 w 20"/>
                    <a:gd name="T19" fmla="*/ 23 h 23"/>
                    <a:gd name="T20" fmla="*/ 2 w 20"/>
                    <a:gd name="T21" fmla="*/ 23 h 23"/>
                    <a:gd name="T22" fmla="*/ 4 w 20"/>
                    <a:gd name="T23" fmla="*/ 6 h 23"/>
                    <a:gd name="T24" fmla="*/ 4 w 20"/>
                    <a:gd name="T25" fmla="*/ 18 h 23"/>
                    <a:gd name="T26" fmla="*/ 14 w 20"/>
                    <a:gd name="T27" fmla="*/ 12 h 23"/>
                    <a:gd name="T28" fmla="*/ 4 w 20"/>
                    <a:gd name="T29" fmla="*/ 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" h="23">
                      <a:moveTo>
                        <a:pt x="2" y="23"/>
                      </a:moveTo>
                      <a:cubicBezTo>
                        <a:pt x="2" y="23"/>
                        <a:pt x="1" y="23"/>
                        <a:pt x="1" y="23"/>
                      </a:cubicBezTo>
                      <a:cubicBezTo>
                        <a:pt x="1" y="22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20" y="10"/>
                        <a:pt x="20" y="11"/>
                        <a:pt x="20" y="12"/>
                      </a:cubicBezTo>
                      <a:cubicBezTo>
                        <a:pt x="20" y="12"/>
                        <a:pt x="20" y="13"/>
                        <a:pt x="19" y="13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3" y="23"/>
                        <a:pt x="3" y="23"/>
                        <a:pt x="2" y="23"/>
                      </a:cubicBezTo>
                      <a:close/>
                      <a:moveTo>
                        <a:pt x="4" y="6"/>
                      </a:move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5" name="Freeform 898">
                  <a:extLst>
                    <a:ext uri="{FF2B5EF4-FFF2-40B4-BE49-F238E27FC236}">
                      <a16:creationId xmlns:a16="http://schemas.microsoft.com/office/drawing/2014/main" id="{75583FC1-18FD-4573-B91F-DEE2CBFE21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56" y="2117"/>
                  <a:ext cx="527" cy="836"/>
                </a:xfrm>
                <a:custGeom>
                  <a:avLst/>
                  <a:gdLst>
                    <a:gd name="T0" fmla="*/ 62 w 223"/>
                    <a:gd name="T1" fmla="*/ 354 h 354"/>
                    <a:gd name="T2" fmla="*/ 0 w 223"/>
                    <a:gd name="T3" fmla="*/ 317 h 354"/>
                    <a:gd name="T4" fmla="*/ 109 w 223"/>
                    <a:gd name="T5" fmla="*/ 253 h 354"/>
                    <a:gd name="T6" fmla="*/ 115 w 223"/>
                    <a:gd name="T7" fmla="*/ 255 h 354"/>
                    <a:gd name="T8" fmla="*/ 116 w 223"/>
                    <a:gd name="T9" fmla="*/ 249 h 354"/>
                    <a:gd name="T10" fmla="*/ 116 w 223"/>
                    <a:gd name="T11" fmla="*/ 247 h 354"/>
                    <a:gd name="T12" fmla="*/ 115 w 223"/>
                    <a:gd name="T13" fmla="*/ 185 h 354"/>
                    <a:gd name="T14" fmla="*/ 62 w 223"/>
                    <a:gd name="T15" fmla="*/ 153 h 354"/>
                    <a:gd name="T16" fmla="*/ 63 w 223"/>
                    <a:gd name="T17" fmla="*/ 131 h 354"/>
                    <a:gd name="T18" fmla="*/ 71 w 223"/>
                    <a:gd name="T19" fmla="*/ 127 h 354"/>
                    <a:gd name="T20" fmla="*/ 72 w 223"/>
                    <a:gd name="T21" fmla="*/ 143 h 354"/>
                    <a:gd name="T22" fmla="*/ 136 w 223"/>
                    <a:gd name="T23" fmla="*/ 33 h 354"/>
                    <a:gd name="T24" fmla="*/ 85 w 223"/>
                    <a:gd name="T25" fmla="*/ 61 h 354"/>
                    <a:gd name="T26" fmla="*/ 84 w 223"/>
                    <a:gd name="T27" fmla="*/ 57 h 354"/>
                    <a:gd name="T28" fmla="*/ 180 w 223"/>
                    <a:gd name="T29" fmla="*/ 0 h 354"/>
                    <a:gd name="T30" fmla="*/ 222 w 223"/>
                    <a:gd name="T31" fmla="*/ 24 h 354"/>
                    <a:gd name="T32" fmla="*/ 222 w 223"/>
                    <a:gd name="T33" fmla="*/ 27 h 354"/>
                    <a:gd name="T34" fmla="*/ 187 w 223"/>
                    <a:gd name="T35" fmla="*/ 46 h 354"/>
                    <a:gd name="T36" fmla="*/ 152 w 223"/>
                    <a:gd name="T37" fmla="*/ 99 h 354"/>
                    <a:gd name="T38" fmla="*/ 204 w 223"/>
                    <a:gd name="T39" fmla="*/ 130 h 354"/>
                    <a:gd name="T40" fmla="*/ 203 w 223"/>
                    <a:gd name="T41" fmla="*/ 146 h 354"/>
                    <a:gd name="T42" fmla="*/ 188 w 223"/>
                    <a:gd name="T43" fmla="*/ 153 h 354"/>
                    <a:gd name="T44" fmla="*/ 181 w 223"/>
                    <a:gd name="T45" fmla="*/ 157 h 354"/>
                    <a:gd name="T46" fmla="*/ 138 w 223"/>
                    <a:gd name="T47" fmla="*/ 183 h 354"/>
                    <a:gd name="T48" fmla="*/ 190 w 223"/>
                    <a:gd name="T49" fmla="*/ 226 h 354"/>
                    <a:gd name="T50" fmla="*/ 199 w 223"/>
                    <a:gd name="T51" fmla="*/ 231 h 354"/>
                    <a:gd name="T52" fmla="*/ 199 w 223"/>
                    <a:gd name="T53" fmla="*/ 234 h 354"/>
                    <a:gd name="T54" fmla="*/ 181 w 223"/>
                    <a:gd name="T55" fmla="*/ 279 h 354"/>
                    <a:gd name="T56" fmla="*/ 181 w 223"/>
                    <a:gd name="T57" fmla="*/ 282 h 354"/>
                    <a:gd name="T58" fmla="*/ 65 w 223"/>
                    <a:gd name="T59" fmla="*/ 352 h 354"/>
                    <a:gd name="T60" fmla="*/ 63 w 223"/>
                    <a:gd name="T61" fmla="*/ 354 h 354"/>
                    <a:gd name="T62" fmla="*/ 61 w 223"/>
                    <a:gd name="T63" fmla="*/ 349 h 354"/>
                    <a:gd name="T64" fmla="*/ 62 w 223"/>
                    <a:gd name="T65" fmla="*/ 347 h 354"/>
                    <a:gd name="T66" fmla="*/ 146 w 223"/>
                    <a:gd name="T67" fmla="*/ 263 h 354"/>
                    <a:gd name="T68" fmla="*/ 146 w 223"/>
                    <a:gd name="T69" fmla="*/ 260 h 354"/>
                    <a:gd name="T70" fmla="*/ 191 w 223"/>
                    <a:gd name="T71" fmla="*/ 230 h 354"/>
                    <a:gd name="T72" fmla="*/ 135 w 223"/>
                    <a:gd name="T73" fmla="*/ 262 h 354"/>
                    <a:gd name="T74" fmla="*/ 134 w 223"/>
                    <a:gd name="T75" fmla="*/ 182 h 354"/>
                    <a:gd name="T76" fmla="*/ 177 w 223"/>
                    <a:gd name="T77" fmla="*/ 156 h 354"/>
                    <a:gd name="T78" fmla="*/ 178 w 223"/>
                    <a:gd name="T79" fmla="*/ 144 h 354"/>
                    <a:gd name="T80" fmla="*/ 189 w 223"/>
                    <a:gd name="T81" fmla="*/ 149 h 354"/>
                    <a:gd name="T82" fmla="*/ 200 w 223"/>
                    <a:gd name="T83" fmla="*/ 131 h 354"/>
                    <a:gd name="T84" fmla="*/ 148 w 223"/>
                    <a:gd name="T85" fmla="*/ 100 h 354"/>
                    <a:gd name="T86" fmla="*/ 139 w 223"/>
                    <a:gd name="T87" fmla="*/ 28 h 354"/>
                    <a:gd name="T88" fmla="*/ 140 w 223"/>
                    <a:gd name="T89" fmla="*/ 107 h 354"/>
                    <a:gd name="T90" fmla="*/ 71 w 223"/>
                    <a:gd name="T91" fmla="*/ 148 h 354"/>
                    <a:gd name="T92" fmla="*/ 68 w 223"/>
                    <a:gd name="T93" fmla="*/ 146 h 354"/>
                    <a:gd name="T94" fmla="*/ 66 w 223"/>
                    <a:gd name="T95" fmla="*/ 134 h 354"/>
                    <a:gd name="T96" fmla="*/ 118 w 223"/>
                    <a:gd name="T97" fmla="*/ 182 h 354"/>
                    <a:gd name="T98" fmla="*/ 119 w 223"/>
                    <a:gd name="T99" fmla="*/ 244 h 354"/>
                    <a:gd name="T100" fmla="*/ 124 w 223"/>
                    <a:gd name="T101" fmla="*/ 248 h 354"/>
                    <a:gd name="T102" fmla="*/ 119 w 223"/>
                    <a:gd name="T103" fmla="*/ 252 h 354"/>
                    <a:gd name="T104" fmla="*/ 118 w 223"/>
                    <a:gd name="T105" fmla="*/ 260 h 354"/>
                    <a:gd name="T106" fmla="*/ 110 w 223"/>
                    <a:gd name="T107" fmla="*/ 257 h 354"/>
                    <a:gd name="T108" fmla="*/ 152 w 223"/>
                    <a:gd name="T109" fmla="*/ 21 h 354"/>
                    <a:gd name="T110" fmla="*/ 217 w 223"/>
                    <a:gd name="T111" fmla="*/ 25 h 354"/>
                    <a:gd name="T112" fmla="*/ 152 w 223"/>
                    <a:gd name="T113" fmla="*/ 21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23" h="354">
                      <a:moveTo>
                        <a:pt x="63" y="354"/>
                      </a:moveTo>
                      <a:cubicBezTo>
                        <a:pt x="62" y="354"/>
                        <a:pt x="62" y="354"/>
                        <a:pt x="62" y="354"/>
                      </a:cubicBezTo>
                      <a:cubicBezTo>
                        <a:pt x="1" y="319"/>
                        <a:pt x="1" y="319"/>
                        <a:pt x="1" y="319"/>
                      </a:cubicBezTo>
                      <a:cubicBezTo>
                        <a:pt x="0" y="319"/>
                        <a:pt x="0" y="318"/>
                        <a:pt x="0" y="317"/>
                      </a:cubicBezTo>
                      <a:cubicBezTo>
                        <a:pt x="0" y="316"/>
                        <a:pt x="0" y="316"/>
                        <a:pt x="1" y="315"/>
                      </a:cubicBezTo>
                      <a:cubicBezTo>
                        <a:pt x="109" y="253"/>
                        <a:pt x="109" y="253"/>
                        <a:pt x="109" y="253"/>
                      </a:cubicBezTo>
                      <a:cubicBezTo>
                        <a:pt x="110" y="253"/>
                        <a:pt x="110" y="253"/>
                        <a:pt x="111" y="253"/>
                      </a:cubicBezTo>
                      <a:cubicBezTo>
                        <a:pt x="115" y="255"/>
                        <a:pt x="115" y="255"/>
                        <a:pt x="115" y="255"/>
                      </a:cubicBezTo>
                      <a:cubicBezTo>
                        <a:pt x="115" y="251"/>
                        <a:pt x="115" y="251"/>
                        <a:pt x="115" y="251"/>
                      </a:cubicBezTo>
                      <a:cubicBezTo>
                        <a:pt x="115" y="250"/>
                        <a:pt x="115" y="250"/>
                        <a:pt x="116" y="249"/>
                      </a:cubicBezTo>
                      <a:cubicBezTo>
                        <a:pt x="118" y="248"/>
                        <a:pt x="118" y="248"/>
                        <a:pt x="118" y="248"/>
                      </a:cubicBezTo>
                      <a:cubicBezTo>
                        <a:pt x="116" y="247"/>
                        <a:pt x="116" y="247"/>
                        <a:pt x="116" y="247"/>
                      </a:cubicBezTo>
                      <a:cubicBezTo>
                        <a:pt x="115" y="247"/>
                        <a:pt x="115" y="246"/>
                        <a:pt x="115" y="245"/>
                      </a:cubicBezTo>
                      <a:cubicBezTo>
                        <a:pt x="115" y="185"/>
                        <a:pt x="115" y="185"/>
                        <a:pt x="115" y="185"/>
                      </a:cubicBezTo>
                      <a:cubicBezTo>
                        <a:pt x="63" y="155"/>
                        <a:pt x="63" y="155"/>
                        <a:pt x="63" y="155"/>
                      </a:cubicBezTo>
                      <a:cubicBezTo>
                        <a:pt x="63" y="154"/>
                        <a:pt x="62" y="154"/>
                        <a:pt x="62" y="153"/>
                      </a:cubicBezTo>
                      <a:cubicBezTo>
                        <a:pt x="62" y="133"/>
                        <a:pt x="62" y="133"/>
                        <a:pt x="62" y="133"/>
                      </a:cubicBezTo>
                      <a:cubicBezTo>
                        <a:pt x="62" y="132"/>
                        <a:pt x="63" y="131"/>
                        <a:pt x="63" y="131"/>
                      </a:cubicBezTo>
                      <a:cubicBezTo>
                        <a:pt x="69" y="127"/>
                        <a:pt x="69" y="127"/>
                        <a:pt x="69" y="127"/>
                      </a:cubicBezTo>
                      <a:cubicBezTo>
                        <a:pt x="70" y="127"/>
                        <a:pt x="71" y="127"/>
                        <a:pt x="71" y="127"/>
                      </a:cubicBezTo>
                      <a:cubicBezTo>
                        <a:pt x="72" y="128"/>
                        <a:pt x="72" y="128"/>
                        <a:pt x="72" y="129"/>
                      </a:cubicBezTo>
                      <a:cubicBezTo>
                        <a:pt x="72" y="143"/>
                        <a:pt x="72" y="143"/>
                        <a:pt x="72" y="143"/>
                      </a:cubicBezTo>
                      <a:cubicBezTo>
                        <a:pt x="136" y="106"/>
                        <a:pt x="136" y="106"/>
                        <a:pt x="136" y="106"/>
                      </a:cubicBezTo>
                      <a:cubicBezTo>
                        <a:pt x="136" y="33"/>
                        <a:pt x="136" y="33"/>
                        <a:pt x="136" y="33"/>
                      </a:cubicBezTo>
                      <a:cubicBezTo>
                        <a:pt x="87" y="61"/>
                        <a:pt x="87" y="61"/>
                        <a:pt x="87" y="61"/>
                      </a:cubicBezTo>
                      <a:cubicBezTo>
                        <a:pt x="86" y="62"/>
                        <a:pt x="85" y="62"/>
                        <a:pt x="85" y="61"/>
                      </a:cubicBezTo>
                      <a:cubicBezTo>
                        <a:pt x="84" y="61"/>
                        <a:pt x="84" y="60"/>
                        <a:pt x="84" y="60"/>
                      </a:cubicBezTo>
                      <a:cubicBezTo>
                        <a:pt x="84" y="57"/>
                        <a:pt x="84" y="57"/>
                        <a:pt x="84" y="57"/>
                      </a:cubicBezTo>
                      <a:cubicBezTo>
                        <a:pt x="84" y="56"/>
                        <a:pt x="84" y="56"/>
                        <a:pt x="85" y="55"/>
                      </a:cubicBezTo>
                      <a:cubicBezTo>
                        <a:pt x="180" y="0"/>
                        <a:pt x="180" y="0"/>
                        <a:pt x="180" y="0"/>
                      </a:cubicBezTo>
                      <a:cubicBezTo>
                        <a:pt x="180" y="0"/>
                        <a:pt x="181" y="0"/>
                        <a:pt x="182" y="0"/>
                      </a:cubicBezTo>
                      <a:cubicBezTo>
                        <a:pt x="222" y="24"/>
                        <a:pt x="222" y="24"/>
                        <a:pt x="222" y="24"/>
                      </a:cubicBezTo>
                      <a:cubicBezTo>
                        <a:pt x="222" y="24"/>
                        <a:pt x="223" y="25"/>
                        <a:pt x="223" y="25"/>
                      </a:cubicBezTo>
                      <a:cubicBezTo>
                        <a:pt x="223" y="26"/>
                        <a:pt x="222" y="27"/>
                        <a:pt x="222" y="27"/>
                      </a:cubicBezTo>
                      <a:cubicBezTo>
                        <a:pt x="189" y="46"/>
                        <a:pt x="189" y="46"/>
                        <a:pt x="189" y="46"/>
                      </a:cubicBezTo>
                      <a:cubicBezTo>
                        <a:pt x="189" y="46"/>
                        <a:pt x="188" y="46"/>
                        <a:pt x="187" y="46"/>
                      </a:cubicBezTo>
                      <a:cubicBezTo>
                        <a:pt x="152" y="25"/>
                        <a:pt x="152" y="25"/>
                        <a:pt x="152" y="25"/>
                      </a:cubicBezTo>
                      <a:cubicBezTo>
                        <a:pt x="152" y="99"/>
                        <a:pt x="152" y="99"/>
                        <a:pt x="152" y="99"/>
                      </a:cubicBezTo>
                      <a:cubicBezTo>
                        <a:pt x="203" y="128"/>
                        <a:pt x="203" y="128"/>
                        <a:pt x="203" y="128"/>
                      </a:cubicBezTo>
                      <a:cubicBezTo>
                        <a:pt x="203" y="128"/>
                        <a:pt x="204" y="129"/>
                        <a:pt x="204" y="130"/>
                      </a:cubicBezTo>
                      <a:cubicBezTo>
                        <a:pt x="204" y="144"/>
                        <a:pt x="204" y="144"/>
                        <a:pt x="204" y="144"/>
                      </a:cubicBezTo>
                      <a:cubicBezTo>
                        <a:pt x="204" y="145"/>
                        <a:pt x="203" y="146"/>
                        <a:pt x="203" y="146"/>
                      </a:cubicBezTo>
                      <a:cubicBezTo>
                        <a:pt x="190" y="153"/>
                        <a:pt x="190" y="153"/>
                        <a:pt x="190" y="153"/>
                      </a:cubicBezTo>
                      <a:cubicBezTo>
                        <a:pt x="189" y="154"/>
                        <a:pt x="188" y="154"/>
                        <a:pt x="188" y="153"/>
                      </a:cubicBezTo>
                      <a:cubicBezTo>
                        <a:pt x="181" y="149"/>
                        <a:pt x="181" y="149"/>
                        <a:pt x="181" y="149"/>
                      </a:cubicBezTo>
                      <a:cubicBezTo>
                        <a:pt x="181" y="157"/>
                        <a:pt x="181" y="157"/>
                        <a:pt x="181" y="157"/>
                      </a:cubicBezTo>
                      <a:cubicBezTo>
                        <a:pt x="181" y="158"/>
                        <a:pt x="180" y="159"/>
                        <a:pt x="180" y="159"/>
                      </a:cubicBezTo>
                      <a:cubicBezTo>
                        <a:pt x="138" y="183"/>
                        <a:pt x="138" y="183"/>
                        <a:pt x="138" y="183"/>
                      </a:cubicBezTo>
                      <a:cubicBezTo>
                        <a:pt x="138" y="257"/>
                        <a:pt x="138" y="257"/>
                        <a:pt x="138" y="257"/>
                      </a:cubicBezTo>
                      <a:cubicBezTo>
                        <a:pt x="190" y="226"/>
                        <a:pt x="190" y="226"/>
                        <a:pt x="190" y="226"/>
                      </a:cubicBezTo>
                      <a:cubicBezTo>
                        <a:pt x="191" y="226"/>
                        <a:pt x="191" y="226"/>
                        <a:pt x="192" y="226"/>
                      </a:cubicBezTo>
                      <a:cubicBezTo>
                        <a:pt x="199" y="231"/>
                        <a:pt x="199" y="231"/>
                        <a:pt x="199" y="231"/>
                      </a:cubicBezTo>
                      <a:cubicBezTo>
                        <a:pt x="200" y="231"/>
                        <a:pt x="200" y="232"/>
                        <a:pt x="200" y="232"/>
                      </a:cubicBezTo>
                      <a:cubicBezTo>
                        <a:pt x="200" y="233"/>
                        <a:pt x="200" y="234"/>
                        <a:pt x="199" y="234"/>
                      </a:cubicBezTo>
                      <a:cubicBezTo>
                        <a:pt x="151" y="262"/>
                        <a:pt x="151" y="262"/>
                        <a:pt x="151" y="262"/>
                      </a:cubicBezTo>
                      <a:cubicBezTo>
                        <a:pt x="181" y="279"/>
                        <a:pt x="181" y="279"/>
                        <a:pt x="181" y="279"/>
                      </a:cubicBezTo>
                      <a:cubicBezTo>
                        <a:pt x="181" y="279"/>
                        <a:pt x="182" y="280"/>
                        <a:pt x="182" y="281"/>
                      </a:cubicBezTo>
                      <a:cubicBezTo>
                        <a:pt x="182" y="281"/>
                        <a:pt x="181" y="282"/>
                        <a:pt x="181" y="282"/>
                      </a:cubicBezTo>
                      <a:cubicBezTo>
                        <a:pt x="65" y="350"/>
                        <a:pt x="65" y="350"/>
                        <a:pt x="65" y="350"/>
                      </a:cubicBezTo>
                      <a:cubicBezTo>
                        <a:pt x="65" y="352"/>
                        <a:pt x="65" y="352"/>
                        <a:pt x="65" y="352"/>
                      </a:cubicBezTo>
                      <a:cubicBezTo>
                        <a:pt x="65" y="353"/>
                        <a:pt x="64" y="353"/>
                        <a:pt x="64" y="354"/>
                      </a:cubicBezTo>
                      <a:cubicBezTo>
                        <a:pt x="63" y="354"/>
                        <a:pt x="63" y="354"/>
                        <a:pt x="63" y="354"/>
                      </a:cubicBezTo>
                      <a:close/>
                      <a:moveTo>
                        <a:pt x="6" y="317"/>
                      </a:moveTo>
                      <a:cubicBezTo>
                        <a:pt x="61" y="349"/>
                        <a:pt x="61" y="349"/>
                        <a:pt x="61" y="349"/>
                      </a:cubicBezTo>
                      <a:cubicBezTo>
                        <a:pt x="61" y="348"/>
                        <a:pt x="61" y="348"/>
                        <a:pt x="61" y="348"/>
                      </a:cubicBezTo>
                      <a:cubicBezTo>
                        <a:pt x="61" y="348"/>
                        <a:pt x="61" y="347"/>
                        <a:pt x="62" y="347"/>
                      </a:cubicBezTo>
                      <a:cubicBezTo>
                        <a:pt x="176" y="281"/>
                        <a:pt x="176" y="281"/>
                        <a:pt x="176" y="281"/>
                      </a:cubicBezTo>
                      <a:cubicBezTo>
                        <a:pt x="146" y="263"/>
                        <a:pt x="146" y="263"/>
                        <a:pt x="146" y="263"/>
                      </a:cubicBezTo>
                      <a:cubicBezTo>
                        <a:pt x="145" y="263"/>
                        <a:pt x="145" y="262"/>
                        <a:pt x="145" y="262"/>
                      </a:cubicBezTo>
                      <a:cubicBezTo>
                        <a:pt x="145" y="261"/>
                        <a:pt x="145" y="260"/>
                        <a:pt x="146" y="260"/>
                      </a:cubicBezTo>
                      <a:cubicBezTo>
                        <a:pt x="194" y="232"/>
                        <a:pt x="194" y="232"/>
                        <a:pt x="194" y="232"/>
                      </a:cubicBezTo>
                      <a:cubicBezTo>
                        <a:pt x="191" y="230"/>
                        <a:pt x="191" y="230"/>
                        <a:pt x="191" y="230"/>
                      </a:cubicBezTo>
                      <a:cubicBezTo>
                        <a:pt x="137" y="262"/>
                        <a:pt x="137" y="262"/>
                        <a:pt x="137" y="262"/>
                      </a:cubicBezTo>
                      <a:cubicBezTo>
                        <a:pt x="136" y="262"/>
                        <a:pt x="136" y="262"/>
                        <a:pt x="135" y="262"/>
                      </a:cubicBezTo>
                      <a:cubicBezTo>
                        <a:pt x="134" y="261"/>
                        <a:pt x="134" y="261"/>
                        <a:pt x="134" y="260"/>
                      </a:cubicBezTo>
                      <a:cubicBezTo>
                        <a:pt x="134" y="182"/>
                        <a:pt x="134" y="182"/>
                        <a:pt x="134" y="182"/>
                      </a:cubicBezTo>
                      <a:cubicBezTo>
                        <a:pt x="134" y="182"/>
                        <a:pt x="134" y="181"/>
                        <a:pt x="135" y="181"/>
                      </a:cubicBezTo>
                      <a:cubicBezTo>
                        <a:pt x="177" y="156"/>
                        <a:pt x="177" y="156"/>
                        <a:pt x="177" y="156"/>
                      </a:cubicBezTo>
                      <a:cubicBezTo>
                        <a:pt x="177" y="146"/>
                        <a:pt x="177" y="146"/>
                        <a:pt x="177" y="146"/>
                      </a:cubicBezTo>
                      <a:cubicBezTo>
                        <a:pt x="177" y="145"/>
                        <a:pt x="177" y="145"/>
                        <a:pt x="178" y="144"/>
                      </a:cubicBezTo>
                      <a:cubicBezTo>
                        <a:pt x="178" y="144"/>
                        <a:pt x="179" y="144"/>
                        <a:pt x="180" y="144"/>
                      </a:cubicBezTo>
                      <a:cubicBezTo>
                        <a:pt x="189" y="149"/>
                        <a:pt x="189" y="149"/>
                        <a:pt x="189" y="149"/>
                      </a:cubicBezTo>
                      <a:cubicBezTo>
                        <a:pt x="200" y="143"/>
                        <a:pt x="200" y="143"/>
                        <a:pt x="200" y="143"/>
                      </a:cubicBezTo>
                      <a:cubicBezTo>
                        <a:pt x="200" y="131"/>
                        <a:pt x="200" y="131"/>
                        <a:pt x="200" y="131"/>
                      </a:cubicBezTo>
                      <a:cubicBezTo>
                        <a:pt x="149" y="102"/>
                        <a:pt x="149" y="102"/>
                        <a:pt x="149" y="102"/>
                      </a:cubicBezTo>
                      <a:cubicBezTo>
                        <a:pt x="148" y="101"/>
                        <a:pt x="148" y="100"/>
                        <a:pt x="148" y="100"/>
                      </a:cubicBezTo>
                      <a:cubicBezTo>
                        <a:pt x="148" y="23"/>
                        <a:pt x="148" y="23"/>
                        <a:pt x="148" y="23"/>
                      </a:cubicBezTo>
                      <a:cubicBezTo>
                        <a:pt x="139" y="28"/>
                        <a:pt x="139" y="28"/>
                        <a:pt x="139" y="28"/>
                      </a:cubicBezTo>
                      <a:cubicBezTo>
                        <a:pt x="139" y="29"/>
                        <a:pt x="140" y="29"/>
                        <a:pt x="140" y="30"/>
                      </a:cubicBezTo>
                      <a:cubicBezTo>
                        <a:pt x="140" y="107"/>
                        <a:pt x="140" y="107"/>
                        <a:pt x="140" y="107"/>
                      </a:cubicBezTo>
                      <a:cubicBezTo>
                        <a:pt x="140" y="108"/>
                        <a:pt x="139" y="109"/>
                        <a:pt x="139" y="109"/>
                      </a:cubicBezTo>
                      <a:cubicBezTo>
                        <a:pt x="71" y="148"/>
                        <a:pt x="71" y="148"/>
                        <a:pt x="71" y="148"/>
                      </a:cubicBezTo>
                      <a:cubicBezTo>
                        <a:pt x="71" y="148"/>
                        <a:pt x="70" y="148"/>
                        <a:pt x="69" y="148"/>
                      </a:cubicBezTo>
                      <a:cubicBezTo>
                        <a:pt x="69" y="148"/>
                        <a:pt x="68" y="147"/>
                        <a:pt x="68" y="146"/>
                      </a:cubicBezTo>
                      <a:cubicBezTo>
                        <a:pt x="68" y="133"/>
                        <a:pt x="68" y="133"/>
                        <a:pt x="68" y="133"/>
                      </a:cubicBezTo>
                      <a:cubicBezTo>
                        <a:pt x="66" y="134"/>
                        <a:pt x="66" y="134"/>
                        <a:pt x="66" y="134"/>
                      </a:cubicBezTo>
                      <a:cubicBezTo>
                        <a:pt x="66" y="152"/>
                        <a:pt x="66" y="152"/>
                        <a:pt x="66" y="152"/>
                      </a:cubicBezTo>
                      <a:cubicBezTo>
                        <a:pt x="118" y="182"/>
                        <a:pt x="118" y="182"/>
                        <a:pt x="118" y="182"/>
                      </a:cubicBezTo>
                      <a:cubicBezTo>
                        <a:pt x="118" y="182"/>
                        <a:pt x="119" y="183"/>
                        <a:pt x="119" y="184"/>
                      </a:cubicBezTo>
                      <a:cubicBezTo>
                        <a:pt x="119" y="244"/>
                        <a:pt x="119" y="244"/>
                        <a:pt x="119" y="244"/>
                      </a:cubicBezTo>
                      <a:cubicBezTo>
                        <a:pt x="123" y="246"/>
                        <a:pt x="123" y="246"/>
                        <a:pt x="123" y="246"/>
                      </a:cubicBezTo>
                      <a:cubicBezTo>
                        <a:pt x="123" y="247"/>
                        <a:pt x="124" y="247"/>
                        <a:pt x="124" y="248"/>
                      </a:cubicBezTo>
                      <a:cubicBezTo>
                        <a:pt x="124" y="249"/>
                        <a:pt x="123" y="249"/>
                        <a:pt x="123" y="250"/>
                      </a:cubicBezTo>
                      <a:cubicBezTo>
                        <a:pt x="119" y="252"/>
                        <a:pt x="119" y="252"/>
                        <a:pt x="119" y="252"/>
                      </a:cubicBezTo>
                      <a:cubicBezTo>
                        <a:pt x="119" y="259"/>
                        <a:pt x="119" y="259"/>
                        <a:pt x="119" y="259"/>
                      </a:cubicBezTo>
                      <a:cubicBezTo>
                        <a:pt x="119" y="259"/>
                        <a:pt x="118" y="260"/>
                        <a:pt x="118" y="260"/>
                      </a:cubicBezTo>
                      <a:cubicBezTo>
                        <a:pt x="117" y="261"/>
                        <a:pt x="116" y="261"/>
                        <a:pt x="116" y="260"/>
                      </a:cubicBezTo>
                      <a:cubicBezTo>
                        <a:pt x="110" y="257"/>
                        <a:pt x="110" y="257"/>
                        <a:pt x="110" y="257"/>
                      </a:cubicBezTo>
                      <a:lnTo>
                        <a:pt x="6" y="317"/>
                      </a:lnTo>
                      <a:close/>
                      <a:moveTo>
                        <a:pt x="152" y="21"/>
                      </a:moveTo>
                      <a:cubicBezTo>
                        <a:pt x="188" y="42"/>
                        <a:pt x="188" y="42"/>
                        <a:pt x="188" y="42"/>
                      </a:cubicBezTo>
                      <a:cubicBezTo>
                        <a:pt x="217" y="25"/>
                        <a:pt x="217" y="25"/>
                        <a:pt x="217" y="25"/>
                      </a:cubicBezTo>
                      <a:cubicBezTo>
                        <a:pt x="181" y="4"/>
                        <a:pt x="181" y="4"/>
                        <a:pt x="181" y="4"/>
                      </a:cubicBezTo>
                      <a:lnTo>
                        <a:pt x="152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6" name="Freeform 899">
                  <a:extLst>
                    <a:ext uri="{FF2B5EF4-FFF2-40B4-BE49-F238E27FC236}">
                      <a16:creationId xmlns:a16="http://schemas.microsoft.com/office/drawing/2014/main" id="{0B1AC6D2-5508-45C2-BB82-27961AD824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3307"/>
                  <a:ext cx="293" cy="251"/>
                </a:xfrm>
                <a:custGeom>
                  <a:avLst/>
                  <a:gdLst>
                    <a:gd name="T0" fmla="*/ 7 w 124"/>
                    <a:gd name="T1" fmla="*/ 106 h 106"/>
                    <a:gd name="T2" fmla="*/ 6 w 124"/>
                    <a:gd name="T3" fmla="*/ 106 h 106"/>
                    <a:gd name="T4" fmla="*/ 1 w 124"/>
                    <a:gd name="T5" fmla="*/ 103 h 106"/>
                    <a:gd name="T6" fmla="*/ 0 w 124"/>
                    <a:gd name="T7" fmla="*/ 101 h 106"/>
                    <a:gd name="T8" fmla="*/ 0 w 124"/>
                    <a:gd name="T9" fmla="*/ 55 h 106"/>
                    <a:gd name="T10" fmla="*/ 1 w 124"/>
                    <a:gd name="T11" fmla="*/ 54 h 106"/>
                    <a:gd name="T12" fmla="*/ 94 w 124"/>
                    <a:gd name="T13" fmla="*/ 0 h 106"/>
                    <a:gd name="T14" fmla="*/ 96 w 124"/>
                    <a:gd name="T15" fmla="*/ 0 h 106"/>
                    <a:gd name="T16" fmla="*/ 123 w 124"/>
                    <a:gd name="T17" fmla="*/ 16 h 106"/>
                    <a:gd name="T18" fmla="*/ 124 w 124"/>
                    <a:gd name="T19" fmla="*/ 17 h 106"/>
                    <a:gd name="T20" fmla="*/ 124 w 124"/>
                    <a:gd name="T21" fmla="*/ 38 h 106"/>
                    <a:gd name="T22" fmla="*/ 123 w 124"/>
                    <a:gd name="T23" fmla="*/ 40 h 106"/>
                    <a:gd name="T24" fmla="*/ 8 w 124"/>
                    <a:gd name="T25" fmla="*/ 106 h 106"/>
                    <a:gd name="T26" fmla="*/ 7 w 124"/>
                    <a:gd name="T27" fmla="*/ 106 h 106"/>
                    <a:gd name="T28" fmla="*/ 4 w 124"/>
                    <a:gd name="T29" fmla="*/ 100 h 106"/>
                    <a:gd name="T30" fmla="*/ 7 w 124"/>
                    <a:gd name="T31" fmla="*/ 102 h 106"/>
                    <a:gd name="T32" fmla="*/ 120 w 124"/>
                    <a:gd name="T33" fmla="*/ 37 h 106"/>
                    <a:gd name="T34" fmla="*/ 120 w 124"/>
                    <a:gd name="T35" fmla="*/ 19 h 106"/>
                    <a:gd name="T36" fmla="*/ 95 w 124"/>
                    <a:gd name="T37" fmla="*/ 4 h 106"/>
                    <a:gd name="T38" fmla="*/ 4 w 124"/>
                    <a:gd name="T39" fmla="*/ 57 h 106"/>
                    <a:gd name="T40" fmla="*/ 4 w 124"/>
                    <a:gd name="T41" fmla="*/ 100 h 106"/>
                    <a:gd name="T42" fmla="*/ 122 w 124"/>
                    <a:gd name="T43" fmla="*/ 38 h 106"/>
                    <a:gd name="T44" fmla="*/ 122 w 124"/>
                    <a:gd name="T45" fmla="*/ 3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4" h="106">
                      <a:moveTo>
                        <a:pt x="7" y="106"/>
                      </a:moveTo>
                      <a:cubicBezTo>
                        <a:pt x="7" y="106"/>
                        <a:pt x="7" y="106"/>
                        <a:pt x="6" y="106"/>
                      </a:cubicBezTo>
                      <a:cubicBezTo>
                        <a:pt x="1" y="103"/>
                        <a:pt x="1" y="103"/>
                        <a:pt x="1" y="103"/>
                      </a:cubicBezTo>
                      <a:cubicBezTo>
                        <a:pt x="0" y="102"/>
                        <a:pt x="0" y="102"/>
                        <a:pt x="0" y="101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55"/>
                        <a:pt x="0" y="54"/>
                        <a:pt x="1" y="54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4" y="0"/>
                        <a:pt x="95" y="0"/>
                        <a:pt x="96" y="0"/>
                      </a:cubicBezTo>
                      <a:cubicBezTo>
                        <a:pt x="123" y="16"/>
                        <a:pt x="123" y="16"/>
                        <a:pt x="123" y="16"/>
                      </a:cubicBezTo>
                      <a:cubicBezTo>
                        <a:pt x="123" y="16"/>
                        <a:pt x="124" y="17"/>
                        <a:pt x="124" y="17"/>
                      </a:cubicBezTo>
                      <a:cubicBezTo>
                        <a:pt x="124" y="38"/>
                        <a:pt x="124" y="38"/>
                        <a:pt x="124" y="38"/>
                      </a:cubicBezTo>
                      <a:cubicBezTo>
                        <a:pt x="124" y="39"/>
                        <a:pt x="123" y="39"/>
                        <a:pt x="123" y="40"/>
                      </a:cubicBezTo>
                      <a:cubicBezTo>
                        <a:pt x="8" y="106"/>
                        <a:pt x="8" y="106"/>
                        <a:pt x="8" y="106"/>
                      </a:cubicBezTo>
                      <a:cubicBezTo>
                        <a:pt x="8" y="106"/>
                        <a:pt x="8" y="106"/>
                        <a:pt x="7" y="106"/>
                      </a:cubicBezTo>
                      <a:close/>
                      <a:moveTo>
                        <a:pt x="4" y="100"/>
                      </a:moveTo>
                      <a:cubicBezTo>
                        <a:pt x="7" y="102"/>
                        <a:pt x="7" y="102"/>
                        <a:pt x="7" y="102"/>
                      </a:cubicBezTo>
                      <a:cubicBezTo>
                        <a:pt x="120" y="37"/>
                        <a:pt x="120" y="37"/>
                        <a:pt x="120" y="37"/>
                      </a:cubicBezTo>
                      <a:cubicBezTo>
                        <a:pt x="120" y="19"/>
                        <a:pt x="120" y="19"/>
                        <a:pt x="120" y="19"/>
                      </a:cubicBezTo>
                      <a:cubicBezTo>
                        <a:pt x="95" y="4"/>
                        <a:pt x="95" y="4"/>
                        <a:pt x="95" y="4"/>
                      </a:cubicBezTo>
                      <a:cubicBezTo>
                        <a:pt x="4" y="57"/>
                        <a:pt x="4" y="57"/>
                        <a:pt x="4" y="57"/>
                      </a:cubicBezTo>
                      <a:lnTo>
                        <a:pt x="4" y="100"/>
                      </a:lnTo>
                      <a:close/>
                      <a:moveTo>
                        <a:pt x="122" y="38"/>
                      </a:moveTo>
                      <a:cubicBezTo>
                        <a:pt x="122" y="38"/>
                        <a:pt x="122" y="38"/>
                        <a:pt x="122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7" name="Freeform 900">
                  <a:extLst>
                    <a:ext uri="{FF2B5EF4-FFF2-40B4-BE49-F238E27FC236}">
                      <a16:creationId xmlns:a16="http://schemas.microsoft.com/office/drawing/2014/main" id="{6380B724-3CCE-4BA9-B438-9250D19BED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38" y="3289"/>
                  <a:ext cx="71" cy="61"/>
                </a:xfrm>
                <a:custGeom>
                  <a:avLst/>
                  <a:gdLst>
                    <a:gd name="T0" fmla="*/ 28 w 30"/>
                    <a:gd name="T1" fmla="*/ 26 h 26"/>
                    <a:gd name="T2" fmla="*/ 27 w 30"/>
                    <a:gd name="T3" fmla="*/ 25 h 26"/>
                    <a:gd name="T4" fmla="*/ 1 w 30"/>
                    <a:gd name="T5" fmla="*/ 11 h 26"/>
                    <a:gd name="T6" fmla="*/ 0 w 30"/>
                    <a:gd name="T7" fmla="*/ 9 h 26"/>
                    <a:gd name="T8" fmla="*/ 1 w 30"/>
                    <a:gd name="T9" fmla="*/ 7 h 26"/>
                    <a:gd name="T10" fmla="*/ 13 w 30"/>
                    <a:gd name="T11" fmla="*/ 1 h 26"/>
                    <a:gd name="T12" fmla="*/ 15 w 30"/>
                    <a:gd name="T13" fmla="*/ 1 h 26"/>
                    <a:gd name="T14" fmla="*/ 29 w 30"/>
                    <a:gd name="T15" fmla="*/ 9 h 26"/>
                    <a:gd name="T16" fmla="*/ 30 w 30"/>
                    <a:gd name="T17" fmla="*/ 10 h 26"/>
                    <a:gd name="T18" fmla="*/ 30 w 30"/>
                    <a:gd name="T19" fmla="*/ 24 h 26"/>
                    <a:gd name="T20" fmla="*/ 29 w 30"/>
                    <a:gd name="T21" fmla="*/ 25 h 26"/>
                    <a:gd name="T22" fmla="*/ 28 w 30"/>
                    <a:gd name="T23" fmla="*/ 26 h 26"/>
                    <a:gd name="T24" fmla="*/ 6 w 30"/>
                    <a:gd name="T25" fmla="*/ 9 h 26"/>
                    <a:gd name="T26" fmla="*/ 26 w 30"/>
                    <a:gd name="T27" fmla="*/ 20 h 26"/>
                    <a:gd name="T28" fmla="*/ 26 w 30"/>
                    <a:gd name="T29" fmla="*/ 11 h 26"/>
                    <a:gd name="T30" fmla="*/ 14 w 30"/>
                    <a:gd name="T31" fmla="*/ 5 h 26"/>
                    <a:gd name="T32" fmla="*/ 6 w 30"/>
                    <a:gd name="T33" fmla="*/ 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26">
                      <a:moveTo>
                        <a:pt x="28" y="26"/>
                      </a:moveTo>
                      <a:cubicBezTo>
                        <a:pt x="27" y="26"/>
                        <a:pt x="27" y="26"/>
                        <a:pt x="27" y="25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0"/>
                        <a:pt x="0" y="10"/>
                        <a:pt x="0" y="9"/>
                      </a:cubicBezTo>
                      <a:cubicBezTo>
                        <a:pt x="0" y="8"/>
                        <a:pt x="1" y="8"/>
                        <a:pt x="1" y="7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29" y="9"/>
                        <a:pt x="29" y="9"/>
                        <a:pt x="29" y="9"/>
                      </a:cubicBezTo>
                      <a:cubicBezTo>
                        <a:pt x="29" y="9"/>
                        <a:pt x="30" y="10"/>
                        <a:pt x="30" y="10"/>
                      </a:cubicBezTo>
                      <a:cubicBezTo>
                        <a:pt x="30" y="24"/>
                        <a:pt x="30" y="24"/>
                        <a:pt x="30" y="24"/>
                      </a:cubicBezTo>
                      <a:cubicBezTo>
                        <a:pt x="30" y="24"/>
                        <a:pt x="29" y="25"/>
                        <a:pt x="29" y="25"/>
                      </a:cubicBezTo>
                      <a:cubicBezTo>
                        <a:pt x="28" y="26"/>
                        <a:pt x="28" y="26"/>
                        <a:pt x="28" y="26"/>
                      </a:cubicBezTo>
                      <a:close/>
                      <a:moveTo>
                        <a:pt x="6" y="9"/>
                      </a:moveTo>
                      <a:cubicBezTo>
                        <a:pt x="26" y="20"/>
                        <a:pt x="26" y="20"/>
                        <a:pt x="26" y="20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14" y="5"/>
                        <a:pt x="14" y="5"/>
                        <a:pt x="14" y="5"/>
                      </a:cubicBez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8" name="Freeform 901">
                  <a:extLst>
                    <a:ext uri="{FF2B5EF4-FFF2-40B4-BE49-F238E27FC236}">
                      <a16:creationId xmlns:a16="http://schemas.microsoft.com/office/drawing/2014/main" id="{0FB80FC9-DAFE-4757-A04F-ED904B674D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69" y="3270"/>
                  <a:ext cx="40" cy="42"/>
                </a:xfrm>
                <a:custGeom>
                  <a:avLst/>
                  <a:gdLst>
                    <a:gd name="T0" fmla="*/ 15 w 17"/>
                    <a:gd name="T1" fmla="*/ 18 h 18"/>
                    <a:gd name="T2" fmla="*/ 14 w 17"/>
                    <a:gd name="T3" fmla="*/ 18 h 18"/>
                    <a:gd name="T4" fmla="*/ 1 w 17"/>
                    <a:gd name="T5" fmla="*/ 11 h 18"/>
                    <a:gd name="T6" fmla="*/ 0 w 17"/>
                    <a:gd name="T7" fmla="*/ 9 h 18"/>
                    <a:gd name="T8" fmla="*/ 1 w 17"/>
                    <a:gd name="T9" fmla="*/ 8 h 18"/>
                    <a:gd name="T10" fmla="*/ 14 w 17"/>
                    <a:gd name="T11" fmla="*/ 1 h 18"/>
                    <a:gd name="T12" fmla="*/ 16 w 17"/>
                    <a:gd name="T13" fmla="*/ 1 h 18"/>
                    <a:gd name="T14" fmla="*/ 17 w 17"/>
                    <a:gd name="T15" fmla="*/ 2 h 18"/>
                    <a:gd name="T16" fmla="*/ 17 w 17"/>
                    <a:gd name="T17" fmla="*/ 16 h 18"/>
                    <a:gd name="T18" fmla="*/ 16 w 17"/>
                    <a:gd name="T19" fmla="*/ 18 h 18"/>
                    <a:gd name="T20" fmla="*/ 15 w 17"/>
                    <a:gd name="T21" fmla="*/ 18 h 18"/>
                    <a:gd name="T22" fmla="*/ 6 w 17"/>
                    <a:gd name="T23" fmla="*/ 9 h 18"/>
                    <a:gd name="T24" fmla="*/ 13 w 17"/>
                    <a:gd name="T25" fmla="*/ 13 h 18"/>
                    <a:gd name="T26" fmla="*/ 13 w 17"/>
                    <a:gd name="T27" fmla="*/ 6 h 18"/>
                    <a:gd name="T28" fmla="*/ 6 w 17"/>
                    <a:gd name="T29" fmla="*/ 9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8">
                      <a:moveTo>
                        <a:pt x="15" y="18"/>
                      </a:move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1"/>
                        <a:pt x="0" y="10"/>
                        <a:pt x="0" y="9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4" y="0"/>
                        <a:pt x="15" y="0"/>
                        <a:pt x="16" y="1"/>
                      </a:cubicBezTo>
                      <a:cubicBezTo>
                        <a:pt x="16" y="1"/>
                        <a:pt x="17" y="2"/>
                        <a:pt x="17" y="2"/>
                      </a:cubicBezTo>
                      <a:cubicBezTo>
                        <a:pt x="17" y="16"/>
                        <a:pt x="17" y="16"/>
                        <a:pt x="17" y="16"/>
                      </a:cubicBezTo>
                      <a:cubicBezTo>
                        <a:pt x="17" y="17"/>
                        <a:pt x="16" y="18"/>
                        <a:pt x="16" y="18"/>
                      </a:cubicBezTo>
                      <a:cubicBezTo>
                        <a:pt x="15" y="18"/>
                        <a:pt x="15" y="18"/>
                        <a:pt x="15" y="18"/>
                      </a:cubicBezTo>
                      <a:close/>
                      <a:moveTo>
                        <a:pt x="6" y="9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3" y="6"/>
                        <a:pt x="13" y="6"/>
                        <a:pt x="13" y="6"/>
                      </a:cubicBez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9" name="Freeform 902">
                  <a:extLst>
                    <a:ext uri="{FF2B5EF4-FFF2-40B4-BE49-F238E27FC236}">
                      <a16:creationId xmlns:a16="http://schemas.microsoft.com/office/drawing/2014/main" id="{7739F1D1-42F0-43AA-96E8-95DC1D34BC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3376"/>
                  <a:ext cx="312" cy="489"/>
                </a:xfrm>
                <a:custGeom>
                  <a:avLst/>
                  <a:gdLst>
                    <a:gd name="T0" fmla="*/ 120 w 132"/>
                    <a:gd name="T1" fmla="*/ 207 h 207"/>
                    <a:gd name="T2" fmla="*/ 119 w 132"/>
                    <a:gd name="T3" fmla="*/ 207 h 207"/>
                    <a:gd name="T4" fmla="*/ 46 w 132"/>
                    <a:gd name="T5" fmla="*/ 165 h 207"/>
                    <a:gd name="T6" fmla="*/ 45 w 132"/>
                    <a:gd name="T7" fmla="*/ 163 h 207"/>
                    <a:gd name="T8" fmla="*/ 46 w 132"/>
                    <a:gd name="T9" fmla="*/ 161 h 207"/>
                    <a:gd name="T10" fmla="*/ 1 w 132"/>
                    <a:gd name="T11" fmla="*/ 135 h 207"/>
                    <a:gd name="T12" fmla="*/ 0 w 132"/>
                    <a:gd name="T13" fmla="*/ 134 h 207"/>
                    <a:gd name="T14" fmla="*/ 0 w 132"/>
                    <a:gd name="T15" fmla="*/ 109 h 207"/>
                    <a:gd name="T16" fmla="*/ 1 w 132"/>
                    <a:gd name="T17" fmla="*/ 107 h 207"/>
                    <a:gd name="T18" fmla="*/ 21 w 132"/>
                    <a:gd name="T19" fmla="*/ 95 h 207"/>
                    <a:gd name="T20" fmla="*/ 21 w 132"/>
                    <a:gd name="T21" fmla="*/ 2 h 207"/>
                    <a:gd name="T22" fmla="*/ 22 w 132"/>
                    <a:gd name="T23" fmla="*/ 0 h 207"/>
                    <a:gd name="T24" fmla="*/ 24 w 132"/>
                    <a:gd name="T25" fmla="*/ 0 h 207"/>
                    <a:gd name="T26" fmla="*/ 114 w 132"/>
                    <a:gd name="T27" fmla="*/ 52 h 207"/>
                    <a:gd name="T28" fmla="*/ 115 w 132"/>
                    <a:gd name="T29" fmla="*/ 51 h 207"/>
                    <a:gd name="T30" fmla="*/ 117 w 132"/>
                    <a:gd name="T31" fmla="*/ 51 h 207"/>
                    <a:gd name="T32" fmla="*/ 131 w 132"/>
                    <a:gd name="T33" fmla="*/ 59 h 207"/>
                    <a:gd name="T34" fmla="*/ 132 w 132"/>
                    <a:gd name="T35" fmla="*/ 61 h 207"/>
                    <a:gd name="T36" fmla="*/ 131 w 132"/>
                    <a:gd name="T37" fmla="*/ 62 h 207"/>
                    <a:gd name="T38" fmla="*/ 122 w 132"/>
                    <a:gd name="T39" fmla="*/ 68 h 207"/>
                    <a:gd name="T40" fmla="*/ 122 w 132"/>
                    <a:gd name="T41" fmla="*/ 205 h 207"/>
                    <a:gd name="T42" fmla="*/ 121 w 132"/>
                    <a:gd name="T43" fmla="*/ 207 h 207"/>
                    <a:gd name="T44" fmla="*/ 120 w 132"/>
                    <a:gd name="T45" fmla="*/ 207 h 207"/>
                    <a:gd name="T46" fmla="*/ 51 w 132"/>
                    <a:gd name="T47" fmla="*/ 163 h 207"/>
                    <a:gd name="T48" fmla="*/ 118 w 132"/>
                    <a:gd name="T49" fmla="*/ 202 h 207"/>
                    <a:gd name="T50" fmla="*/ 118 w 132"/>
                    <a:gd name="T51" fmla="*/ 67 h 207"/>
                    <a:gd name="T52" fmla="*/ 119 w 132"/>
                    <a:gd name="T53" fmla="*/ 65 h 207"/>
                    <a:gd name="T54" fmla="*/ 126 w 132"/>
                    <a:gd name="T55" fmla="*/ 61 h 207"/>
                    <a:gd name="T56" fmla="*/ 118 w 132"/>
                    <a:gd name="T57" fmla="*/ 56 h 207"/>
                    <a:gd name="T58" fmla="*/ 117 w 132"/>
                    <a:gd name="T59" fmla="*/ 58 h 207"/>
                    <a:gd name="T60" fmla="*/ 115 w 132"/>
                    <a:gd name="T61" fmla="*/ 58 h 207"/>
                    <a:gd name="T62" fmla="*/ 25 w 132"/>
                    <a:gd name="T63" fmla="*/ 6 h 207"/>
                    <a:gd name="T64" fmla="*/ 25 w 132"/>
                    <a:gd name="T65" fmla="*/ 96 h 207"/>
                    <a:gd name="T66" fmla="*/ 24 w 132"/>
                    <a:gd name="T67" fmla="*/ 98 h 207"/>
                    <a:gd name="T68" fmla="*/ 4 w 132"/>
                    <a:gd name="T69" fmla="*/ 110 h 207"/>
                    <a:gd name="T70" fmla="*/ 4 w 132"/>
                    <a:gd name="T71" fmla="*/ 132 h 207"/>
                    <a:gd name="T72" fmla="*/ 51 w 132"/>
                    <a:gd name="T73" fmla="*/ 160 h 207"/>
                    <a:gd name="T74" fmla="*/ 52 w 132"/>
                    <a:gd name="T75" fmla="*/ 161 h 207"/>
                    <a:gd name="T76" fmla="*/ 51 w 132"/>
                    <a:gd name="T77" fmla="*/ 163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32" h="207">
                      <a:moveTo>
                        <a:pt x="120" y="207"/>
                      </a:moveTo>
                      <a:cubicBezTo>
                        <a:pt x="120" y="207"/>
                        <a:pt x="119" y="207"/>
                        <a:pt x="119" y="207"/>
                      </a:cubicBezTo>
                      <a:cubicBezTo>
                        <a:pt x="46" y="165"/>
                        <a:pt x="46" y="165"/>
                        <a:pt x="46" y="165"/>
                      </a:cubicBezTo>
                      <a:cubicBezTo>
                        <a:pt x="46" y="165"/>
                        <a:pt x="45" y="164"/>
                        <a:pt x="45" y="163"/>
                      </a:cubicBezTo>
                      <a:cubicBezTo>
                        <a:pt x="45" y="162"/>
                        <a:pt x="46" y="162"/>
                        <a:pt x="46" y="161"/>
                      </a:cubicBezTo>
                      <a:cubicBezTo>
                        <a:pt x="1" y="135"/>
                        <a:pt x="1" y="135"/>
                        <a:pt x="1" y="135"/>
                      </a:cubicBezTo>
                      <a:cubicBezTo>
                        <a:pt x="0" y="135"/>
                        <a:pt x="0" y="134"/>
                        <a:pt x="0" y="134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08"/>
                        <a:pt x="0" y="107"/>
                        <a:pt x="1" y="107"/>
                      </a:cubicBezTo>
                      <a:cubicBezTo>
                        <a:pt x="21" y="95"/>
                        <a:pt x="21" y="95"/>
                        <a:pt x="21" y="95"/>
                      </a:cubicBezTo>
                      <a:cubicBezTo>
                        <a:pt x="21" y="2"/>
                        <a:pt x="21" y="2"/>
                        <a:pt x="21" y="2"/>
                      </a:cubicBezTo>
                      <a:cubicBezTo>
                        <a:pt x="21" y="1"/>
                        <a:pt x="22" y="1"/>
                        <a:pt x="22" y="0"/>
                      </a:cubicBezTo>
                      <a:cubicBezTo>
                        <a:pt x="23" y="0"/>
                        <a:pt x="24" y="0"/>
                        <a:pt x="24" y="0"/>
                      </a:cubicBezTo>
                      <a:cubicBezTo>
                        <a:pt x="114" y="52"/>
                        <a:pt x="114" y="52"/>
                        <a:pt x="114" y="52"/>
                      </a:cubicBezTo>
                      <a:cubicBezTo>
                        <a:pt x="114" y="52"/>
                        <a:pt x="115" y="51"/>
                        <a:pt x="115" y="51"/>
                      </a:cubicBezTo>
                      <a:cubicBezTo>
                        <a:pt x="116" y="50"/>
                        <a:pt x="117" y="50"/>
                        <a:pt x="117" y="51"/>
                      </a:cubicBezTo>
                      <a:cubicBezTo>
                        <a:pt x="131" y="59"/>
                        <a:pt x="131" y="59"/>
                        <a:pt x="131" y="59"/>
                      </a:cubicBezTo>
                      <a:cubicBezTo>
                        <a:pt x="132" y="59"/>
                        <a:pt x="132" y="60"/>
                        <a:pt x="132" y="61"/>
                      </a:cubicBezTo>
                      <a:cubicBezTo>
                        <a:pt x="132" y="61"/>
                        <a:pt x="132" y="62"/>
                        <a:pt x="131" y="62"/>
                      </a:cubicBezTo>
                      <a:cubicBezTo>
                        <a:pt x="122" y="68"/>
                        <a:pt x="122" y="68"/>
                        <a:pt x="122" y="68"/>
                      </a:cubicBezTo>
                      <a:cubicBezTo>
                        <a:pt x="122" y="205"/>
                        <a:pt x="122" y="205"/>
                        <a:pt x="122" y="205"/>
                      </a:cubicBezTo>
                      <a:cubicBezTo>
                        <a:pt x="122" y="206"/>
                        <a:pt x="122" y="207"/>
                        <a:pt x="121" y="207"/>
                      </a:cubicBezTo>
                      <a:cubicBezTo>
                        <a:pt x="121" y="207"/>
                        <a:pt x="120" y="207"/>
                        <a:pt x="120" y="207"/>
                      </a:cubicBezTo>
                      <a:close/>
                      <a:moveTo>
                        <a:pt x="51" y="163"/>
                      </a:moveTo>
                      <a:cubicBezTo>
                        <a:pt x="118" y="202"/>
                        <a:pt x="118" y="202"/>
                        <a:pt x="118" y="202"/>
                      </a:cubicBezTo>
                      <a:cubicBezTo>
                        <a:pt x="118" y="67"/>
                        <a:pt x="118" y="67"/>
                        <a:pt x="118" y="67"/>
                      </a:cubicBezTo>
                      <a:cubicBezTo>
                        <a:pt x="118" y="66"/>
                        <a:pt x="118" y="65"/>
                        <a:pt x="119" y="65"/>
                      </a:cubicBezTo>
                      <a:cubicBezTo>
                        <a:pt x="126" y="61"/>
                        <a:pt x="126" y="61"/>
                        <a:pt x="126" y="61"/>
                      </a:cubicBezTo>
                      <a:cubicBezTo>
                        <a:pt x="118" y="56"/>
                        <a:pt x="118" y="56"/>
                        <a:pt x="118" y="56"/>
                      </a:cubicBezTo>
                      <a:cubicBezTo>
                        <a:pt x="118" y="57"/>
                        <a:pt x="118" y="57"/>
                        <a:pt x="117" y="58"/>
                      </a:cubicBezTo>
                      <a:cubicBezTo>
                        <a:pt x="117" y="58"/>
                        <a:pt x="116" y="58"/>
                        <a:pt x="115" y="58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96"/>
                        <a:pt x="25" y="96"/>
                        <a:pt x="25" y="96"/>
                      </a:cubicBezTo>
                      <a:cubicBezTo>
                        <a:pt x="25" y="97"/>
                        <a:pt x="25" y="98"/>
                        <a:pt x="24" y="98"/>
                      </a:cubicBezTo>
                      <a:cubicBezTo>
                        <a:pt x="4" y="110"/>
                        <a:pt x="4" y="110"/>
                        <a:pt x="4" y="110"/>
                      </a:cubicBezTo>
                      <a:cubicBezTo>
                        <a:pt x="4" y="132"/>
                        <a:pt x="4" y="132"/>
                        <a:pt x="4" y="132"/>
                      </a:cubicBezTo>
                      <a:cubicBezTo>
                        <a:pt x="51" y="160"/>
                        <a:pt x="51" y="160"/>
                        <a:pt x="51" y="160"/>
                      </a:cubicBezTo>
                      <a:cubicBezTo>
                        <a:pt x="52" y="160"/>
                        <a:pt x="52" y="161"/>
                        <a:pt x="52" y="161"/>
                      </a:cubicBezTo>
                      <a:cubicBezTo>
                        <a:pt x="52" y="162"/>
                        <a:pt x="52" y="163"/>
                        <a:pt x="51" y="1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0" name="Freeform 903">
                  <a:extLst>
                    <a:ext uri="{FF2B5EF4-FFF2-40B4-BE49-F238E27FC236}">
                      <a16:creationId xmlns:a16="http://schemas.microsoft.com/office/drawing/2014/main" id="{ABA24591-C25E-437C-AB37-B896734857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09" y="3319"/>
                  <a:ext cx="177" cy="161"/>
                </a:xfrm>
                <a:custGeom>
                  <a:avLst/>
                  <a:gdLst>
                    <a:gd name="T0" fmla="*/ 52 w 75"/>
                    <a:gd name="T1" fmla="*/ 68 h 68"/>
                    <a:gd name="T2" fmla="*/ 51 w 75"/>
                    <a:gd name="T3" fmla="*/ 67 h 68"/>
                    <a:gd name="T4" fmla="*/ 1 w 75"/>
                    <a:gd name="T5" fmla="*/ 38 h 68"/>
                    <a:gd name="T6" fmla="*/ 0 w 75"/>
                    <a:gd name="T7" fmla="*/ 37 h 68"/>
                    <a:gd name="T8" fmla="*/ 1 w 75"/>
                    <a:gd name="T9" fmla="*/ 35 h 68"/>
                    <a:gd name="T10" fmla="*/ 61 w 75"/>
                    <a:gd name="T11" fmla="*/ 0 h 68"/>
                    <a:gd name="T12" fmla="*/ 63 w 75"/>
                    <a:gd name="T13" fmla="*/ 0 h 68"/>
                    <a:gd name="T14" fmla="*/ 74 w 75"/>
                    <a:gd name="T15" fmla="*/ 7 h 68"/>
                    <a:gd name="T16" fmla="*/ 75 w 75"/>
                    <a:gd name="T17" fmla="*/ 9 h 68"/>
                    <a:gd name="T18" fmla="*/ 74 w 75"/>
                    <a:gd name="T19" fmla="*/ 11 h 68"/>
                    <a:gd name="T20" fmla="*/ 66 w 75"/>
                    <a:gd name="T21" fmla="*/ 16 h 68"/>
                    <a:gd name="T22" fmla="*/ 66 w 75"/>
                    <a:gd name="T23" fmla="*/ 59 h 68"/>
                    <a:gd name="T24" fmla="*/ 65 w 75"/>
                    <a:gd name="T25" fmla="*/ 60 h 68"/>
                    <a:gd name="T26" fmla="*/ 53 w 75"/>
                    <a:gd name="T27" fmla="*/ 67 h 68"/>
                    <a:gd name="T28" fmla="*/ 52 w 75"/>
                    <a:gd name="T29" fmla="*/ 68 h 68"/>
                    <a:gd name="T30" fmla="*/ 6 w 75"/>
                    <a:gd name="T31" fmla="*/ 37 h 68"/>
                    <a:gd name="T32" fmla="*/ 52 w 75"/>
                    <a:gd name="T33" fmla="*/ 63 h 68"/>
                    <a:gd name="T34" fmla="*/ 62 w 75"/>
                    <a:gd name="T35" fmla="*/ 57 h 68"/>
                    <a:gd name="T36" fmla="*/ 62 w 75"/>
                    <a:gd name="T37" fmla="*/ 15 h 68"/>
                    <a:gd name="T38" fmla="*/ 63 w 75"/>
                    <a:gd name="T39" fmla="*/ 13 h 68"/>
                    <a:gd name="T40" fmla="*/ 69 w 75"/>
                    <a:gd name="T41" fmla="*/ 9 h 68"/>
                    <a:gd name="T42" fmla="*/ 62 w 75"/>
                    <a:gd name="T43" fmla="*/ 4 h 68"/>
                    <a:gd name="T44" fmla="*/ 6 w 75"/>
                    <a:gd name="T45" fmla="*/ 37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5" h="68">
                      <a:moveTo>
                        <a:pt x="52" y="68"/>
                      </a:moveTo>
                      <a:cubicBezTo>
                        <a:pt x="51" y="68"/>
                        <a:pt x="51" y="67"/>
                        <a:pt x="51" y="67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1" y="0"/>
                        <a:pt x="62" y="0"/>
                        <a:pt x="63" y="0"/>
                      </a:cubicBezTo>
                      <a:cubicBezTo>
                        <a:pt x="74" y="7"/>
                        <a:pt x="74" y="7"/>
                        <a:pt x="74" y="7"/>
                      </a:cubicBezTo>
                      <a:cubicBezTo>
                        <a:pt x="75" y="8"/>
                        <a:pt x="75" y="8"/>
                        <a:pt x="75" y="9"/>
                      </a:cubicBezTo>
                      <a:cubicBezTo>
                        <a:pt x="75" y="10"/>
                        <a:pt x="75" y="10"/>
                        <a:pt x="74" y="11"/>
                      </a:cubicBezTo>
                      <a:cubicBezTo>
                        <a:pt x="66" y="16"/>
                        <a:pt x="66" y="16"/>
                        <a:pt x="66" y="16"/>
                      </a:cubicBezTo>
                      <a:cubicBezTo>
                        <a:pt x="66" y="59"/>
                        <a:pt x="66" y="59"/>
                        <a:pt x="66" y="59"/>
                      </a:cubicBezTo>
                      <a:cubicBezTo>
                        <a:pt x="66" y="59"/>
                        <a:pt x="65" y="60"/>
                        <a:pt x="65" y="60"/>
                      </a:cubicBezTo>
                      <a:cubicBezTo>
                        <a:pt x="53" y="67"/>
                        <a:pt x="53" y="67"/>
                        <a:pt x="53" y="67"/>
                      </a:cubicBezTo>
                      <a:cubicBezTo>
                        <a:pt x="52" y="67"/>
                        <a:pt x="52" y="68"/>
                        <a:pt x="52" y="68"/>
                      </a:cubicBezTo>
                      <a:close/>
                      <a:moveTo>
                        <a:pt x="6" y="37"/>
                      </a:moveTo>
                      <a:cubicBezTo>
                        <a:pt x="52" y="63"/>
                        <a:pt x="52" y="63"/>
                        <a:pt x="52" y="63"/>
                      </a:cubicBezTo>
                      <a:cubicBezTo>
                        <a:pt x="62" y="57"/>
                        <a:pt x="62" y="57"/>
                        <a:pt x="62" y="57"/>
                      </a:cubicBez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14"/>
                        <a:pt x="62" y="13"/>
                        <a:pt x="63" y="13"/>
                      </a:cubicBezTo>
                      <a:cubicBezTo>
                        <a:pt x="69" y="9"/>
                        <a:pt x="69" y="9"/>
                        <a:pt x="69" y="9"/>
                      </a:cubicBezTo>
                      <a:cubicBezTo>
                        <a:pt x="62" y="4"/>
                        <a:pt x="62" y="4"/>
                        <a:pt x="62" y="4"/>
                      </a:cubicBezTo>
                      <a:lnTo>
                        <a:pt x="6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1" name="Freeform 904">
                  <a:extLst>
                    <a:ext uri="{FF2B5EF4-FFF2-40B4-BE49-F238E27FC236}">
                      <a16:creationId xmlns:a16="http://schemas.microsoft.com/office/drawing/2014/main" id="{08B845C1-3B3A-4922-86E7-C43998C2415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909" y="3022"/>
                  <a:ext cx="279" cy="311"/>
                </a:xfrm>
                <a:custGeom>
                  <a:avLst/>
                  <a:gdLst>
                    <a:gd name="T0" fmla="*/ 116 w 118"/>
                    <a:gd name="T1" fmla="*/ 132 h 132"/>
                    <a:gd name="T2" fmla="*/ 115 w 118"/>
                    <a:gd name="T3" fmla="*/ 132 h 132"/>
                    <a:gd name="T4" fmla="*/ 106 w 118"/>
                    <a:gd name="T5" fmla="*/ 127 h 132"/>
                    <a:gd name="T6" fmla="*/ 105 w 118"/>
                    <a:gd name="T7" fmla="*/ 128 h 132"/>
                    <a:gd name="T8" fmla="*/ 103 w 118"/>
                    <a:gd name="T9" fmla="*/ 128 h 132"/>
                    <a:gd name="T10" fmla="*/ 1 w 118"/>
                    <a:gd name="T11" fmla="*/ 69 h 132"/>
                    <a:gd name="T12" fmla="*/ 0 w 118"/>
                    <a:gd name="T13" fmla="*/ 68 h 132"/>
                    <a:gd name="T14" fmla="*/ 1 w 118"/>
                    <a:gd name="T15" fmla="*/ 66 h 132"/>
                    <a:gd name="T16" fmla="*/ 115 w 118"/>
                    <a:gd name="T17" fmla="*/ 0 h 132"/>
                    <a:gd name="T18" fmla="*/ 117 w 118"/>
                    <a:gd name="T19" fmla="*/ 0 h 132"/>
                    <a:gd name="T20" fmla="*/ 118 w 118"/>
                    <a:gd name="T21" fmla="*/ 2 h 132"/>
                    <a:gd name="T22" fmla="*/ 118 w 118"/>
                    <a:gd name="T23" fmla="*/ 130 h 132"/>
                    <a:gd name="T24" fmla="*/ 117 w 118"/>
                    <a:gd name="T25" fmla="*/ 132 h 132"/>
                    <a:gd name="T26" fmla="*/ 116 w 118"/>
                    <a:gd name="T27" fmla="*/ 132 h 132"/>
                    <a:gd name="T28" fmla="*/ 106 w 118"/>
                    <a:gd name="T29" fmla="*/ 123 h 132"/>
                    <a:gd name="T30" fmla="*/ 107 w 118"/>
                    <a:gd name="T31" fmla="*/ 123 h 132"/>
                    <a:gd name="T32" fmla="*/ 114 w 118"/>
                    <a:gd name="T33" fmla="*/ 127 h 132"/>
                    <a:gd name="T34" fmla="*/ 114 w 118"/>
                    <a:gd name="T35" fmla="*/ 5 h 132"/>
                    <a:gd name="T36" fmla="*/ 6 w 118"/>
                    <a:gd name="T37" fmla="*/ 68 h 132"/>
                    <a:gd name="T38" fmla="*/ 104 w 118"/>
                    <a:gd name="T39" fmla="*/ 124 h 132"/>
                    <a:gd name="T40" fmla="*/ 105 w 118"/>
                    <a:gd name="T41" fmla="*/ 123 h 132"/>
                    <a:gd name="T42" fmla="*/ 106 w 118"/>
                    <a:gd name="T43" fmla="*/ 123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18" h="132">
                      <a:moveTo>
                        <a:pt x="116" y="132"/>
                      </a:moveTo>
                      <a:cubicBezTo>
                        <a:pt x="116" y="132"/>
                        <a:pt x="116" y="132"/>
                        <a:pt x="115" y="132"/>
                      </a:cubicBezTo>
                      <a:cubicBezTo>
                        <a:pt x="106" y="127"/>
                        <a:pt x="106" y="127"/>
                        <a:pt x="106" y="127"/>
                      </a:cubicBezTo>
                      <a:cubicBezTo>
                        <a:pt x="105" y="128"/>
                        <a:pt x="105" y="128"/>
                        <a:pt x="105" y="128"/>
                      </a:cubicBezTo>
                      <a:cubicBezTo>
                        <a:pt x="104" y="128"/>
                        <a:pt x="103" y="128"/>
                        <a:pt x="103" y="128"/>
                      </a:cubicBezTo>
                      <a:cubicBezTo>
                        <a:pt x="1" y="69"/>
                        <a:pt x="1" y="69"/>
                        <a:pt x="1" y="69"/>
                      </a:cubicBezTo>
                      <a:cubicBezTo>
                        <a:pt x="0" y="69"/>
                        <a:pt x="0" y="68"/>
                        <a:pt x="0" y="68"/>
                      </a:cubicBezTo>
                      <a:cubicBezTo>
                        <a:pt x="0" y="67"/>
                        <a:pt x="0" y="66"/>
                        <a:pt x="1" y="66"/>
                      </a:cubicBezTo>
                      <a:cubicBezTo>
                        <a:pt x="115" y="0"/>
                        <a:pt x="115" y="0"/>
                        <a:pt x="115" y="0"/>
                      </a:cubicBezTo>
                      <a:cubicBezTo>
                        <a:pt x="116" y="0"/>
                        <a:pt x="117" y="0"/>
                        <a:pt x="117" y="0"/>
                      </a:cubicBezTo>
                      <a:cubicBezTo>
                        <a:pt x="118" y="0"/>
                        <a:pt x="118" y="1"/>
                        <a:pt x="118" y="2"/>
                      </a:cubicBezTo>
                      <a:cubicBezTo>
                        <a:pt x="118" y="130"/>
                        <a:pt x="118" y="130"/>
                        <a:pt x="118" y="130"/>
                      </a:cubicBezTo>
                      <a:cubicBezTo>
                        <a:pt x="118" y="131"/>
                        <a:pt x="118" y="132"/>
                        <a:pt x="117" y="132"/>
                      </a:cubicBezTo>
                      <a:cubicBezTo>
                        <a:pt x="117" y="132"/>
                        <a:pt x="117" y="132"/>
                        <a:pt x="116" y="132"/>
                      </a:cubicBezTo>
                      <a:close/>
                      <a:moveTo>
                        <a:pt x="106" y="123"/>
                      </a:moveTo>
                      <a:cubicBezTo>
                        <a:pt x="107" y="123"/>
                        <a:pt x="107" y="123"/>
                        <a:pt x="107" y="123"/>
                      </a:cubicBezTo>
                      <a:cubicBezTo>
                        <a:pt x="114" y="127"/>
                        <a:pt x="114" y="127"/>
                        <a:pt x="114" y="127"/>
                      </a:cubicBezTo>
                      <a:cubicBezTo>
                        <a:pt x="114" y="5"/>
                        <a:pt x="114" y="5"/>
                        <a:pt x="114" y="5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104" y="124"/>
                        <a:pt x="104" y="124"/>
                        <a:pt x="104" y="124"/>
                      </a:cubicBezTo>
                      <a:cubicBezTo>
                        <a:pt x="105" y="123"/>
                        <a:pt x="105" y="123"/>
                        <a:pt x="105" y="123"/>
                      </a:cubicBezTo>
                      <a:cubicBezTo>
                        <a:pt x="106" y="123"/>
                        <a:pt x="106" y="123"/>
                        <a:pt x="106" y="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2" name="Freeform 905">
                  <a:extLst>
                    <a:ext uri="{FF2B5EF4-FFF2-40B4-BE49-F238E27FC236}">
                      <a16:creationId xmlns:a16="http://schemas.microsoft.com/office/drawing/2014/main" id="{F8A0C3FA-9286-4629-87C2-AAC168766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35" y="3473"/>
                  <a:ext cx="146" cy="144"/>
                </a:xfrm>
                <a:custGeom>
                  <a:avLst/>
                  <a:gdLst>
                    <a:gd name="T0" fmla="*/ 60 w 62"/>
                    <a:gd name="T1" fmla="*/ 61 h 61"/>
                    <a:gd name="T2" fmla="*/ 59 w 62"/>
                    <a:gd name="T3" fmla="*/ 60 h 61"/>
                    <a:gd name="T4" fmla="*/ 1 w 62"/>
                    <a:gd name="T5" fmla="*/ 27 h 61"/>
                    <a:gd name="T6" fmla="*/ 0 w 62"/>
                    <a:gd name="T7" fmla="*/ 25 h 61"/>
                    <a:gd name="T8" fmla="*/ 1 w 62"/>
                    <a:gd name="T9" fmla="*/ 23 h 61"/>
                    <a:gd name="T10" fmla="*/ 40 w 62"/>
                    <a:gd name="T11" fmla="*/ 1 h 61"/>
                    <a:gd name="T12" fmla="*/ 42 w 62"/>
                    <a:gd name="T13" fmla="*/ 1 h 61"/>
                    <a:gd name="T14" fmla="*/ 54 w 62"/>
                    <a:gd name="T15" fmla="*/ 8 h 61"/>
                    <a:gd name="T16" fmla="*/ 55 w 62"/>
                    <a:gd name="T17" fmla="*/ 9 h 61"/>
                    <a:gd name="T18" fmla="*/ 55 w 62"/>
                    <a:gd name="T19" fmla="*/ 24 h 61"/>
                    <a:gd name="T20" fmla="*/ 59 w 62"/>
                    <a:gd name="T21" fmla="*/ 21 h 61"/>
                    <a:gd name="T22" fmla="*/ 61 w 62"/>
                    <a:gd name="T23" fmla="*/ 21 h 61"/>
                    <a:gd name="T24" fmla="*/ 62 w 62"/>
                    <a:gd name="T25" fmla="*/ 23 h 61"/>
                    <a:gd name="T26" fmla="*/ 62 w 62"/>
                    <a:gd name="T27" fmla="*/ 59 h 61"/>
                    <a:gd name="T28" fmla="*/ 61 w 62"/>
                    <a:gd name="T29" fmla="*/ 60 h 61"/>
                    <a:gd name="T30" fmla="*/ 60 w 62"/>
                    <a:gd name="T31" fmla="*/ 61 h 61"/>
                    <a:gd name="T32" fmla="*/ 6 w 62"/>
                    <a:gd name="T33" fmla="*/ 25 h 61"/>
                    <a:gd name="T34" fmla="*/ 58 w 62"/>
                    <a:gd name="T35" fmla="*/ 55 h 61"/>
                    <a:gd name="T36" fmla="*/ 58 w 62"/>
                    <a:gd name="T37" fmla="*/ 26 h 61"/>
                    <a:gd name="T38" fmla="*/ 54 w 62"/>
                    <a:gd name="T39" fmla="*/ 29 h 61"/>
                    <a:gd name="T40" fmla="*/ 52 w 62"/>
                    <a:gd name="T41" fmla="*/ 29 h 61"/>
                    <a:gd name="T42" fmla="*/ 51 w 62"/>
                    <a:gd name="T43" fmla="*/ 27 h 61"/>
                    <a:gd name="T44" fmla="*/ 51 w 62"/>
                    <a:gd name="T45" fmla="*/ 11 h 61"/>
                    <a:gd name="T46" fmla="*/ 41 w 62"/>
                    <a:gd name="T47" fmla="*/ 5 h 61"/>
                    <a:gd name="T48" fmla="*/ 6 w 62"/>
                    <a:gd name="T49" fmla="*/ 25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2" h="61">
                      <a:moveTo>
                        <a:pt x="60" y="61"/>
                      </a:moveTo>
                      <a:cubicBezTo>
                        <a:pt x="60" y="61"/>
                        <a:pt x="60" y="61"/>
                        <a:pt x="59" y="60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0" y="26"/>
                        <a:pt x="0" y="26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40" y="0"/>
                        <a:pt x="41" y="0"/>
                        <a:pt x="42" y="1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8"/>
                        <a:pt x="55" y="9"/>
                        <a:pt x="55" y="9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60" y="21"/>
                        <a:pt x="61" y="21"/>
                        <a:pt x="61" y="21"/>
                      </a:cubicBezTo>
                      <a:cubicBezTo>
                        <a:pt x="62" y="22"/>
                        <a:pt x="62" y="22"/>
                        <a:pt x="62" y="23"/>
                      </a:cubicBezTo>
                      <a:cubicBezTo>
                        <a:pt x="62" y="59"/>
                        <a:pt x="62" y="59"/>
                        <a:pt x="62" y="59"/>
                      </a:cubicBezTo>
                      <a:cubicBezTo>
                        <a:pt x="62" y="59"/>
                        <a:pt x="62" y="60"/>
                        <a:pt x="61" y="60"/>
                      </a:cubicBezTo>
                      <a:cubicBezTo>
                        <a:pt x="61" y="61"/>
                        <a:pt x="61" y="61"/>
                        <a:pt x="60" y="61"/>
                      </a:cubicBezTo>
                      <a:close/>
                      <a:moveTo>
                        <a:pt x="6" y="25"/>
                      </a:moveTo>
                      <a:cubicBezTo>
                        <a:pt x="58" y="55"/>
                        <a:pt x="58" y="55"/>
                        <a:pt x="58" y="55"/>
                      </a:cubicBezTo>
                      <a:cubicBezTo>
                        <a:pt x="58" y="26"/>
                        <a:pt x="58" y="26"/>
                        <a:pt x="58" y="26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53" y="30"/>
                        <a:pt x="52" y="30"/>
                        <a:pt x="52" y="29"/>
                      </a:cubicBezTo>
                      <a:cubicBezTo>
                        <a:pt x="51" y="29"/>
                        <a:pt x="51" y="28"/>
                        <a:pt x="51" y="27"/>
                      </a:cubicBezTo>
                      <a:cubicBezTo>
                        <a:pt x="51" y="11"/>
                        <a:pt x="51" y="11"/>
                        <a:pt x="51" y="11"/>
                      </a:cubicBezTo>
                      <a:cubicBezTo>
                        <a:pt x="41" y="5"/>
                        <a:pt x="41" y="5"/>
                        <a:pt x="41" y="5"/>
                      </a:cubicBezTo>
                      <a:lnTo>
                        <a:pt x="6" y="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3" name="Freeform 906">
                  <a:extLst>
                    <a:ext uri="{FF2B5EF4-FFF2-40B4-BE49-F238E27FC236}">
                      <a16:creationId xmlns:a16="http://schemas.microsoft.com/office/drawing/2014/main" id="{9F01A556-F5E5-4AA1-B8D3-9706BF6934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0" y="120"/>
                  <a:ext cx="3963" cy="4319"/>
                </a:xfrm>
                <a:custGeom>
                  <a:avLst/>
                  <a:gdLst>
                    <a:gd name="T0" fmla="*/ 446 w 1678"/>
                    <a:gd name="T1" fmla="*/ 1596 h 1828"/>
                    <a:gd name="T2" fmla="*/ 351 w 1678"/>
                    <a:gd name="T3" fmla="*/ 1542 h 1828"/>
                    <a:gd name="T4" fmla="*/ 220 w 1678"/>
                    <a:gd name="T5" fmla="*/ 1391 h 1828"/>
                    <a:gd name="T6" fmla="*/ 33 w 1678"/>
                    <a:gd name="T7" fmla="*/ 1059 h 1828"/>
                    <a:gd name="T8" fmla="*/ 316 w 1678"/>
                    <a:gd name="T9" fmla="*/ 1221 h 1828"/>
                    <a:gd name="T10" fmla="*/ 221 w 1678"/>
                    <a:gd name="T11" fmla="*/ 1127 h 1828"/>
                    <a:gd name="T12" fmla="*/ 294 w 1678"/>
                    <a:gd name="T13" fmla="*/ 914 h 1828"/>
                    <a:gd name="T14" fmla="*/ 218 w 1678"/>
                    <a:gd name="T15" fmla="*/ 721 h 1828"/>
                    <a:gd name="T16" fmla="*/ 152 w 1678"/>
                    <a:gd name="T17" fmla="*/ 531 h 1828"/>
                    <a:gd name="T18" fmla="*/ 299 w 1678"/>
                    <a:gd name="T19" fmla="*/ 332 h 1828"/>
                    <a:gd name="T20" fmla="*/ 554 w 1678"/>
                    <a:gd name="T21" fmla="*/ 140 h 1828"/>
                    <a:gd name="T22" fmla="*/ 778 w 1678"/>
                    <a:gd name="T23" fmla="*/ 57 h 1828"/>
                    <a:gd name="T24" fmla="*/ 829 w 1678"/>
                    <a:gd name="T25" fmla="*/ 216 h 1828"/>
                    <a:gd name="T26" fmla="*/ 888 w 1678"/>
                    <a:gd name="T27" fmla="*/ 246 h 1828"/>
                    <a:gd name="T28" fmla="*/ 1188 w 1678"/>
                    <a:gd name="T29" fmla="*/ 112 h 1828"/>
                    <a:gd name="T30" fmla="*/ 1491 w 1678"/>
                    <a:gd name="T31" fmla="*/ 218 h 1828"/>
                    <a:gd name="T32" fmla="*/ 1433 w 1678"/>
                    <a:gd name="T33" fmla="*/ 281 h 1828"/>
                    <a:gd name="T34" fmla="*/ 1569 w 1678"/>
                    <a:gd name="T35" fmla="*/ 477 h 1828"/>
                    <a:gd name="T36" fmla="*/ 1630 w 1678"/>
                    <a:gd name="T37" fmla="*/ 642 h 1828"/>
                    <a:gd name="T38" fmla="*/ 1474 w 1678"/>
                    <a:gd name="T39" fmla="*/ 611 h 1828"/>
                    <a:gd name="T40" fmla="*/ 1677 w 1678"/>
                    <a:gd name="T41" fmla="*/ 846 h 1828"/>
                    <a:gd name="T42" fmla="*/ 1503 w 1678"/>
                    <a:gd name="T43" fmla="*/ 1099 h 1828"/>
                    <a:gd name="T44" fmla="*/ 1474 w 1678"/>
                    <a:gd name="T45" fmla="*/ 1216 h 1828"/>
                    <a:gd name="T46" fmla="*/ 1338 w 1678"/>
                    <a:gd name="T47" fmla="*/ 1216 h 1828"/>
                    <a:gd name="T48" fmla="*/ 1094 w 1678"/>
                    <a:gd name="T49" fmla="*/ 1323 h 1828"/>
                    <a:gd name="T50" fmla="*/ 1071 w 1678"/>
                    <a:gd name="T51" fmla="*/ 1476 h 1828"/>
                    <a:gd name="T52" fmla="*/ 816 w 1678"/>
                    <a:gd name="T53" fmla="*/ 1523 h 1828"/>
                    <a:gd name="T54" fmla="*/ 553 w 1678"/>
                    <a:gd name="T55" fmla="*/ 1673 h 1828"/>
                    <a:gd name="T56" fmla="*/ 684 w 1678"/>
                    <a:gd name="T57" fmla="*/ 1585 h 1828"/>
                    <a:gd name="T58" fmla="*/ 931 w 1678"/>
                    <a:gd name="T59" fmla="*/ 1440 h 1828"/>
                    <a:gd name="T60" fmla="*/ 1068 w 1678"/>
                    <a:gd name="T61" fmla="*/ 1352 h 1828"/>
                    <a:gd name="T62" fmla="*/ 1311 w 1678"/>
                    <a:gd name="T63" fmla="*/ 1213 h 1828"/>
                    <a:gd name="T64" fmla="*/ 1470 w 1678"/>
                    <a:gd name="T65" fmla="*/ 1292 h 1828"/>
                    <a:gd name="T66" fmla="*/ 1510 w 1678"/>
                    <a:gd name="T67" fmla="*/ 1167 h 1828"/>
                    <a:gd name="T68" fmla="*/ 1554 w 1678"/>
                    <a:gd name="T69" fmla="*/ 913 h 1828"/>
                    <a:gd name="T70" fmla="*/ 1487 w 1678"/>
                    <a:gd name="T71" fmla="*/ 681 h 1828"/>
                    <a:gd name="T72" fmla="*/ 1488 w 1678"/>
                    <a:gd name="T73" fmla="*/ 601 h 1828"/>
                    <a:gd name="T74" fmla="*/ 1601 w 1678"/>
                    <a:gd name="T75" fmla="*/ 537 h 1828"/>
                    <a:gd name="T76" fmla="*/ 1536 w 1678"/>
                    <a:gd name="T77" fmla="*/ 461 h 1828"/>
                    <a:gd name="T78" fmla="*/ 1311 w 1678"/>
                    <a:gd name="T79" fmla="*/ 352 h 1828"/>
                    <a:gd name="T80" fmla="*/ 1342 w 1678"/>
                    <a:gd name="T81" fmla="*/ 152 h 1828"/>
                    <a:gd name="T82" fmla="*/ 1060 w 1678"/>
                    <a:gd name="T83" fmla="*/ 41 h 1828"/>
                    <a:gd name="T84" fmla="*/ 888 w 1678"/>
                    <a:gd name="T85" fmla="*/ 260 h 1828"/>
                    <a:gd name="T86" fmla="*/ 822 w 1678"/>
                    <a:gd name="T87" fmla="*/ 216 h 1828"/>
                    <a:gd name="T88" fmla="*/ 702 w 1678"/>
                    <a:gd name="T89" fmla="*/ 104 h 1828"/>
                    <a:gd name="T90" fmla="*/ 422 w 1678"/>
                    <a:gd name="T91" fmla="*/ 220 h 1828"/>
                    <a:gd name="T92" fmla="*/ 295 w 1678"/>
                    <a:gd name="T93" fmla="*/ 333 h 1828"/>
                    <a:gd name="T94" fmla="*/ 297 w 1678"/>
                    <a:gd name="T95" fmla="*/ 479 h 1828"/>
                    <a:gd name="T96" fmla="*/ 245 w 1678"/>
                    <a:gd name="T97" fmla="*/ 858 h 1828"/>
                    <a:gd name="T98" fmla="*/ 316 w 1678"/>
                    <a:gd name="T99" fmla="*/ 930 h 1828"/>
                    <a:gd name="T100" fmla="*/ 424 w 1678"/>
                    <a:gd name="T101" fmla="*/ 1146 h 1828"/>
                    <a:gd name="T102" fmla="*/ 564 w 1678"/>
                    <a:gd name="T103" fmla="*/ 1416 h 1828"/>
                    <a:gd name="T104" fmla="*/ 484 w 1678"/>
                    <a:gd name="T105" fmla="*/ 1333 h 1828"/>
                    <a:gd name="T106" fmla="*/ 359 w 1678"/>
                    <a:gd name="T107" fmla="*/ 1478 h 1828"/>
                    <a:gd name="T108" fmla="*/ 303 w 1678"/>
                    <a:gd name="T109" fmla="*/ 1362 h 1828"/>
                    <a:gd name="T110" fmla="*/ 168 w 1678"/>
                    <a:gd name="T111" fmla="*/ 1137 h 1828"/>
                    <a:gd name="T112" fmla="*/ 275 w 1678"/>
                    <a:gd name="T113" fmla="*/ 1419 h 1828"/>
                    <a:gd name="T114" fmla="*/ 355 w 1678"/>
                    <a:gd name="T115" fmla="*/ 1557 h 1828"/>
                    <a:gd name="T116" fmla="*/ 362 w 1678"/>
                    <a:gd name="T117" fmla="*/ 1467 h 1828"/>
                    <a:gd name="T118" fmla="*/ 356 w 1678"/>
                    <a:gd name="T119" fmla="*/ 1409 h 1828"/>
                    <a:gd name="T120" fmla="*/ 560 w 1678"/>
                    <a:gd name="T121" fmla="*/ 1415 h 1828"/>
                    <a:gd name="T122" fmla="*/ 488 w 1678"/>
                    <a:gd name="T123" fmla="*/ 1408 h 1828"/>
                    <a:gd name="T124" fmla="*/ 1504 w 1678"/>
                    <a:gd name="T125" fmla="*/ 519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78" h="1828">
                      <a:moveTo>
                        <a:pt x="551" y="1828"/>
                      </a:moveTo>
                      <a:cubicBezTo>
                        <a:pt x="550" y="1828"/>
                        <a:pt x="550" y="1828"/>
                        <a:pt x="550" y="1827"/>
                      </a:cubicBezTo>
                      <a:cubicBezTo>
                        <a:pt x="549" y="1827"/>
                        <a:pt x="549" y="1826"/>
                        <a:pt x="549" y="1826"/>
                      </a:cubicBezTo>
                      <a:cubicBezTo>
                        <a:pt x="549" y="1672"/>
                        <a:pt x="549" y="1672"/>
                        <a:pt x="549" y="1672"/>
                      </a:cubicBezTo>
                      <a:cubicBezTo>
                        <a:pt x="549" y="1671"/>
                        <a:pt x="549" y="1671"/>
                        <a:pt x="550" y="1670"/>
                      </a:cubicBezTo>
                      <a:cubicBezTo>
                        <a:pt x="680" y="1595"/>
                        <a:pt x="680" y="1595"/>
                        <a:pt x="680" y="1595"/>
                      </a:cubicBezTo>
                      <a:cubicBezTo>
                        <a:pt x="680" y="1586"/>
                        <a:pt x="680" y="1586"/>
                        <a:pt x="680" y="1586"/>
                      </a:cubicBezTo>
                      <a:cubicBezTo>
                        <a:pt x="608" y="1544"/>
                        <a:pt x="608" y="1544"/>
                        <a:pt x="608" y="1544"/>
                      </a:cubicBezTo>
                      <a:cubicBezTo>
                        <a:pt x="483" y="1617"/>
                        <a:pt x="483" y="1617"/>
                        <a:pt x="483" y="1617"/>
                      </a:cubicBezTo>
                      <a:cubicBezTo>
                        <a:pt x="482" y="1617"/>
                        <a:pt x="481" y="1617"/>
                        <a:pt x="481" y="1617"/>
                      </a:cubicBezTo>
                      <a:cubicBezTo>
                        <a:pt x="446" y="1596"/>
                        <a:pt x="446" y="1596"/>
                        <a:pt x="446" y="1596"/>
                      </a:cubicBezTo>
                      <a:cubicBezTo>
                        <a:pt x="421" y="1611"/>
                        <a:pt x="421" y="1611"/>
                        <a:pt x="421" y="1611"/>
                      </a:cubicBezTo>
                      <a:cubicBezTo>
                        <a:pt x="420" y="1611"/>
                        <a:pt x="420" y="1611"/>
                        <a:pt x="419" y="1611"/>
                      </a:cubicBezTo>
                      <a:cubicBezTo>
                        <a:pt x="350" y="1571"/>
                        <a:pt x="350" y="1571"/>
                        <a:pt x="350" y="1571"/>
                      </a:cubicBezTo>
                      <a:cubicBezTo>
                        <a:pt x="350" y="1571"/>
                        <a:pt x="349" y="1570"/>
                        <a:pt x="349" y="1570"/>
                      </a:cubicBezTo>
                      <a:cubicBezTo>
                        <a:pt x="349" y="1569"/>
                        <a:pt x="350" y="1568"/>
                        <a:pt x="350" y="1568"/>
                      </a:cubicBezTo>
                      <a:cubicBezTo>
                        <a:pt x="373" y="1555"/>
                        <a:pt x="373" y="1555"/>
                        <a:pt x="373" y="1555"/>
                      </a:cubicBezTo>
                      <a:cubicBezTo>
                        <a:pt x="370" y="1553"/>
                        <a:pt x="370" y="1553"/>
                        <a:pt x="370" y="1553"/>
                      </a:cubicBezTo>
                      <a:cubicBezTo>
                        <a:pt x="354" y="1562"/>
                        <a:pt x="354" y="1562"/>
                        <a:pt x="354" y="1562"/>
                      </a:cubicBezTo>
                      <a:cubicBezTo>
                        <a:pt x="354" y="1562"/>
                        <a:pt x="353" y="1562"/>
                        <a:pt x="352" y="1562"/>
                      </a:cubicBezTo>
                      <a:cubicBezTo>
                        <a:pt x="352" y="1562"/>
                        <a:pt x="351" y="1561"/>
                        <a:pt x="351" y="1560"/>
                      </a:cubicBezTo>
                      <a:cubicBezTo>
                        <a:pt x="351" y="1542"/>
                        <a:pt x="351" y="1542"/>
                        <a:pt x="351" y="1542"/>
                      </a:cubicBezTo>
                      <a:cubicBezTo>
                        <a:pt x="350" y="1541"/>
                        <a:pt x="350" y="1541"/>
                        <a:pt x="350" y="1541"/>
                      </a:cubicBezTo>
                      <a:cubicBezTo>
                        <a:pt x="350" y="1541"/>
                        <a:pt x="349" y="1540"/>
                        <a:pt x="349" y="1540"/>
                      </a:cubicBezTo>
                      <a:cubicBezTo>
                        <a:pt x="294" y="1508"/>
                        <a:pt x="294" y="1508"/>
                        <a:pt x="294" y="1508"/>
                      </a:cubicBezTo>
                      <a:cubicBezTo>
                        <a:pt x="294" y="1508"/>
                        <a:pt x="293" y="1507"/>
                        <a:pt x="293" y="1506"/>
                      </a:cubicBezTo>
                      <a:cubicBezTo>
                        <a:pt x="293" y="1481"/>
                        <a:pt x="293" y="1481"/>
                        <a:pt x="293" y="1481"/>
                      </a:cubicBezTo>
                      <a:cubicBezTo>
                        <a:pt x="233" y="1446"/>
                        <a:pt x="233" y="1446"/>
                        <a:pt x="233" y="1446"/>
                      </a:cubicBezTo>
                      <a:cubicBezTo>
                        <a:pt x="232" y="1445"/>
                        <a:pt x="232" y="1445"/>
                        <a:pt x="232" y="1444"/>
                      </a:cubicBezTo>
                      <a:cubicBezTo>
                        <a:pt x="232" y="1443"/>
                        <a:pt x="232" y="1442"/>
                        <a:pt x="233" y="1442"/>
                      </a:cubicBezTo>
                      <a:cubicBezTo>
                        <a:pt x="270" y="1420"/>
                        <a:pt x="270" y="1420"/>
                        <a:pt x="270" y="1420"/>
                      </a:cubicBezTo>
                      <a:cubicBezTo>
                        <a:pt x="221" y="1392"/>
                        <a:pt x="221" y="1392"/>
                        <a:pt x="221" y="1392"/>
                      </a:cubicBezTo>
                      <a:cubicBezTo>
                        <a:pt x="221" y="1392"/>
                        <a:pt x="220" y="1391"/>
                        <a:pt x="220" y="1391"/>
                      </a:cubicBezTo>
                      <a:cubicBezTo>
                        <a:pt x="220" y="1390"/>
                        <a:pt x="221" y="1389"/>
                        <a:pt x="221" y="1389"/>
                      </a:cubicBezTo>
                      <a:cubicBezTo>
                        <a:pt x="280" y="1355"/>
                        <a:pt x="280" y="1355"/>
                        <a:pt x="280" y="1355"/>
                      </a:cubicBezTo>
                      <a:cubicBezTo>
                        <a:pt x="182" y="1299"/>
                        <a:pt x="182" y="1299"/>
                        <a:pt x="182" y="1299"/>
                      </a:cubicBezTo>
                      <a:cubicBezTo>
                        <a:pt x="159" y="1313"/>
                        <a:pt x="159" y="1313"/>
                        <a:pt x="159" y="1313"/>
                      </a:cubicBezTo>
                      <a:cubicBezTo>
                        <a:pt x="158" y="1313"/>
                        <a:pt x="157" y="1313"/>
                        <a:pt x="157" y="1313"/>
                      </a:cubicBezTo>
                      <a:cubicBezTo>
                        <a:pt x="0" y="1222"/>
                        <a:pt x="0" y="1222"/>
                        <a:pt x="0" y="1222"/>
                      </a:cubicBezTo>
                      <a:cubicBezTo>
                        <a:pt x="0" y="1222"/>
                        <a:pt x="0" y="1221"/>
                        <a:pt x="0" y="1221"/>
                      </a:cubicBezTo>
                      <a:cubicBezTo>
                        <a:pt x="0" y="1220"/>
                        <a:pt x="0" y="1219"/>
                        <a:pt x="1" y="1219"/>
                      </a:cubicBezTo>
                      <a:cubicBezTo>
                        <a:pt x="154" y="1130"/>
                        <a:pt x="154" y="1130"/>
                        <a:pt x="154" y="1130"/>
                      </a:cubicBezTo>
                      <a:cubicBezTo>
                        <a:pt x="34" y="1061"/>
                        <a:pt x="34" y="1061"/>
                        <a:pt x="34" y="1061"/>
                      </a:cubicBezTo>
                      <a:cubicBezTo>
                        <a:pt x="33" y="1060"/>
                        <a:pt x="33" y="1060"/>
                        <a:pt x="33" y="1059"/>
                      </a:cubicBezTo>
                      <a:cubicBezTo>
                        <a:pt x="33" y="905"/>
                        <a:pt x="33" y="905"/>
                        <a:pt x="33" y="905"/>
                      </a:cubicBezTo>
                      <a:cubicBezTo>
                        <a:pt x="33" y="904"/>
                        <a:pt x="33" y="903"/>
                        <a:pt x="34" y="903"/>
                      </a:cubicBezTo>
                      <a:cubicBezTo>
                        <a:pt x="34" y="903"/>
                        <a:pt x="35" y="903"/>
                        <a:pt x="36" y="903"/>
                      </a:cubicBezTo>
                      <a:cubicBezTo>
                        <a:pt x="169" y="980"/>
                        <a:pt x="169" y="980"/>
                        <a:pt x="169" y="980"/>
                      </a:cubicBezTo>
                      <a:cubicBezTo>
                        <a:pt x="170" y="981"/>
                        <a:pt x="170" y="981"/>
                        <a:pt x="170" y="982"/>
                      </a:cubicBezTo>
                      <a:cubicBezTo>
                        <a:pt x="170" y="1133"/>
                        <a:pt x="170" y="1133"/>
                        <a:pt x="170" y="1133"/>
                      </a:cubicBezTo>
                      <a:cubicBezTo>
                        <a:pt x="301" y="1209"/>
                        <a:pt x="301" y="1209"/>
                        <a:pt x="301" y="1209"/>
                      </a:cubicBezTo>
                      <a:cubicBezTo>
                        <a:pt x="302" y="1209"/>
                        <a:pt x="302" y="1210"/>
                        <a:pt x="302" y="1210"/>
                      </a:cubicBezTo>
                      <a:cubicBezTo>
                        <a:pt x="302" y="1211"/>
                        <a:pt x="302" y="1211"/>
                        <a:pt x="302" y="1211"/>
                      </a:cubicBezTo>
                      <a:cubicBezTo>
                        <a:pt x="315" y="1219"/>
                        <a:pt x="315" y="1219"/>
                        <a:pt x="315" y="1219"/>
                      </a:cubicBezTo>
                      <a:cubicBezTo>
                        <a:pt x="316" y="1219"/>
                        <a:pt x="316" y="1220"/>
                        <a:pt x="316" y="1221"/>
                      </a:cubicBezTo>
                      <a:cubicBezTo>
                        <a:pt x="316" y="1221"/>
                        <a:pt x="316" y="1222"/>
                        <a:pt x="315" y="1222"/>
                      </a:cubicBezTo>
                      <a:cubicBezTo>
                        <a:pt x="302" y="1230"/>
                        <a:pt x="302" y="1230"/>
                        <a:pt x="302" y="1230"/>
                      </a:cubicBezTo>
                      <a:cubicBezTo>
                        <a:pt x="302" y="1358"/>
                        <a:pt x="302" y="1358"/>
                        <a:pt x="302" y="1358"/>
                      </a:cubicBezTo>
                      <a:cubicBezTo>
                        <a:pt x="339" y="1336"/>
                        <a:pt x="339" y="1336"/>
                        <a:pt x="339" y="1336"/>
                      </a:cubicBezTo>
                      <a:cubicBezTo>
                        <a:pt x="339" y="1336"/>
                        <a:pt x="339" y="1336"/>
                        <a:pt x="339" y="1335"/>
                      </a:cubicBezTo>
                      <a:cubicBezTo>
                        <a:pt x="339" y="1193"/>
                        <a:pt x="339" y="1193"/>
                        <a:pt x="339" y="1193"/>
                      </a:cubicBezTo>
                      <a:cubicBezTo>
                        <a:pt x="339" y="1193"/>
                        <a:pt x="339" y="1192"/>
                        <a:pt x="340" y="1192"/>
                      </a:cubicBezTo>
                      <a:cubicBezTo>
                        <a:pt x="420" y="1145"/>
                        <a:pt x="420" y="1145"/>
                        <a:pt x="420" y="1145"/>
                      </a:cubicBezTo>
                      <a:cubicBezTo>
                        <a:pt x="420" y="1141"/>
                        <a:pt x="420" y="1141"/>
                        <a:pt x="420" y="1141"/>
                      </a:cubicBezTo>
                      <a:cubicBezTo>
                        <a:pt x="309" y="1076"/>
                        <a:pt x="309" y="1076"/>
                        <a:pt x="309" y="1076"/>
                      </a:cubicBezTo>
                      <a:cubicBezTo>
                        <a:pt x="221" y="1127"/>
                        <a:pt x="221" y="1127"/>
                        <a:pt x="221" y="1127"/>
                      </a:cubicBezTo>
                      <a:cubicBezTo>
                        <a:pt x="220" y="1127"/>
                        <a:pt x="219" y="1127"/>
                        <a:pt x="219" y="1127"/>
                      </a:cubicBezTo>
                      <a:cubicBezTo>
                        <a:pt x="218" y="1127"/>
                        <a:pt x="218" y="1126"/>
                        <a:pt x="218" y="1125"/>
                      </a:cubicBezTo>
                      <a:cubicBezTo>
                        <a:pt x="218" y="983"/>
                        <a:pt x="218" y="983"/>
                        <a:pt x="218" y="983"/>
                      </a:cubicBezTo>
                      <a:cubicBezTo>
                        <a:pt x="218" y="983"/>
                        <a:pt x="218" y="982"/>
                        <a:pt x="219" y="982"/>
                      </a:cubicBezTo>
                      <a:cubicBezTo>
                        <a:pt x="293" y="939"/>
                        <a:pt x="293" y="939"/>
                        <a:pt x="293" y="939"/>
                      </a:cubicBezTo>
                      <a:cubicBezTo>
                        <a:pt x="293" y="918"/>
                        <a:pt x="293" y="918"/>
                        <a:pt x="293" y="918"/>
                      </a:cubicBezTo>
                      <a:cubicBezTo>
                        <a:pt x="293" y="917"/>
                        <a:pt x="294" y="916"/>
                        <a:pt x="294" y="916"/>
                      </a:cubicBezTo>
                      <a:cubicBezTo>
                        <a:pt x="295" y="915"/>
                        <a:pt x="296" y="915"/>
                        <a:pt x="296" y="916"/>
                      </a:cubicBezTo>
                      <a:cubicBezTo>
                        <a:pt x="315" y="926"/>
                        <a:pt x="315" y="926"/>
                        <a:pt x="315" y="926"/>
                      </a:cubicBezTo>
                      <a:cubicBezTo>
                        <a:pt x="315" y="926"/>
                        <a:pt x="315" y="926"/>
                        <a:pt x="315" y="926"/>
                      </a:cubicBezTo>
                      <a:cubicBezTo>
                        <a:pt x="294" y="914"/>
                        <a:pt x="294" y="914"/>
                        <a:pt x="294" y="914"/>
                      </a:cubicBezTo>
                      <a:cubicBezTo>
                        <a:pt x="289" y="917"/>
                        <a:pt x="289" y="917"/>
                        <a:pt x="289" y="917"/>
                      </a:cubicBezTo>
                      <a:cubicBezTo>
                        <a:pt x="288" y="917"/>
                        <a:pt x="287" y="917"/>
                        <a:pt x="287" y="917"/>
                      </a:cubicBezTo>
                      <a:cubicBezTo>
                        <a:pt x="286" y="917"/>
                        <a:pt x="286" y="916"/>
                        <a:pt x="286" y="915"/>
                      </a:cubicBezTo>
                      <a:cubicBezTo>
                        <a:pt x="286" y="909"/>
                        <a:pt x="286" y="909"/>
                        <a:pt x="286" y="909"/>
                      </a:cubicBezTo>
                      <a:cubicBezTo>
                        <a:pt x="221" y="872"/>
                        <a:pt x="221" y="872"/>
                        <a:pt x="221" y="872"/>
                      </a:cubicBezTo>
                      <a:cubicBezTo>
                        <a:pt x="221" y="871"/>
                        <a:pt x="220" y="871"/>
                        <a:pt x="220" y="870"/>
                      </a:cubicBezTo>
                      <a:cubicBezTo>
                        <a:pt x="220" y="869"/>
                        <a:pt x="221" y="868"/>
                        <a:pt x="221" y="868"/>
                      </a:cubicBezTo>
                      <a:cubicBezTo>
                        <a:pt x="239" y="858"/>
                        <a:pt x="239" y="858"/>
                        <a:pt x="239" y="858"/>
                      </a:cubicBezTo>
                      <a:cubicBezTo>
                        <a:pt x="219" y="846"/>
                        <a:pt x="219" y="846"/>
                        <a:pt x="219" y="846"/>
                      </a:cubicBezTo>
                      <a:cubicBezTo>
                        <a:pt x="218" y="846"/>
                        <a:pt x="218" y="845"/>
                        <a:pt x="218" y="844"/>
                      </a:cubicBezTo>
                      <a:cubicBezTo>
                        <a:pt x="218" y="721"/>
                        <a:pt x="218" y="721"/>
                        <a:pt x="218" y="721"/>
                      </a:cubicBezTo>
                      <a:cubicBezTo>
                        <a:pt x="93" y="648"/>
                        <a:pt x="93" y="648"/>
                        <a:pt x="93" y="648"/>
                      </a:cubicBezTo>
                      <a:cubicBezTo>
                        <a:pt x="92" y="648"/>
                        <a:pt x="92" y="647"/>
                        <a:pt x="92" y="647"/>
                      </a:cubicBezTo>
                      <a:cubicBezTo>
                        <a:pt x="92" y="646"/>
                        <a:pt x="92" y="645"/>
                        <a:pt x="93" y="645"/>
                      </a:cubicBezTo>
                      <a:cubicBezTo>
                        <a:pt x="218" y="573"/>
                        <a:pt x="218" y="573"/>
                        <a:pt x="218" y="573"/>
                      </a:cubicBezTo>
                      <a:cubicBezTo>
                        <a:pt x="218" y="563"/>
                        <a:pt x="218" y="563"/>
                        <a:pt x="218" y="563"/>
                      </a:cubicBezTo>
                      <a:cubicBezTo>
                        <a:pt x="218" y="563"/>
                        <a:pt x="218" y="562"/>
                        <a:pt x="219" y="562"/>
                      </a:cubicBezTo>
                      <a:cubicBezTo>
                        <a:pt x="293" y="519"/>
                        <a:pt x="293" y="519"/>
                        <a:pt x="293" y="519"/>
                      </a:cubicBezTo>
                      <a:cubicBezTo>
                        <a:pt x="293" y="480"/>
                        <a:pt x="293" y="480"/>
                        <a:pt x="293" y="480"/>
                      </a:cubicBezTo>
                      <a:cubicBezTo>
                        <a:pt x="267" y="465"/>
                        <a:pt x="267" y="465"/>
                        <a:pt x="267" y="465"/>
                      </a:cubicBezTo>
                      <a:cubicBezTo>
                        <a:pt x="154" y="531"/>
                        <a:pt x="154" y="531"/>
                        <a:pt x="154" y="531"/>
                      </a:cubicBezTo>
                      <a:cubicBezTo>
                        <a:pt x="153" y="531"/>
                        <a:pt x="152" y="531"/>
                        <a:pt x="152" y="531"/>
                      </a:cubicBezTo>
                      <a:cubicBezTo>
                        <a:pt x="16" y="453"/>
                        <a:pt x="16" y="453"/>
                        <a:pt x="16" y="453"/>
                      </a:cubicBezTo>
                      <a:cubicBezTo>
                        <a:pt x="16" y="452"/>
                        <a:pt x="15" y="452"/>
                        <a:pt x="15" y="451"/>
                      </a:cubicBezTo>
                      <a:cubicBezTo>
                        <a:pt x="15" y="450"/>
                        <a:pt x="16" y="450"/>
                        <a:pt x="16" y="449"/>
                      </a:cubicBezTo>
                      <a:cubicBezTo>
                        <a:pt x="152" y="371"/>
                        <a:pt x="152" y="371"/>
                        <a:pt x="152" y="371"/>
                      </a:cubicBezTo>
                      <a:cubicBezTo>
                        <a:pt x="152" y="371"/>
                        <a:pt x="153" y="371"/>
                        <a:pt x="154" y="371"/>
                      </a:cubicBezTo>
                      <a:cubicBezTo>
                        <a:pt x="166" y="379"/>
                        <a:pt x="166" y="379"/>
                        <a:pt x="166" y="379"/>
                      </a:cubicBezTo>
                      <a:cubicBezTo>
                        <a:pt x="166" y="257"/>
                        <a:pt x="166" y="257"/>
                        <a:pt x="166" y="257"/>
                      </a:cubicBezTo>
                      <a:cubicBezTo>
                        <a:pt x="166" y="257"/>
                        <a:pt x="167" y="256"/>
                        <a:pt x="167" y="256"/>
                      </a:cubicBezTo>
                      <a:cubicBezTo>
                        <a:pt x="168" y="255"/>
                        <a:pt x="169" y="255"/>
                        <a:pt x="169" y="256"/>
                      </a:cubicBezTo>
                      <a:cubicBezTo>
                        <a:pt x="298" y="330"/>
                        <a:pt x="298" y="330"/>
                        <a:pt x="298" y="330"/>
                      </a:cubicBezTo>
                      <a:cubicBezTo>
                        <a:pt x="299" y="330"/>
                        <a:pt x="299" y="331"/>
                        <a:pt x="299" y="332"/>
                      </a:cubicBezTo>
                      <a:cubicBezTo>
                        <a:pt x="299" y="377"/>
                        <a:pt x="299" y="377"/>
                        <a:pt x="299" y="377"/>
                      </a:cubicBezTo>
                      <a:cubicBezTo>
                        <a:pt x="339" y="354"/>
                        <a:pt x="339" y="354"/>
                        <a:pt x="339" y="354"/>
                      </a:cubicBezTo>
                      <a:cubicBezTo>
                        <a:pt x="339" y="353"/>
                        <a:pt x="339" y="353"/>
                        <a:pt x="339" y="353"/>
                      </a:cubicBezTo>
                      <a:cubicBezTo>
                        <a:pt x="339" y="353"/>
                        <a:pt x="339" y="352"/>
                        <a:pt x="340" y="352"/>
                      </a:cubicBezTo>
                      <a:cubicBezTo>
                        <a:pt x="428" y="301"/>
                        <a:pt x="428" y="301"/>
                        <a:pt x="428" y="301"/>
                      </a:cubicBezTo>
                      <a:cubicBezTo>
                        <a:pt x="428" y="228"/>
                        <a:pt x="428" y="228"/>
                        <a:pt x="428" y="228"/>
                      </a:cubicBezTo>
                      <a:cubicBezTo>
                        <a:pt x="417" y="221"/>
                        <a:pt x="417" y="221"/>
                        <a:pt x="417" y="221"/>
                      </a:cubicBezTo>
                      <a:cubicBezTo>
                        <a:pt x="417" y="221"/>
                        <a:pt x="416" y="220"/>
                        <a:pt x="416" y="220"/>
                      </a:cubicBezTo>
                      <a:cubicBezTo>
                        <a:pt x="416" y="219"/>
                        <a:pt x="417" y="218"/>
                        <a:pt x="417" y="218"/>
                      </a:cubicBezTo>
                      <a:cubicBezTo>
                        <a:pt x="552" y="140"/>
                        <a:pt x="552" y="140"/>
                        <a:pt x="552" y="140"/>
                      </a:cubicBezTo>
                      <a:cubicBezTo>
                        <a:pt x="553" y="140"/>
                        <a:pt x="554" y="140"/>
                        <a:pt x="554" y="140"/>
                      </a:cubicBezTo>
                      <a:cubicBezTo>
                        <a:pt x="582" y="156"/>
                        <a:pt x="582" y="156"/>
                        <a:pt x="582" y="156"/>
                      </a:cubicBezTo>
                      <a:cubicBezTo>
                        <a:pt x="582" y="73"/>
                        <a:pt x="582" y="73"/>
                        <a:pt x="582" y="73"/>
                      </a:cubicBezTo>
                      <a:cubicBezTo>
                        <a:pt x="582" y="72"/>
                        <a:pt x="582" y="71"/>
                        <a:pt x="583" y="71"/>
                      </a:cubicBezTo>
                      <a:cubicBezTo>
                        <a:pt x="583" y="70"/>
                        <a:pt x="584" y="70"/>
                        <a:pt x="585" y="71"/>
                      </a:cubicBezTo>
                      <a:cubicBezTo>
                        <a:pt x="706" y="141"/>
                        <a:pt x="706" y="141"/>
                        <a:pt x="706" y="141"/>
                      </a:cubicBezTo>
                      <a:cubicBezTo>
                        <a:pt x="731" y="126"/>
                        <a:pt x="731" y="126"/>
                        <a:pt x="731" y="126"/>
                      </a:cubicBezTo>
                      <a:cubicBezTo>
                        <a:pt x="697" y="106"/>
                        <a:pt x="697" y="106"/>
                        <a:pt x="697" y="106"/>
                      </a:cubicBezTo>
                      <a:cubicBezTo>
                        <a:pt x="696" y="105"/>
                        <a:pt x="696" y="105"/>
                        <a:pt x="696" y="104"/>
                      </a:cubicBezTo>
                      <a:cubicBezTo>
                        <a:pt x="696" y="103"/>
                        <a:pt x="696" y="103"/>
                        <a:pt x="697" y="102"/>
                      </a:cubicBezTo>
                      <a:cubicBezTo>
                        <a:pt x="776" y="57"/>
                        <a:pt x="776" y="57"/>
                        <a:pt x="776" y="57"/>
                      </a:cubicBezTo>
                      <a:cubicBezTo>
                        <a:pt x="776" y="56"/>
                        <a:pt x="777" y="56"/>
                        <a:pt x="778" y="57"/>
                      </a:cubicBezTo>
                      <a:cubicBezTo>
                        <a:pt x="814" y="78"/>
                        <a:pt x="814" y="78"/>
                        <a:pt x="814" y="78"/>
                      </a:cubicBezTo>
                      <a:cubicBezTo>
                        <a:pt x="827" y="71"/>
                        <a:pt x="827" y="71"/>
                        <a:pt x="827" y="71"/>
                      </a:cubicBezTo>
                      <a:cubicBezTo>
                        <a:pt x="827" y="70"/>
                        <a:pt x="828" y="70"/>
                        <a:pt x="829" y="71"/>
                      </a:cubicBezTo>
                      <a:cubicBezTo>
                        <a:pt x="829" y="71"/>
                        <a:pt x="830" y="72"/>
                        <a:pt x="830" y="73"/>
                      </a:cubicBezTo>
                      <a:cubicBezTo>
                        <a:pt x="830" y="87"/>
                        <a:pt x="830" y="87"/>
                        <a:pt x="830" y="87"/>
                      </a:cubicBezTo>
                      <a:cubicBezTo>
                        <a:pt x="857" y="102"/>
                        <a:pt x="857" y="102"/>
                        <a:pt x="857" y="102"/>
                      </a:cubicBezTo>
                      <a:cubicBezTo>
                        <a:pt x="857" y="103"/>
                        <a:pt x="858" y="103"/>
                        <a:pt x="858" y="104"/>
                      </a:cubicBezTo>
                      <a:cubicBezTo>
                        <a:pt x="858" y="105"/>
                        <a:pt x="857" y="105"/>
                        <a:pt x="857" y="106"/>
                      </a:cubicBezTo>
                      <a:cubicBezTo>
                        <a:pt x="830" y="121"/>
                        <a:pt x="830" y="121"/>
                        <a:pt x="830" y="121"/>
                      </a:cubicBezTo>
                      <a:cubicBezTo>
                        <a:pt x="830" y="214"/>
                        <a:pt x="830" y="214"/>
                        <a:pt x="830" y="214"/>
                      </a:cubicBezTo>
                      <a:cubicBezTo>
                        <a:pt x="830" y="215"/>
                        <a:pt x="829" y="216"/>
                        <a:pt x="829" y="216"/>
                      </a:cubicBezTo>
                      <a:cubicBezTo>
                        <a:pt x="827" y="217"/>
                        <a:pt x="827" y="217"/>
                        <a:pt x="827" y="217"/>
                      </a:cubicBezTo>
                      <a:cubicBezTo>
                        <a:pt x="829" y="219"/>
                        <a:pt x="829" y="219"/>
                        <a:pt x="829" y="219"/>
                      </a:cubicBezTo>
                      <a:cubicBezTo>
                        <a:pt x="829" y="219"/>
                        <a:pt x="829" y="219"/>
                        <a:pt x="829" y="219"/>
                      </a:cubicBezTo>
                      <a:cubicBezTo>
                        <a:pt x="880" y="190"/>
                        <a:pt x="880" y="190"/>
                        <a:pt x="880" y="190"/>
                      </a:cubicBezTo>
                      <a:cubicBezTo>
                        <a:pt x="880" y="190"/>
                        <a:pt x="881" y="190"/>
                        <a:pt x="882" y="190"/>
                      </a:cubicBezTo>
                      <a:cubicBezTo>
                        <a:pt x="882" y="190"/>
                        <a:pt x="883" y="191"/>
                        <a:pt x="883" y="192"/>
                      </a:cubicBezTo>
                      <a:cubicBezTo>
                        <a:pt x="883" y="258"/>
                        <a:pt x="883" y="258"/>
                        <a:pt x="883" y="258"/>
                      </a:cubicBezTo>
                      <a:cubicBezTo>
                        <a:pt x="885" y="257"/>
                        <a:pt x="885" y="257"/>
                        <a:pt x="885" y="257"/>
                      </a:cubicBezTo>
                      <a:cubicBezTo>
                        <a:pt x="885" y="248"/>
                        <a:pt x="885" y="248"/>
                        <a:pt x="885" y="248"/>
                      </a:cubicBezTo>
                      <a:cubicBezTo>
                        <a:pt x="885" y="247"/>
                        <a:pt x="885" y="246"/>
                        <a:pt x="886" y="246"/>
                      </a:cubicBezTo>
                      <a:cubicBezTo>
                        <a:pt x="886" y="245"/>
                        <a:pt x="887" y="245"/>
                        <a:pt x="888" y="246"/>
                      </a:cubicBezTo>
                      <a:cubicBezTo>
                        <a:pt x="945" y="279"/>
                        <a:pt x="945" y="279"/>
                        <a:pt x="945" y="279"/>
                      </a:cubicBezTo>
                      <a:cubicBezTo>
                        <a:pt x="945" y="160"/>
                        <a:pt x="945" y="160"/>
                        <a:pt x="945" y="160"/>
                      </a:cubicBezTo>
                      <a:cubicBezTo>
                        <a:pt x="929" y="150"/>
                        <a:pt x="929" y="150"/>
                        <a:pt x="929" y="150"/>
                      </a:cubicBezTo>
                      <a:cubicBezTo>
                        <a:pt x="928" y="150"/>
                        <a:pt x="928" y="149"/>
                        <a:pt x="928" y="149"/>
                      </a:cubicBezTo>
                      <a:cubicBezTo>
                        <a:pt x="928" y="148"/>
                        <a:pt x="928" y="147"/>
                        <a:pt x="929" y="147"/>
                      </a:cubicBezTo>
                      <a:cubicBezTo>
                        <a:pt x="1056" y="74"/>
                        <a:pt x="1056" y="74"/>
                        <a:pt x="1056" y="74"/>
                      </a:cubicBezTo>
                      <a:cubicBezTo>
                        <a:pt x="1056" y="37"/>
                        <a:pt x="1056" y="37"/>
                        <a:pt x="1056" y="37"/>
                      </a:cubicBezTo>
                      <a:cubicBezTo>
                        <a:pt x="1056" y="37"/>
                        <a:pt x="1056" y="36"/>
                        <a:pt x="1057" y="36"/>
                      </a:cubicBezTo>
                      <a:cubicBezTo>
                        <a:pt x="1057" y="35"/>
                        <a:pt x="1058" y="35"/>
                        <a:pt x="1059" y="36"/>
                      </a:cubicBezTo>
                      <a:cubicBezTo>
                        <a:pt x="1187" y="110"/>
                        <a:pt x="1187" y="110"/>
                        <a:pt x="1187" y="110"/>
                      </a:cubicBezTo>
                      <a:cubicBezTo>
                        <a:pt x="1188" y="110"/>
                        <a:pt x="1188" y="111"/>
                        <a:pt x="1188" y="112"/>
                      </a:cubicBezTo>
                      <a:cubicBezTo>
                        <a:pt x="1188" y="115"/>
                        <a:pt x="1188" y="115"/>
                        <a:pt x="1188" y="115"/>
                      </a:cubicBezTo>
                      <a:cubicBezTo>
                        <a:pt x="1206" y="125"/>
                        <a:pt x="1206" y="125"/>
                        <a:pt x="1206" y="125"/>
                      </a:cubicBezTo>
                      <a:cubicBezTo>
                        <a:pt x="1206" y="79"/>
                        <a:pt x="1206" y="79"/>
                        <a:pt x="1206" y="79"/>
                      </a:cubicBezTo>
                      <a:cubicBezTo>
                        <a:pt x="1206" y="78"/>
                        <a:pt x="1206" y="78"/>
                        <a:pt x="1207" y="77"/>
                      </a:cubicBezTo>
                      <a:cubicBezTo>
                        <a:pt x="1340" y="0"/>
                        <a:pt x="1340" y="0"/>
                        <a:pt x="1340" y="0"/>
                      </a:cubicBezTo>
                      <a:cubicBezTo>
                        <a:pt x="1340" y="0"/>
                        <a:pt x="1341" y="0"/>
                        <a:pt x="1342" y="0"/>
                      </a:cubicBezTo>
                      <a:cubicBezTo>
                        <a:pt x="1342" y="1"/>
                        <a:pt x="1343" y="1"/>
                        <a:pt x="1343" y="2"/>
                      </a:cubicBezTo>
                      <a:cubicBezTo>
                        <a:pt x="1343" y="147"/>
                        <a:pt x="1343" y="147"/>
                        <a:pt x="1343" y="147"/>
                      </a:cubicBezTo>
                      <a:cubicBezTo>
                        <a:pt x="1354" y="140"/>
                        <a:pt x="1354" y="140"/>
                        <a:pt x="1354" y="140"/>
                      </a:cubicBezTo>
                      <a:cubicBezTo>
                        <a:pt x="1355" y="140"/>
                        <a:pt x="1356" y="140"/>
                        <a:pt x="1356" y="140"/>
                      </a:cubicBezTo>
                      <a:cubicBezTo>
                        <a:pt x="1491" y="218"/>
                        <a:pt x="1491" y="218"/>
                        <a:pt x="1491" y="218"/>
                      </a:cubicBezTo>
                      <a:cubicBezTo>
                        <a:pt x="1492" y="218"/>
                        <a:pt x="1492" y="219"/>
                        <a:pt x="1492" y="220"/>
                      </a:cubicBezTo>
                      <a:cubicBezTo>
                        <a:pt x="1492" y="220"/>
                        <a:pt x="1492" y="221"/>
                        <a:pt x="1491" y="221"/>
                      </a:cubicBezTo>
                      <a:cubicBezTo>
                        <a:pt x="1356" y="300"/>
                        <a:pt x="1356" y="300"/>
                        <a:pt x="1356" y="300"/>
                      </a:cubicBezTo>
                      <a:cubicBezTo>
                        <a:pt x="1356" y="300"/>
                        <a:pt x="1355" y="300"/>
                        <a:pt x="1354" y="300"/>
                      </a:cubicBezTo>
                      <a:cubicBezTo>
                        <a:pt x="1225" y="225"/>
                        <a:pt x="1225" y="225"/>
                        <a:pt x="1225" y="225"/>
                      </a:cubicBezTo>
                      <a:cubicBezTo>
                        <a:pt x="1211" y="233"/>
                        <a:pt x="1211" y="233"/>
                        <a:pt x="1211" y="233"/>
                      </a:cubicBezTo>
                      <a:cubicBezTo>
                        <a:pt x="1211" y="270"/>
                        <a:pt x="1211" y="270"/>
                        <a:pt x="1211" y="270"/>
                      </a:cubicBezTo>
                      <a:cubicBezTo>
                        <a:pt x="1314" y="330"/>
                        <a:pt x="1314" y="330"/>
                        <a:pt x="1314" y="330"/>
                      </a:cubicBezTo>
                      <a:cubicBezTo>
                        <a:pt x="1315" y="330"/>
                        <a:pt x="1315" y="331"/>
                        <a:pt x="1315" y="332"/>
                      </a:cubicBezTo>
                      <a:cubicBezTo>
                        <a:pt x="1315" y="349"/>
                        <a:pt x="1315" y="349"/>
                        <a:pt x="1315" y="349"/>
                      </a:cubicBezTo>
                      <a:cubicBezTo>
                        <a:pt x="1433" y="281"/>
                        <a:pt x="1433" y="281"/>
                        <a:pt x="1433" y="281"/>
                      </a:cubicBezTo>
                      <a:cubicBezTo>
                        <a:pt x="1434" y="280"/>
                        <a:pt x="1434" y="280"/>
                        <a:pt x="1435" y="281"/>
                      </a:cubicBezTo>
                      <a:cubicBezTo>
                        <a:pt x="1436" y="281"/>
                        <a:pt x="1436" y="282"/>
                        <a:pt x="1436" y="283"/>
                      </a:cubicBezTo>
                      <a:cubicBezTo>
                        <a:pt x="1436" y="401"/>
                        <a:pt x="1436" y="401"/>
                        <a:pt x="1436" y="401"/>
                      </a:cubicBezTo>
                      <a:cubicBezTo>
                        <a:pt x="1488" y="371"/>
                        <a:pt x="1488" y="371"/>
                        <a:pt x="1488" y="371"/>
                      </a:cubicBezTo>
                      <a:cubicBezTo>
                        <a:pt x="1488" y="371"/>
                        <a:pt x="1489" y="371"/>
                        <a:pt x="1490" y="371"/>
                      </a:cubicBezTo>
                      <a:cubicBezTo>
                        <a:pt x="1558" y="411"/>
                        <a:pt x="1558" y="411"/>
                        <a:pt x="1558" y="411"/>
                      </a:cubicBezTo>
                      <a:cubicBezTo>
                        <a:pt x="1559" y="411"/>
                        <a:pt x="1559" y="412"/>
                        <a:pt x="1559" y="413"/>
                      </a:cubicBezTo>
                      <a:cubicBezTo>
                        <a:pt x="1559" y="413"/>
                        <a:pt x="1559" y="414"/>
                        <a:pt x="1558" y="414"/>
                      </a:cubicBezTo>
                      <a:cubicBezTo>
                        <a:pt x="1540" y="425"/>
                        <a:pt x="1540" y="425"/>
                        <a:pt x="1540" y="425"/>
                      </a:cubicBezTo>
                      <a:cubicBezTo>
                        <a:pt x="1540" y="460"/>
                        <a:pt x="1540" y="460"/>
                        <a:pt x="1540" y="460"/>
                      </a:cubicBezTo>
                      <a:cubicBezTo>
                        <a:pt x="1569" y="477"/>
                        <a:pt x="1569" y="477"/>
                        <a:pt x="1569" y="477"/>
                      </a:cubicBezTo>
                      <a:cubicBezTo>
                        <a:pt x="1569" y="477"/>
                        <a:pt x="1570" y="478"/>
                        <a:pt x="1570" y="478"/>
                      </a:cubicBezTo>
                      <a:cubicBezTo>
                        <a:pt x="1570" y="550"/>
                        <a:pt x="1570" y="550"/>
                        <a:pt x="1570" y="550"/>
                      </a:cubicBezTo>
                      <a:cubicBezTo>
                        <a:pt x="1602" y="531"/>
                        <a:pt x="1602" y="531"/>
                        <a:pt x="1602" y="531"/>
                      </a:cubicBezTo>
                      <a:cubicBezTo>
                        <a:pt x="1603" y="531"/>
                        <a:pt x="1604" y="531"/>
                        <a:pt x="1604" y="531"/>
                      </a:cubicBezTo>
                      <a:cubicBezTo>
                        <a:pt x="1605" y="532"/>
                        <a:pt x="1605" y="532"/>
                        <a:pt x="1605" y="533"/>
                      </a:cubicBezTo>
                      <a:cubicBezTo>
                        <a:pt x="1605" y="611"/>
                        <a:pt x="1605" y="611"/>
                        <a:pt x="1605" y="611"/>
                      </a:cubicBezTo>
                      <a:cubicBezTo>
                        <a:pt x="1605" y="612"/>
                        <a:pt x="1605" y="612"/>
                        <a:pt x="1604" y="613"/>
                      </a:cubicBezTo>
                      <a:cubicBezTo>
                        <a:pt x="1595" y="618"/>
                        <a:pt x="1595" y="618"/>
                        <a:pt x="1595" y="618"/>
                      </a:cubicBezTo>
                      <a:cubicBezTo>
                        <a:pt x="1630" y="638"/>
                        <a:pt x="1630" y="638"/>
                        <a:pt x="1630" y="638"/>
                      </a:cubicBezTo>
                      <a:cubicBezTo>
                        <a:pt x="1631" y="639"/>
                        <a:pt x="1631" y="639"/>
                        <a:pt x="1631" y="640"/>
                      </a:cubicBezTo>
                      <a:cubicBezTo>
                        <a:pt x="1631" y="641"/>
                        <a:pt x="1631" y="641"/>
                        <a:pt x="1630" y="642"/>
                      </a:cubicBezTo>
                      <a:cubicBezTo>
                        <a:pt x="1551" y="687"/>
                        <a:pt x="1551" y="687"/>
                        <a:pt x="1551" y="687"/>
                      </a:cubicBezTo>
                      <a:cubicBezTo>
                        <a:pt x="1551" y="688"/>
                        <a:pt x="1550" y="688"/>
                        <a:pt x="1549" y="687"/>
                      </a:cubicBezTo>
                      <a:cubicBezTo>
                        <a:pt x="1470" y="642"/>
                        <a:pt x="1470" y="642"/>
                        <a:pt x="1470" y="642"/>
                      </a:cubicBezTo>
                      <a:cubicBezTo>
                        <a:pt x="1470" y="641"/>
                        <a:pt x="1469" y="641"/>
                        <a:pt x="1469" y="640"/>
                      </a:cubicBezTo>
                      <a:cubicBezTo>
                        <a:pt x="1469" y="639"/>
                        <a:pt x="1470" y="639"/>
                        <a:pt x="1470" y="638"/>
                      </a:cubicBezTo>
                      <a:cubicBezTo>
                        <a:pt x="1507" y="617"/>
                        <a:pt x="1507" y="617"/>
                        <a:pt x="1507" y="617"/>
                      </a:cubicBezTo>
                      <a:cubicBezTo>
                        <a:pt x="1485" y="604"/>
                        <a:pt x="1485" y="604"/>
                        <a:pt x="1485" y="604"/>
                      </a:cubicBezTo>
                      <a:cubicBezTo>
                        <a:pt x="1484" y="603"/>
                        <a:pt x="1484" y="603"/>
                        <a:pt x="1484" y="602"/>
                      </a:cubicBezTo>
                      <a:cubicBezTo>
                        <a:pt x="1484" y="534"/>
                        <a:pt x="1484" y="534"/>
                        <a:pt x="1484" y="534"/>
                      </a:cubicBezTo>
                      <a:cubicBezTo>
                        <a:pt x="1474" y="540"/>
                        <a:pt x="1474" y="540"/>
                        <a:pt x="1474" y="540"/>
                      </a:cubicBezTo>
                      <a:cubicBezTo>
                        <a:pt x="1474" y="611"/>
                        <a:pt x="1474" y="611"/>
                        <a:pt x="1474" y="611"/>
                      </a:cubicBezTo>
                      <a:cubicBezTo>
                        <a:pt x="1474" y="612"/>
                        <a:pt x="1474" y="612"/>
                        <a:pt x="1473" y="613"/>
                      </a:cubicBezTo>
                      <a:cubicBezTo>
                        <a:pt x="1423" y="641"/>
                        <a:pt x="1423" y="641"/>
                        <a:pt x="1423" y="641"/>
                      </a:cubicBezTo>
                      <a:cubicBezTo>
                        <a:pt x="1484" y="676"/>
                        <a:pt x="1484" y="676"/>
                        <a:pt x="1484" y="676"/>
                      </a:cubicBezTo>
                      <a:cubicBezTo>
                        <a:pt x="1484" y="676"/>
                        <a:pt x="1484" y="675"/>
                        <a:pt x="1485" y="675"/>
                      </a:cubicBezTo>
                      <a:cubicBezTo>
                        <a:pt x="1485" y="674"/>
                        <a:pt x="1486" y="674"/>
                        <a:pt x="1487" y="675"/>
                      </a:cubicBezTo>
                      <a:cubicBezTo>
                        <a:pt x="1604" y="742"/>
                        <a:pt x="1604" y="742"/>
                        <a:pt x="1604" y="742"/>
                      </a:cubicBezTo>
                      <a:cubicBezTo>
                        <a:pt x="1675" y="701"/>
                        <a:pt x="1675" y="701"/>
                        <a:pt x="1675" y="701"/>
                      </a:cubicBezTo>
                      <a:cubicBezTo>
                        <a:pt x="1676" y="700"/>
                        <a:pt x="1677" y="700"/>
                        <a:pt x="1677" y="701"/>
                      </a:cubicBezTo>
                      <a:cubicBezTo>
                        <a:pt x="1678" y="701"/>
                        <a:pt x="1678" y="702"/>
                        <a:pt x="1678" y="703"/>
                      </a:cubicBezTo>
                      <a:cubicBezTo>
                        <a:pt x="1678" y="844"/>
                        <a:pt x="1678" y="844"/>
                        <a:pt x="1678" y="844"/>
                      </a:cubicBezTo>
                      <a:cubicBezTo>
                        <a:pt x="1678" y="845"/>
                        <a:pt x="1678" y="846"/>
                        <a:pt x="1677" y="846"/>
                      </a:cubicBezTo>
                      <a:cubicBezTo>
                        <a:pt x="1621" y="879"/>
                        <a:pt x="1621" y="879"/>
                        <a:pt x="1621" y="879"/>
                      </a:cubicBezTo>
                      <a:cubicBezTo>
                        <a:pt x="1621" y="908"/>
                        <a:pt x="1621" y="908"/>
                        <a:pt x="1621" y="908"/>
                      </a:cubicBezTo>
                      <a:cubicBezTo>
                        <a:pt x="1621" y="908"/>
                        <a:pt x="1621" y="909"/>
                        <a:pt x="1620" y="909"/>
                      </a:cubicBezTo>
                      <a:cubicBezTo>
                        <a:pt x="1620" y="910"/>
                        <a:pt x="1619" y="910"/>
                        <a:pt x="1618" y="909"/>
                      </a:cubicBezTo>
                      <a:cubicBezTo>
                        <a:pt x="1593" y="895"/>
                        <a:pt x="1593" y="895"/>
                        <a:pt x="1593" y="895"/>
                      </a:cubicBezTo>
                      <a:cubicBezTo>
                        <a:pt x="1557" y="916"/>
                        <a:pt x="1557" y="916"/>
                        <a:pt x="1557" y="916"/>
                      </a:cubicBezTo>
                      <a:cubicBezTo>
                        <a:pt x="1557" y="1054"/>
                        <a:pt x="1557" y="1054"/>
                        <a:pt x="1557" y="1054"/>
                      </a:cubicBezTo>
                      <a:cubicBezTo>
                        <a:pt x="1557" y="1055"/>
                        <a:pt x="1557" y="1056"/>
                        <a:pt x="1556" y="1056"/>
                      </a:cubicBezTo>
                      <a:cubicBezTo>
                        <a:pt x="1448" y="1119"/>
                        <a:pt x="1448" y="1119"/>
                        <a:pt x="1448" y="1119"/>
                      </a:cubicBezTo>
                      <a:cubicBezTo>
                        <a:pt x="1459" y="1125"/>
                        <a:pt x="1459" y="1125"/>
                        <a:pt x="1459" y="1125"/>
                      </a:cubicBezTo>
                      <a:cubicBezTo>
                        <a:pt x="1503" y="1099"/>
                        <a:pt x="1503" y="1099"/>
                        <a:pt x="1503" y="1099"/>
                      </a:cubicBezTo>
                      <a:cubicBezTo>
                        <a:pt x="1504" y="1099"/>
                        <a:pt x="1504" y="1099"/>
                        <a:pt x="1505" y="1099"/>
                      </a:cubicBezTo>
                      <a:cubicBezTo>
                        <a:pt x="1506" y="1100"/>
                        <a:pt x="1506" y="1100"/>
                        <a:pt x="1506" y="1101"/>
                      </a:cubicBezTo>
                      <a:cubicBezTo>
                        <a:pt x="1506" y="1160"/>
                        <a:pt x="1506" y="1160"/>
                        <a:pt x="1506" y="1160"/>
                      </a:cubicBezTo>
                      <a:cubicBezTo>
                        <a:pt x="1515" y="1166"/>
                        <a:pt x="1515" y="1166"/>
                        <a:pt x="1515" y="1166"/>
                      </a:cubicBezTo>
                      <a:cubicBezTo>
                        <a:pt x="1516" y="1166"/>
                        <a:pt x="1516" y="1167"/>
                        <a:pt x="1516" y="1167"/>
                      </a:cubicBezTo>
                      <a:cubicBezTo>
                        <a:pt x="1516" y="1168"/>
                        <a:pt x="1516" y="1169"/>
                        <a:pt x="1515" y="1169"/>
                      </a:cubicBezTo>
                      <a:cubicBezTo>
                        <a:pt x="1506" y="1175"/>
                        <a:pt x="1506" y="1175"/>
                        <a:pt x="1506" y="1175"/>
                      </a:cubicBezTo>
                      <a:cubicBezTo>
                        <a:pt x="1506" y="1176"/>
                        <a:pt x="1506" y="1176"/>
                        <a:pt x="1506" y="1176"/>
                      </a:cubicBezTo>
                      <a:cubicBezTo>
                        <a:pt x="1506" y="1177"/>
                        <a:pt x="1506" y="1178"/>
                        <a:pt x="1505" y="1178"/>
                      </a:cubicBezTo>
                      <a:cubicBezTo>
                        <a:pt x="1474" y="1196"/>
                        <a:pt x="1474" y="1196"/>
                        <a:pt x="1474" y="1196"/>
                      </a:cubicBezTo>
                      <a:cubicBezTo>
                        <a:pt x="1474" y="1216"/>
                        <a:pt x="1474" y="1216"/>
                        <a:pt x="1474" y="1216"/>
                      </a:cubicBezTo>
                      <a:cubicBezTo>
                        <a:pt x="1539" y="1253"/>
                        <a:pt x="1539" y="1253"/>
                        <a:pt x="1539" y="1253"/>
                      </a:cubicBezTo>
                      <a:cubicBezTo>
                        <a:pt x="1539" y="1253"/>
                        <a:pt x="1540" y="1254"/>
                        <a:pt x="1540" y="1255"/>
                      </a:cubicBezTo>
                      <a:cubicBezTo>
                        <a:pt x="1540" y="1333"/>
                        <a:pt x="1540" y="1333"/>
                        <a:pt x="1540" y="1333"/>
                      </a:cubicBezTo>
                      <a:cubicBezTo>
                        <a:pt x="1540" y="1333"/>
                        <a:pt x="1539" y="1334"/>
                        <a:pt x="1539" y="1334"/>
                      </a:cubicBezTo>
                      <a:cubicBezTo>
                        <a:pt x="1538" y="1335"/>
                        <a:pt x="1537" y="1335"/>
                        <a:pt x="1537" y="1334"/>
                      </a:cubicBezTo>
                      <a:cubicBezTo>
                        <a:pt x="1471" y="1297"/>
                        <a:pt x="1471" y="1297"/>
                        <a:pt x="1471" y="1297"/>
                      </a:cubicBezTo>
                      <a:cubicBezTo>
                        <a:pt x="1340" y="1372"/>
                        <a:pt x="1340" y="1372"/>
                        <a:pt x="1340" y="1372"/>
                      </a:cubicBezTo>
                      <a:cubicBezTo>
                        <a:pt x="1339" y="1373"/>
                        <a:pt x="1339" y="1373"/>
                        <a:pt x="1338" y="1372"/>
                      </a:cubicBezTo>
                      <a:cubicBezTo>
                        <a:pt x="1337" y="1372"/>
                        <a:pt x="1337" y="1371"/>
                        <a:pt x="1337" y="1371"/>
                      </a:cubicBezTo>
                      <a:cubicBezTo>
                        <a:pt x="1337" y="1217"/>
                        <a:pt x="1337" y="1217"/>
                        <a:pt x="1337" y="1217"/>
                      </a:cubicBezTo>
                      <a:cubicBezTo>
                        <a:pt x="1337" y="1216"/>
                        <a:pt x="1337" y="1216"/>
                        <a:pt x="1338" y="1216"/>
                      </a:cubicBezTo>
                      <a:cubicBezTo>
                        <a:pt x="1193" y="1132"/>
                        <a:pt x="1193" y="1132"/>
                        <a:pt x="1193" y="1132"/>
                      </a:cubicBezTo>
                      <a:cubicBezTo>
                        <a:pt x="1193" y="1140"/>
                        <a:pt x="1193" y="1140"/>
                        <a:pt x="1193" y="1140"/>
                      </a:cubicBezTo>
                      <a:cubicBezTo>
                        <a:pt x="1314" y="1210"/>
                        <a:pt x="1314" y="1210"/>
                        <a:pt x="1314" y="1210"/>
                      </a:cubicBezTo>
                      <a:cubicBezTo>
                        <a:pt x="1315" y="1211"/>
                        <a:pt x="1315" y="1211"/>
                        <a:pt x="1315" y="1212"/>
                      </a:cubicBezTo>
                      <a:cubicBezTo>
                        <a:pt x="1315" y="1360"/>
                        <a:pt x="1315" y="1360"/>
                        <a:pt x="1315" y="1360"/>
                      </a:cubicBezTo>
                      <a:cubicBezTo>
                        <a:pt x="1315" y="1361"/>
                        <a:pt x="1315" y="1362"/>
                        <a:pt x="1314" y="1362"/>
                      </a:cubicBezTo>
                      <a:cubicBezTo>
                        <a:pt x="1314" y="1363"/>
                        <a:pt x="1313" y="1363"/>
                        <a:pt x="1312" y="1362"/>
                      </a:cubicBezTo>
                      <a:cubicBezTo>
                        <a:pt x="1184" y="1288"/>
                        <a:pt x="1184" y="1288"/>
                        <a:pt x="1184" y="1288"/>
                      </a:cubicBezTo>
                      <a:cubicBezTo>
                        <a:pt x="1183" y="1288"/>
                        <a:pt x="1183" y="1287"/>
                        <a:pt x="1183" y="1286"/>
                      </a:cubicBezTo>
                      <a:cubicBezTo>
                        <a:pt x="1183" y="1272"/>
                        <a:pt x="1183" y="1272"/>
                        <a:pt x="1183" y="1272"/>
                      </a:cubicBezTo>
                      <a:cubicBezTo>
                        <a:pt x="1094" y="1323"/>
                        <a:pt x="1094" y="1323"/>
                        <a:pt x="1094" y="1323"/>
                      </a:cubicBezTo>
                      <a:cubicBezTo>
                        <a:pt x="1094" y="1365"/>
                        <a:pt x="1094" y="1365"/>
                        <a:pt x="1094" y="1365"/>
                      </a:cubicBezTo>
                      <a:cubicBezTo>
                        <a:pt x="1094" y="1365"/>
                        <a:pt x="1093" y="1366"/>
                        <a:pt x="1093" y="1366"/>
                      </a:cubicBezTo>
                      <a:cubicBezTo>
                        <a:pt x="1092" y="1367"/>
                        <a:pt x="1091" y="1367"/>
                        <a:pt x="1091" y="1366"/>
                      </a:cubicBezTo>
                      <a:cubicBezTo>
                        <a:pt x="1072" y="1356"/>
                        <a:pt x="1072" y="1356"/>
                        <a:pt x="1072" y="1356"/>
                      </a:cubicBezTo>
                      <a:cubicBezTo>
                        <a:pt x="1072" y="1364"/>
                        <a:pt x="1072" y="1364"/>
                        <a:pt x="1072" y="1364"/>
                      </a:cubicBezTo>
                      <a:cubicBezTo>
                        <a:pt x="1091" y="1375"/>
                        <a:pt x="1091" y="1375"/>
                        <a:pt x="1091" y="1375"/>
                      </a:cubicBezTo>
                      <a:cubicBezTo>
                        <a:pt x="1091" y="1375"/>
                        <a:pt x="1092" y="1376"/>
                        <a:pt x="1092" y="1377"/>
                      </a:cubicBezTo>
                      <a:cubicBezTo>
                        <a:pt x="1092" y="1377"/>
                        <a:pt x="1091" y="1378"/>
                        <a:pt x="1091" y="1378"/>
                      </a:cubicBezTo>
                      <a:cubicBezTo>
                        <a:pt x="1072" y="1389"/>
                        <a:pt x="1072" y="1389"/>
                        <a:pt x="1072" y="1389"/>
                      </a:cubicBezTo>
                      <a:cubicBezTo>
                        <a:pt x="1072" y="1474"/>
                        <a:pt x="1072" y="1474"/>
                        <a:pt x="1072" y="1474"/>
                      </a:cubicBezTo>
                      <a:cubicBezTo>
                        <a:pt x="1072" y="1475"/>
                        <a:pt x="1072" y="1476"/>
                        <a:pt x="1071" y="1476"/>
                      </a:cubicBezTo>
                      <a:cubicBezTo>
                        <a:pt x="948" y="1547"/>
                        <a:pt x="948" y="1547"/>
                        <a:pt x="948" y="1547"/>
                      </a:cubicBezTo>
                      <a:cubicBezTo>
                        <a:pt x="948" y="1547"/>
                        <a:pt x="947" y="1547"/>
                        <a:pt x="946" y="1547"/>
                      </a:cubicBezTo>
                      <a:cubicBezTo>
                        <a:pt x="946" y="1547"/>
                        <a:pt x="945" y="1546"/>
                        <a:pt x="945" y="1545"/>
                      </a:cubicBezTo>
                      <a:cubicBezTo>
                        <a:pt x="945" y="1452"/>
                        <a:pt x="945" y="1452"/>
                        <a:pt x="945" y="1452"/>
                      </a:cubicBezTo>
                      <a:cubicBezTo>
                        <a:pt x="934" y="1446"/>
                        <a:pt x="934" y="1446"/>
                        <a:pt x="934" y="1446"/>
                      </a:cubicBezTo>
                      <a:cubicBezTo>
                        <a:pt x="934" y="1581"/>
                        <a:pt x="934" y="1581"/>
                        <a:pt x="934" y="1581"/>
                      </a:cubicBezTo>
                      <a:cubicBezTo>
                        <a:pt x="934" y="1581"/>
                        <a:pt x="934" y="1582"/>
                        <a:pt x="933" y="1582"/>
                      </a:cubicBezTo>
                      <a:cubicBezTo>
                        <a:pt x="933" y="1583"/>
                        <a:pt x="932" y="1583"/>
                        <a:pt x="931" y="1582"/>
                      </a:cubicBezTo>
                      <a:cubicBezTo>
                        <a:pt x="817" y="1516"/>
                        <a:pt x="817" y="1516"/>
                        <a:pt x="817" y="1516"/>
                      </a:cubicBezTo>
                      <a:cubicBezTo>
                        <a:pt x="817" y="1521"/>
                        <a:pt x="817" y="1521"/>
                        <a:pt x="817" y="1521"/>
                      </a:cubicBezTo>
                      <a:cubicBezTo>
                        <a:pt x="817" y="1522"/>
                        <a:pt x="817" y="1523"/>
                        <a:pt x="816" y="1523"/>
                      </a:cubicBezTo>
                      <a:cubicBezTo>
                        <a:pt x="698" y="1591"/>
                        <a:pt x="698" y="1591"/>
                        <a:pt x="698" y="1591"/>
                      </a:cubicBezTo>
                      <a:cubicBezTo>
                        <a:pt x="698" y="1593"/>
                        <a:pt x="698" y="1593"/>
                        <a:pt x="698" y="1593"/>
                      </a:cubicBezTo>
                      <a:cubicBezTo>
                        <a:pt x="698" y="1594"/>
                        <a:pt x="697" y="1594"/>
                        <a:pt x="697" y="1595"/>
                      </a:cubicBezTo>
                      <a:cubicBezTo>
                        <a:pt x="696" y="1595"/>
                        <a:pt x="695" y="1595"/>
                        <a:pt x="695" y="1595"/>
                      </a:cubicBezTo>
                      <a:cubicBezTo>
                        <a:pt x="693" y="1594"/>
                        <a:pt x="693" y="1594"/>
                        <a:pt x="693" y="1594"/>
                      </a:cubicBezTo>
                      <a:cubicBezTo>
                        <a:pt x="686" y="1598"/>
                        <a:pt x="686" y="1598"/>
                        <a:pt x="686" y="1598"/>
                      </a:cubicBezTo>
                      <a:cubicBezTo>
                        <a:pt x="686" y="1749"/>
                        <a:pt x="686" y="1749"/>
                        <a:pt x="686" y="1749"/>
                      </a:cubicBezTo>
                      <a:cubicBezTo>
                        <a:pt x="686" y="1750"/>
                        <a:pt x="685" y="1750"/>
                        <a:pt x="685" y="1751"/>
                      </a:cubicBezTo>
                      <a:cubicBezTo>
                        <a:pt x="552" y="1827"/>
                        <a:pt x="552" y="1827"/>
                        <a:pt x="552" y="1827"/>
                      </a:cubicBezTo>
                      <a:cubicBezTo>
                        <a:pt x="551" y="1828"/>
                        <a:pt x="551" y="1828"/>
                        <a:pt x="551" y="1828"/>
                      </a:cubicBezTo>
                      <a:close/>
                      <a:moveTo>
                        <a:pt x="553" y="1673"/>
                      </a:moveTo>
                      <a:cubicBezTo>
                        <a:pt x="553" y="1822"/>
                        <a:pt x="553" y="1822"/>
                        <a:pt x="553" y="1822"/>
                      </a:cubicBezTo>
                      <a:cubicBezTo>
                        <a:pt x="682" y="1748"/>
                        <a:pt x="682" y="1748"/>
                        <a:pt x="682" y="1748"/>
                      </a:cubicBezTo>
                      <a:cubicBezTo>
                        <a:pt x="682" y="1599"/>
                        <a:pt x="682" y="1599"/>
                        <a:pt x="682" y="1599"/>
                      </a:cubicBezTo>
                      <a:lnTo>
                        <a:pt x="553" y="1673"/>
                      </a:lnTo>
                      <a:close/>
                      <a:moveTo>
                        <a:pt x="446" y="1592"/>
                      </a:moveTo>
                      <a:cubicBezTo>
                        <a:pt x="446" y="1592"/>
                        <a:pt x="447" y="1592"/>
                        <a:pt x="447" y="1592"/>
                      </a:cubicBezTo>
                      <a:cubicBezTo>
                        <a:pt x="482" y="1613"/>
                        <a:pt x="482" y="1613"/>
                        <a:pt x="482" y="1613"/>
                      </a:cubicBezTo>
                      <a:cubicBezTo>
                        <a:pt x="607" y="1540"/>
                        <a:pt x="607" y="1540"/>
                        <a:pt x="607" y="1540"/>
                      </a:cubicBezTo>
                      <a:cubicBezTo>
                        <a:pt x="607" y="1540"/>
                        <a:pt x="608" y="1540"/>
                        <a:pt x="609" y="1540"/>
                      </a:cubicBezTo>
                      <a:cubicBezTo>
                        <a:pt x="683" y="1583"/>
                        <a:pt x="683" y="1583"/>
                        <a:pt x="683" y="1583"/>
                      </a:cubicBezTo>
                      <a:cubicBezTo>
                        <a:pt x="684" y="1584"/>
                        <a:pt x="684" y="1584"/>
                        <a:pt x="684" y="1585"/>
                      </a:cubicBezTo>
                      <a:cubicBezTo>
                        <a:pt x="684" y="1595"/>
                        <a:pt x="684" y="1595"/>
                        <a:pt x="684" y="1595"/>
                      </a:cubicBezTo>
                      <a:cubicBezTo>
                        <a:pt x="692" y="1590"/>
                        <a:pt x="692" y="1590"/>
                        <a:pt x="692" y="1590"/>
                      </a:cubicBezTo>
                      <a:cubicBezTo>
                        <a:pt x="693" y="1590"/>
                        <a:pt x="693" y="1590"/>
                        <a:pt x="694" y="1590"/>
                      </a:cubicBezTo>
                      <a:cubicBezTo>
                        <a:pt x="694" y="1589"/>
                        <a:pt x="694" y="1589"/>
                        <a:pt x="695" y="1588"/>
                      </a:cubicBezTo>
                      <a:cubicBezTo>
                        <a:pt x="813" y="1520"/>
                        <a:pt x="813" y="1520"/>
                        <a:pt x="813" y="1520"/>
                      </a:cubicBezTo>
                      <a:cubicBezTo>
                        <a:pt x="813" y="1513"/>
                        <a:pt x="813" y="1513"/>
                        <a:pt x="813" y="1513"/>
                      </a:cubicBezTo>
                      <a:cubicBezTo>
                        <a:pt x="813" y="1512"/>
                        <a:pt x="813" y="1511"/>
                        <a:pt x="814" y="1511"/>
                      </a:cubicBezTo>
                      <a:cubicBezTo>
                        <a:pt x="815" y="1511"/>
                        <a:pt x="815" y="1511"/>
                        <a:pt x="816" y="1511"/>
                      </a:cubicBezTo>
                      <a:cubicBezTo>
                        <a:pt x="930" y="1577"/>
                        <a:pt x="930" y="1577"/>
                        <a:pt x="930" y="1577"/>
                      </a:cubicBezTo>
                      <a:cubicBezTo>
                        <a:pt x="930" y="1442"/>
                        <a:pt x="930" y="1442"/>
                        <a:pt x="930" y="1442"/>
                      </a:cubicBezTo>
                      <a:cubicBezTo>
                        <a:pt x="930" y="1441"/>
                        <a:pt x="931" y="1441"/>
                        <a:pt x="931" y="1440"/>
                      </a:cubicBezTo>
                      <a:cubicBezTo>
                        <a:pt x="932" y="1440"/>
                        <a:pt x="933" y="1440"/>
                        <a:pt x="933" y="1440"/>
                      </a:cubicBezTo>
                      <a:cubicBezTo>
                        <a:pt x="948" y="1449"/>
                        <a:pt x="948" y="1449"/>
                        <a:pt x="948" y="1449"/>
                      </a:cubicBezTo>
                      <a:cubicBezTo>
                        <a:pt x="949" y="1449"/>
                        <a:pt x="949" y="1450"/>
                        <a:pt x="949" y="1451"/>
                      </a:cubicBezTo>
                      <a:cubicBezTo>
                        <a:pt x="949" y="1542"/>
                        <a:pt x="949" y="1542"/>
                        <a:pt x="949" y="1542"/>
                      </a:cubicBezTo>
                      <a:cubicBezTo>
                        <a:pt x="1068" y="1473"/>
                        <a:pt x="1068" y="1473"/>
                        <a:pt x="1068" y="1473"/>
                      </a:cubicBezTo>
                      <a:cubicBezTo>
                        <a:pt x="1068" y="1388"/>
                        <a:pt x="1068" y="1388"/>
                        <a:pt x="1068" y="1388"/>
                      </a:cubicBezTo>
                      <a:cubicBezTo>
                        <a:pt x="1068" y="1387"/>
                        <a:pt x="1069" y="1387"/>
                        <a:pt x="1069" y="1386"/>
                      </a:cubicBezTo>
                      <a:cubicBezTo>
                        <a:pt x="1086" y="1377"/>
                        <a:pt x="1086" y="1377"/>
                        <a:pt x="1086" y="1377"/>
                      </a:cubicBezTo>
                      <a:cubicBezTo>
                        <a:pt x="1069" y="1367"/>
                        <a:pt x="1069" y="1367"/>
                        <a:pt x="1069" y="1367"/>
                      </a:cubicBezTo>
                      <a:cubicBezTo>
                        <a:pt x="1069" y="1367"/>
                        <a:pt x="1068" y="1366"/>
                        <a:pt x="1068" y="1366"/>
                      </a:cubicBezTo>
                      <a:cubicBezTo>
                        <a:pt x="1068" y="1352"/>
                        <a:pt x="1068" y="1352"/>
                        <a:pt x="1068" y="1352"/>
                      </a:cubicBezTo>
                      <a:cubicBezTo>
                        <a:pt x="1068" y="1352"/>
                        <a:pt x="1069" y="1351"/>
                        <a:pt x="1069" y="1351"/>
                      </a:cubicBezTo>
                      <a:cubicBezTo>
                        <a:pt x="1070" y="1350"/>
                        <a:pt x="1071" y="1350"/>
                        <a:pt x="1071" y="1351"/>
                      </a:cubicBezTo>
                      <a:cubicBezTo>
                        <a:pt x="1090" y="1361"/>
                        <a:pt x="1090" y="1361"/>
                        <a:pt x="1090" y="1361"/>
                      </a:cubicBezTo>
                      <a:cubicBezTo>
                        <a:pt x="1090" y="1322"/>
                        <a:pt x="1090" y="1322"/>
                        <a:pt x="1090" y="1322"/>
                      </a:cubicBezTo>
                      <a:cubicBezTo>
                        <a:pt x="1090" y="1321"/>
                        <a:pt x="1090" y="1321"/>
                        <a:pt x="1091" y="1320"/>
                      </a:cubicBezTo>
                      <a:cubicBezTo>
                        <a:pt x="1184" y="1266"/>
                        <a:pt x="1184" y="1266"/>
                        <a:pt x="1184" y="1266"/>
                      </a:cubicBezTo>
                      <a:cubicBezTo>
                        <a:pt x="1184" y="1266"/>
                        <a:pt x="1185" y="1266"/>
                        <a:pt x="1186" y="1266"/>
                      </a:cubicBezTo>
                      <a:cubicBezTo>
                        <a:pt x="1186" y="1267"/>
                        <a:pt x="1187" y="1267"/>
                        <a:pt x="1187" y="1268"/>
                      </a:cubicBezTo>
                      <a:cubicBezTo>
                        <a:pt x="1187" y="1285"/>
                        <a:pt x="1187" y="1285"/>
                        <a:pt x="1187" y="1285"/>
                      </a:cubicBezTo>
                      <a:cubicBezTo>
                        <a:pt x="1311" y="1357"/>
                        <a:pt x="1311" y="1357"/>
                        <a:pt x="1311" y="1357"/>
                      </a:cubicBezTo>
                      <a:cubicBezTo>
                        <a:pt x="1311" y="1213"/>
                        <a:pt x="1311" y="1213"/>
                        <a:pt x="1311" y="1213"/>
                      </a:cubicBezTo>
                      <a:cubicBezTo>
                        <a:pt x="1190" y="1143"/>
                        <a:pt x="1190" y="1143"/>
                        <a:pt x="1190" y="1143"/>
                      </a:cubicBezTo>
                      <a:cubicBezTo>
                        <a:pt x="1190" y="1143"/>
                        <a:pt x="1189" y="1142"/>
                        <a:pt x="1189" y="1141"/>
                      </a:cubicBezTo>
                      <a:cubicBezTo>
                        <a:pt x="1189" y="1129"/>
                        <a:pt x="1189" y="1129"/>
                        <a:pt x="1189" y="1129"/>
                      </a:cubicBezTo>
                      <a:cubicBezTo>
                        <a:pt x="1189" y="1128"/>
                        <a:pt x="1190" y="1128"/>
                        <a:pt x="1190" y="1127"/>
                      </a:cubicBezTo>
                      <a:cubicBezTo>
                        <a:pt x="1191" y="1127"/>
                        <a:pt x="1192" y="1127"/>
                        <a:pt x="1192" y="1127"/>
                      </a:cubicBezTo>
                      <a:cubicBezTo>
                        <a:pt x="1342" y="1214"/>
                        <a:pt x="1342" y="1214"/>
                        <a:pt x="1342" y="1214"/>
                      </a:cubicBezTo>
                      <a:cubicBezTo>
                        <a:pt x="1343" y="1214"/>
                        <a:pt x="1343" y="1215"/>
                        <a:pt x="1343" y="1216"/>
                      </a:cubicBezTo>
                      <a:cubicBezTo>
                        <a:pt x="1343" y="1216"/>
                        <a:pt x="1343" y="1217"/>
                        <a:pt x="1342" y="1217"/>
                      </a:cubicBezTo>
                      <a:cubicBezTo>
                        <a:pt x="1341" y="1218"/>
                        <a:pt x="1341" y="1218"/>
                        <a:pt x="1341" y="1218"/>
                      </a:cubicBezTo>
                      <a:cubicBezTo>
                        <a:pt x="1341" y="1367"/>
                        <a:pt x="1341" y="1367"/>
                        <a:pt x="1341" y="1367"/>
                      </a:cubicBezTo>
                      <a:cubicBezTo>
                        <a:pt x="1470" y="1292"/>
                        <a:pt x="1470" y="1292"/>
                        <a:pt x="1470" y="1292"/>
                      </a:cubicBezTo>
                      <a:cubicBezTo>
                        <a:pt x="1471" y="1292"/>
                        <a:pt x="1472" y="1292"/>
                        <a:pt x="1472" y="1292"/>
                      </a:cubicBezTo>
                      <a:cubicBezTo>
                        <a:pt x="1536" y="1329"/>
                        <a:pt x="1536" y="1329"/>
                        <a:pt x="1536" y="1329"/>
                      </a:cubicBezTo>
                      <a:cubicBezTo>
                        <a:pt x="1536" y="1256"/>
                        <a:pt x="1536" y="1256"/>
                        <a:pt x="1536" y="1256"/>
                      </a:cubicBezTo>
                      <a:cubicBezTo>
                        <a:pt x="1471" y="1219"/>
                        <a:pt x="1471" y="1219"/>
                        <a:pt x="1471" y="1219"/>
                      </a:cubicBezTo>
                      <a:cubicBezTo>
                        <a:pt x="1470" y="1218"/>
                        <a:pt x="1470" y="1218"/>
                        <a:pt x="1470" y="1217"/>
                      </a:cubicBezTo>
                      <a:cubicBezTo>
                        <a:pt x="1470" y="1195"/>
                        <a:pt x="1470" y="1195"/>
                        <a:pt x="1470" y="1195"/>
                      </a:cubicBezTo>
                      <a:cubicBezTo>
                        <a:pt x="1470" y="1194"/>
                        <a:pt x="1470" y="1193"/>
                        <a:pt x="1471" y="1193"/>
                      </a:cubicBezTo>
                      <a:cubicBezTo>
                        <a:pt x="1502" y="1175"/>
                        <a:pt x="1502" y="1175"/>
                        <a:pt x="1502" y="1175"/>
                      </a:cubicBezTo>
                      <a:cubicBezTo>
                        <a:pt x="1502" y="1173"/>
                        <a:pt x="1502" y="1173"/>
                        <a:pt x="1502" y="1173"/>
                      </a:cubicBezTo>
                      <a:cubicBezTo>
                        <a:pt x="1502" y="1173"/>
                        <a:pt x="1502" y="1172"/>
                        <a:pt x="1503" y="1172"/>
                      </a:cubicBezTo>
                      <a:cubicBezTo>
                        <a:pt x="1510" y="1167"/>
                        <a:pt x="1510" y="1167"/>
                        <a:pt x="1510" y="1167"/>
                      </a:cubicBezTo>
                      <a:cubicBezTo>
                        <a:pt x="1503" y="1163"/>
                        <a:pt x="1503" y="1163"/>
                        <a:pt x="1503" y="1163"/>
                      </a:cubicBezTo>
                      <a:cubicBezTo>
                        <a:pt x="1502" y="1163"/>
                        <a:pt x="1502" y="1162"/>
                        <a:pt x="1502" y="1162"/>
                      </a:cubicBezTo>
                      <a:cubicBezTo>
                        <a:pt x="1502" y="1104"/>
                        <a:pt x="1502" y="1104"/>
                        <a:pt x="1502" y="1104"/>
                      </a:cubicBezTo>
                      <a:cubicBezTo>
                        <a:pt x="1460" y="1129"/>
                        <a:pt x="1460" y="1129"/>
                        <a:pt x="1460" y="1129"/>
                      </a:cubicBezTo>
                      <a:cubicBezTo>
                        <a:pt x="1459" y="1129"/>
                        <a:pt x="1458" y="1129"/>
                        <a:pt x="1458" y="1129"/>
                      </a:cubicBezTo>
                      <a:cubicBezTo>
                        <a:pt x="1443" y="1120"/>
                        <a:pt x="1443" y="1120"/>
                        <a:pt x="1443" y="1120"/>
                      </a:cubicBezTo>
                      <a:cubicBezTo>
                        <a:pt x="1442" y="1120"/>
                        <a:pt x="1442" y="1119"/>
                        <a:pt x="1442" y="1119"/>
                      </a:cubicBezTo>
                      <a:cubicBezTo>
                        <a:pt x="1442" y="1118"/>
                        <a:pt x="1442" y="1117"/>
                        <a:pt x="1443" y="1117"/>
                      </a:cubicBezTo>
                      <a:cubicBezTo>
                        <a:pt x="1553" y="1053"/>
                        <a:pt x="1553" y="1053"/>
                        <a:pt x="1553" y="1053"/>
                      </a:cubicBezTo>
                      <a:cubicBezTo>
                        <a:pt x="1553" y="914"/>
                        <a:pt x="1553" y="914"/>
                        <a:pt x="1553" y="914"/>
                      </a:cubicBezTo>
                      <a:cubicBezTo>
                        <a:pt x="1553" y="914"/>
                        <a:pt x="1554" y="913"/>
                        <a:pt x="1554" y="913"/>
                      </a:cubicBezTo>
                      <a:cubicBezTo>
                        <a:pt x="1592" y="891"/>
                        <a:pt x="1592" y="891"/>
                        <a:pt x="1592" y="891"/>
                      </a:cubicBezTo>
                      <a:cubicBezTo>
                        <a:pt x="1593" y="890"/>
                        <a:pt x="1593" y="890"/>
                        <a:pt x="1594" y="891"/>
                      </a:cubicBezTo>
                      <a:cubicBezTo>
                        <a:pt x="1617" y="904"/>
                        <a:pt x="1617" y="904"/>
                        <a:pt x="1617" y="904"/>
                      </a:cubicBezTo>
                      <a:cubicBezTo>
                        <a:pt x="1617" y="877"/>
                        <a:pt x="1617" y="877"/>
                        <a:pt x="1617" y="877"/>
                      </a:cubicBezTo>
                      <a:cubicBezTo>
                        <a:pt x="1617" y="877"/>
                        <a:pt x="1618" y="876"/>
                        <a:pt x="1618" y="876"/>
                      </a:cubicBezTo>
                      <a:cubicBezTo>
                        <a:pt x="1674" y="843"/>
                        <a:pt x="1674" y="843"/>
                        <a:pt x="1674" y="843"/>
                      </a:cubicBezTo>
                      <a:cubicBezTo>
                        <a:pt x="1674" y="706"/>
                        <a:pt x="1674" y="706"/>
                        <a:pt x="1674" y="706"/>
                      </a:cubicBezTo>
                      <a:cubicBezTo>
                        <a:pt x="1605" y="746"/>
                        <a:pt x="1605" y="746"/>
                        <a:pt x="1605" y="746"/>
                      </a:cubicBezTo>
                      <a:cubicBezTo>
                        <a:pt x="1604" y="747"/>
                        <a:pt x="1603" y="747"/>
                        <a:pt x="1603" y="746"/>
                      </a:cubicBezTo>
                      <a:cubicBezTo>
                        <a:pt x="1488" y="680"/>
                        <a:pt x="1488" y="680"/>
                        <a:pt x="1488" y="680"/>
                      </a:cubicBezTo>
                      <a:cubicBezTo>
                        <a:pt x="1488" y="680"/>
                        <a:pt x="1487" y="681"/>
                        <a:pt x="1487" y="681"/>
                      </a:cubicBezTo>
                      <a:cubicBezTo>
                        <a:pt x="1486" y="682"/>
                        <a:pt x="1485" y="682"/>
                        <a:pt x="1485" y="681"/>
                      </a:cubicBezTo>
                      <a:cubicBezTo>
                        <a:pt x="1418" y="643"/>
                        <a:pt x="1418" y="643"/>
                        <a:pt x="1418" y="643"/>
                      </a:cubicBezTo>
                      <a:cubicBezTo>
                        <a:pt x="1418" y="643"/>
                        <a:pt x="1417" y="642"/>
                        <a:pt x="1417" y="641"/>
                      </a:cubicBezTo>
                      <a:cubicBezTo>
                        <a:pt x="1417" y="641"/>
                        <a:pt x="1418" y="640"/>
                        <a:pt x="1418" y="640"/>
                      </a:cubicBezTo>
                      <a:cubicBezTo>
                        <a:pt x="1470" y="610"/>
                        <a:pt x="1470" y="610"/>
                        <a:pt x="1470" y="610"/>
                      </a:cubicBezTo>
                      <a:cubicBezTo>
                        <a:pt x="1470" y="539"/>
                        <a:pt x="1470" y="539"/>
                        <a:pt x="1470" y="539"/>
                      </a:cubicBezTo>
                      <a:cubicBezTo>
                        <a:pt x="1470" y="538"/>
                        <a:pt x="1470" y="537"/>
                        <a:pt x="1471" y="537"/>
                      </a:cubicBezTo>
                      <a:cubicBezTo>
                        <a:pt x="1485" y="529"/>
                        <a:pt x="1485" y="529"/>
                        <a:pt x="1485" y="529"/>
                      </a:cubicBezTo>
                      <a:cubicBezTo>
                        <a:pt x="1485" y="529"/>
                        <a:pt x="1486" y="529"/>
                        <a:pt x="1487" y="529"/>
                      </a:cubicBezTo>
                      <a:cubicBezTo>
                        <a:pt x="1487" y="530"/>
                        <a:pt x="1488" y="530"/>
                        <a:pt x="1488" y="531"/>
                      </a:cubicBezTo>
                      <a:cubicBezTo>
                        <a:pt x="1488" y="601"/>
                        <a:pt x="1488" y="601"/>
                        <a:pt x="1488" y="601"/>
                      </a:cubicBezTo>
                      <a:cubicBezTo>
                        <a:pt x="1512" y="615"/>
                        <a:pt x="1512" y="615"/>
                        <a:pt x="1512" y="615"/>
                      </a:cubicBezTo>
                      <a:cubicBezTo>
                        <a:pt x="1513" y="615"/>
                        <a:pt x="1513" y="616"/>
                        <a:pt x="1513" y="617"/>
                      </a:cubicBezTo>
                      <a:cubicBezTo>
                        <a:pt x="1513" y="618"/>
                        <a:pt x="1513" y="618"/>
                        <a:pt x="1512" y="619"/>
                      </a:cubicBezTo>
                      <a:cubicBezTo>
                        <a:pt x="1475" y="640"/>
                        <a:pt x="1475" y="640"/>
                        <a:pt x="1475" y="640"/>
                      </a:cubicBezTo>
                      <a:cubicBezTo>
                        <a:pt x="1550" y="683"/>
                        <a:pt x="1550" y="683"/>
                        <a:pt x="1550" y="683"/>
                      </a:cubicBezTo>
                      <a:cubicBezTo>
                        <a:pt x="1625" y="640"/>
                        <a:pt x="1625" y="640"/>
                        <a:pt x="1625" y="640"/>
                      </a:cubicBezTo>
                      <a:cubicBezTo>
                        <a:pt x="1590" y="620"/>
                        <a:pt x="1590" y="620"/>
                        <a:pt x="1590" y="620"/>
                      </a:cubicBezTo>
                      <a:cubicBezTo>
                        <a:pt x="1590" y="619"/>
                        <a:pt x="1589" y="619"/>
                        <a:pt x="1589" y="618"/>
                      </a:cubicBezTo>
                      <a:cubicBezTo>
                        <a:pt x="1589" y="617"/>
                        <a:pt x="1590" y="617"/>
                        <a:pt x="1590" y="616"/>
                      </a:cubicBezTo>
                      <a:cubicBezTo>
                        <a:pt x="1601" y="610"/>
                        <a:pt x="1601" y="610"/>
                        <a:pt x="1601" y="610"/>
                      </a:cubicBezTo>
                      <a:cubicBezTo>
                        <a:pt x="1601" y="537"/>
                        <a:pt x="1601" y="537"/>
                        <a:pt x="1601" y="537"/>
                      </a:cubicBezTo>
                      <a:cubicBezTo>
                        <a:pt x="1553" y="564"/>
                        <a:pt x="1553" y="564"/>
                        <a:pt x="1553" y="564"/>
                      </a:cubicBezTo>
                      <a:cubicBezTo>
                        <a:pt x="1553" y="565"/>
                        <a:pt x="1552" y="565"/>
                        <a:pt x="1551" y="564"/>
                      </a:cubicBezTo>
                      <a:cubicBezTo>
                        <a:pt x="1487" y="527"/>
                        <a:pt x="1487" y="527"/>
                        <a:pt x="1487" y="527"/>
                      </a:cubicBezTo>
                      <a:cubicBezTo>
                        <a:pt x="1487" y="527"/>
                        <a:pt x="1486" y="526"/>
                        <a:pt x="1486" y="526"/>
                      </a:cubicBezTo>
                      <a:cubicBezTo>
                        <a:pt x="1486" y="525"/>
                        <a:pt x="1487" y="524"/>
                        <a:pt x="1487" y="524"/>
                      </a:cubicBezTo>
                      <a:cubicBezTo>
                        <a:pt x="1503" y="515"/>
                        <a:pt x="1503" y="515"/>
                        <a:pt x="1503" y="515"/>
                      </a:cubicBezTo>
                      <a:cubicBezTo>
                        <a:pt x="1503" y="515"/>
                        <a:pt x="1504" y="515"/>
                        <a:pt x="1505" y="515"/>
                      </a:cubicBezTo>
                      <a:cubicBezTo>
                        <a:pt x="1566" y="550"/>
                        <a:pt x="1566" y="550"/>
                        <a:pt x="1566" y="550"/>
                      </a:cubicBezTo>
                      <a:cubicBezTo>
                        <a:pt x="1566" y="480"/>
                        <a:pt x="1566" y="480"/>
                        <a:pt x="1566" y="480"/>
                      </a:cubicBezTo>
                      <a:cubicBezTo>
                        <a:pt x="1537" y="463"/>
                        <a:pt x="1537" y="463"/>
                        <a:pt x="1537" y="463"/>
                      </a:cubicBezTo>
                      <a:cubicBezTo>
                        <a:pt x="1536" y="463"/>
                        <a:pt x="1536" y="462"/>
                        <a:pt x="1536" y="461"/>
                      </a:cubicBezTo>
                      <a:cubicBezTo>
                        <a:pt x="1536" y="424"/>
                        <a:pt x="1536" y="424"/>
                        <a:pt x="1536" y="424"/>
                      </a:cubicBezTo>
                      <a:cubicBezTo>
                        <a:pt x="1536" y="423"/>
                        <a:pt x="1536" y="422"/>
                        <a:pt x="1537" y="422"/>
                      </a:cubicBezTo>
                      <a:cubicBezTo>
                        <a:pt x="1553" y="413"/>
                        <a:pt x="1553" y="413"/>
                        <a:pt x="1553" y="413"/>
                      </a:cubicBezTo>
                      <a:cubicBezTo>
                        <a:pt x="1489" y="375"/>
                        <a:pt x="1489" y="375"/>
                        <a:pt x="1489" y="375"/>
                      </a:cubicBezTo>
                      <a:cubicBezTo>
                        <a:pt x="1435" y="406"/>
                        <a:pt x="1435" y="406"/>
                        <a:pt x="1435" y="406"/>
                      </a:cubicBezTo>
                      <a:cubicBezTo>
                        <a:pt x="1434" y="407"/>
                        <a:pt x="1434" y="407"/>
                        <a:pt x="1433" y="406"/>
                      </a:cubicBezTo>
                      <a:cubicBezTo>
                        <a:pt x="1432" y="406"/>
                        <a:pt x="1432" y="405"/>
                        <a:pt x="1432" y="405"/>
                      </a:cubicBezTo>
                      <a:cubicBezTo>
                        <a:pt x="1432" y="286"/>
                        <a:pt x="1432" y="286"/>
                        <a:pt x="1432" y="286"/>
                      </a:cubicBezTo>
                      <a:cubicBezTo>
                        <a:pt x="1314" y="354"/>
                        <a:pt x="1314" y="354"/>
                        <a:pt x="1314" y="354"/>
                      </a:cubicBezTo>
                      <a:cubicBezTo>
                        <a:pt x="1314" y="354"/>
                        <a:pt x="1313" y="354"/>
                        <a:pt x="1312" y="354"/>
                      </a:cubicBezTo>
                      <a:cubicBezTo>
                        <a:pt x="1312" y="353"/>
                        <a:pt x="1311" y="353"/>
                        <a:pt x="1311" y="352"/>
                      </a:cubicBezTo>
                      <a:cubicBezTo>
                        <a:pt x="1311" y="333"/>
                        <a:pt x="1311" y="333"/>
                        <a:pt x="1311" y="333"/>
                      </a:cubicBezTo>
                      <a:cubicBezTo>
                        <a:pt x="1208" y="273"/>
                        <a:pt x="1208" y="273"/>
                        <a:pt x="1208" y="273"/>
                      </a:cubicBezTo>
                      <a:cubicBezTo>
                        <a:pt x="1208" y="273"/>
                        <a:pt x="1207" y="272"/>
                        <a:pt x="1207" y="271"/>
                      </a:cubicBezTo>
                      <a:cubicBezTo>
                        <a:pt x="1207" y="232"/>
                        <a:pt x="1207" y="232"/>
                        <a:pt x="1207" y="232"/>
                      </a:cubicBezTo>
                      <a:cubicBezTo>
                        <a:pt x="1207" y="231"/>
                        <a:pt x="1208" y="230"/>
                        <a:pt x="1208" y="230"/>
                      </a:cubicBezTo>
                      <a:cubicBezTo>
                        <a:pt x="1224" y="221"/>
                        <a:pt x="1224" y="221"/>
                        <a:pt x="1224" y="221"/>
                      </a:cubicBezTo>
                      <a:cubicBezTo>
                        <a:pt x="1224" y="220"/>
                        <a:pt x="1225" y="220"/>
                        <a:pt x="1226" y="221"/>
                      </a:cubicBezTo>
                      <a:cubicBezTo>
                        <a:pt x="1355" y="295"/>
                        <a:pt x="1355" y="295"/>
                        <a:pt x="1355" y="295"/>
                      </a:cubicBezTo>
                      <a:cubicBezTo>
                        <a:pt x="1486" y="220"/>
                        <a:pt x="1486" y="220"/>
                        <a:pt x="1486" y="220"/>
                      </a:cubicBezTo>
                      <a:cubicBezTo>
                        <a:pt x="1355" y="144"/>
                        <a:pt x="1355" y="144"/>
                        <a:pt x="1355" y="144"/>
                      </a:cubicBezTo>
                      <a:cubicBezTo>
                        <a:pt x="1342" y="152"/>
                        <a:pt x="1342" y="152"/>
                        <a:pt x="1342" y="152"/>
                      </a:cubicBezTo>
                      <a:cubicBezTo>
                        <a:pt x="1341" y="152"/>
                        <a:pt x="1340" y="152"/>
                        <a:pt x="1340" y="152"/>
                      </a:cubicBezTo>
                      <a:cubicBezTo>
                        <a:pt x="1339" y="151"/>
                        <a:pt x="1339" y="151"/>
                        <a:pt x="1339" y="150"/>
                      </a:cubicBezTo>
                      <a:cubicBezTo>
                        <a:pt x="1339" y="6"/>
                        <a:pt x="1339" y="6"/>
                        <a:pt x="1339" y="6"/>
                      </a:cubicBezTo>
                      <a:cubicBezTo>
                        <a:pt x="1210" y="80"/>
                        <a:pt x="1210" y="80"/>
                        <a:pt x="1210" y="80"/>
                      </a:cubicBezTo>
                      <a:cubicBezTo>
                        <a:pt x="1210" y="129"/>
                        <a:pt x="1210" y="129"/>
                        <a:pt x="1210" y="129"/>
                      </a:cubicBezTo>
                      <a:cubicBezTo>
                        <a:pt x="1210" y="129"/>
                        <a:pt x="1209" y="130"/>
                        <a:pt x="1209" y="130"/>
                      </a:cubicBezTo>
                      <a:cubicBezTo>
                        <a:pt x="1208" y="131"/>
                        <a:pt x="1207" y="131"/>
                        <a:pt x="1207" y="130"/>
                      </a:cubicBezTo>
                      <a:cubicBezTo>
                        <a:pt x="1185" y="118"/>
                        <a:pt x="1185" y="118"/>
                        <a:pt x="1185" y="118"/>
                      </a:cubicBezTo>
                      <a:cubicBezTo>
                        <a:pt x="1185" y="118"/>
                        <a:pt x="1184" y="117"/>
                        <a:pt x="1184" y="116"/>
                      </a:cubicBezTo>
                      <a:cubicBezTo>
                        <a:pt x="1184" y="113"/>
                        <a:pt x="1184" y="113"/>
                        <a:pt x="1184" y="113"/>
                      </a:cubicBezTo>
                      <a:cubicBezTo>
                        <a:pt x="1060" y="41"/>
                        <a:pt x="1060" y="41"/>
                        <a:pt x="1060" y="41"/>
                      </a:cubicBezTo>
                      <a:cubicBezTo>
                        <a:pt x="1060" y="75"/>
                        <a:pt x="1060" y="75"/>
                        <a:pt x="1060" y="75"/>
                      </a:cubicBezTo>
                      <a:cubicBezTo>
                        <a:pt x="1060" y="76"/>
                        <a:pt x="1059" y="76"/>
                        <a:pt x="1059" y="77"/>
                      </a:cubicBezTo>
                      <a:cubicBezTo>
                        <a:pt x="934" y="149"/>
                        <a:pt x="934" y="149"/>
                        <a:pt x="934" y="149"/>
                      </a:cubicBezTo>
                      <a:cubicBezTo>
                        <a:pt x="948" y="157"/>
                        <a:pt x="948" y="157"/>
                        <a:pt x="948" y="157"/>
                      </a:cubicBezTo>
                      <a:cubicBezTo>
                        <a:pt x="949" y="157"/>
                        <a:pt x="949" y="158"/>
                        <a:pt x="949" y="159"/>
                      </a:cubicBezTo>
                      <a:cubicBezTo>
                        <a:pt x="949" y="283"/>
                        <a:pt x="949" y="283"/>
                        <a:pt x="949" y="283"/>
                      </a:cubicBezTo>
                      <a:cubicBezTo>
                        <a:pt x="949" y="283"/>
                        <a:pt x="949" y="284"/>
                        <a:pt x="948" y="284"/>
                      </a:cubicBezTo>
                      <a:cubicBezTo>
                        <a:pt x="948" y="285"/>
                        <a:pt x="947" y="285"/>
                        <a:pt x="946" y="284"/>
                      </a:cubicBezTo>
                      <a:cubicBezTo>
                        <a:pt x="889" y="251"/>
                        <a:pt x="889" y="251"/>
                        <a:pt x="889" y="251"/>
                      </a:cubicBezTo>
                      <a:cubicBezTo>
                        <a:pt x="889" y="258"/>
                        <a:pt x="889" y="258"/>
                        <a:pt x="889" y="258"/>
                      </a:cubicBezTo>
                      <a:cubicBezTo>
                        <a:pt x="889" y="259"/>
                        <a:pt x="888" y="259"/>
                        <a:pt x="888" y="260"/>
                      </a:cubicBezTo>
                      <a:cubicBezTo>
                        <a:pt x="882" y="263"/>
                        <a:pt x="882" y="263"/>
                        <a:pt x="882" y="263"/>
                      </a:cubicBezTo>
                      <a:cubicBezTo>
                        <a:pt x="881" y="263"/>
                        <a:pt x="880" y="263"/>
                        <a:pt x="880" y="263"/>
                      </a:cubicBezTo>
                      <a:cubicBezTo>
                        <a:pt x="879" y="263"/>
                        <a:pt x="879" y="262"/>
                        <a:pt x="879" y="261"/>
                      </a:cubicBezTo>
                      <a:cubicBezTo>
                        <a:pt x="879" y="195"/>
                        <a:pt x="879" y="195"/>
                        <a:pt x="879" y="195"/>
                      </a:cubicBezTo>
                      <a:cubicBezTo>
                        <a:pt x="829" y="224"/>
                        <a:pt x="829" y="224"/>
                        <a:pt x="829" y="224"/>
                      </a:cubicBezTo>
                      <a:cubicBezTo>
                        <a:pt x="828" y="224"/>
                        <a:pt x="827" y="224"/>
                        <a:pt x="827" y="224"/>
                      </a:cubicBezTo>
                      <a:cubicBezTo>
                        <a:pt x="826" y="224"/>
                        <a:pt x="826" y="223"/>
                        <a:pt x="826" y="222"/>
                      </a:cubicBezTo>
                      <a:cubicBezTo>
                        <a:pt x="826" y="221"/>
                        <a:pt x="826" y="221"/>
                        <a:pt x="826" y="221"/>
                      </a:cubicBezTo>
                      <a:cubicBezTo>
                        <a:pt x="822" y="219"/>
                        <a:pt x="822" y="219"/>
                        <a:pt x="822" y="219"/>
                      </a:cubicBezTo>
                      <a:cubicBezTo>
                        <a:pt x="821" y="219"/>
                        <a:pt x="821" y="218"/>
                        <a:pt x="821" y="217"/>
                      </a:cubicBezTo>
                      <a:cubicBezTo>
                        <a:pt x="821" y="217"/>
                        <a:pt x="821" y="216"/>
                        <a:pt x="822" y="216"/>
                      </a:cubicBezTo>
                      <a:cubicBezTo>
                        <a:pt x="826" y="213"/>
                        <a:pt x="826" y="213"/>
                        <a:pt x="826" y="213"/>
                      </a:cubicBezTo>
                      <a:cubicBezTo>
                        <a:pt x="826" y="120"/>
                        <a:pt x="826" y="120"/>
                        <a:pt x="826" y="120"/>
                      </a:cubicBezTo>
                      <a:cubicBezTo>
                        <a:pt x="826" y="119"/>
                        <a:pt x="826" y="119"/>
                        <a:pt x="827" y="118"/>
                      </a:cubicBezTo>
                      <a:cubicBezTo>
                        <a:pt x="852" y="104"/>
                        <a:pt x="852" y="104"/>
                        <a:pt x="852" y="104"/>
                      </a:cubicBezTo>
                      <a:cubicBezTo>
                        <a:pt x="827" y="90"/>
                        <a:pt x="827" y="90"/>
                        <a:pt x="827" y="90"/>
                      </a:cubicBezTo>
                      <a:cubicBezTo>
                        <a:pt x="826" y="89"/>
                        <a:pt x="826" y="89"/>
                        <a:pt x="826" y="88"/>
                      </a:cubicBezTo>
                      <a:cubicBezTo>
                        <a:pt x="826" y="76"/>
                        <a:pt x="826" y="76"/>
                        <a:pt x="826" y="76"/>
                      </a:cubicBezTo>
                      <a:cubicBezTo>
                        <a:pt x="815" y="82"/>
                        <a:pt x="815" y="82"/>
                        <a:pt x="815" y="82"/>
                      </a:cubicBezTo>
                      <a:cubicBezTo>
                        <a:pt x="815" y="82"/>
                        <a:pt x="814" y="82"/>
                        <a:pt x="813" y="82"/>
                      </a:cubicBezTo>
                      <a:cubicBezTo>
                        <a:pt x="777" y="61"/>
                        <a:pt x="777" y="61"/>
                        <a:pt x="777" y="61"/>
                      </a:cubicBezTo>
                      <a:cubicBezTo>
                        <a:pt x="702" y="104"/>
                        <a:pt x="702" y="104"/>
                        <a:pt x="702" y="104"/>
                      </a:cubicBezTo>
                      <a:cubicBezTo>
                        <a:pt x="736" y="124"/>
                        <a:pt x="736" y="124"/>
                        <a:pt x="736" y="124"/>
                      </a:cubicBezTo>
                      <a:cubicBezTo>
                        <a:pt x="737" y="124"/>
                        <a:pt x="737" y="125"/>
                        <a:pt x="737" y="126"/>
                      </a:cubicBezTo>
                      <a:cubicBezTo>
                        <a:pt x="737" y="127"/>
                        <a:pt x="737" y="127"/>
                        <a:pt x="736" y="128"/>
                      </a:cubicBezTo>
                      <a:cubicBezTo>
                        <a:pt x="707" y="145"/>
                        <a:pt x="707" y="145"/>
                        <a:pt x="707" y="145"/>
                      </a:cubicBezTo>
                      <a:cubicBezTo>
                        <a:pt x="706" y="145"/>
                        <a:pt x="705" y="145"/>
                        <a:pt x="705" y="145"/>
                      </a:cubicBezTo>
                      <a:cubicBezTo>
                        <a:pt x="586" y="76"/>
                        <a:pt x="586" y="76"/>
                        <a:pt x="586" y="76"/>
                      </a:cubicBezTo>
                      <a:cubicBezTo>
                        <a:pt x="586" y="159"/>
                        <a:pt x="586" y="159"/>
                        <a:pt x="586" y="159"/>
                      </a:cubicBezTo>
                      <a:cubicBezTo>
                        <a:pt x="586" y="160"/>
                        <a:pt x="585" y="160"/>
                        <a:pt x="585" y="161"/>
                      </a:cubicBezTo>
                      <a:cubicBezTo>
                        <a:pt x="584" y="161"/>
                        <a:pt x="583" y="161"/>
                        <a:pt x="583" y="161"/>
                      </a:cubicBezTo>
                      <a:cubicBezTo>
                        <a:pt x="553" y="144"/>
                        <a:pt x="553" y="144"/>
                        <a:pt x="553" y="144"/>
                      </a:cubicBezTo>
                      <a:cubicBezTo>
                        <a:pt x="422" y="220"/>
                        <a:pt x="422" y="220"/>
                        <a:pt x="422" y="220"/>
                      </a:cubicBezTo>
                      <a:cubicBezTo>
                        <a:pt x="431" y="225"/>
                        <a:pt x="431" y="225"/>
                        <a:pt x="431" y="225"/>
                      </a:cubicBezTo>
                      <a:cubicBezTo>
                        <a:pt x="432" y="225"/>
                        <a:pt x="432" y="226"/>
                        <a:pt x="432" y="227"/>
                      </a:cubicBezTo>
                      <a:cubicBezTo>
                        <a:pt x="432" y="302"/>
                        <a:pt x="432" y="302"/>
                        <a:pt x="432" y="302"/>
                      </a:cubicBezTo>
                      <a:cubicBezTo>
                        <a:pt x="432" y="303"/>
                        <a:pt x="432" y="303"/>
                        <a:pt x="431" y="304"/>
                      </a:cubicBezTo>
                      <a:cubicBezTo>
                        <a:pt x="343" y="355"/>
                        <a:pt x="343" y="355"/>
                        <a:pt x="343" y="355"/>
                      </a:cubicBezTo>
                      <a:cubicBezTo>
                        <a:pt x="343" y="355"/>
                        <a:pt x="343" y="355"/>
                        <a:pt x="343" y="355"/>
                      </a:cubicBezTo>
                      <a:cubicBezTo>
                        <a:pt x="343" y="356"/>
                        <a:pt x="343" y="356"/>
                        <a:pt x="342" y="357"/>
                      </a:cubicBezTo>
                      <a:cubicBezTo>
                        <a:pt x="298" y="382"/>
                        <a:pt x="298" y="382"/>
                        <a:pt x="298" y="382"/>
                      </a:cubicBezTo>
                      <a:cubicBezTo>
                        <a:pt x="297" y="382"/>
                        <a:pt x="297" y="382"/>
                        <a:pt x="296" y="382"/>
                      </a:cubicBezTo>
                      <a:cubicBezTo>
                        <a:pt x="295" y="382"/>
                        <a:pt x="295" y="381"/>
                        <a:pt x="295" y="380"/>
                      </a:cubicBezTo>
                      <a:cubicBezTo>
                        <a:pt x="295" y="333"/>
                        <a:pt x="295" y="333"/>
                        <a:pt x="295" y="333"/>
                      </a:cubicBezTo>
                      <a:cubicBezTo>
                        <a:pt x="170" y="261"/>
                        <a:pt x="170" y="261"/>
                        <a:pt x="170" y="261"/>
                      </a:cubicBezTo>
                      <a:cubicBezTo>
                        <a:pt x="170" y="382"/>
                        <a:pt x="170" y="382"/>
                        <a:pt x="170" y="382"/>
                      </a:cubicBezTo>
                      <a:cubicBezTo>
                        <a:pt x="170" y="383"/>
                        <a:pt x="170" y="383"/>
                        <a:pt x="169" y="384"/>
                      </a:cubicBezTo>
                      <a:cubicBezTo>
                        <a:pt x="169" y="384"/>
                        <a:pt x="168" y="384"/>
                        <a:pt x="167" y="384"/>
                      </a:cubicBezTo>
                      <a:cubicBezTo>
                        <a:pt x="153" y="375"/>
                        <a:pt x="153" y="375"/>
                        <a:pt x="153" y="375"/>
                      </a:cubicBezTo>
                      <a:cubicBezTo>
                        <a:pt x="21" y="451"/>
                        <a:pt x="21" y="451"/>
                        <a:pt x="21" y="451"/>
                      </a:cubicBezTo>
                      <a:cubicBezTo>
                        <a:pt x="153" y="527"/>
                        <a:pt x="153" y="527"/>
                        <a:pt x="153" y="527"/>
                      </a:cubicBezTo>
                      <a:cubicBezTo>
                        <a:pt x="266" y="461"/>
                        <a:pt x="266" y="461"/>
                        <a:pt x="266" y="461"/>
                      </a:cubicBezTo>
                      <a:cubicBezTo>
                        <a:pt x="267" y="461"/>
                        <a:pt x="268" y="461"/>
                        <a:pt x="268" y="461"/>
                      </a:cubicBezTo>
                      <a:cubicBezTo>
                        <a:pt x="296" y="478"/>
                        <a:pt x="296" y="478"/>
                        <a:pt x="296" y="478"/>
                      </a:cubicBezTo>
                      <a:cubicBezTo>
                        <a:pt x="297" y="478"/>
                        <a:pt x="297" y="479"/>
                        <a:pt x="297" y="479"/>
                      </a:cubicBezTo>
                      <a:cubicBezTo>
                        <a:pt x="297" y="520"/>
                        <a:pt x="297" y="520"/>
                        <a:pt x="297" y="520"/>
                      </a:cubicBezTo>
                      <a:cubicBezTo>
                        <a:pt x="297" y="521"/>
                        <a:pt x="297" y="521"/>
                        <a:pt x="296" y="522"/>
                      </a:cubicBezTo>
                      <a:cubicBezTo>
                        <a:pt x="222" y="565"/>
                        <a:pt x="222" y="565"/>
                        <a:pt x="222" y="565"/>
                      </a:cubicBezTo>
                      <a:cubicBezTo>
                        <a:pt x="222" y="574"/>
                        <a:pt x="222" y="574"/>
                        <a:pt x="222" y="574"/>
                      </a:cubicBezTo>
                      <a:cubicBezTo>
                        <a:pt x="222" y="574"/>
                        <a:pt x="221" y="575"/>
                        <a:pt x="221" y="575"/>
                      </a:cubicBezTo>
                      <a:cubicBezTo>
                        <a:pt x="98" y="647"/>
                        <a:pt x="98" y="647"/>
                        <a:pt x="98" y="647"/>
                      </a:cubicBezTo>
                      <a:cubicBezTo>
                        <a:pt x="221" y="718"/>
                        <a:pt x="221" y="718"/>
                        <a:pt x="221" y="718"/>
                      </a:cubicBezTo>
                      <a:cubicBezTo>
                        <a:pt x="221" y="718"/>
                        <a:pt x="222" y="719"/>
                        <a:pt x="222" y="720"/>
                      </a:cubicBezTo>
                      <a:cubicBezTo>
                        <a:pt x="222" y="843"/>
                        <a:pt x="222" y="843"/>
                        <a:pt x="222" y="843"/>
                      </a:cubicBezTo>
                      <a:cubicBezTo>
                        <a:pt x="244" y="856"/>
                        <a:pt x="244" y="856"/>
                        <a:pt x="244" y="856"/>
                      </a:cubicBezTo>
                      <a:cubicBezTo>
                        <a:pt x="245" y="856"/>
                        <a:pt x="245" y="857"/>
                        <a:pt x="245" y="858"/>
                      </a:cubicBezTo>
                      <a:cubicBezTo>
                        <a:pt x="245" y="859"/>
                        <a:pt x="245" y="859"/>
                        <a:pt x="244" y="860"/>
                      </a:cubicBezTo>
                      <a:cubicBezTo>
                        <a:pt x="226" y="870"/>
                        <a:pt x="226" y="870"/>
                        <a:pt x="226" y="870"/>
                      </a:cubicBezTo>
                      <a:cubicBezTo>
                        <a:pt x="289" y="906"/>
                        <a:pt x="289" y="906"/>
                        <a:pt x="289" y="906"/>
                      </a:cubicBezTo>
                      <a:cubicBezTo>
                        <a:pt x="289" y="906"/>
                        <a:pt x="290" y="907"/>
                        <a:pt x="290" y="908"/>
                      </a:cubicBezTo>
                      <a:cubicBezTo>
                        <a:pt x="290" y="912"/>
                        <a:pt x="290" y="912"/>
                        <a:pt x="290" y="912"/>
                      </a:cubicBezTo>
                      <a:cubicBezTo>
                        <a:pt x="293" y="910"/>
                        <a:pt x="293" y="910"/>
                        <a:pt x="293" y="910"/>
                      </a:cubicBezTo>
                      <a:cubicBezTo>
                        <a:pt x="294" y="909"/>
                        <a:pt x="295" y="909"/>
                        <a:pt x="295" y="910"/>
                      </a:cubicBezTo>
                      <a:cubicBezTo>
                        <a:pt x="320" y="924"/>
                        <a:pt x="320" y="924"/>
                        <a:pt x="320" y="924"/>
                      </a:cubicBezTo>
                      <a:cubicBezTo>
                        <a:pt x="321" y="925"/>
                        <a:pt x="321" y="925"/>
                        <a:pt x="321" y="926"/>
                      </a:cubicBezTo>
                      <a:cubicBezTo>
                        <a:pt x="321" y="927"/>
                        <a:pt x="321" y="927"/>
                        <a:pt x="320" y="928"/>
                      </a:cubicBezTo>
                      <a:cubicBezTo>
                        <a:pt x="316" y="930"/>
                        <a:pt x="316" y="930"/>
                        <a:pt x="316" y="930"/>
                      </a:cubicBezTo>
                      <a:cubicBezTo>
                        <a:pt x="315" y="931"/>
                        <a:pt x="314" y="931"/>
                        <a:pt x="314" y="930"/>
                      </a:cubicBezTo>
                      <a:cubicBezTo>
                        <a:pt x="297" y="921"/>
                        <a:pt x="297" y="921"/>
                        <a:pt x="297" y="921"/>
                      </a:cubicBezTo>
                      <a:cubicBezTo>
                        <a:pt x="297" y="940"/>
                        <a:pt x="297" y="940"/>
                        <a:pt x="297" y="940"/>
                      </a:cubicBezTo>
                      <a:cubicBezTo>
                        <a:pt x="297" y="941"/>
                        <a:pt x="297" y="941"/>
                        <a:pt x="296" y="942"/>
                      </a:cubicBezTo>
                      <a:cubicBezTo>
                        <a:pt x="222" y="985"/>
                        <a:pt x="222" y="985"/>
                        <a:pt x="222" y="985"/>
                      </a:cubicBezTo>
                      <a:cubicBezTo>
                        <a:pt x="222" y="1122"/>
                        <a:pt x="222" y="1122"/>
                        <a:pt x="222" y="1122"/>
                      </a:cubicBezTo>
                      <a:cubicBezTo>
                        <a:pt x="308" y="1072"/>
                        <a:pt x="308" y="1072"/>
                        <a:pt x="308" y="1072"/>
                      </a:cubicBezTo>
                      <a:cubicBezTo>
                        <a:pt x="309" y="1072"/>
                        <a:pt x="309" y="1072"/>
                        <a:pt x="310" y="1072"/>
                      </a:cubicBezTo>
                      <a:cubicBezTo>
                        <a:pt x="423" y="1138"/>
                        <a:pt x="423" y="1138"/>
                        <a:pt x="423" y="1138"/>
                      </a:cubicBezTo>
                      <a:cubicBezTo>
                        <a:pt x="424" y="1138"/>
                        <a:pt x="424" y="1139"/>
                        <a:pt x="424" y="1139"/>
                      </a:cubicBezTo>
                      <a:cubicBezTo>
                        <a:pt x="424" y="1146"/>
                        <a:pt x="424" y="1146"/>
                        <a:pt x="424" y="1146"/>
                      </a:cubicBezTo>
                      <a:cubicBezTo>
                        <a:pt x="424" y="1147"/>
                        <a:pt x="424" y="1148"/>
                        <a:pt x="423" y="1148"/>
                      </a:cubicBezTo>
                      <a:cubicBezTo>
                        <a:pt x="343" y="1195"/>
                        <a:pt x="343" y="1195"/>
                        <a:pt x="343" y="1195"/>
                      </a:cubicBezTo>
                      <a:cubicBezTo>
                        <a:pt x="343" y="1332"/>
                        <a:pt x="343" y="1332"/>
                        <a:pt x="343" y="1332"/>
                      </a:cubicBezTo>
                      <a:cubicBezTo>
                        <a:pt x="423" y="1286"/>
                        <a:pt x="423" y="1286"/>
                        <a:pt x="423" y="1286"/>
                      </a:cubicBezTo>
                      <a:cubicBezTo>
                        <a:pt x="424" y="1285"/>
                        <a:pt x="425" y="1285"/>
                        <a:pt x="425" y="1286"/>
                      </a:cubicBezTo>
                      <a:cubicBezTo>
                        <a:pt x="524" y="1342"/>
                        <a:pt x="524" y="1342"/>
                        <a:pt x="524" y="1342"/>
                      </a:cubicBezTo>
                      <a:cubicBezTo>
                        <a:pt x="525" y="1343"/>
                        <a:pt x="525" y="1344"/>
                        <a:pt x="525" y="1344"/>
                      </a:cubicBezTo>
                      <a:cubicBezTo>
                        <a:pt x="525" y="1368"/>
                        <a:pt x="525" y="1368"/>
                        <a:pt x="525" y="1368"/>
                      </a:cubicBezTo>
                      <a:cubicBezTo>
                        <a:pt x="563" y="1390"/>
                        <a:pt x="563" y="1390"/>
                        <a:pt x="563" y="1390"/>
                      </a:cubicBezTo>
                      <a:cubicBezTo>
                        <a:pt x="564" y="1391"/>
                        <a:pt x="564" y="1391"/>
                        <a:pt x="564" y="1392"/>
                      </a:cubicBezTo>
                      <a:cubicBezTo>
                        <a:pt x="564" y="1416"/>
                        <a:pt x="564" y="1416"/>
                        <a:pt x="564" y="1416"/>
                      </a:cubicBezTo>
                      <a:cubicBezTo>
                        <a:pt x="564" y="1416"/>
                        <a:pt x="564" y="1417"/>
                        <a:pt x="563" y="1417"/>
                      </a:cubicBezTo>
                      <a:cubicBezTo>
                        <a:pt x="527" y="1439"/>
                        <a:pt x="527" y="1439"/>
                        <a:pt x="527" y="1439"/>
                      </a:cubicBezTo>
                      <a:cubicBezTo>
                        <a:pt x="526" y="1439"/>
                        <a:pt x="525" y="1439"/>
                        <a:pt x="525" y="1439"/>
                      </a:cubicBezTo>
                      <a:cubicBezTo>
                        <a:pt x="487" y="1417"/>
                        <a:pt x="487" y="1417"/>
                        <a:pt x="487" y="1417"/>
                      </a:cubicBezTo>
                      <a:cubicBezTo>
                        <a:pt x="441" y="1443"/>
                        <a:pt x="441" y="1443"/>
                        <a:pt x="441" y="1443"/>
                      </a:cubicBezTo>
                      <a:cubicBezTo>
                        <a:pt x="441" y="1443"/>
                        <a:pt x="440" y="1443"/>
                        <a:pt x="439" y="1443"/>
                      </a:cubicBezTo>
                      <a:cubicBezTo>
                        <a:pt x="433" y="1439"/>
                        <a:pt x="433" y="1439"/>
                        <a:pt x="433" y="1439"/>
                      </a:cubicBezTo>
                      <a:cubicBezTo>
                        <a:pt x="433" y="1439"/>
                        <a:pt x="432" y="1438"/>
                        <a:pt x="432" y="1438"/>
                      </a:cubicBezTo>
                      <a:cubicBezTo>
                        <a:pt x="432" y="1437"/>
                        <a:pt x="433" y="1436"/>
                        <a:pt x="433" y="1436"/>
                      </a:cubicBezTo>
                      <a:cubicBezTo>
                        <a:pt x="484" y="1406"/>
                        <a:pt x="484" y="1406"/>
                        <a:pt x="484" y="1406"/>
                      </a:cubicBezTo>
                      <a:cubicBezTo>
                        <a:pt x="484" y="1333"/>
                        <a:pt x="484" y="1333"/>
                        <a:pt x="484" y="1333"/>
                      </a:cubicBezTo>
                      <a:cubicBezTo>
                        <a:pt x="432" y="1364"/>
                        <a:pt x="432" y="1364"/>
                        <a:pt x="432" y="1364"/>
                      </a:cubicBezTo>
                      <a:cubicBezTo>
                        <a:pt x="431" y="1364"/>
                        <a:pt x="430" y="1364"/>
                        <a:pt x="430" y="1364"/>
                      </a:cubicBezTo>
                      <a:cubicBezTo>
                        <a:pt x="366" y="1327"/>
                        <a:pt x="366" y="1327"/>
                        <a:pt x="366" y="1327"/>
                      </a:cubicBezTo>
                      <a:cubicBezTo>
                        <a:pt x="366" y="1401"/>
                        <a:pt x="366" y="1401"/>
                        <a:pt x="366" y="1401"/>
                      </a:cubicBezTo>
                      <a:cubicBezTo>
                        <a:pt x="420" y="1432"/>
                        <a:pt x="420" y="1432"/>
                        <a:pt x="420" y="1432"/>
                      </a:cubicBezTo>
                      <a:cubicBezTo>
                        <a:pt x="421" y="1432"/>
                        <a:pt x="421" y="1433"/>
                        <a:pt x="421" y="1433"/>
                      </a:cubicBezTo>
                      <a:cubicBezTo>
                        <a:pt x="421" y="1445"/>
                        <a:pt x="421" y="1445"/>
                        <a:pt x="421" y="1445"/>
                      </a:cubicBezTo>
                      <a:cubicBezTo>
                        <a:pt x="421" y="1445"/>
                        <a:pt x="421" y="1446"/>
                        <a:pt x="420" y="1446"/>
                      </a:cubicBezTo>
                      <a:cubicBezTo>
                        <a:pt x="362" y="1480"/>
                        <a:pt x="362" y="1480"/>
                        <a:pt x="362" y="1480"/>
                      </a:cubicBezTo>
                      <a:cubicBezTo>
                        <a:pt x="361" y="1480"/>
                        <a:pt x="360" y="1480"/>
                        <a:pt x="360" y="1480"/>
                      </a:cubicBezTo>
                      <a:cubicBezTo>
                        <a:pt x="359" y="1480"/>
                        <a:pt x="359" y="1479"/>
                        <a:pt x="359" y="1478"/>
                      </a:cubicBezTo>
                      <a:cubicBezTo>
                        <a:pt x="359" y="1470"/>
                        <a:pt x="359" y="1470"/>
                        <a:pt x="359" y="1470"/>
                      </a:cubicBezTo>
                      <a:cubicBezTo>
                        <a:pt x="354" y="1467"/>
                        <a:pt x="354" y="1467"/>
                        <a:pt x="354" y="1467"/>
                      </a:cubicBezTo>
                      <a:cubicBezTo>
                        <a:pt x="353" y="1467"/>
                        <a:pt x="353" y="1466"/>
                        <a:pt x="353" y="1465"/>
                      </a:cubicBezTo>
                      <a:cubicBezTo>
                        <a:pt x="353" y="1464"/>
                        <a:pt x="353" y="1464"/>
                        <a:pt x="354" y="1463"/>
                      </a:cubicBezTo>
                      <a:cubicBezTo>
                        <a:pt x="388" y="1444"/>
                        <a:pt x="388" y="1444"/>
                        <a:pt x="388" y="1444"/>
                      </a:cubicBezTo>
                      <a:cubicBezTo>
                        <a:pt x="341" y="1417"/>
                        <a:pt x="341" y="1417"/>
                        <a:pt x="341" y="1417"/>
                      </a:cubicBezTo>
                      <a:cubicBezTo>
                        <a:pt x="340" y="1417"/>
                        <a:pt x="340" y="1416"/>
                        <a:pt x="340" y="1415"/>
                      </a:cubicBezTo>
                      <a:cubicBezTo>
                        <a:pt x="340" y="1414"/>
                        <a:pt x="340" y="1414"/>
                        <a:pt x="341" y="1413"/>
                      </a:cubicBezTo>
                      <a:cubicBezTo>
                        <a:pt x="353" y="1406"/>
                        <a:pt x="353" y="1406"/>
                        <a:pt x="353" y="1406"/>
                      </a:cubicBezTo>
                      <a:cubicBezTo>
                        <a:pt x="353" y="1333"/>
                        <a:pt x="353" y="1333"/>
                        <a:pt x="353" y="1333"/>
                      </a:cubicBezTo>
                      <a:cubicBezTo>
                        <a:pt x="303" y="1362"/>
                        <a:pt x="303" y="1362"/>
                        <a:pt x="303" y="1362"/>
                      </a:cubicBezTo>
                      <a:cubicBezTo>
                        <a:pt x="302" y="1362"/>
                        <a:pt x="302" y="1362"/>
                        <a:pt x="301" y="1362"/>
                      </a:cubicBezTo>
                      <a:cubicBezTo>
                        <a:pt x="299" y="1361"/>
                        <a:pt x="299" y="1361"/>
                        <a:pt x="299" y="1361"/>
                      </a:cubicBezTo>
                      <a:cubicBezTo>
                        <a:pt x="298" y="1361"/>
                        <a:pt x="298" y="1360"/>
                        <a:pt x="298" y="1359"/>
                      </a:cubicBezTo>
                      <a:cubicBezTo>
                        <a:pt x="298" y="1229"/>
                        <a:pt x="298" y="1229"/>
                        <a:pt x="298" y="1229"/>
                      </a:cubicBezTo>
                      <a:cubicBezTo>
                        <a:pt x="298" y="1228"/>
                        <a:pt x="298" y="1227"/>
                        <a:pt x="299" y="1227"/>
                      </a:cubicBezTo>
                      <a:cubicBezTo>
                        <a:pt x="310" y="1221"/>
                        <a:pt x="310" y="1221"/>
                        <a:pt x="310" y="1221"/>
                      </a:cubicBezTo>
                      <a:cubicBezTo>
                        <a:pt x="299" y="1214"/>
                        <a:pt x="299" y="1214"/>
                        <a:pt x="299" y="1214"/>
                      </a:cubicBezTo>
                      <a:cubicBezTo>
                        <a:pt x="298" y="1214"/>
                        <a:pt x="298" y="1213"/>
                        <a:pt x="298" y="1212"/>
                      </a:cubicBezTo>
                      <a:cubicBezTo>
                        <a:pt x="298" y="1212"/>
                        <a:pt x="298" y="1212"/>
                        <a:pt x="298" y="1212"/>
                      </a:cubicBezTo>
                      <a:cubicBezTo>
                        <a:pt x="168" y="1136"/>
                        <a:pt x="168" y="1136"/>
                        <a:pt x="168" y="1136"/>
                      </a:cubicBezTo>
                      <a:cubicBezTo>
                        <a:pt x="168" y="1137"/>
                        <a:pt x="168" y="1137"/>
                        <a:pt x="168" y="1137"/>
                      </a:cubicBezTo>
                      <a:cubicBezTo>
                        <a:pt x="167" y="1137"/>
                        <a:pt x="166" y="1137"/>
                        <a:pt x="166" y="1137"/>
                      </a:cubicBezTo>
                      <a:cubicBezTo>
                        <a:pt x="158" y="1133"/>
                        <a:pt x="158" y="1133"/>
                        <a:pt x="158" y="1133"/>
                      </a:cubicBezTo>
                      <a:cubicBezTo>
                        <a:pt x="6" y="1221"/>
                        <a:pt x="6" y="1221"/>
                        <a:pt x="6" y="1221"/>
                      </a:cubicBezTo>
                      <a:cubicBezTo>
                        <a:pt x="158" y="1308"/>
                        <a:pt x="158" y="1308"/>
                        <a:pt x="158" y="1308"/>
                      </a:cubicBezTo>
                      <a:cubicBezTo>
                        <a:pt x="181" y="1295"/>
                        <a:pt x="181" y="1295"/>
                        <a:pt x="181" y="1295"/>
                      </a:cubicBezTo>
                      <a:cubicBezTo>
                        <a:pt x="182" y="1295"/>
                        <a:pt x="183" y="1295"/>
                        <a:pt x="183" y="1295"/>
                      </a:cubicBezTo>
                      <a:cubicBezTo>
                        <a:pt x="285" y="1353"/>
                        <a:pt x="285" y="1353"/>
                        <a:pt x="285" y="1353"/>
                      </a:cubicBezTo>
                      <a:cubicBezTo>
                        <a:pt x="285" y="1354"/>
                        <a:pt x="286" y="1354"/>
                        <a:pt x="286" y="1355"/>
                      </a:cubicBezTo>
                      <a:cubicBezTo>
                        <a:pt x="286" y="1356"/>
                        <a:pt x="285" y="1357"/>
                        <a:pt x="285" y="1357"/>
                      </a:cubicBezTo>
                      <a:cubicBezTo>
                        <a:pt x="226" y="1391"/>
                        <a:pt x="226" y="1391"/>
                        <a:pt x="226" y="1391"/>
                      </a:cubicBezTo>
                      <a:cubicBezTo>
                        <a:pt x="275" y="1419"/>
                        <a:pt x="275" y="1419"/>
                        <a:pt x="275" y="1419"/>
                      </a:cubicBezTo>
                      <a:cubicBezTo>
                        <a:pt x="276" y="1419"/>
                        <a:pt x="276" y="1420"/>
                        <a:pt x="276" y="1420"/>
                      </a:cubicBezTo>
                      <a:cubicBezTo>
                        <a:pt x="276" y="1421"/>
                        <a:pt x="276" y="1422"/>
                        <a:pt x="275" y="1422"/>
                      </a:cubicBezTo>
                      <a:cubicBezTo>
                        <a:pt x="238" y="1444"/>
                        <a:pt x="238" y="1444"/>
                        <a:pt x="238" y="1444"/>
                      </a:cubicBezTo>
                      <a:cubicBezTo>
                        <a:pt x="296" y="1478"/>
                        <a:pt x="296" y="1478"/>
                        <a:pt x="296" y="1478"/>
                      </a:cubicBezTo>
                      <a:cubicBezTo>
                        <a:pt x="297" y="1478"/>
                        <a:pt x="297" y="1479"/>
                        <a:pt x="297" y="1480"/>
                      </a:cubicBezTo>
                      <a:cubicBezTo>
                        <a:pt x="297" y="1505"/>
                        <a:pt x="297" y="1505"/>
                        <a:pt x="297" y="1505"/>
                      </a:cubicBezTo>
                      <a:cubicBezTo>
                        <a:pt x="353" y="1537"/>
                        <a:pt x="353" y="1537"/>
                        <a:pt x="353" y="1537"/>
                      </a:cubicBezTo>
                      <a:cubicBezTo>
                        <a:pt x="354" y="1538"/>
                        <a:pt x="354" y="1538"/>
                        <a:pt x="354" y="1539"/>
                      </a:cubicBezTo>
                      <a:cubicBezTo>
                        <a:pt x="354" y="1539"/>
                        <a:pt x="354" y="1539"/>
                        <a:pt x="354" y="1539"/>
                      </a:cubicBezTo>
                      <a:cubicBezTo>
                        <a:pt x="355" y="1539"/>
                        <a:pt x="355" y="1540"/>
                        <a:pt x="355" y="1541"/>
                      </a:cubicBezTo>
                      <a:cubicBezTo>
                        <a:pt x="355" y="1557"/>
                        <a:pt x="355" y="1557"/>
                        <a:pt x="355" y="1557"/>
                      </a:cubicBezTo>
                      <a:cubicBezTo>
                        <a:pt x="369" y="1549"/>
                        <a:pt x="369" y="1549"/>
                        <a:pt x="369" y="1549"/>
                      </a:cubicBezTo>
                      <a:cubicBezTo>
                        <a:pt x="370" y="1548"/>
                        <a:pt x="371" y="1548"/>
                        <a:pt x="371" y="1549"/>
                      </a:cubicBezTo>
                      <a:cubicBezTo>
                        <a:pt x="378" y="1553"/>
                        <a:pt x="378" y="1553"/>
                        <a:pt x="378" y="1553"/>
                      </a:cubicBezTo>
                      <a:cubicBezTo>
                        <a:pt x="379" y="1553"/>
                        <a:pt x="379" y="1554"/>
                        <a:pt x="379" y="1555"/>
                      </a:cubicBezTo>
                      <a:cubicBezTo>
                        <a:pt x="379" y="1555"/>
                        <a:pt x="379" y="1556"/>
                        <a:pt x="378" y="1556"/>
                      </a:cubicBezTo>
                      <a:cubicBezTo>
                        <a:pt x="355" y="1570"/>
                        <a:pt x="355" y="1570"/>
                        <a:pt x="355" y="1570"/>
                      </a:cubicBezTo>
                      <a:cubicBezTo>
                        <a:pt x="420" y="1607"/>
                        <a:pt x="420" y="1607"/>
                        <a:pt x="420" y="1607"/>
                      </a:cubicBezTo>
                      <a:cubicBezTo>
                        <a:pt x="445" y="1592"/>
                        <a:pt x="445" y="1592"/>
                        <a:pt x="445" y="1592"/>
                      </a:cubicBezTo>
                      <a:cubicBezTo>
                        <a:pt x="445" y="1592"/>
                        <a:pt x="445" y="1592"/>
                        <a:pt x="446" y="1592"/>
                      </a:cubicBezTo>
                      <a:close/>
                      <a:moveTo>
                        <a:pt x="359" y="1465"/>
                      </a:moveTo>
                      <a:cubicBezTo>
                        <a:pt x="362" y="1467"/>
                        <a:pt x="362" y="1467"/>
                        <a:pt x="362" y="1467"/>
                      </a:cubicBezTo>
                      <a:cubicBezTo>
                        <a:pt x="362" y="1467"/>
                        <a:pt x="363" y="1468"/>
                        <a:pt x="363" y="1469"/>
                      </a:cubicBezTo>
                      <a:cubicBezTo>
                        <a:pt x="363" y="1475"/>
                        <a:pt x="363" y="1475"/>
                        <a:pt x="363" y="1475"/>
                      </a:cubicBezTo>
                      <a:cubicBezTo>
                        <a:pt x="417" y="1443"/>
                        <a:pt x="417" y="1443"/>
                        <a:pt x="417" y="1443"/>
                      </a:cubicBezTo>
                      <a:cubicBezTo>
                        <a:pt x="417" y="1434"/>
                        <a:pt x="417" y="1434"/>
                        <a:pt x="417" y="1434"/>
                      </a:cubicBezTo>
                      <a:cubicBezTo>
                        <a:pt x="363" y="1403"/>
                        <a:pt x="363" y="1403"/>
                        <a:pt x="363" y="1403"/>
                      </a:cubicBezTo>
                      <a:cubicBezTo>
                        <a:pt x="363" y="1403"/>
                        <a:pt x="362" y="1402"/>
                        <a:pt x="362" y="1402"/>
                      </a:cubicBezTo>
                      <a:cubicBezTo>
                        <a:pt x="362" y="1325"/>
                        <a:pt x="362" y="1325"/>
                        <a:pt x="362" y="1325"/>
                      </a:cubicBezTo>
                      <a:cubicBezTo>
                        <a:pt x="357" y="1329"/>
                        <a:pt x="357" y="1329"/>
                        <a:pt x="357" y="1329"/>
                      </a:cubicBezTo>
                      <a:cubicBezTo>
                        <a:pt x="357" y="1329"/>
                        <a:pt x="357" y="1329"/>
                        <a:pt x="357" y="1330"/>
                      </a:cubicBezTo>
                      <a:cubicBezTo>
                        <a:pt x="357" y="1408"/>
                        <a:pt x="357" y="1408"/>
                        <a:pt x="357" y="1408"/>
                      </a:cubicBezTo>
                      <a:cubicBezTo>
                        <a:pt x="357" y="1408"/>
                        <a:pt x="357" y="1409"/>
                        <a:pt x="356" y="1409"/>
                      </a:cubicBezTo>
                      <a:cubicBezTo>
                        <a:pt x="346" y="1415"/>
                        <a:pt x="346" y="1415"/>
                        <a:pt x="346" y="1415"/>
                      </a:cubicBezTo>
                      <a:cubicBezTo>
                        <a:pt x="393" y="1442"/>
                        <a:pt x="393" y="1442"/>
                        <a:pt x="393" y="1442"/>
                      </a:cubicBezTo>
                      <a:cubicBezTo>
                        <a:pt x="393" y="1442"/>
                        <a:pt x="394" y="1443"/>
                        <a:pt x="394" y="1444"/>
                      </a:cubicBezTo>
                      <a:cubicBezTo>
                        <a:pt x="394" y="1445"/>
                        <a:pt x="393" y="1445"/>
                        <a:pt x="393" y="1446"/>
                      </a:cubicBezTo>
                      <a:lnTo>
                        <a:pt x="359" y="1465"/>
                      </a:lnTo>
                      <a:close/>
                      <a:moveTo>
                        <a:pt x="438" y="1438"/>
                      </a:moveTo>
                      <a:cubicBezTo>
                        <a:pt x="440" y="1439"/>
                        <a:pt x="440" y="1439"/>
                        <a:pt x="440" y="1439"/>
                      </a:cubicBezTo>
                      <a:cubicBezTo>
                        <a:pt x="486" y="1413"/>
                        <a:pt x="486" y="1413"/>
                        <a:pt x="486" y="1413"/>
                      </a:cubicBezTo>
                      <a:cubicBezTo>
                        <a:pt x="486" y="1412"/>
                        <a:pt x="487" y="1412"/>
                        <a:pt x="488" y="1413"/>
                      </a:cubicBezTo>
                      <a:cubicBezTo>
                        <a:pt x="526" y="1435"/>
                        <a:pt x="526" y="1435"/>
                        <a:pt x="526" y="1435"/>
                      </a:cubicBezTo>
                      <a:cubicBezTo>
                        <a:pt x="560" y="1415"/>
                        <a:pt x="560" y="1415"/>
                        <a:pt x="560" y="1415"/>
                      </a:cubicBezTo>
                      <a:cubicBezTo>
                        <a:pt x="560" y="1393"/>
                        <a:pt x="560" y="1393"/>
                        <a:pt x="560" y="1393"/>
                      </a:cubicBezTo>
                      <a:cubicBezTo>
                        <a:pt x="522" y="1371"/>
                        <a:pt x="522" y="1371"/>
                        <a:pt x="522" y="1371"/>
                      </a:cubicBezTo>
                      <a:cubicBezTo>
                        <a:pt x="521" y="1371"/>
                        <a:pt x="521" y="1370"/>
                        <a:pt x="521" y="1369"/>
                      </a:cubicBezTo>
                      <a:cubicBezTo>
                        <a:pt x="521" y="1345"/>
                        <a:pt x="521" y="1345"/>
                        <a:pt x="521" y="1345"/>
                      </a:cubicBezTo>
                      <a:cubicBezTo>
                        <a:pt x="424" y="1290"/>
                        <a:pt x="424" y="1290"/>
                        <a:pt x="424" y="1290"/>
                      </a:cubicBezTo>
                      <a:cubicBezTo>
                        <a:pt x="367" y="1323"/>
                        <a:pt x="367" y="1323"/>
                        <a:pt x="367" y="1323"/>
                      </a:cubicBezTo>
                      <a:cubicBezTo>
                        <a:pt x="431" y="1360"/>
                        <a:pt x="431" y="1360"/>
                        <a:pt x="431" y="1360"/>
                      </a:cubicBezTo>
                      <a:cubicBezTo>
                        <a:pt x="485" y="1328"/>
                        <a:pt x="485" y="1328"/>
                        <a:pt x="485" y="1328"/>
                      </a:cubicBezTo>
                      <a:cubicBezTo>
                        <a:pt x="486" y="1328"/>
                        <a:pt x="487" y="1328"/>
                        <a:pt x="487" y="1328"/>
                      </a:cubicBezTo>
                      <a:cubicBezTo>
                        <a:pt x="488" y="1328"/>
                        <a:pt x="488" y="1329"/>
                        <a:pt x="488" y="1330"/>
                      </a:cubicBezTo>
                      <a:cubicBezTo>
                        <a:pt x="488" y="1408"/>
                        <a:pt x="488" y="1408"/>
                        <a:pt x="488" y="1408"/>
                      </a:cubicBezTo>
                      <a:cubicBezTo>
                        <a:pt x="488" y="1408"/>
                        <a:pt x="488" y="1409"/>
                        <a:pt x="487" y="1409"/>
                      </a:cubicBezTo>
                      <a:lnTo>
                        <a:pt x="438" y="1438"/>
                      </a:lnTo>
                      <a:close/>
                      <a:moveTo>
                        <a:pt x="37" y="1058"/>
                      </a:moveTo>
                      <a:cubicBezTo>
                        <a:pt x="166" y="1133"/>
                        <a:pt x="166" y="1133"/>
                        <a:pt x="166" y="1133"/>
                      </a:cubicBezTo>
                      <a:cubicBezTo>
                        <a:pt x="166" y="983"/>
                        <a:pt x="166" y="983"/>
                        <a:pt x="166" y="983"/>
                      </a:cubicBezTo>
                      <a:cubicBezTo>
                        <a:pt x="37" y="908"/>
                        <a:pt x="37" y="908"/>
                        <a:pt x="37" y="908"/>
                      </a:cubicBezTo>
                      <a:lnTo>
                        <a:pt x="37" y="1058"/>
                      </a:lnTo>
                      <a:close/>
                      <a:moveTo>
                        <a:pt x="1492" y="526"/>
                      </a:moveTo>
                      <a:cubicBezTo>
                        <a:pt x="1552" y="560"/>
                        <a:pt x="1552" y="560"/>
                        <a:pt x="1552" y="560"/>
                      </a:cubicBezTo>
                      <a:cubicBezTo>
                        <a:pt x="1564" y="554"/>
                        <a:pt x="1564" y="554"/>
                        <a:pt x="1564" y="554"/>
                      </a:cubicBezTo>
                      <a:cubicBezTo>
                        <a:pt x="1504" y="519"/>
                        <a:pt x="1504" y="519"/>
                        <a:pt x="1504" y="519"/>
                      </a:cubicBezTo>
                      <a:lnTo>
                        <a:pt x="1492" y="5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4" name="Freeform 907">
                  <a:extLst>
                    <a:ext uri="{FF2B5EF4-FFF2-40B4-BE49-F238E27FC236}">
                      <a16:creationId xmlns:a16="http://schemas.microsoft.com/office/drawing/2014/main" id="{C85DB574-D52F-4603-9FD5-4CDB5CA2B6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3440"/>
                  <a:ext cx="128" cy="97"/>
                </a:xfrm>
                <a:custGeom>
                  <a:avLst/>
                  <a:gdLst>
                    <a:gd name="T0" fmla="*/ 2 w 54"/>
                    <a:gd name="T1" fmla="*/ 41 h 41"/>
                    <a:gd name="T2" fmla="*/ 1 w 54"/>
                    <a:gd name="T3" fmla="*/ 40 h 41"/>
                    <a:gd name="T4" fmla="*/ 0 w 54"/>
                    <a:gd name="T5" fmla="*/ 39 h 41"/>
                    <a:gd name="T6" fmla="*/ 0 w 54"/>
                    <a:gd name="T7" fmla="*/ 23 h 41"/>
                    <a:gd name="T8" fmla="*/ 1 w 54"/>
                    <a:gd name="T9" fmla="*/ 22 h 41"/>
                    <a:gd name="T10" fmla="*/ 37 w 54"/>
                    <a:gd name="T11" fmla="*/ 1 h 41"/>
                    <a:gd name="T12" fmla="*/ 39 w 54"/>
                    <a:gd name="T13" fmla="*/ 1 h 41"/>
                    <a:gd name="T14" fmla="*/ 53 w 54"/>
                    <a:gd name="T15" fmla="*/ 8 h 41"/>
                    <a:gd name="T16" fmla="*/ 54 w 54"/>
                    <a:gd name="T17" fmla="*/ 10 h 41"/>
                    <a:gd name="T18" fmla="*/ 53 w 54"/>
                    <a:gd name="T19" fmla="*/ 12 h 41"/>
                    <a:gd name="T20" fmla="*/ 17 w 54"/>
                    <a:gd name="T21" fmla="*/ 32 h 41"/>
                    <a:gd name="T22" fmla="*/ 15 w 54"/>
                    <a:gd name="T23" fmla="*/ 32 h 41"/>
                    <a:gd name="T24" fmla="*/ 10 w 54"/>
                    <a:gd name="T25" fmla="*/ 29 h 41"/>
                    <a:gd name="T26" fmla="*/ 10 w 54"/>
                    <a:gd name="T27" fmla="*/ 35 h 41"/>
                    <a:gd name="T28" fmla="*/ 9 w 54"/>
                    <a:gd name="T29" fmla="*/ 37 h 41"/>
                    <a:gd name="T30" fmla="*/ 3 w 54"/>
                    <a:gd name="T31" fmla="*/ 40 h 41"/>
                    <a:gd name="T32" fmla="*/ 2 w 54"/>
                    <a:gd name="T33" fmla="*/ 41 h 41"/>
                    <a:gd name="T34" fmla="*/ 4 w 54"/>
                    <a:gd name="T35" fmla="*/ 24 h 41"/>
                    <a:gd name="T36" fmla="*/ 4 w 54"/>
                    <a:gd name="T37" fmla="*/ 35 h 41"/>
                    <a:gd name="T38" fmla="*/ 6 w 54"/>
                    <a:gd name="T39" fmla="*/ 34 h 41"/>
                    <a:gd name="T40" fmla="*/ 6 w 54"/>
                    <a:gd name="T41" fmla="*/ 26 h 41"/>
                    <a:gd name="T42" fmla="*/ 7 w 54"/>
                    <a:gd name="T43" fmla="*/ 24 h 41"/>
                    <a:gd name="T44" fmla="*/ 9 w 54"/>
                    <a:gd name="T45" fmla="*/ 24 h 41"/>
                    <a:gd name="T46" fmla="*/ 16 w 54"/>
                    <a:gd name="T47" fmla="*/ 28 h 41"/>
                    <a:gd name="T48" fmla="*/ 48 w 54"/>
                    <a:gd name="T49" fmla="*/ 10 h 41"/>
                    <a:gd name="T50" fmla="*/ 38 w 54"/>
                    <a:gd name="T51" fmla="*/ 5 h 41"/>
                    <a:gd name="T52" fmla="*/ 4 w 54"/>
                    <a:gd name="T53" fmla="*/ 24 h 41"/>
                    <a:gd name="T54" fmla="*/ 8 w 54"/>
                    <a:gd name="T55" fmla="*/ 35 h 41"/>
                    <a:gd name="T56" fmla="*/ 8 w 54"/>
                    <a:gd name="T57" fmla="*/ 35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54" h="41">
                      <a:moveTo>
                        <a:pt x="2" y="41"/>
                      </a:moveTo>
                      <a:cubicBezTo>
                        <a:pt x="2" y="41"/>
                        <a:pt x="2" y="40"/>
                        <a:pt x="1" y="40"/>
                      </a:cubicBezTo>
                      <a:cubicBezTo>
                        <a:pt x="1" y="40"/>
                        <a:pt x="0" y="39"/>
                        <a:pt x="0" y="39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3"/>
                        <a:pt x="1" y="22"/>
                        <a:pt x="1" y="22"/>
                      </a:cubicBezTo>
                      <a:cubicBezTo>
                        <a:pt x="37" y="1"/>
                        <a:pt x="37" y="1"/>
                        <a:pt x="37" y="1"/>
                      </a:cubicBezTo>
                      <a:cubicBezTo>
                        <a:pt x="38" y="0"/>
                        <a:pt x="39" y="0"/>
                        <a:pt x="39" y="1"/>
                      </a:cubicBezTo>
                      <a:cubicBezTo>
                        <a:pt x="53" y="8"/>
                        <a:pt x="53" y="8"/>
                        <a:pt x="53" y="8"/>
                      </a:cubicBezTo>
                      <a:cubicBezTo>
                        <a:pt x="53" y="9"/>
                        <a:pt x="54" y="9"/>
                        <a:pt x="54" y="10"/>
                      </a:cubicBezTo>
                      <a:cubicBezTo>
                        <a:pt x="54" y="11"/>
                        <a:pt x="53" y="12"/>
                        <a:pt x="53" y="12"/>
                      </a:cubicBezTo>
                      <a:cubicBezTo>
                        <a:pt x="17" y="32"/>
                        <a:pt x="17" y="32"/>
                        <a:pt x="17" y="32"/>
                      </a:cubicBezTo>
                      <a:cubicBezTo>
                        <a:pt x="17" y="33"/>
                        <a:pt x="16" y="33"/>
                        <a:pt x="15" y="32"/>
                      </a:cubicBezTo>
                      <a:cubicBezTo>
                        <a:pt x="10" y="29"/>
                        <a:pt x="10" y="29"/>
                        <a:pt x="10" y="29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6"/>
                        <a:pt x="10" y="36"/>
                        <a:pt x="9" y="37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3" y="40"/>
                        <a:pt x="3" y="41"/>
                        <a:pt x="2" y="41"/>
                      </a:cubicBezTo>
                      <a:close/>
                      <a:moveTo>
                        <a:pt x="4" y="24"/>
                      </a:move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5"/>
                        <a:pt x="7" y="25"/>
                        <a:pt x="7" y="24"/>
                      </a:cubicBezTo>
                      <a:cubicBezTo>
                        <a:pt x="8" y="24"/>
                        <a:pt x="9" y="24"/>
                        <a:pt x="9" y="24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48" y="10"/>
                        <a:pt x="48" y="10"/>
                        <a:pt x="48" y="10"/>
                      </a:cubicBezTo>
                      <a:cubicBezTo>
                        <a:pt x="38" y="5"/>
                        <a:pt x="38" y="5"/>
                        <a:pt x="38" y="5"/>
                      </a:cubicBezTo>
                      <a:lnTo>
                        <a:pt x="4" y="24"/>
                      </a:lnTo>
                      <a:close/>
                      <a:moveTo>
                        <a:pt x="8" y="35"/>
                      </a:moveTo>
                      <a:cubicBezTo>
                        <a:pt x="8" y="35"/>
                        <a:pt x="8" y="35"/>
                        <a:pt x="8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5" name="Freeform 908">
                  <a:extLst>
                    <a:ext uri="{FF2B5EF4-FFF2-40B4-BE49-F238E27FC236}">
                      <a16:creationId xmlns:a16="http://schemas.microsoft.com/office/drawing/2014/main" id="{61A2FB0B-8FD0-4177-9702-88A9714A18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72" y="2804"/>
                  <a:ext cx="316" cy="381"/>
                </a:xfrm>
                <a:custGeom>
                  <a:avLst/>
                  <a:gdLst>
                    <a:gd name="T0" fmla="*/ 16 w 134"/>
                    <a:gd name="T1" fmla="*/ 161 h 161"/>
                    <a:gd name="T2" fmla="*/ 15 w 134"/>
                    <a:gd name="T3" fmla="*/ 160 h 161"/>
                    <a:gd name="T4" fmla="*/ 1 w 134"/>
                    <a:gd name="T5" fmla="*/ 152 h 161"/>
                    <a:gd name="T6" fmla="*/ 0 w 134"/>
                    <a:gd name="T7" fmla="*/ 151 h 161"/>
                    <a:gd name="T8" fmla="*/ 0 w 134"/>
                    <a:gd name="T9" fmla="*/ 2 h 161"/>
                    <a:gd name="T10" fmla="*/ 1 w 134"/>
                    <a:gd name="T11" fmla="*/ 0 h 161"/>
                    <a:gd name="T12" fmla="*/ 3 w 134"/>
                    <a:gd name="T13" fmla="*/ 0 h 161"/>
                    <a:gd name="T14" fmla="*/ 133 w 134"/>
                    <a:gd name="T15" fmla="*/ 76 h 161"/>
                    <a:gd name="T16" fmla="*/ 134 w 134"/>
                    <a:gd name="T17" fmla="*/ 77 h 161"/>
                    <a:gd name="T18" fmla="*/ 134 w 134"/>
                    <a:gd name="T19" fmla="*/ 92 h 161"/>
                    <a:gd name="T20" fmla="*/ 133 w 134"/>
                    <a:gd name="T21" fmla="*/ 93 h 161"/>
                    <a:gd name="T22" fmla="*/ 17 w 134"/>
                    <a:gd name="T23" fmla="*/ 160 h 161"/>
                    <a:gd name="T24" fmla="*/ 16 w 134"/>
                    <a:gd name="T25" fmla="*/ 161 h 161"/>
                    <a:gd name="T26" fmla="*/ 4 w 134"/>
                    <a:gd name="T27" fmla="*/ 149 h 161"/>
                    <a:gd name="T28" fmla="*/ 16 w 134"/>
                    <a:gd name="T29" fmla="*/ 156 h 161"/>
                    <a:gd name="T30" fmla="*/ 130 w 134"/>
                    <a:gd name="T31" fmla="*/ 91 h 161"/>
                    <a:gd name="T32" fmla="*/ 130 w 134"/>
                    <a:gd name="T33" fmla="*/ 78 h 161"/>
                    <a:gd name="T34" fmla="*/ 4 w 134"/>
                    <a:gd name="T35" fmla="*/ 6 h 161"/>
                    <a:gd name="T36" fmla="*/ 4 w 134"/>
                    <a:gd name="T37" fmla="*/ 149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4" h="161">
                      <a:moveTo>
                        <a:pt x="16" y="161"/>
                      </a:moveTo>
                      <a:cubicBezTo>
                        <a:pt x="16" y="161"/>
                        <a:pt x="16" y="161"/>
                        <a:pt x="15" y="160"/>
                      </a:cubicBezTo>
                      <a:cubicBezTo>
                        <a:pt x="1" y="152"/>
                        <a:pt x="1" y="152"/>
                        <a:pt x="1" y="152"/>
                      </a:cubicBezTo>
                      <a:cubicBezTo>
                        <a:pt x="1" y="152"/>
                        <a:pt x="0" y="151"/>
                        <a:pt x="0" y="15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3" y="76"/>
                        <a:pt x="133" y="76"/>
                        <a:pt x="133" y="76"/>
                      </a:cubicBezTo>
                      <a:cubicBezTo>
                        <a:pt x="134" y="76"/>
                        <a:pt x="134" y="77"/>
                        <a:pt x="134" y="77"/>
                      </a:cubicBezTo>
                      <a:cubicBezTo>
                        <a:pt x="134" y="92"/>
                        <a:pt x="134" y="92"/>
                        <a:pt x="134" y="92"/>
                      </a:cubicBezTo>
                      <a:cubicBezTo>
                        <a:pt x="134" y="92"/>
                        <a:pt x="134" y="93"/>
                        <a:pt x="133" y="93"/>
                      </a:cubicBezTo>
                      <a:cubicBezTo>
                        <a:pt x="17" y="160"/>
                        <a:pt x="17" y="160"/>
                        <a:pt x="17" y="160"/>
                      </a:cubicBezTo>
                      <a:cubicBezTo>
                        <a:pt x="17" y="161"/>
                        <a:pt x="17" y="161"/>
                        <a:pt x="16" y="161"/>
                      </a:cubicBezTo>
                      <a:close/>
                      <a:moveTo>
                        <a:pt x="4" y="149"/>
                      </a:moveTo>
                      <a:cubicBezTo>
                        <a:pt x="16" y="156"/>
                        <a:pt x="16" y="156"/>
                        <a:pt x="16" y="156"/>
                      </a:cubicBezTo>
                      <a:cubicBezTo>
                        <a:pt x="130" y="91"/>
                        <a:pt x="130" y="91"/>
                        <a:pt x="130" y="91"/>
                      </a:cubicBezTo>
                      <a:cubicBezTo>
                        <a:pt x="130" y="78"/>
                        <a:pt x="130" y="78"/>
                        <a:pt x="130" y="78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4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6" name="Freeform 909">
                  <a:extLst>
                    <a:ext uri="{FF2B5EF4-FFF2-40B4-BE49-F238E27FC236}">
                      <a16:creationId xmlns:a16="http://schemas.microsoft.com/office/drawing/2014/main" id="{439F798D-2411-46D3-B12D-34E917B4A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7" y="2790"/>
                  <a:ext cx="425" cy="428"/>
                </a:xfrm>
                <a:custGeom>
                  <a:avLst/>
                  <a:gdLst>
                    <a:gd name="T0" fmla="*/ 155 w 180"/>
                    <a:gd name="T1" fmla="*/ 181 h 181"/>
                    <a:gd name="T2" fmla="*/ 154 w 180"/>
                    <a:gd name="T3" fmla="*/ 181 h 181"/>
                    <a:gd name="T4" fmla="*/ 1 w 180"/>
                    <a:gd name="T5" fmla="*/ 92 h 181"/>
                    <a:gd name="T6" fmla="*/ 0 w 180"/>
                    <a:gd name="T7" fmla="*/ 91 h 181"/>
                    <a:gd name="T8" fmla="*/ 1 w 180"/>
                    <a:gd name="T9" fmla="*/ 89 h 181"/>
                    <a:gd name="T10" fmla="*/ 154 w 180"/>
                    <a:gd name="T11" fmla="*/ 0 h 181"/>
                    <a:gd name="T12" fmla="*/ 156 w 180"/>
                    <a:gd name="T13" fmla="*/ 0 h 181"/>
                    <a:gd name="T14" fmla="*/ 165 w 180"/>
                    <a:gd name="T15" fmla="*/ 5 h 181"/>
                    <a:gd name="T16" fmla="*/ 166 w 180"/>
                    <a:gd name="T17" fmla="*/ 7 h 181"/>
                    <a:gd name="T18" fmla="*/ 166 w 180"/>
                    <a:gd name="T19" fmla="*/ 156 h 181"/>
                    <a:gd name="T20" fmla="*/ 179 w 180"/>
                    <a:gd name="T21" fmla="*/ 164 h 181"/>
                    <a:gd name="T22" fmla="*/ 180 w 180"/>
                    <a:gd name="T23" fmla="*/ 166 h 181"/>
                    <a:gd name="T24" fmla="*/ 179 w 180"/>
                    <a:gd name="T25" fmla="*/ 167 h 181"/>
                    <a:gd name="T26" fmla="*/ 156 w 180"/>
                    <a:gd name="T27" fmla="*/ 181 h 181"/>
                    <a:gd name="T28" fmla="*/ 155 w 180"/>
                    <a:gd name="T29" fmla="*/ 181 h 181"/>
                    <a:gd name="T30" fmla="*/ 6 w 180"/>
                    <a:gd name="T31" fmla="*/ 91 h 181"/>
                    <a:gd name="T32" fmla="*/ 155 w 180"/>
                    <a:gd name="T33" fmla="*/ 177 h 181"/>
                    <a:gd name="T34" fmla="*/ 174 w 180"/>
                    <a:gd name="T35" fmla="*/ 166 h 181"/>
                    <a:gd name="T36" fmla="*/ 163 w 180"/>
                    <a:gd name="T37" fmla="*/ 159 h 181"/>
                    <a:gd name="T38" fmla="*/ 162 w 180"/>
                    <a:gd name="T39" fmla="*/ 157 h 181"/>
                    <a:gd name="T40" fmla="*/ 162 w 180"/>
                    <a:gd name="T41" fmla="*/ 8 h 181"/>
                    <a:gd name="T42" fmla="*/ 155 w 180"/>
                    <a:gd name="T43" fmla="*/ 4 h 181"/>
                    <a:gd name="T44" fmla="*/ 6 w 180"/>
                    <a:gd name="T45" fmla="*/ 9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0" h="181">
                      <a:moveTo>
                        <a:pt x="155" y="181"/>
                      </a:moveTo>
                      <a:cubicBezTo>
                        <a:pt x="154" y="181"/>
                        <a:pt x="154" y="181"/>
                        <a:pt x="154" y="181"/>
                      </a:cubicBez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2"/>
                        <a:pt x="0" y="91"/>
                        <a:pt x="0" y="91"/>
                      </a:cubicBezTo>
                      <a:cubicBezTo>
                        <a:pt x="0" y="90"/>
                        <a:pt x="0" y="89"/>
                        <a:pt x="1" y="89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54" y="0"/>
                        <a:pt x="155" y="0"/>
                        <a:pt x="156" y="0"/>
                      </a:cubicBezTo>
                      <a:cubicBezTo>
                        <a:pt x="165" y="5"/>
                        <a:pt x="165" y="5"/>
                        <a:pt x="165" y="5"/>
                      </a:cubicBezTo>
                      <a:cubicBezTo>
                        <a:pt x="165" y="6"/>
                        <a:pt x="166" y="6"/>
                        <a:pt x="166" y="7"/>
                      </a:cubicBezTo>
                      <a:cubicBezTo>
                        <a:pt x="166" y="156"/>
                        <a:pt x="166" y="156"/>
                        <a:pt x="166" y="156"/>
                      </a:cubicBezTo>
                      <a:cubicBezTo>
                        <a:pt x="179" y="164"/>
                        <a:pt x="179" y="164"/>
                        <a:pt x="179" y="164"/>
                      </a:cubicBezTo>
                      <a:cubicBezTo>
                        <a:pt x="179" y="164"/>
                        <a:pt x="180" y="165"/>
                        <a:pt x="180" y="166"/>
                      </a:cubicBezTo>
                      <a:cubicBezTo>
                        <a:pt x="180" y="166"/>
                        <a:pt x="179" y="167"/>
                        <a:pt x="179" y="167"/>
                      </a:cubicBezTo>
                      <a:cubicBezTo>
                        <a:pt x="156" y="181"/>
                        <a:pt x="156" y="181"/>
                        <a:pt x="156" y="181"/>
                      </a:cubicBezTo>
                      <a:cubicBezTo>
                        <a:pt x="156" y="181"/>
                        <a:pt x="155" y="181"/>
                        <a:pt x="155" y="181"/>
                      </a:cubicBezTo>
                      <a:close/>
                      <a:moveTo>
                        <a:pt x="6" y="91"/>
                      </a:moveTo>
                      <a:cubicBezTo>
                        <a:pt x="155" y="177"/>
                        <a:pt x="155" y="177"/>
                        <a:pt x="155" y="177"/>
                      </a:cubicBezTo>
                      <a:cubicBezTo>
                        <a:pt x="174" y="166"/>
                        <a:pt x="174" y="166"/>
                        <a:pt x="174" y="166"/>
                      </a:cubicBezTo>
                      <a:cubicBezTo>
                        <a:pt x="163" y="159"/>
                        <a:pt x="163" y="159"/>
                        <a:pt x="163" y="159"/>
                      </a:cubicBezTo>
                      <a:cubicBezTo>
                        <a:pt x="162" y="159"/>
                        <a:pt x="162" y="158"/>
                        <a:pt x="162" y="157"/>
                      </a:cubicBezTo>
                      <a:cubicBezTo>
                        <a:pt x="162" y="8"/>
                        <a:pt x="162" y="8"/>
                        <a:pt x="162" y="8"/>
                      </a:cubicBezTo>
                      <a:cubicBezTo>
                        <a:pt x="155" y="4"/>
                        <a:pt x="155" y="4"/>
                        <a:pt x="155" y="4"/>
                      </a:cubicBezTo>
                      <a:lnTo>
                        <a:pt x="6" y="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7" name="Freeform 910">
                  <a:extLst>
                    <a:ext uri="{FF2B5EF4-FFF2-40B4-BE49-F238E27FC236}">
                      <a16:creationId xmlns:a16="http://schemas.microsoft.com/office/drawing/2014/main" id="{E6ECCB9C-87BA-4A51-8255-67FC1BA2FC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53" y="3615"/>
                  <a:ext cx="563" cy="321"/>
                </a:xfrm>
                <a:custGeom>
                  <a:avLst/>
                  <a:gdLst>
                    <a:gd name="T0" fmla="*/ 111 w 238"/>
                    <a:gd name="T1" fmla="*/ 136 h 136"/>
                    <a:gd name="T2" fmla="*/ 75 w 238"/>
                    <a:gd name="T3" fmla="*/ 114 h 136"/>
                    <a:gd name="T4" fmla="*/ 114 w 238"/>
                    <a:gd name="T5" fmla="*/ 91 h 136"/>
                    <a:gd name="T6" fmla="*/ 10 w 238"/>
                    <a:gd name="T7" fmla="*/ 76 h 136"/>
                    <a:gd name="T8" fmla="*/ 1 w 238"/>
                    <a:gd name="T9" fmla="*/ 72 h 136"/>
                    <a:gd name="T10" fmla="*/ 1 w 238"/>
                    <a:gd name="T11" fmla="*/ 69 h 136"/>
                    <a:gd name="T12" fmla="*/ 49 w 238"/>
                    <a:gd name="T13" fmla="*/ 22 h 136"/>
                    <a:gd name="T14" fmla="*/ 51 w 238"/>
                    <a:gd name="T15" fmla="*/ 20 h 136"/>
                    <a:gd name="T16" fmla="*/ 54 w 238"/>
                    <a:gd name="T17" fmla="*/ 21 h 136"/>
                    <a:gd name="T18" fmla="*/ 116 w 238"/>
                    <a:gd name="T19" fmla="*/ 61 h 136"/>
                    <a:gd name="T20" fmla="*/ 117 w 238"/>
                    <a:gd name="T21" fmla="*/ 12 h 136"/>
                    <a:gd name="T22" fmla="*/ 139 w 238"/>
                    <a:gd name="T23" fmla="*/ 0 h 136"/>
                    <a:gd name="T24" fmla="*/ 155 w 238"/>
                    <a:gd name="T25" fmla="*/ 11 h 136"/>
                    <a:gd name="T26" fmla="*/ 170 w 238"/>
                    <a:gd name="T27" fmla="*/ 19 h 136"/>
                    <a:gd name="T28" fmla="*/ 193 w 238"/>
                    <a:gd name="T29" fmla="*/ 32 h 136"/>
                    <a:gd name="T30" fmla="*/ 194 w 238"/>
                    <a:gd name="T31" fmla="*/ 36 h 136"/>
                    <a:gd name="T32" fmla="*/ 238 w 238"/>
                    <a:gd name="T33" fmla="*/ 62 h 136"/>
                    <a:gd name="T34" fmla="*/ 113 w 238"/>
                    <a:gd name="T35" fmla="*/ 136 h 136"/>
                    <a:gd name="T36" fmla="*/ 81 w 238"/>
                    <a:gd name="T37" fmla="*/ 114 h 136"/>
                    <a:gd name="T38" fmla="*/ 232 w 238"/>
                    <a:gd name="T39" fmla="*/ 62 h 136"/>
                    <a:gd name="T40" fmla="*/ 190 w 238"/>
                    <a:gd name="T41" fmla="*/ 37 h 136"/>
                    <a:gd name="T42" fmla="*/ 171 w 238"/>
                    <a:gd name="T43" fmla="*/ 23 h 136"/>
                    <a:gd name="T44" fmla="*/ 152 w 238"/>
                    <a:gd name="T45" fmla="*/ 33 h 136"/>
                    <a:gd name="T46" fmla="*/ 151 w 238"/>
                    <a:gd name="T47" fmla="*/ 12 h 136"/>
                    <a:gd name="T48" fmla="*/ 120 w 238"/>
                    <a:gd name="T49" fmla="*/ 15 h 136"/>
                    <a:gd name="T50" fmla="*/ 119 w 238"/>
                    <a:gd name="T51" fmla="*/ 67 h 136"/>
                    <a:gd name="T52" fmla="*/ 53 w 238"/>
                    <a:gd name="T53" fmla="*/ 30 h 136"/>
                    <a:gd name="T54" fmla="*/ 52 w 238"/>
                    <a:gd name="T55" fmla="*/ 44 h 136"/>
                    <a:gd name="T56" fmla="*/ 9 w 238"/>
                    <a:gd name="T57" fmla="*/ 72 h 136"/>
                    <a:gd name="T58" fmla="*/ 51 w 238"/>
                    <a:gd name="T59" fmla="*/ 49 h 136"/>
                    <a:gd name="T60" fmla="*/ 120 w 238"/>
                    <a:gd name="T61" fmla="*/ 91 h 136"/>
                    <a:gd name="T62" fmla="*/ 81 w 238"/>
                    <a:gd name="T63" fmla="*/ 114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8" h="136">
                      <a:moveTo>
                        <a:pt x="112" y="136"/>
                      </a:moveTo>
                      <a:cubicBezTo>
                        <a:pt x="111" y="136"/>
                        <a:pt x="111" y="136"/>
                        <a:pt x="111" y="136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6" y="116"/>
                        <a:pt x="75" y="115"/>
                        <a:pt x="75" y="114"/>
                      </a:cubicBezTo>
                      <a:cubicBezTo>
                        <a:pt x="75" y="113"/>
                        <a:pt x="76" y="113"/>
                        <a:pt x="76" y="112"/>
                      </a:cubicBezTo>
                      <a:cubicBezTo>
                        <a:pt x="114" y="91"/>
                        <a:pt x="114" y="91"/>
                        <a:pt x="114" y="91"/>
                      </a:cubicBezTo>
                      <a:cubicBezTo>
                        <a:pt x="50" y="53"/>
                        <a:pt x="50" y="53"/>
                        <a:pt x="50" y="53"/>
                      </a:cubicBezTo>
                      <a:cubicBezTo>
                        <a:pt x="10" y="76"/>
                        <a:pt x="10" y="76"/>
                        <a:pt x="10" y="76"/>
                      </a:cubicBezTo>
                      <a:cubicBezTo>
                        <a:pt x="9" y="77"/>
                        <a:pt x="9" y="77"/>
                        <a:pt x="8" y="76"/>
                      </a:cubicBezTo>
                      <a:cubicBezTo>
                        <a:pt x="1" y="72"/>
                        <a:pt x="1" y="72"/>
                        <a:pt x="1" y="72"/>
                      </a:cubicBezTo>
                      <a:cubicBezTo>
                        <a:pt x="0" y="72"/>
                        <a:pt x="0" y="71"/>
                        <a:pt x="0" y="71"/>
                      </a:cubicBezTo>
                      <a:cubicBezTo>
                        <a:pt x="0" y="70"/>
                        <a:pt x="0" y="69"/>
                        <a:pt x="1" y="69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1"/>
                        <a:pt x="50" y="21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2" y="19"/>
                        <a:pt x="53" y="19"/>
                        <a:pt x="53" y="20"/>
                      </a:cubicBezTo>
                      <a:cubicBezTo>
                        <a:pt x="54" y="20"/>
                        <a:pt x="54" y="21"/>
                        <a:pt x="54" y="21"/>
                      </a:cubicBezTo>
                      <a:cubicBezTo>
                        <a:pt x="54" y="26"/>
                        <a:pt x="54" y="26"/>
                        <a:pt x="54" y="26"/>
                      </a:cubicBezTo>
                      <a:cubicBezTo>
                        <a:pt x="116" y="61"/>
                        <a:pt x="116" y="61"/>
                        <a:pt x="116" y="61"/>
                      </a:cubicBezTo>
                      <a:cubicBezTo>
                        <a:pt x="116" y="14"/>
                        <a:pt x="116" y="14"/>
                        <a:pt x="116" y="14"/>
                      </a:cubicBezTo>
                      <a:cubicBezTo>
                        <a:pt x="116" y="13"/>
                        <a:pt x="116" y="12"/>
                        <a:pt x="117" y="12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38" y="0"/>
                        <a:pt x="138" y="0"/>
                        <a:pt x="139" y="0"/>
                      </a:cubicBezTo>
                      <a:cubicBezTo>
                        <a:pt x="154" y="9"/>
                        <a:pt x="154" y="9"/>
                        <a:pt x="154" y="9"/>
                      </a:cubicBezTo>
                      <a:cubicBezTo>
                        <a:pt x="155" y="9"/>
                        <a:pt x="155" y="10"/>
                        <a:pt x="155" y="11"/>
                      </a:cubicBezTo>
                      <a:cubicBezTo>
                        <a:pt x="155" y="28"/>
                        <a:pt x="155" y="28"/>
                        <a:pt x="155" y="28"/>
                      </a:cubicBezTo>
                      <a:cubicBezTo>
                        <a:pt x="170" y="19"/>
                        <a:pt x="170" y="19"/>
                        <a:pt x="170" y="19"/>
                      </a:cubicBezTo>
                      <a:cubicBezTo>
                        <a:pt x="170" y="19"/>
                        <a:pt x="171" y="19"/>
                        <a:pt x="172" y="19"/>
                      </a:cubicBezTo>
                      <a:cubicBezTo>
                        <a:pt x="193" y="32"/>
                        <a:pt x="193" y="32"/>
                        <a:pt x="193" y="32"/>
                      </a:cubicBezTo>
                      <a:cubicBezTo>
                        <a:pt x="194" y="32"/>
                        <a:pt x="194" y="33"/>
                        <a:pt x="194" y="33"/>
                      </a:cubicBezTo>
                      <a:cubicBezTo>
                        <a:pt x="194" y="36"/>
                        <a:pt x="194" y="36"/>
                        <a:pt x="194" y="36"/>
                      </a:cubicBezTo>
                      <a:cubicBezTo>
                        <a:pt x="237" y="60"/>
                        <a:pt x="237" y="60"/>
                        <a:pt x="237" y="60"/>
                      </a:cubicBezTo>
                      <a:cubicBezTo>
                        <a:pt x="238" y="61"/>
                        <a:pt x="238" y="61"/>
                        <a:pt x="238" y="62"/>
                      </a:cubicBezTo>
                      <a:cubicBezTo>
                        <a:pt x="238" y="63"/>
                        <a:pt x="238" y="64"/>
                        <a:pt x="237" y="64"/>
                      </a:cubicBezTo>
                      <a:cubicBezTo>
                        <a:pt x="113" y="136"/>
                        <a:pt x="113" y="136"/>
                        <a:pt x="113" y="136"/>
                      </a:cubicBezTo>
                      <a:cubicBezTo>
                        <a:pt x="112" y="136"/>
                        <a:pt x="112" y="136"/>
                        <a:pt x="112" y="136"/>
                      </a:cubicBezTo>
                      <a:close/>
                      <a:moveTo>
                        <a:pt x="81" y="114"/>
                      </a:moveTo>
                      <a:cubicBezTo>
                        <a:pt x="112" y="132"/>
                        <a:pt x="112" y="132"/>
                        <a:pt x="112" y="132"/>
                      </a:cubicBezTo>
                      <a:cubicBezTo>
                        <a:pt x="232" y="62"/>
                        <a:pt x="232" y="62"/>
                        <a:pt x="232" y="62"/>
                      </a:cubicBezTo>
                      <a:cubicBezTo>
                        <a:pt x="191" y="39"/>
                        <a:pt x="191" y="39"/>
                        <a:pt x="191" y="39"/>
                      </a:cubicBezTo>
                      <a:cubicBezTo>
                        <a:pt x="191" y="38"/>
                        <a:pt x="190" y="38"/>
                        <a:pt x="190" y="37"/>
                      </a:cubicBezTo>
                      <a:cubicBezTo>
                        <a:pt x="190" y="35"/>
                        <a:pt x="190" y="35"/>
                        <a:pt x="190" y="35"/>
                      </a:cubicBezTo>
                      <a:cubicBezTo>
                        <a:pt x="171" y="23"/>
                        <a:pt x="171" y="23"/>
                        <a:pt x="171" y="23"/>
                      </a:cubicBezTo>
                      <a:cubicBezTo>
                        <a:pt x="154" y="33"/>
                        <a:pt x="154" y="33"/>
                        <a:pt x="154" y="33"/>
                      </a:cubicBezTo>
                      <a:cubicBezTo>
                        <a:pt x="153" y="33"/>
                        <a:pt x="153" y="33"/>
                        <a:pt x="152" y="33"/>
                      </a:cubicBezTo>
                      <a:cubicBezTo>
                        <a:pt x="151" y="33"/>
                        <a:pt x="151" y="32"/>
                        <a:pt x="151" y="31"/>
                      </a:cubicBezTo>
                      <a:cubicBezTo>
                        <a:pt x="151" y="12"/>
                        <a:pt x="151" y="12"/>
                        <a:pt x="151" y="12"/>
                      </a:cubicBezTo>
                      <a:cubicBezTo>
                        <a:pt x="138" y="4"/>
                        <a:pt x="138" y="4"/>
                        <a:pt x="138" y="4"/>
                      </a:cubicBezTo>
                      <a:cubicBezTo>
                        <a:pt x="120" y="15"/>
                        <a:pt x="120" y="15"/>
                        <a:pt x="120" y="15"/>
                      </a:cubicBezTo>
                      <a:cubicBezTo>
                        <a:pt x="120" y="65"/>
                        <a:pt x="120" y="65"/>
                        <a:pt x="120" y="65"/>
                      </a:cubicBezTo>
                      <a:cubicBezTo>
                        <a:pt x="120" y="66"/>
                        <a:pt x="119" y="66"/>
                        <a:pt x="119" y="67"/>
                      </a:cubicBezTo>
                      <a:cubicBezTo>
                        <a:pt x="118" y="67"/>
                        <a:pt x="117" y="67"/>
                        <a:pt x="117" y="67"/>
                      </a:cubicBezTo>
                      <a:cubicBezTo>
                        <a:pt x="53" y="30"/>
                        <a:pt x="53" y="30"/>
                        <a:pt x="53" y="30"/>
                      </a:cubicBezTo>
                      <a:cubicBezTo>
                        <a:pt x="53" y="42"/>
                        <a:pt x="53" y="42"/>
                        <a:pt x="53" y="42"/>
                      </a:cubicBezTo>
                      <a:cubicBezTo>
                        <a:pt x="53" y="43"/>
                        <a:pt x="52" y="44"/>
                        <a:pt x="52" y="44"/>
                      </a:cubicBezTo>
                      <a:cubicBezTo>
                        <a:pt x="6" y="71"/>
                        <a:pt x="6" y="71"/>
                        <a:pt x="6" y="71"/>
                      </a:cubicBezTo>
                      <a:cubicBezTo>
                        <a:pt x="9" y="72"/>
                        <a:pt x="9" y="72"/>
                        <a:pt x="9" y="72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50" y="49"/>
                        <a:pt x="50" y="49"/>
                        <a:pt x="51" y="49"/>
                      </a:cubicBezTo>
                      <a:cubicBezTo>
                        <a:pt x="119" y="89"/>
                        <a:pt x="119" y="89"/>
                        <a:pt x="119" y="89"/>
                      </a:cubicBezTo>
                      <a:cubicBezTo>
                        <a:pt x="120" y="89"/>
                        <a:pt x="120" y="90"/>
                        <a:pt x="120" y="91"/>
                      </a:cubicBezTo>
                      <a:cubicBezTo>
                        <a:pt x="120" y="91"/>
                        <a:pt x="120" y="92"/>
                        <a:pt x="119" y="92"/>
                      </a:cubicBezTo>
                      <a:lnTo>
                        <a:pt x="81" y="1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8" name="Freeform 911">
                  <a:extLst>
                    <a:ext uri="{FF2B5EF4-FFF2-40B4-BE49-F238E27FC236}">
                      <a16:creationId xmlns:a16="http://schemas.microsoft.com/office/drawing/2014/main" id="{2252DBB7-3CC3-429D-9225-BA1A95E330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3579"/>
                  <a:ext cx="156" cy="180"/>
                </a:xfrm>
                <a:custGeom>
                  <a:avLst/>
                  <a:gdLst>
                    <a:gd name="T0" fmla="*/ 58 w 66"/>
                    <a:gd name="T1" fmla="*/ 76 h 76"/>
                    <a:gd name="T2" fmla="*/ 57 w 66"/>
                    <a:gd name="T3" fmla="*/ 76 h 76"/>
                    <a:gd name="T4" fmla="*/ 1 w 66"/>
                    <a:gd name="T5" fmla="*/ 43 h 76"/>
                    <a:gd name="T6" fmla="*/ 0 w 66"/>
                    <a:gd name="T7" fmla="*/ 41 h 76"/>
                    <a:gd name="T8" fmla="*/ 0 w 66"/>
                    <a:gd name="T9" fmla="*/ 16 h 76"/>
                    <a:gd name="T10" fmla="*/ 1 w 66"/>
                    <a:gd name="T11" fmla="*/ 15 h 76"/>
                    <a:gd name="T12" fmla="*/ 3 w 66"/>
                    <a:gd name="T13" fmla="*/ 15 h 76"/>
                    <a:gd name="T14" fmla="*/ 18 w 66"/>
                    <a:gd name="T15" fmla="*/ 23 h 76"/>
                    <a:gd name="T16" fmla="*/ 57 w 66"/>
                    <a:gd name="T17" fmla="*/ 0 h 76"/>
                    <a:gd name="T18" fmla="*/ 59 w 66"/>
                    <a:gd name="T19" fmla="*/ 0 h 76"/>
                    <a:gd name="T20" fmla="*/ 65 w 66"/>
                    <a:gd name="T21" fmla="*/ 4 h 76"/>
                    <a:gd name="T22" fmla="*/ 66 w 66"/>
                    <a:gd name="T23" fmla="*/ 6 h 76"/>
                    <a:gd name="T24" fmla="*/ 66 w 66"/>
                    <a:gd name="T25" fmla="*/ 15 h 76"/>
                    <a:gd name="T26" fmla="*/ 65 w 66"/>
                    <a:gd name="T27" fmla="*/ 17 h 76"/>
                    <a:gd name="T28" fmla="*/ 60 w 66"/>
                    <a:gd name="T29" fmla="*/ 20 h 76"/>
                    <a:gd name="T30" fmla="*/ 60 w 66"/>
                    <a:gd name="T31" fmla="*/ 74 h 76"/>
                    <a:gd name="T32" fmla="*/ 59 w 66"/>
                    <a:gd name="T33" fmla="*/ 76 h 76"/>
                    <a:gd name="T34" fmla="*/ 58 w 66"/>
                    <a:gd name="T35" fmla="*/ 76 h 76"/>
                    <a:gd name="T36" fmla="*/ 4 w 66"/>
                    <a:gd name="T37" fmla="*/ 40 h 76"/>
                    <a:gd name="T38" fmla="*/ 56 w 66"/>
                    <a:gd name="T39" fmla="*/ 70 h 76"/>
                    <a:gd name="T40" fmla="*/ 56 w 66"/>
                    <a:gd name="T41" fmla="*/ 18 h 76"/>
                    <a:gd name="T42" fmla="*/ 57 w 66"/>
                    <a:gd name="T43" fmla="*/ 17 h 76"/>
                    <a:gd name="T44" fmla="*/ 62 w 66"/>
                    <a:gd name="T45" fmla="*/ 14 h 76"/>
                    <a:gd name="T46" fmla="*/ 62 w 66"/>
                    <a:gd name="T47" fmla="*/ 7 h 76"/>
                    <a:gd name="T48" fmla="*/ 58 w 66"/>
                    <a:gd name="T49" fmla="*/ 4 h 76"/>
                    <a:gd name="T50" fmla="*/ 19 w 66"/>
                    <a:gd name="T51" fmla="*/ 27 h 76"/>
                    <a:gd name="T52" fmla="*/ 17 w 66"/>
                    <a:gd name="T53" fmla="*/ 27 h 76"/>
                    <a:gd name="T54" fmla="*/ 4 w 66"/>
                    <a:gd name="T55" fmla="*/ 20 h 76"/>
                    <a:gd name="T56" fmla="*/ 4 w 66"/>
                    <a:gd name="T57" fmla="*/ 4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" h="76">
                      <a:moveTo>
                        <a:pt x="58" y="76"/>
                      </a:moveTo>
                      <a:cubicBezTo>
                        <a:pt x="58" y="76"/>
                        <a:pt x="58" y="76"/>
                        <a:pt x="57" y="76"/>
                      </a:cubicBezTo>
                      <a:cubicBezTo>
                        <a:pt x="1" y="43"/>
                        <a:pt x="1" y="43"/>
                        <a:pt x="1" y="43"/>
                      </a:cubicBezTo>
                      <a:cubicBezTo>
                        <a:pt x="0" y="43"/>
                        <a:pt x="0" y="42"/>
                        <a:pt x="0" y="41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6"/>
                        <a:pt x="0" y="15"/>
                        <a:pt x="1" y="15"/>
                      </a:cubicBezTo>
                      <a:cubicBezTo>
                        <a:pt x="2" y="14"/>
                        <a:pt x="2" y="14"/>
                        <a:pt x="3" y="15"/>
                      </a:cubicBezTo>
                      <a:cubicBezTo>
                        <a:pt x="18" y="23"/>
                        <a:pt x="18" y="23"/>
                        <a:pt x="18" y="23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8" y="0"/>
                        <a:pt x="58" y="0"/>
                        <a:pt x="59" y="0"/>
                      </a:cubicBezTo>
                      <a:cubicBezTo>
                        <a:pt x="65" y="4"/>
                        <a:pt x="65" y="4"/>
                        <a:pt x="65" y="4"/>
                      </a:cubicBezTo>
                      <a:cubicBezTo>
                        <a:pt x="66" y="4"/>
                        <a:pt x="66" y="5"/>
                        <a:pt x="66" y="6"/>
                      </a:cubicBezTo>
                      <a:cubicBezTo>
                        <a:pt x="66" y="15"/>
                        <a:pt x="66" y="15"/>
                        <a:pt x="66" y="15"/>
                      </a:cubicBezTo>
                      <a:cubicBezTo>
                        <a:pt x="66" y="16"/>
                        <a:pt x="66" y="17"/>
                        <a:pt x="65" y="17"/>
                      </a:cubicBezTo>
                      <a:cubicBezTo>
                        <a:pt x="60" y="20"/>
                        <a:pt x="60" y="20"/>
                        <a:pt x="60" y="20"/>
                      </a:cubicBez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0" y="75"/>
                        <a:pt x="60" y="75"/>
                        <a:pt x="59" y="76"/>
                      </a:cubicBezTo>
                      <a:cubicBezTo>
                        <a:pt x="59" y="76"/>
                        <a:pt x="59" y="76"/>
                        <a:pt x="58" y="76"/>
                      </a:cubicBezTo>
                      <a:close/>
                      <a:moveTo>
                        <a:pt x="4" y="40"/>
                      </a:moveTo>
                      <a:cubicBezTo>
                        <a:pt x="56" y="70"/>
                        <a:pt x="56" y="70"/>
                        <a:pt x="56" y="70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7"/>
                        <a:pt x="57" y="17"/>
                      </a:cubicBezTo>
                      <a:cubicBezTo>
                        <a:pt x="62" y="14"/>
                        <a:pt x="62" y="14"/>
                        <a:pt x="62" y="14"/>
                      </a:cubicBezTo>
                      <a:cubicBezTo>
                        <a:pt x="62" y="7"/>
                        <a:pt x="62" y="7"/>
                        <a:pt x="62" y="7"/>
                      </a:cubicBezTo>
                      <a:cubicBezTo>
                        <a:pt x="58" y="4"/>
                        <a:pt x="58" y="4"/>
                        <a:pt x="58" y="4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8"/>
                        <a:pt x="17" y="28"/>
                        <a:pt x="17" y="27"/>
                      </a:cubicBezTo>
                      <a:cubicBezTo>
                        <a:pt x="4" y="20"/>
                        <a:pt x="4" y="20"/>
                        <a:pt x="4" y="20"/>
                      </a:cubicBezTo>
                      <a:lnTo>
                        <a:pt x="4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9" name="Freeform 912">
                  <a:extLst>
                    <a:ext uri="{FF2B5EF4-FFF2-40B4-BE49-F238E27FC236}">
                      <a16:creationId xmlns:a16="http://schemas.microsoft.com/office/drawing/2014/main" id="{2D9FD3D5-E1D7-4423-A150-EF0C504714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07" y="3690"/>
                  <a:ext cx="116" cy="73"/>
                </a:xfrm>
                <a:custGeom>
                  <a:avLst/>
                  <a:gdLst>
                    <a:gd name="T0" fmla="*/ 46 w 49"/>
                    <a:gd name="T1" fmla="*/ 31 h 31"/>
                    <a:gd name="T2" fmla="*/ 45 w 49"/>
                    <a:gd name="T3" fmla="*/ 31 h 31"/>
                    <a:gd name="T4" fmla="*/ 1 w 49"/>
                    <a:gd name="T5" fmla="*/ 6 h 31"/>
                    <a:gd name="T6" fmla="*/ 0 w 49"/>
                    <a:gd name="T7" fmla="*/ 4 h 31"/>
                    <a:gd name="T8" fmla="*/ 0 w 49"/>
                    <a:gd name="T9" fmla="*/ 2 h 31"/>
                    <a:gd name="T10" fmla="*/ 1 w 49"/>
                    <a:gd name="T11" fmla="*/ 1 h 31"/>
                    <a:gd name="T12" fmla="*/ 3 w 49"/>
                    <a:gd name="T13" fmla="*/ 1 h 31"/>
                    <a:gd name="T14" fmla="*/ 48 w 49"/>
                    <a:gd name="T15" fmla="*/ 27 h 31"/>
                    <a:gd name="T16" fmla="*/ 49 w 49"/>
                    <a:gd name="T17" fmla="*/ 28 h 31"/>
                    <a:gd name="T18" fmla="*/ 48 w 49"/>
                    <a:gd name="T19" fmla="*/ 30 h 31"/>
                    <a:gd name="T20" fmla="*/ 47 w 49"/>
                    <a:gd name="T21" fmla="*/ 31 h 31"/>
                    <a:gd name="T22" fmla="*/ 46 w 49"/>
                    <a:gd name="T23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9" h="31">
                      <a:moveTo>
                        <a:pt x="46" y="31"/>
                      </a:moveTo>
                      <a:cubicBezTo>
                        <a:pt x="45" y="31"/>
                        <a:pt x="45" y="31"/>
                        <a:pt x="45" y="31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9" y="27"/>
                        <a:pt x="49" y="28"/>
                        <a:pt x="49" y="28"/>
                      </a:cubicBezTo>
                      <a:cubicBezTo>
                        <a:pt x="49" y="29"/>
                        <a:pt x="49" y="30"/>
                        <a:pt x="48" y="30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6" y="31"/>
                        <a:pt x="46" y="31"/>
                        <a:pt x="46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0" name="Freeform 913">
                  <a:extLst>
                    <a:ext uri="{FF2B5EF4-FFF2-40B4-BE49-F238E27FC236}">
                      <a16:creationId xmlns:a16="http://schemas.microsoft.com/office/drawing/2014/main" id="{4432060C-8072-4489-BC95-8E71F3BEE2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13" y="3789"/>
                  <a:ext cx="220" cy="133"/>
                </a:xfrm>
                <a:custGeom>
                  <a:avLst/>
                  <a:gdLst>
                    <a:gd name="T0" fmla="*/ 67 w 93"/>
                    <a:gd name="T1" fmla="*/ 56 h 56"/>
                    <a:gd name="T2" fmla="*/ 66 w 93"/>
                    <a:gd name="T3" fmla="*/ 56 h 56"/>
                    <a:gd name="T4" fmla="*/ 1 w 93"/>
                    <a:gd name="T5" fmla="*/ 18 h 56"/>
                    <a:gd name="T6" fmla="*/ 0 w 93"/>
                    <a:gd name="T7" fmla="*/ 17 h 56"/>
                    <a:gd name="T8" fmla="*/ 1 w 93"/>
                    <a:gd name="T9" fmla="*/ 15 h 56"/>
                    <a:gd name="T10" fmla="*/ 25 w 93"/>
                    <a:gd name="T11" fmla="*/ 1 h 56"/>
                    <a:gd name="T12" fmla="*/ 27 w 93"/>
                    <a:gd name="T13" fmla="*/ 1 h 56"/>
                    <a:gd name="T14" fmla="*/ 92 w 93"/>
                    <a:gd name="T15" fmla="*/ 38 h 56"/>
                    <a:gd name="T16" fmla="*/ 93 w 93"/>
                    <a:gd name="T17" fmla="*/ 40 h 56"/>
                    <a:gd name="T18" fmla="*/ 92 w 93"/>
                    <a:gd name="T19" fmla="*/ 42 h 56"/>
                    <a:gd name="T20" fmla="*/ 68 w 93"/>
                    <a:gd name="T21" fmla="*/ 56 h 56"/>
                    <a:gd name="T22" fmla="*/ 67 w 93"/>
                    <a:gd name="T23" fmla="*/ 56 h 56"/>
                    <a:gd name="T24" fmla="*/ 6 w 93"/>
                    <a:gd name="T25" fmla="*/ 17 h 56"/>
                    <a:gd name="T26" fmla="*/ 67 w 93"/>
                    <a:gd name="T27" fmla="*/ 52 h 56"/>
                    <a:gd name="T28" fmla="*/ 87 w 93"/>
                    <a:gd name="T29" fmla="*/ 40 h 56"/>
                    <a:gd name="T30" fmla="*/ 26 w 93"/>
                    <a:gd name="T31" fmla="*/ 5 h 56"/>
                    <a:gd name="T32" fmla="*/ 6 w 93"/>
                    <a:gd name="T33" fmla="*/ 17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3" h="56">
                      <a:moveTo>
                        <a:pt x="67" y="56"/>
                      </a:moveTo>
                      <a:cubicBezTo>
                        <a:pt x="67" y="56"/>
                        <a:pt x="66" y="56"/>
                        <a:pt x="66" y="56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7"/>
                      </a:cubicBezTo>
                      <a:cubicBezTo>
                        <a:pt x="0" y="16"/>
                        <a:pt x="0" y="15"/>
                        <a:pt x="1" y="15"/>
                      </a:cubicBezTo>
                      <a:cubicBezTo>
                        <a:pt x="25" y="1"/>
                        <a:pt x="25" y="1"/>
                        <a:pt x="25" y="1"/>
                      </a:cubicBezTo>
                      <a:cubicBezTo>
                        <a:pt x="26" y="0"/>
                        <a:pt x="26" y="0"/>
                        <a:pt x="27" y="1"/>
                      </a:cubicBezTo>
                      <a:cubicBezTo>
                        <a:pt x="92" y="38"/>
                        <a:pt x="92" y="38"/>
                        <a:pt x="92" y="38"/>
                      </a:cubicBezTo>
                      <a:cubicBezTo>
                        <a:pt x="93" y="39"/>
                        <a:pt x="93" y="39"/>
                        <a:pt x="93" y="40"/>
                      </a:cubicBezTo>
                      <a:cubicBezTo>
                        <a:pt x="93" y="41"/>
                        <a:pt x="93" y="42"/>
                        <a:pt x="92" y="42"/>
                      </a:cubicBezTo>
                      <a:cubicBezTo>
                        <a:pt x="68" y="56"/>
                        <a:pt x="68" y="56"/>
                        <a:pt x="68" y="56"/>
                      </a:cubicBezTo>
                      <a:cubicBezTo>
                        <a:pt x="68" y="56"/>
                        <a:pt x="67" y="56"/>
                        <a:pt x="67" y="56"/>
                      </a:cubicBezTo>
                      <a:close/>
                      <a:moveTo>
                        <a:pt x="6" y="17"/>
                      </a:moveTo>
                      <a:cubicBezTo>
                        <a:pt x="67" y="52"/>
                        <a:pt x="67" y="52"/>
                        <a:pt x="67" y="52"/>
                      </a:cubicBezTo>
                      <a:cubicBezTo>
                        <a:pt x="87" y="40"/>
                        <a:pt x="87" y="40"/>
                        <a:pt x="87" y="40"/>
                      </a:cubicBezTo>
                      <a:cubicBezTo>
                        <a:pt x="26" y="5"/>
                        <a:pt x="26" y="5"/>
                        <a:pt x="26" y="5"/>
                      </a:cubicBezTo>
                      <a:lnTo>
                        <a:pt x="6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1" name="Freeform 914">
                  <a:extLst>
                    <a:ext uri="{FF2B5EF4-FFF2-40B4-BE49-F238E27FC236}">
                      <a16:creationId xmlns:a16="http://schemas.microsoft.com/office/drawing/2014/main" id="{F104EA52-A456-4E66-B80D-39E07F54AE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75" y="3735"/>
                  <a:ext cx="255" cy="151"/>
                </a:xfrm>
                <a:custGeom>
                  <a:avLst/>
                  <a:gdLst>
                    <a:gd name="T0" fmla="*/ 67 w 108"/>
                    <a:gd name="T1" fmla="*/ 64 h 64"/>
                    <a:gd name="T2" fmla="*/ 66 w 108"/>
                    <a:gd name="T3" fmla="*/ 64 h 64"/>
                    <a:gd name="T4" fmla="*/ 1 w 108"/>
                    <a:gd name="T5" fmla="*/ 26 h 64"/>
                    <a:gd name="T6" fmla="*/ 0 w 108"/>
                    <a:gd name="T7" fmla="*/ 25 h 64"/>
                    <a:gd name="T8" fmla="*/ 1 w 108"/>
                    <a:gd name="T9" fmla="*/ 23 h 64"/>
                    <a:gd name="T10" fmla="*/ 40 w 108"/>
                    <a:gd name="T11" fmla="*/ 0 h 64"/>
                    <a:gd name="T12" fmla="*/ 42 w 108"/>
                    <a:gd name="T13" fmla="*/ 0 h 64"/>
                    <a:gd name="T14" fmla="*/ 107 w 108"/>
                    <a:gd name="T15" fmla="*/ 38 h 64"/>
                    <a:gd name="T16" fmla="*/ 108 w 108"/>
                    <a:gd name="T17" fmla="*/ 40 h 64"/>
                    <a:gd name="T18" fmla="*/ 107 w 108"/>
                    <a:gd name="T19" fmla="*/ 41 h 64"/>
                    <a:gd name="T20" fmla="*/ 68 w 108"/>
                    <a:gd name="T21" fmla="*/ 64 h 64"/>
                    <a:gd name="T22" fmla="*/ 67 w 108"/>
                    <a:gd name="T23" fmla="*/ 64 h 64"/>
                    <a:gd name="T24" fmla="*/ 6 w 108"/>
                    <a:gd name="T25" fmla="*/ 25 h 64"/>
                    <a:gd name="T26" fmla="*/ 67 w 108"/>
                    <a:gd name="T27" fmla="*/ 60 h 64"/>
                    <a:gd name="T28" fmla="*/ 102 w 108"/>
                    <a:gd name="T29" fmla="*/ 40 h 64"/>
                    <a:gd name="T30" fmla="*/ 41 w 108"/>
                    <a:gd name="T31" fmla="*/ 4 h 64"/>
                    <a:gd name="T32" fmla="*/ 6 w 108"/>
                    <a:gd name="T33" fmla="*/ 25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8" h="64">
                      <a:moveTo>
                        <a:pt x="67" y="64"/>
                      </a:moveTo>
                      <a:cubicBezTo>
                        <a:pt x="66" y="64"/>
                        <a:pt x="66" y="64"/>
                        <a:pt x="66" y="6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1" y="0"/>
                        <a:pt x="41" y="0"/>
                        <a:pt x="42" y="0"/>
                      </a:cubicBezTo>
                      <a:cubicBezTo>
                        <a:pt x="107" y="38"/>
                        <a:pt x="107" y="38"/>
                        <a:pt x="107" y="38"/>
                      </a:cubicBezTo>
                      <a:cubicBezTo>
                        <a:pt x="108" y="38"/>
                        <a:pt x="108" y="39"/>
                        <a:pt x="108" y="40"/>
                      </a:cubicBezTo>
                      <a:cubicBezTo>
                        <a:pt x="108" y="40"/>
                        <a:pt x="108" y="41"/>
                        <a:pt x="107" y="41"/>
                      </a:cubicBezTo>
                      <a:cubicBezTo>
                        <a:pt x="68" y="64"/>
                        <a:pt x="68" y="64"/>
                        <a:pt x="68" y="64"/>
                      </a:cubicBezTo>
                      <a:cubicBezTo>
                        <a:pt x="68" y="64"/>
                        <a:pt x="67" y="64"/>
                        <a:pt x="67" y="64"/>
                      </a:cubicBezTo>
                      <a:close/>
                      <a:moveTo>
                        <a:pt x="6" y="25"/>
                      </a:moveTo>
                      <a:cubicBezTo>
                        <a:pt x="67" y="60"/>
                        <a:pt x="67" y="60"/>
                        <a:pt x="67" y="60"/>
                      </a:cubicBezTo>
                      <a:cubicBezTo>
                        <a:pt x="102" y="40"/>
                        <a:pt x="102" y="40"/>
                        <a:pt x="102" y="40"/>
                      </a:cubicBezTo>
                      <a:cubicBezTo>
                        <a:pt x="41" y="4"/>
                        <a:pt x="41" y="4"/>
                        <a:pt x="41" y="4"/>
                      </a:cubicBezTo>
                      <a:lnTo>
                        <a:pt x="6" y="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2" name="Freeform 915">
                  <a:extLst>
                    <a:ext uri="{FF2B5EF4-FFF2-40B4-BE49-F238E27FC236}">
                      <a16:creationId xmlns:a16="http://schemas.microsoft.com/office/drawing/2014/main" id="{6C2A73DC-B8B6-4394-AB04-CF4BE6E8BA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3241"/>
                  <a:ext cx="57" cy="102"/>
                </a:xfrm>
                <a:custGeom>
                  <a:avLst/>
                  <a:gdLst>
                    <a:gd name="T0" fmla="*/ 22 w 24"/>
                    <a:gd name="T1" fmla="*/ 43 h 43"/>
                    <a:gd name="T2" fmla="*/ 21 w 24"/>
                    <a:gd name="T3" fmla="*/ 42 h 43"/>
                    <a:gd name="T4" fmla="*/ 1 w 24"/>
                    <a:gd name="T5" fmla="*/ 31 h 43"/>
                    <a:gd name="T6" fmla="*/ 0 w 24"/>
                    <a:gd name="T7" fmla="*/ 29 h 43"/>
                    <a:gd name="T8" fmla="*/ 0 w 24"/>
                    <a:gd name="T9" fmla="*/ 13 h 43"/>
                    <a:gd name="T10" fmla="*/ 1 w 24"/>
                    <a:gd name="T11" fmla="*/ 12 h 43"/>
                    <a:gd name="T12" fmla="*/ 21 w 24"/>
                    <a:gd name="T13" fmla="*/ 0 h 43"/>
                    <a:gd name="T14" fmla="*/ 23 w 24"/>
                    <a:gd name="T15" fmla="*/ 0 h 43"/>
                    <a:gd name="T16" fmla="*/ 24 w 24"/>
                    <a:gd name="T17" fmla="*/ 2 h 43"/>
                    <a:gd name="T18" fmla="*/ 24 w 24"/>
                    <a:gd name="T19" fmla="*/ 41 h 43"/>
                    <a:gd name="T20" fmla="*/ 23 w 24"/>
                    <a:gd name="T21" fmla="*/ 42 h 43"/>
                    <a:gd name="T22" fmla="*/ 22 w 24"/>
                    <a:gd name="T23" fmla="*/ 43 h 43"/>
                    <a:gd name="T24" fmla="*/ 4 w 24"/>
                    <a:gd name="T25" fmla="*/ 28 h 43"/>
                    <a:gd name="T26" fmla="*/ 20 w 24"/>
                    <a:gd name="T27" fmla="*/ 37 h 43"/>
                    <a:gd name="T28" fmla="*/ 20 w 24"/>
                    <a:gd name="T29" fmla="*/ 5 h 43"/>
                    <a:gd name="T30" fmla="*/ 4 w 24"/>
                    <a:gd name="T31" fmla="*/ 15 h 43"/>
                    <a:gd name="T32" fmla="*/ 4 w 24"/>
                    <a:gd name="T33" fmla="*/ 28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43">
                      <a:moveTo>
                        <a:pt x="22" y="43"/>
                      </a:moveTo>
                      <a:cubicBezTo>
                        <a:pt x="22" y="43"/>
                        <a:pt x="21" y="43"/>
                        <a:pt x="21" y="42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0" y="30"/>
                        <a:pt x="0" y="29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3"/>
                        <a:pt x="1" y="12"/>
                        <a:pt x="1" y="12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1"/>
                        <a:pt x="24" y="1"/>
                        <a:pt x="24" y="2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4" y="41"/>
                        <a:pt x="23" y="42"/>
                        <a:pt x="23" y="42"/>
                      </a:cubicBezTo>
                      <a:cubicBezTo>
                        <a:pt x="23" y="43"/>
                        <a:pt x="22" y="43"/>
                        <a:pt x="22" y="43"/>
                      </a:cubicBezTo>
                      <a:close/>
                      <a:moveTo>
                        <a:pt x="4" y="28"/>
                      </a:moveTo>
                      <a:cubicBezTo>
                        <a:pt x="20" y="37"/>
                        <a:pt x="20" y="37"/>
                        <a:pt x="20" y="37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4" y="15"/>
                        <a:pt x="4" y="15"/>
                        <a:pt x="4" y="15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3" name="Freeform 916">
                  <a:extLst>
                    <a:ext uri="{FF2B5EF4-FFF2-40B4-BE49-F238E27FC236}">
                      <a16:creationId xmlns:a16="http://schemas.microsoft.com/office/drawing/2014/main" id="{4B4C2636-BABD-4C35-BF9D-558E8694AE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13" y="3759"/>
                  <a:ext cx="43" cy="45"/>
                </a:xfrm>
                <a:custGeom>
                  <a:avLst/>
                  <a:gdLst>
                    <a:gd name="T0" fmla="*/ 2 w 18"/>
                    <a:gd name="T1" fmla="*/ 19 h 19"/>
                    <a:gd name="T2" fmla="*/ 1 w 18"/>
                    <a:gd name="T3" fmla="*/ 19 h 19"/>
                    <a:gd name="T4" fmla="*/ 0 w 18"/>
                    <a:gd name="T5" fmla="*/ 17 h 19"/>
                    <a:gd name="T6" fmla="*/ 0 w 18"/>
                    <a:gd name="T7" fmla="*/ 2 h 19"/>
                    <a:gd name="T8" fmla="*/ 1 w 18"/>
                    <a:gd name="T9" fmla="*/ 0 h 19"/>
                    <a:gd name="T10" fmla="*/ 3 w 18"/>
                    <a:gd name="T11" fmla="*/ 0 h 19"/>
                    <a:gd name="T12" fmla="*/ 17 w 18"/>
                    <a:gd name="T13" fmla="*/ 8 h 19"/>
                    <a:gd name="T14" fmla="*/ 18 w 18"/>
                    <a:gd name="T15" fmla="*/ 10 h 19"/>
                    <a:gd name="T16" fmla="*/ 17 w 18"/>
                    <a:gd name="T17" fmla="*/ 11 h 19"/>
                    <a:gd name="T18" fmla="*/ 3 w 18"/>
                    <a:gd name="T19" fmla="*/ 19 h 19"/>
                    <a:gd name="T20" fmla="*/ 2 w 18"/>
                    <a:gd name="T21" fmla="*/ 19 h 19"/>
                    <a:gd name="T22" fmla="*/ 4 w 18"/>
                    <a:gd name="T23" fmla="*/ 5 h 19"/>
                    <a:gd name="T24" fmla="*/ 4 w 18"/>
                    <a:gd name="T25" fmla="*/ 14 h 19"/>
                    <a:gd name="T26" fmla="*/ 12 w 18"/>
                    <a:gd name="T27" fmla="*/ 10 h 19"/>
                    <a:gd name="T28" fmla="*/ 4 w 18"/>
                    <a:gd name="T29" fmla="*/ 5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19">
                      <a:moveTo>
                        <a:pt x="2" y="19"/>
                      </a:moveTo>
                      <a:cubicBezTo>
                        <a:pt x="2" y="19"/>
                        <a:pt x="1" y="19"/>
                        <a:pt x="1" y="19"/>
                      </a:cubicBezTo>
                      <a:cubicBezTo>
                        <a:pt x="0" y="19"/>
                        <a:pt x="0" y="18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8" y="9"/>
                        <a:pt x="18" y="10"/>
                      </a:cubicBezTo>
                      <a:cubicBezTo>
                        <a:pt x="18" y="10"/>
                        <a:pt x="17" y="11"/>
                        <a:pt x="17" y="1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9"/>
                        <a:pt x="2" y="19"/>
                        <a:pt x="2" y="19"/>
                      </a:cubicBezTo>
                      <a:close/>
                      <a:moveTo>
                        <a:pt x="4" y="5"/>
                      </a:move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4" name="Freeform 917">
                  <a:extLst>
                    <a:ext uri="{FF2B5EF4-FFF2-40B4-BE49-F238E27FC236}">
                      <a16:creationId xmlns:a16="http://schemas.microsoft.com/office/drawing/2014/main" id="{7CD815F7-5CCA-4241-815E-46261F62AD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27" y="3664"/>
                  <a:ext cx="147" cy="121"/>
                </a:xfrm>
                <a:custGeom>
                  <a:avLst/>
                  <a:gdLst>
                    <a:gd name="T0" fmla="*/ 11 w 62"/>
                    <a:gd name="T1" fmla="*/ 51 h 51"/>
                    <a:gd name="T2" fmla="*/ 10 w 62"/>
                    <a:gd name="T3" fmla="*/ 50 h 51"/>
                    <a:gd name="T4" fmla="*/ 1 w 62"/>
                    <a:gd name="T5" fmla="*/ 45 h 51"/>
                    <a:gd name="T6" fmla="*/ 0 w 62"/>
                    <a:gd name="T7" fmla="*/ 43 h 51"/>
                    <a:gd name="T8" fmla="*/ 0 w 62"/>
                    <a:gd name="T9" fmla="*/ 36 h 51"/>
                    <a:gd name="T10" fmla="*/ 1 w 62"/>
                    <a:gd name="T11" fmla="*/ 34 h 51"/>
                    <a:gd name="T12" fmla="*/ 59 w 62"/>
                    <a:gd name="T13" fmla="*/ 0 h 51"/>
                    <a:gd name="T14" fmla="*/ 61 w 62"/>
                    <a:gd name="T15" fmla="*/ 0 h 51"/>
                    <a:gd name="T16" fmla="*/ 62 w 62"/>
                    <a:gd name="T17" fmla="*/ 2 h 51"/>
                    <a:gd name="T18" fmla="*/ 62 w 62"/>
                    <a:gd name="T19" fmla="*/ 20 h 51"/>
                    <a:gd name="T20" fmla="*/ 61 w 62"/>
                    <a:gd name="T21" fmla="*/ 22 h 51"/>
                    <a:gd name="T22" fmla="*/ 12 w 62"/>
                    <a:gd name="T23" fmla="*/ 50 h 51"/>
                    <a:gd name="T24" fmla="*/ 11 w 62"/>
                    <a:gd name="T25" fmla="*/ 51 h 51"/>
                    <a:gd name="T26" fmla="*/ 4 w 62"/>
                    <a:gd name="T27" fmla="*/ 42 h 51"/>
                    <a:gd name="T28" fmla="*/ 11 w 62"/>
                    <a:gd name="T29" fmla="*/ 46 h 51"/>
                    <a:gd name="T30" fmla="*/ 58 w 62"/>
                    <a:gd name="T31" fmla="*/ 19 h 51"/>
                    <a:gd name="T32" fmla="*/ 58 w 62"/>
                    <a:gd name="T33" fmla="*/ 6 h 51"/>
                    <a:gd name="T34" fmla="*/ 4 w 62"/>
                    <a:gd name="T35" fmla="*/ 37 h 51"/>
                    <a:gd name="T36" fmla="*/ 4 w 62"/>
                    <a:gd name="T37" fmla="*/ 4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2" h="51">
                      <a:moveTo>
                        <a:pt x="11" y="51"/>
                      </a:moveTo>
                      <a:cubicBezTo>
                        <a:pt x="11" y="51"/>
                        <a:pt x="11" y="50"/>
                        <a:pt x="10" y="50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4"/>
                        <a:pt x="0" y="44"/>
                        <a:pt x="0" y="4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5"/>
                        <a:pt x="0" y="35"/>
                        <a:pt x="1" y="34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0" y="0"/>
                        <a:pt x="61" y="0"/>
                        <a:pt x="61" y="0"/>
                      </a:cubicBezTo>
                      <a:cubicBezTo>
                        <a:pt x="62" y="1"/>
                        <a:pt x="62" y="1"/>
                        <a:pt x="62" y="2"/>
                      </a:cubicBezTo>
                      <a:cubicBezTo>
                        <a:pt x="62" y="20"/>
                        <a:pt x="62" y="20"/>
                        <a:pt x="62" y="20"/>
                      </a:cubicBezTo>
                      <a:cubicBezTo>
                        <a:pt x="62" y="21"/>
                        <a:pt x="62" y="22"/>
                        <a:pt x="61" y="22"/>
                      </a:cubicBezTo>
                      <a:cubicBezTo>
                        <a:pt x="12" y="50"/>
                        <a:pt x="12" y="50"/>
                        <a:pt x="12" y="50"/>
                      </a:cubicBezTo>
                      <a:cubicBezTo>
                        <a:pt x="12" y="50"/>
                        <a:pt x="12" y="51"/>
                        <a:pt x="11" y="51"/>
                      </a:cubicBezTo>
                      <a:close/>
                      <a:moveTo>
                        <a:pt x="4" y="42"/>
                      </a:move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8" y="6"/>
                        <a:pt x="58" y="6"/>
                        <a:pt x="58" y="6"/>
                      </a:cubicBezTo>
                      <a:cubicBezTo>
                        <a:pt x="4" y="37"/>
                        <a:pt x="4" y="37"/>
                        <a:pt x="4" y="37"/>
                      </a:cubicBezTo>
                      <a:lnTo>
                        <a:pt x="4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5" name="Freeform 918">
                  <a:extLst>
                    <a:ext uri="{FF2B5EF4-FFF2-40B4-BE49-F238E27FC236}">
                      <a16:creationId xmlns:a16="http://schemas.microsoft.com/office/drawing/2014/main" id="{F7FCFF35-D22E-46C7-812F-12D66892CB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3329"/>
                  <a:ext cx="307" cy="524"/>
                </a:xfrm>
                <a:custGeom>
                  <a:avLst/>
                  <a:gdLst>
                    <a:gd name="T0" fmla="*/ 128 w 130"/>
                    <a:gd name="T1" fmla="*/ 222 h 222"/>
                    <a:gd name="T2" fmla="*/ 127 w 130"/>
                    <a:gd name="T3" fmla="*/ 221 h 222"/>
                    <a:gd name="T4" fmla="*/ 11 w 130"/>
                    <a:gd name="T5" fmla="*/ 155 h 222"/>
                    <a:gd name="T6" fmla="*/ 10 w 130"/>
                    <a:gd name="T7" fmla="*/ 153 h 222"/>
                    <a:gd name="T8" fmla="*/ 10 w 130"/>
                    <a:gd name="T9" fmla="*/ 13 h 222"/>
                    <a:gd name="T10" fmla="*/ 3 w 130"/>
                    <a:gd name="T11" fmla="*/ 17 h 222"/>
                    <a:gd name="T12" fmla="*/ 1 w 130"/>
                    <a:gd name="T13" fmla="*/ 17 h 222"/>
                    <a:gd name="T14" fmla="*/ 0 w 130"/>
                    <a:gd name="T15" fmla="*/ 15 h 222"/>
                    <a:gd name="T16" fmla="*/ 0 w 130"/>
                    <a:gd name="T17" fmla="*/ 2 h 222"/>
                    <a:gd name="T18" fmla="*/ 1 w 130"/>
                    <a:gd name="T19" fmla="*/ 1 h 222"/>
                    <a:gd name="T20" fmla="*/ 3 w 130"/>
                    <a:gd name="T21" fmla="*/ 1 h 222"/>
                    <a:gd name="T22" fmla="*/ 24 w 130"/>
                    <a:gd name="T23" fmla="*/ 13 h 222"/>
                    <a:gd name="T24" fmla="*/ 25 w 130"/>
                    <a:gd name="T25" fmla="*/ 15 h 222"/>
                    <a:gd name="T26" fmla="*/ 24 w 130"/>
                    <a:gd name="T27" fmla="*/ 16 h 222"/>
                    <a:gd name="T28" fmla="*/ 20 w 130"/>
                    <a:gd name="T29" fmla="*/ 19 h 222"/>
                    <a:gd name="T30" fmla="*/ 129 w 130"/>
                    <a:gd name="T31" fmla="*/ 81 h 222"/>
                    <a:gd name="T32" fmla="*/ 130 w 130"/>
                    <a:gd name="T33" fmla="*/ 83 h 222"/>
                    <a:gd name="T34" fmla="*/ 130 w 130"/>
                    <a:gd name="T35" fmla="*/ 220 h 222"/>
                    <a:gd name="T36" fmla="*/ 129 w 130"/>
                    <a:gd name="T37" fmla="*/ 221 h 222"/>
                    <a:gd name="T38" fmla="*/ 128 w 130"/>
                    <a:gd name="T39" fmla="*/ 222 h 222"/>
                    <a:gd name="T40" fmla="*/ 14 w 130"/>
                    <a:gd name="T41" fmla="*/ 152 h 222"/>
                    <a:gd name="T42" fmla="*/ 126 w 130"/>
                    <a:gd name="T43" fmla="*/ 216 h 222"/>
                    <a:gd name="T44" fmla="*/ 126 w 130"/>
                    <a:gd name="T45" fmla="*/ 84 h 222"/>
                    <a:gd name="T46" fmla="*/ 15 w 130"/>
                    <a:gd name="T47" fmla="*/ 20 h 222"/>
                    <a:gd name="T48" fmla="*/ 14 w 130"/>
                    <a:gd name="T49" fmla="*/ 19 h 222"/>
                    <a:gd name="T50" fmla="*/ 15 w 130"/>
                    <a:gd name="T51" fmla="*/ 17 h 222"/>
                    <a:gd name="T52" fmla="*/ 19 w 130"/>
                    <a:gd name="T53" fmla="*/ 15 h 222"/>
                    <a:gd name="T54" fmla="*/ 14 w 130"/>
                    <a:gd name="T55" fmla="*/ 12 h 222"/>
                    <a:gd name="T56" fmla="*/ 14 w 130"/>
                    <a:gd name="T57" fmla="*/ 152 h 222"/>
                    <a:gd name="T58" fmla="*/ 4 w 130"/>
                    <a:gd name="T59" fmla="*/ 6 h 222"/>
                    <a:gd name="T60" fmla="*/ 4 w 130"/>
                    <a:gd name="T61" fmla="*/ 12 h 222"/>
                    <a:gd name="T62" fmla="*/ 9 w 130"/>
                    <a:gd name="T63" fmla="*/ 9 h 222"/>
                    <a:gd name="T64" fmla="*/ 4 w 130"/>
                    <a:gd name="T65" fmla="*/ 6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0" h="222">
                      <a:moveTo>
                        <a:pt x="128" y="222"/>
                      </a:moveTo>
                      <a:cubicBezTo>
                        <a:pt x="127" y="222"/>
                        <a:pt x="127" y="222"/>
                        <a:pt x="127" y="221"/>
                      </a:cubicBezTo>
                      <a:cubicBezTo>
                        <a:pt x="11" y="155"/>
                        <a:pt x="11" y="155"/>
                        <a:pt x="11" y="155"/>
                      </a:cubicBezTo>
                      <a:cubicBezTo>
                        <a:pt x="10" y="154"/>
                        <a:pt x="10" y="154"/>
                        <a:pt x="10" y="153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2" y="17"/>
                        <a:pt x="1" y="17"/>
                      </a:cubicBezTo>
                      <a:cubicBezTo>
                        <a:pt x="1" y="17"/>
                        <a:pt x="0" y="16"/>
                        <a:pt x="0" y="1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5" y="13"/>
                        <a:pt x="25" y="14"/>
                        <a:pt x="25" y="15"/>
                      </a:cubicBezTo>
                      <a:cubicBezTo>
                        <a:pt x="25" y="15"/>
                        <a:pt x="25" y="16"/>
                        <a:pt x="24" y="16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129" y="81"/>
                        <a:pt x="129" y="81"/>
                        <a:pt x="129" y="81"/>
                      </a:cubicBezTo>
                      <a:cubicBezTo>
                        <a:pt x="129" y="82"/>
                        <a:pt x="130" y="82"/>
                        <a:pt x="130" y="83"/>
                      </a:cubicBezTo>
                      <a:cubicBezTo>
                        <a:pt x="130" y="220"/>
                        <a:pt x="130" y="220"/>
                        <a:pt x="130" y="220"/>
                      </a:cubicBezTo>
                      <a:cubicBezTo>
                        <a:pt x="130" y="220"/>
                        <a:pt x="129" y="221"/>
                        <a:pt x="129" y="221"/>
                      </a:cubicBezTo>
                      <a:cubicBezTo>
                        <a:pt x="128" y="222"/>
                        <a:pt x="128" y="222"/>
                        <a:pt x="128" y="222"/>
                      </a:cubicBezTo>
                      <a:close/>
                      <a:moveTo>
                        <a:pt x="14" y="152"/>
                      </a:moveTo>
                      <a:cubicBezTo>
                        <a:pt x="126" y="216"/>
                        <a:pt x="126" y="216"/>
                        <a:pt x="126" y="216"/>
                      </a:cubicBezTo>
                      <a:cubicBezTo>
                        <a:pt x="126" y="84"/>
                        <a:pt x="126" y="84"/>
                        <a:pt x="126" y="84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4" y="20"/>
                        <a:pt x="14" y="19"/>
                        <a:pt x="14" y="19"/>
                      </a:cubicBezTo>
                      <a:cubicBezTo>
                        <a:pt x="14" y="18"/>
                        <a:pt x="14" y="17"/>
                        <a:pt x="15" y="17"/>
                      </a:cubicBezTo>
                      <a:cubicBezTo>
                        <a:pt x="19" y="15"/>
                        <a:pt x="19" y="15"/>
                        <a:pt x="19" y="15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lnTo>
                        <a:pt x="14" y="152"/>
                      </a:lnTo>
                      <a:close/>
                      <a:moveTo>
                        <a:pt x="4" y="6"/>
                      </a:moveTo>
                      <a:cubicBezTo>
                        <a:pt x="4" y="12"/>
                        <a:pt x="4" y="12"/>
                        <a:pt x="4" y="12"/>
                      </a:cubicBezTo>
                      <a:cubicBezTo>
                        <a:pt x="9" y="9"/>
                        <a:pt x="9" y="9"/>
                        <a:pt x="9" y="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6" name="Freeform 919">
                  <a:extLst>
                    <a:ext uri="{FF2B5EF4-FFF2-40B4-BE49-F238E27FC236}">
                      <a16:creationId xmlns:a16="http://schemas.microsoft.com/office/drawing/2014/main" id="{7C732315-05C2-4AAC-9EBA-8EDA2061F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46" y="2788"/>
                  <a:ext cx="163" cy="123"/>
                </a:xfrm>
                <a:custGeom>
                  <a:avLst/>
                  <a:gdLst>
                    <a:gd name="T0" fmla="*/ 22 w 69"/>
                    <a:gd name="T1" fmla="*/ 52 h 52"/>
                    <a:gd name="T2" fmla="*/ 21 w 69"/>
                    <a:gd name="T3" fmla="*/ 52 h 52"/>
                    <a:gd name="T4" fmla="*/ 1 w 69"/>
                    <a:gd name="T5" fmla="*/ 40 h 52"/>
                    <a:gd name="T6" fmla="*/ 0 w 69"/>
                    <a:gd name="T7" fmla="*/ 38 h 52"/>
                    <a:gd name="T8" fmla="*/ 1 w 69"/>
                    <a:gd name="T9" fmla="*/ 37 h 52"/>
                    <a:gd name="T10" fmla="*/ 64 w 69"/>
                    <a:gd name="T11" fmla="*/ 1 h 52"/>
                    <a:gd name="T12" fmla="*/ 66 w 69"/>
                    <a:gd name="T13" fmla="*/ 1 h 52"/>
                    <a:gd name="T14" fmla="*/ 68 w 69"/>
                    <a:gd name="T15" fmla="*/ 1 h 52"/>
                    <a:gd name="T16" fmla="*/ 69 w 69"/>
                    <a:gd name="T17" fmla="*/ 3 h 52"/>
                    <a:gd name="T18" fmla="*/ 68 w 69"/>
                    <a:gd name="T19" fmla="*/ 5 h 52"/>
                    <a:gd name="T20" fmla="*/ 58 w 69"/>
                    <a:gd name="T21" fmla="*/ 11 h 52"/>
                    <a:gd name="T22" fmla="*/ 58 w 69"/>
                    <a:gd name="T23" fmla="*/ 30 h 52"/>
                    <a:gd name="T24" fmla="*/ 57 w 69"/>
                    <a:gd name="T25" fmla="*/ 32 h 52"/>
                    <a:gd name="T26" fmla="*/ 23 w 69"/>
                    <a:gd name="T27" fmla="*/ 52 h 52"/>
                    <a:gd name="T28" fmla="*/ 22 w 69"/>
                    <a:gd name="T29" fmla="*/ 52 h 52"/>
                    <a:gd name="T30" fmla="*/ 6 w 69"/>
                    <a:gd name="T31" fmla="*/ 38 h 52"/>
                    <a:gd name="T32" fmla="*/ 22 w 69"/>
                    <a:gd name="T33" fmla="*/ 47 h 52"/>
                    <a:gd name="T34" fmla="*/ 54 w 69"/>
                    <a:gd name="T35" fmla="*/ 29 h 52"/>
                    <a:gd name="T36" fmla="*/ 54 w 69"/>
                    <a:gd name="T37" fmla="*/ 11 h 52"/>
                    <a:gd name="T38" fmla="*/ 6 w 69"/>
                    <a:gd name="T39" fmla="*/ 3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9" h="52">
                      <a:moveTo>
                        <a:pt x="22" y="52"/>
                      </a:moveTo>
                      <a:cubicBezTo>
                        <a:pt x="22" y="52"/>
                        <a:pt x="21" y="52"/>
                        <a:pt x="21" y="52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38"/>
                        <a:pt x="1" y="37"/>
                        <a:pt x="1" y="37"/>
                      </a:cubicBezTo>
                      <a:cubicBezTo>
                        <a:pt x="64" y="1"/>
                        <a:pt x="64" y="1"/>
                        <a:pt x="64" y="1"/>
                      </a:cubicBezTo>
                      <a:cubicBezTo>
                        <a:pt x="65" y="0"/>
                        <a:pt x="66" y="0"/>
                        <a:pt x="66" y="1"/>
                      </a:cubicBezTo>
                      <a:cubicBezTo>
                        <a:pt x="68" y="1"/>
                        <a:pt x="68" y="1"/>
                        <a:pt x="68" y="1"/>
                      </a:cubicBezTo>
                      <a:cubicBezTo>
                        <a:pt x="69" y="2"/>
                        <a:pt x="69" y="2"/>
                        <a:pt x="69" y="3"/>
                      </a:cubicBezTo>
                      <a:cubicBezTo>
                        <a:pt x="69" y="4"/>
                        <a:pt x="69" y="5"/>
                        <a:pt x="68" y="5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8" y="30"/>
                        <a:pt x="58" y="30"/>
                        <a:pt x="58" y="30"/>
                      </a:cubicBezTo>
                      <a:cubicBezTo>
                        <a:pt x="58" y="31"/>
                        <a:pt x="57" y="32"/>
                        <a:pt x="57" y="32"/>
                      </a:cubicBezTo>
                      <a:cubicBezTo>
                        <a:pt x="23" y="52"/>
                        <a:pt x="23" y="52"/>
                        <a:pt x="23" y="52"/>
                      </a:cubicBezTo>
                      <a:cubicBezTo>
                        <a:pt x="23" y="52"/>
                        <a:pt x="22" y="52"/>
                        <a:pt x="22" y="52"/>
                      </a:cubicBezTo>
                      <a:close/>
                      <a:moveTo>
                        <a:pt x="6" y="38"/>
                      </a:move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lnTo>
                        <a:pt x="6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7" name="Freeform 920">
                  <a:extLst>
                    <a:ext uri="{FF2B5EF4-FFF2-40B4-BE49-F238E27FC236}">
                      <a16:creationId xmlns:a16="http://schemas.microsoft.com/office/drawing/2014/main" id="{1BF5FF32-7347-4174-9CD8-4ED198B9A0A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734"/>
                  <a:ext cx="579" cy="713"/>
                </a:xfrm>
                <a:custGeom>
                  <a:avLst/>
                  <a:gdLst>
                    <a:gd name="T0" fmla="*/ 122 w 245"/>
                    <a:gd name="T1" fmla="*/ 302 h 302"/>
                    <a:gd name="T2" fmla="*/ 121 w 245"/>
                    <a:gd name="T3" fmla="*/ 302 h 302"/>
                    <a:gd name="T4" fmla="*/ 1 w 245"/>
                    <a:gd name="T5" fmla="*/ 233 h 302"/>
                    <a:gd name="T6" fmla="*/ 0 w 245"/>
                    <a:gd name="T7" fmla="*/ 231 h 302"/>
                    <a:gd name="T8" fmla="*/ 0 w 245"/>
                    <a:gd name="T9" fmla="*/ 229 h 302"/>
                    <a:gd name="T10" fmla="*/ 1 w 245"/>
                    <a:gd name="T11" fmla="*/ 227 h 302"/>
                    <a:gd name="T12" fmla="*/ 7 w 245"/>
                    <a:gd name="T13" fmla="*/ 223 h 302"/>
                    <a:gd name="T14" fmla="*/ 9 w 245"/>
                    <a:gd name="T15" fmla="*/ 223 h 302"/>
                    <a:gd name="T16" fmla="*/ 73 w 245"/>
                    <a:gd name="T17" fmla="*/ 260 h 302"/>
                    <a:gd name="T18" fmla="*/ 199 w 245"/>
                    <a:gd name="T19" fmla="*/ 187 h 302"/>
                    <a:gd name="T20" fmla="*/ 154 w 245"/>
                    <a:gd name="T21" fmla="*/ 161 h 302"/>
                    <a:gd name="T22" fmla="*/ 153 w 245"/>
                    <a:gd name="T23" fmla="*/ 159 h 302"/>
                    <a:gd name="T24" fmla="*/ 154 w 245"/>
                    <a:gd name="T25" fmla="*/ 157 h 302"/>
                    <a:gd name="T26" fmla="*/ 159 w 245"/>
                    <a:gd name="T27" fmla="*/ 154 h 302"/>
                    <a:gd name="T28" fmla="*/ 159 w 245"/>
                    <a:gd name="T29" fmla="*/ 10 h 302"/>
                    <a:gd name="T30" fmla="*/ 160 w 245"/>
                    <a:gd name="T31" fmla="*/ 8 h 302"/>
                    <a:gd name="T32" fmla="*/ 174 w 245"/>
                    <a:gd name="T33" fmla="*/ 1 h 302"/>
                    <a:gd name="T34" fmla="*/ 176 w 245"/>
                    <a:gd name="T35" fmla="*/ 1 h 302"/>
                    <a:gd name="T36" fmla="*/ 177 w 245"/>
                    <a:gd name="T37" fmla="*/ 2 h 302"/>
                    <a:gd name="T38" fmla="*/ 177 w 245"/>
                    <a:gd name="T39" fmla="*/ 146 h 302"/>
                    <a:gd name="T40" fmla="*/ 244 w 245"/>
                    <a:gd name="T41" fmla="*/ 185 h 302"/>
                    <a:gd name="T42" fmla="*/ 245 w 245"/>
                    <a:gd name="T43" fmla="*/ 187 h 302"/>
                    <a:gd name="T44" fmla="*/ 245 w 245"/>
                    <a:gd name="T45" fmla="*/ 230 h 302"/>
                    <a:gd name="T46" fmla="*/ 244 w 245"/>
                    <a:gd name="T47" fmla="*/ 232 h 302"/>
                    <a:gd name="T48" fmla="*/ 123 w 245"/>
                    <a:gd name="T49" fmla="*/ 302 h 302"/>
                    <a:gd name="T50" fmla="*/ 122 w 245"/>
                    <a:gd name="T51" fmla="*/ 302 h 302"/>
                    <a:gd name="T52" fmla="*/ 4 w 245"/>
                    <a:gd name="T53" fmla="*/ 230 h 302"/>
                    <a:gd name="T54" fmla="*/ 122 w 245"/>
                    <a:gd name="T55" fmla="*/ 298 h 302"/>
                    <a:gd name="T56" fmla="*/ 241 w 245"/>
                    <a:gd name="T57" fmla="*/ 229 h 302"/>
                    <a:gd name="T58" fmla="*/ 241 w 245"/>
                    <a:gd name="T59" fmla="*/ 188 h 302"/>
                    <a:gd name="T60" fmla="*/ 174 w 245"/>
                    <a:gd name="T61" fmla="*/ 149 h 302"/>
                    <a:gd name="T62" fmla="*/ 173 w 245"/>
                    <a:gd name="T63" fmla="*/ 148 h 302"/>
                    <a:gd name="T64" fmla="*/ 173 w 245"/>
                    <a:gd name="T65" fmla="*/ 6 h 302"/>
                    <a:gd name="T66" fmla="*/ 163 w 245"/>
                    <a:gd name="T67" fmla="*/ 11 h 302"/>
                    <a:gd name="T68" fmla="*/ 163 w 245"/>
                    <a:gd name="T69" fmla="*/ 156 h 302"/>
                    <a:gd name="T70" fmla="*/ 162 w 245"/>
                    <a:gd name="T71" fmla="*/ 157 h 302"/>
                    <a:gd name="T72" fmla="*/ 159 w 245"/>
                    <a:gd name="T73" fmla="*/ 159 h 302"/>
                    <a:gd name="T74" fmla="*/ 204 w 245"/>
                    <a:gd name="T75" fmla="*/ 185 h 302"/>
                    <a:gd name="T76" fmla="*/ 205 w 245"/>
                    <a:gd name="T77" fmla="*/ 187 h 302"/>
                    <a:gd name="T78" fmla="*/ 204 w 245"/>
                    <a:gd name="T79" fmla="*/ 189 h 302"/>
                    <a:gd name="T80" fmla="*/ 74 w 245"/>
                    <a:gd name="T81" fmla="*/ 264 h 302"/>
                    <a:gd name="T82" fmla="*/ 72 w 245"/>
                    <a:gd name="T83" fmla="*/ 264 h 302"/>
                    <a:gd name="T84" fmla="*/ 8 w 245"/>
                    <a:gd name="T85" fmla="*/ 227 h 302"/>
                    <a:gd name="T86" fmla="*/ 4 w 245"/>
                    <a:gd name="T87" fmla="*/ 230 h 302"/>
                    <a:gd name="T88" fmla="*/ 243 w 245"/>
                    <a:gd name="T89" fmla="*/ 230 h 302"/>
                    <a:gd name="T90" fmla="*/ 243 w 245"/>
                    <a:gd name="T91" fmla="*/ 230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45" h="302">
                      <a:moveTo>
                        <a:pt x="122" y="302"/>
                      </a:moveTo>
                      <a:cubicBezTo>
                        <a:pt x="122" y="302"/>
                        <a:pt x="121" y="302"/>
                        <a:pt x="121" y="302"/>
                      </a:cubicBez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32"/>
                        <a:pt x="0" y="232"/>
                        <a:pt x="0" y="231"/>
                      </a:cubicBezTo>
                      <a:cubicBezTo>
                        <a:pt x="0" y="229"/>
                        <a:pt x="0" y="229"/>
                        <a:pt x="0" y="229"/>
                      </a:cubicBezTo>
                      <a:cubicBezTo>
                        <a:pt x="0" y="228"/>
                        <a:pt x="1" y="227"/>
                        <a:pt x="1" y="227"/>
                      </a:cubicBezTo>
                      <a:cubicBezTo>
                        <a:pt x="7" y="223"/>
                        <a:pt x="7" y="223"/>
                        <a:pt x="7" y="223"/>
                      </a:cubicBezTo>
                      <a:cubicBezTo>
                        <a:pt x="8" y="223"/>
                        <a:pt x="9" y="223"/>
                        <a:pt x="9" y="223"/>
                      </a:cubicBezTo>
                      <a:cubicBezTo>
                        <a:pt x="73" y="260"/>
                        <a:pt x="73" y="260"/>
                        <a:pt x="73" y="260"/>
                      </a:cubicBezTo>
                      <a:cubicBezTo>
                        <a:pt x="199" y="187"/>
                        <a:pt x="199" y="187"/>
                        <a:pt x="199" y="187"/>
                      </a:cubicBezTo>
                      <a:cubicBezTo>
                        <a:pt x="154" y="161"/>
                        <a:pt x="154" y="161"/>
                        <a:pt x="154" y="161"/>
                      </a:cubicBezTo>
                      <a:cubicBezTo>
                        <a:pt x="153" y="160"/>
                        <a:pt x="153" y="160"/>
                        <a:pt x="153" y="159"/>
                      </a:cubicBezTo>
                      <a:cubicBezTo>
                        <a:pt x="153" y="158"/>
                        <a:pt x="153" y="158"/>
                        <a:pt x="154" y="157"/>
                      </a:cubicBezTo>
                      <a:cubicBezTo>
                        <a:pt x="159" y="154"/>
                        <a:pt x="159" y="154"/>
                        <a:pt x="159" y="154"/>
                      </a:cubicBezTo>
                      <a:cubicBezTo>
                        <a:pt x="159" y="10"/>
                        <a:pt x="159" y="10"/>
                        <a:pt x="159" y="10"/>
                      </a:cubicBezTo>
                      <a:cubicBezTo>
                        <a:pt x="159" y="9"/>
                        <a:pt x="159" y="9"/>
                        <a:pt x="160" y="8"/>
                      </a:cubicBezTo>
                      <a:cubicBezTo>
                        <a:pt x="174" y="1"/>
                        <a:pt x="174" y="1"/>
                        <a:pt x="174" y="1"/>
                      </a:cubicBezTo>
                      <a:cubicBezTo>
                        <a:pt x="174" y="0"/>
                        <a:pt x="175" y="0"/>
                        <a:pt x="176" y="1"/>
                      </a:cubicBezTo>
                      <a:cubicBezTo>
                        <a:pt x="176" y="1"/>
                        <a:pt x="177" y="2"/>
                        <a:pt x="177" y="2"/>
                      </a:cubicBezTo>
                      <a:cubicBezTo>
                        <a:pt x="177" y="146"/>
                        <a:pt x="177" y="146"/>
                        <a:pt x="177" y="146"/>
                      </a:cubicBezTo>
                      <a:cubicBezTo>
                        <a:pt x="244" y="185"/>
                        <a:pt x="244" y="185"/>
                        <a:pt x="244" y="185"/>
                      </a:cubicBezTo>
                      <a:cubicBezTo>
                        <a:pt x="244" y="185"/>
                        <a:pt x="245" y="186"/>
                        <a:pt x="245" y="187"/>
                      </a:cubicBezTo>
                      <a:cubicBezTo>
                        <a:pt x="245" y="230"/>
                        <a:pt x="245" y="230"/>
                        <a:pt x="245" y="230"/>
                      </a:cubicBezTo>
                      <a:cubicBezTo>
                        <a:pt x="245" y="231"/>
                        <a:pt x="244" y="232"/>
                        <a:pt x="244" y="232"/>
                      </a:cubicBezTo>
                      <a:cubicBezTo>
                        <a:pt x="123" y="302"/>
                        <a:pt x="123" y="302"/>
                        <a:pt x="123" y="302"/>
                      </a:cubicBezTo>
                      <a:cubicBezTo>
                        <a:pt x="123" y="302"/>
                        <a:pt x="122" y="302"/>
                        <a:pt x="122" y="302"/>
                      </a:cubicBezTo>
                      <a:close/>
                      <a:moveTo>
                        <a:pt x="4" y="230"/>
                      </a:moveTo>
                      <a:cubicBezTo>
                        <a:pt x="122" y="298"/>
                        <a:pt x="122" y="298"/>
                        <a:pt x="122" y="298"/>
                      </a:cubicBezTo>
                      <a:cubicBezTo>
                        <a:pt x="241" y="229"/>
                        <a:pt x="241" y="229"/>
                        <a:pt x="241" y="229"/>
                      </a:cubicBezTo>
                      <a:cubicBezTo>
                        <a:pt x="241" y="188"/>
                        <a:pt x="241" y="188"/>
                        <a:pt x="241" y="188"/>
                      </a:cubicBezTo>
                      <a:cubicBezTo>
                        <a:pt x="174" y="149"/>
                        <a:pt x="174" y="149"/>
                        <a:pt x="174" y="149"/>
                      </a:cubicBezTo>
                      <a:cubicBezTo>
                        <a:pt x="173" y="149"/>
                        <a:pt x="173" y="148"/>
                        <a:pt x="173" y="148"/>
                      </a:cubicBezTo>
                      <a:cubicBezTo>
                        <a:pt x="173" y="6"/>
                        <a:pt x="173" y="6"/>
                        <a:pt x="173" y="6"/>
                      </a:cubicBezTo>
                      <a:cubicBezTo>
                        <a:pt x="163" y="11"/>
                        <a:pt x="163" y="11"/>
                        <a:pt x="163" y="11"/>
                      </a:cubicBezTo>
                      <a:cubicBezTo>
                        <a:pt x="163" y="156"/>
                        <a:pt x="163" y="156"/>
                        <a:pt x="163" y="156"/>
                      </a:cubicBezTo>
                      <a:cubicBezTo>
                        <a:pt x="163" y="156"/>
                        <a:pt x="163" y="157"/>
                        <a:pt x="162" y="157"/>
                      </a:cubicBezTo>
                      <a:cubicBezTo>
                        <a:pt x="159" y="159"/>
                        <a:pt x="159" y="159"/>
                        <a:pt x="159" y="159"/>
                      </a:cubicBezTo>
                      <a:cubicBezTo>
                        <a:pt x="204" y="185"/>
                        <a:pt x="204" y="185"/>
                        <a:pt x="204" y="185"/>
                      </a:cubicBezTo>
                      <a:cubicBezTo>
                        <a:pt x="205" y="185"/>
                        <a:pt x="205" y="186"/>
                        <a:pt x="205" y="187"/>
                      </a:cubicBezTo>
                      <a:cubicBezTo>
                        <a:pt x="205" y="188"/>
                        <a:pt x="205" y="188"/>
                        <a:pt x="204" y="189"/>
                      </a:cubicBezTo>
                      <a:cubicBezTo>
                        <a:pt x="74" y="264"/>
                        <a:pt x="74" y="264"/>
                        <a:pt x="74" y="264"/>
                      </a:cubicBezTo>
                      <a:cubicBezTo>
                        <a:pt x="73" y="264"/>
                        <a:pt x="72" y="264"/>
                        <a:pt x="72" y="264"/>
                      </a:cubicBezTo>
                      <a:cubicBezTo>
                        <a:pt x="8" y="227"/>
                        <a:pt x="8" y="227"/>
                        <a:pt x="8" y="227"/>
                      </a:cubicBezTo>
                      <a:lnTo>
                        <a:pt x="4" y="230"/>
                      </a:lnTo>
                      <a:close/>
                      <a:moveTo>
                        <a:pt x="243" y="230"/>
                      </a:moveTo>
                      <a:cubicBezTo>
                        <a:pt x="243" y="230"/>
                        <a:pt x="243" y="230"/>
                        <a:pt x="243" y="2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8" name="Freeform 921">
                  <a:extLst>
                    <a:ext uri="{FF2B5EF4-FFF2-40B4-BE49-F238E27FC236}">
                      <a16:creationId xmlns:a16="http://schemas.microsoft.com/office/drawing/2014/main" id="{2C31858C-AEC2-4CB2-B83D-0B93625391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87" y="1720"/>
                  <a:ext cx="281" cy="456"/>
                </a:xfrm>
                <a:custGeom>
                  <a:avLst/>
                  <a:gdLst>
                    <a:gd name="T0" fmla="*/ 69 w 119"/>
                    <a:gd name="T1" fmla="*/ 193 h 193"/>
                    <a:gd name="T2" fmla="*/ 68 w 119"/>
                    <a:gd name="T3" fmla="*/ 193 h 193"/>
                    <a:gd name="T4" fmla="*/ 1 w 119"/>
                    <a:gd name="T5" fmla="*/ 154 h 193"/>
                    <a:gd name="T6" fmla="*/ 0 w 119"/>
                    <a:gd name="T7" fmla="*/ 153 h 193"/>
                    <a:gd name="T8" fmla="*/ 0 w 119"/>
                    <a:gd name="T9" fmla="*/ 7 h 193"/>
                    <a:gd name="T10" fmla="*/ 1 w 119"/>
                    <a:gd name="T11" fmla="*/ 6 h 193"/>
                    <a:gd name="T12" fmla="*/ 1 w 119"/>
                    <a:gd name="T13" fmla="*/ 5 h 193"/>
                    <a:gd name="T14" fmla="*/ 1 w 119"/>
                    <a:gd name="T15" fmla="*/ 5 h 193"/>
                    <a:gd name="T16" fmla="*/ 0 w 119"/>
                    <a:gd name="T17" fmla="*/ 4 h 193"/>
                    <a:gd name="T18" fmla="*/ 0 w 119"/>
                    <a:gd name="T19" fmla="*/ 2 h 193"/>
                    <a:gd name="T20" fmla="*/ 1 w 119"/>
                    <a:gd name="T21" fmla="*/ 0 h 193"/>
                    <a:gd name="T22" fmla="*/ 3 w 119"/>
                    <a:gd name="T23" fmla="*/ 0 h 193"/>
                    <a:gd name="T24" fmla="*/ 118 w 119"/>
                    <a:gd name="T25" fmla="*/ 67 h 193"/>
                    <a:gd name="T26" fmla="*/ 119 w 119"/>
                    <a:gd name="T27" fmla="*/ 68 h 193"/>
                    <a:gd name="T28" fmla="*/ 118 w 119"/>
                    <a:gd name="T29" fmla="*/ 70 h 193"/>
                    <a:gd name="T30" fmla="*/ 71 w 119"/>
                    <a:gd name="T31" fmla="*/ 98 h 193"/>
                    <a:gd name="T32" fmla="*/ 71 w 119"/>
                    <a:gd name="T33" fmla="*/ 191 h 193"/>
                    <a:gd name="T34" fmla="*/ 70 w 119"/>
                    <a:gd name="T35" fmla="*/ 193 h 193"/>
                    <a:gd name="T36" fmla="*/ 69 w 119"/>
                    <a:gd name="T37" fmla="*/ 193 h 193"/>
                    <a:gd name="T38" fmla="*/ 4 w 119"/>
                    <a:gd name="T39" fmla="*/ 151 h 193"/>
                    <a:gd name="T40" fmla="*/ 67 w 119"/>
                    <a:gd name="T41" fmla="*/ 187 h 193"/>
                    <a:gd name="T42" fmla="*/ 67 w 119"/>
                    <a:gd name="T43" fmla="*/ 96 h 193"/>
                    <a:gd name="T44" fmla="*/ 68 w 119"/>
                    <a:gd name="T45" fmla="*/ 95 h 193"/>
                    <a:gd name="T46" fmla="*/ 113 w 119"/>
                    <a:gd name="T47" fmla="*/ 68 h 193"/>
                    <a:gd name="T48" fmla="*/ 7 w 119"/>
                    <a:gd name="T49" fmla="*/ 7 h 193"/>
                    <a:gd name="T50" fmla="*/ 6 w 119"/>
                    <a:gd name="T51" fmla="*/ 7 h 193"/>
                    <a:gd name="T52" fmla="*/ 4 w 119"/>
                    <a:gd name="T53" fmla="*/ 8 h 193"/>
                    <a:gd name="T54" fmla="*/ 4 w 119"/>
                    <a:gd name="T55" fmla="*/ 151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19" h="193">
                      <a:moveTo>
                        <a:pt x="69" y="193"/>
                      </a:moveTo>
                      <a:cubicBezTo>
                        <a:pt x="68" y="193"/>
                        <a:pt x="68" y="193"/>
                        <a:pt x="68" y="193"/>
                      </a:cubicBezTo>
                      <a:cubicBezTo>
                        <a:pt x="1" y="154"/>
                        <a:pt x="1" y="154"/>
                        <a:pt x="1" y="154"/>
                      </a:cubicBezTo>
                      <a:cubicBezTo>
                        <a:pt x="1" y="154"/>
                        <a:pt x="0" y="153"/>
                        <a:pt x="0" y="153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1" y="6"/>
                        <a:pt x="1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18" y="67"/>
                        <a:pt x="118" y="67"/>
                        <a:pt x="118" y="67"/>
                      </a:cubicBezTo>
                      <a:cubicBezTo>
                        <a:pt x="119" y="67"/>
                        <a:pt x="119" y="68"/>
                        <a:pt x="119" y="68"/>
                      </a:cubicBezTo>
                      <a:cubicBezTo>
                        <a:pt x="119" y="69"/>
                        <a:pt x="119" y="70"/>
                        <a:pt x="118" y="70"/>
                      </a:cubicBezTo>
                      <a:cubicBezTo>
                        <a:pt x="71" y="98"/>
                        <a:pt x="71" y="98"/>
                        <a:pt x="71" y="98"/>
                      </a:cubicBezTo>
                      <a:cubicBezTo>
                        <a:pt x="71" y="191"/>
                        <a:pt x="71" y="191"/>
                        <a:pt x="71" y="191"/>
                      </a:cubicBezTo>
                      <a:cubicBezTo>
                        <a:pt x="71" y="192"/>
                        <a:pt x="70" y="192"/>
                        <a:pt x="70" y="193"/>
                      </a:cubicBezTo>
                      <a:cubicBezTo>
                        <a:pt x="69" y="193"/>
                        <a:pt x="69" y="193"/>
                        <a:pt x="69" y="193"/>
                      </a:cubicBezTo>
                      <a:close/>
                      <a:moveTo>
                        <a:pt x="4" y="151"/>
                      </a:moveTo>
                      <a:cubicBezTo>
                        <a:pt x="67" y="187"/>
                        <a:pt x="67" y="187"/>
                        <a:pt x="67" y="187"/>
                      </a:cubicBezTo>
                      <a:cubicBezTo>
                        <a:pt x="67" y="96"/>
                        <a:pt x="67" y="96"/>
                        <a:pt x="67" y="96"/>
                      </a:cubicBezTo>
                      <a:cubicBezTo>
                        <a:pt x="67" y="96"/>
                        <a:pt x="67" y="95"/>
                        <a:pt x="68" y="95"/>
                      </a:cubicBezTo>
                      <a:cubicBezTo>
                        <a:pt x="113" y="68"/>
                        <a:pt x="113" y="68"/>
                        <a:pt x="113" y="68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6" y="7"/>
                        <a:pt x="6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lnTo>
                        <a:pt x="4" y="1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9" name="Freeform 922">
                  <a:extLst>
                    <a:ext uri="{FF2B5EF4-FFF2-40B4-BE49-F238E27FC236}">
                      <a16:creationId xmlns:a16="http://schemas.microsoft.com/office/drawing/2014/main" id="{7AA1A062-54CF-470C-A49B-D9BD2E9DEDA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62" y="2277"/>
                  <a:ext cx="293" cy="489"/>
                </a:xfrm>
                <a:custGeom>
                  <a:avLst/>
                  <a:gdLst>
                    <a:gd name="T0" fmla="*/ 10 w 124"/>
                    <a:gd name="T1" fmla="*/ 207 h 207"/>
                    <a:gd name="T2" fmla="*/ 9 w 124"/>
                    <a:gd name="T3" fmla="*/ 206 h 207"/>
                    <a:gd name="T4" fmla="*/ 1 w 124"/>
                    <a:gd name="T5" fmla="*/ 201 h 207"/>
                    <a:gd name="T6" fmla="*/ 0 w 124"/>
                    <a:gd name="T7" fmla="*/ 200 h 207"/>
                    <a:gd name="T8" fmla="*/ 0 w 124"/>
                    <a:gd name="T9" fmla="*/ 71 h 207"/>
                    <a:gd name="T10" fmla="*/ 1 w 124"/>
                    <a:gd name="T11" fmla="*/ 70 h 207"/>
                    <a:gd name="T12" fmla="*/ 121 w 124"/>
                    <a:gd name="T13" fmla="*/ 1 h 207"/>
                    <a:gd name="T14" fmla="*/ 123 w 124"/>
                    <a:gd name="T15" fmla="*/ 1 h 207"/>
                    <a:gd name="T16" fmla="*/ 124 w 124"/>
                    <a:gd name="T17" fmla="*/ 2 h 207"/>
                    <a:gd name="T18" fmla="*/ 124 w 124"/>
                    <a:gd name="T19" fmla="*/ 140 h 207"/>
                    <a:gd name="T20" fmla="*/ 123 w 124"/>
                    <a:gd name="T21" fmla="*/ 142 h 207"/>
                    <a:gd name="T22" fmla="*/ 11 w 124"/>
                    <a:gd name="T23" fmla="*/ 206 h 207"/>
                    <a:gd name="T24" fmla="*/ 10 w 124"/>
                    <a:gd name="T25" fmla="*/ 207 h 207"/>
                    <a:gd name="T26" fmla="*/ 4 w 124"/>
                    <a:gd name="T27" fmla="*/ 199 h 207"/>
                    <a:gd name="T28" fmla="*/ 10 w 124"/>
                    <a:gd name="T29" fmla="*/ 202 h 207"/>
                    <a:gd name="T30" fmla="*/ 120 w 124"/>
                    <a:gd name="T31" fmla="*/ 139 h 207"/>
                    <a:gd name="T32" fmla="*/ 120 w 124"/>
                    <a:gd name="T33" fmla="*/ 6 h 207"/>
                    <a:gd name="T34" fmla="*/ 4 w 124"/>
                    <a:gd name="T35" fmla="*/ 73 h 207"/>
                    <a:gd name="T36" fmla="*/ 4 w 124"/>
                    <a:gd name="T37" fmla="*/ 199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4" h="207">
                      <a:moveTo>
                        <a:pt x="10" y="207"/>
                      </a:moveTo>
                      <a:cubicBezTo>
                        <a:pt x="10" y="207"/>
                        <a:pt x="10" y="207"/>
                        <a:pt x="9" y="206"/>
                      </a:cubicBezTo>
                      <a:cubicBezTo>
                        <a:pt x="1" y="201"/>
                        <a:pt x="1" y="201"/>
                        <a:pt x="1" y="201"/>
                      </a:cubicBezTo>
                      <a:cubicBezTo>
                        <a:pt x="0" y="201"/>
                        <a:pt x="0" y="200"/>
                        <a:pt x="0" y="200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1"/>
                        <a:pt x="0" y="70"/>
                        <a:pt x="1" y="70"/>
                      </a:cubicBezTo>
                      <a:cubicBezTo>
                        <a:pt x="121" y="1"/>
                        <a:pt x="121" y="1"/>
                        <a:pt x="121" y="1"/>
                      </a:cubicBezTo>
                      <a:cubicBezTo>
                        <a:pt x="121" y="0"/>
                        <a:pt x="122" y="0"/>
                        <a:pt x="123" y="1"/>
                      </a:cubicBezTo>
                      <a:cubicBezTo>
                        <a:pt x="123" y="1"/>
                        <a:pt x="124" y="2"/>
                        <a:pt x="124" y="2"/>
                      </a:cubicBezTo>
                      <a:cubicBezTo>
                        <a:pt x="124" y="140"/>
                        <a:pt x="124" y="140"/>
                        <a:pt x="124" y="140"/>
                      </a:cubicBezTo>
                      <a:cubicBezTo>
                        <a:pt x="124" y="141"/>
                        <a:pt x="123" y="142"/>
                        <a:pt x="123" y="142"/>
                      </a:cubicBezTo>
                      <a:cubicBezTo>
                        <a:pt x="11" y="206"/>
                        <a:pt x="11" y="206"/>
                        <a:pt x="11" y="206"/>
                      </a:cubicBezTo>
                      <a:cubicBezTo>
                        <a:pt x="11" y="207"/>
                        <a:pt x="11" y="207"/>
                        <a:pt x="10" y="207"/>
                      </a:cubicBezTo>
                      <a:close/>
                      <a:moveTo>
                        <a:pt x="4" y="199"/>
                      </a:moveTo>
                      <a:cubicBezTo>
                        <a:pt x="10" y="202"/>
                        <a:pt x="10" y="202"/>
                        <a:pt x="10" y="202"/>
                      </a:cubicBezTo>
                      <a:cubicBezTo>
                        <a:pt x="120" y="139"/>
                        <a:pt x="120" y="139"/>
                        <a:pt x="120" y="139"/>
                      </a:cubicBezTo>
                      <a:cubicBezTo>
                        <a:pt x="120" y="6"/>
                        <a:pt x="120" y="6"/>
                        <a:pt x="120" y="6"/>
                      </a:cubicBezTo>
                      <a:cubicBezTo>
                        <a:pt x="4" y="73"/>
                        <a:pt x="4" y="73"/>
                        <a:pt x="4" y="73"/>
                      </a:cubicBezTo>
                      <a:lnTo>
                        <a:pt x="4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0" name="Freeform 923">
                  <a:extLst>
                    <a:ext uri="{FF2B5EF4-FFF2-40B4-BE49-F238E27FC236}">
                      <a16:creationId xmlns:a16="http://schemas.microsoft.com/office/drawing/2014/main" id="{3B6C689B-DD03-425E-947A-48EE463CD3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52" y="2906"/>
                  <a:ext cx="175" cy="106"/>
                </a:xfrm>
                <a:custGeom>
                  <a:avLst/>
                  <a:gdLst>
                    <a:gd name="T0" fmla="*/ 12 w 74"/>
                    <a:gd name="T1" fmla="*/ 45 h 45"/>
                    <a:gd name="T2" fmla="*/ 11 w 74"/>
                    <a:gd name="T3" fmla="*/ 44 h 45"/>
                    <a:gd name="T4" fmla="*/ 1 w 74"/>
                    <a:gd name="T5" fmla="*/ 38 h 45"/>
                    <a:gd name="T6" fmla="*/ 0 w 74"/>
                    <a:gd name="T7" fmla="*/ 37 h 45"/>
                    <a:gd name="T8" fmla="*/ 1 w 74"/>
                    <a:gd name="T9" fmla="*/ 35 h 45"/>
                    <a:gd name="T10" fmla="*/ 61 w 74"/>
                    <a:gd name="T11" fmla="*/ 0 h 45"/>
                    <a:gd name="T12" fmla="*/ 63 w 74"/>
                    <a:gd name="T13" fmla="*/ 0 h 45"/>
                    <a:gd name="T14" fmla="*/ 73 w 74"/>
                    <a:gd name="T15" fmla="*/ 6 h 45"/>
                    <a:gd name="T16" fmla="*/ 74 w 74"/>
                    <a:gd name="T17" fmla="*/ 8 h 45"/>
                    <a:gd name="T18" fmla="*/ 73 w 74"/>
                    <a:gd name="T19" fmla="*/ 9 h 45"/>
                    <a:gd name="T20" fmla="*/ 13 w 74"/>
                    <a:gd name="T21" fmla="*/ 44 h 45"/>
                    <a:gd name="T22" fmla="*/ 12 w 74"/>
                    <a:gd name="T23" fmla="*/ 45 h 45"/>
                    <a:gd name="T24" fmla="*/ 6 w 74"/>
                    <a:gd name="T25" fmla="*/ 37 h 45"/>
                    <a:gd name="T26" fmla="*/ 12 w 74"/>
                    <a:gd name="T27" fmla="*/ 40 h 45"/>
                    <a:gd name="T28" fmla="*/ 68 w 74"/>
                    <a:gd name="T29" fmla="*/ 8 h 45"/>
                    <a:gd name="T30" fmla="*/ 62 w 74"/>
                    <a:gd name="T31" fmla="*/ 4 h 45"/>
                    <a:gd name="T32" fmla="*/ 6 w 74"/>
                    <a:gd name="T33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4" h="45">
                      <a:moveTo>
                        <a:pt x="12" y="45"/>
                      </a:moveTo>
                      <a:cubicBezTo>
                        <a:pt x="12" y="45"/>
                        <a:pt x="11" y="44"/>
                        <a:pt x="11" y="44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2" y="0"/>
                        <a:pt x="62" y="0"/>
                        <a:pt x="63" y="0"/>
                      </a:cubicBezTo>
                      <a:cubicBezTo>
                        <a:pt x="73" y="6"/>
                        <a:pt x="73" y="6"/>
                        <a:pt x="73" y="6"/>
                      </a:cubicBezTo>
                      <a:cubicBezTo>
                        <a:pt x="74" y="6"/>
                        <a:pt x="74" y="7"/>
                        <a:pt x="74" y="8"/>
                      </a:cubicBezTo>
                      <a:cubicBezTo>
                        <a:pt x="74" y="8"/>
                        <a:pt x="74" y="9"/>
                        <a:pt x="73" y="9"/>
                      </a:cubicBez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3" y="44"/>
                        <a:pt x="12" y="45"/>
                        <a:pt x="12" y="45"/>
                      </a:cubicBezTo>
                      <a:close/>
                      <a:moveTo>
                        <a:pt x="6" y="37"/>
                      </a:move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68" y="8"/>
                        <a:pt x="68" y="8"/>
                        <a:pt x="68" y="8"/>
                      </a:cubicBezTo>
                      <a:cubicBezTo>
                        <a:pt x="62" y="4"/>
                        <a:pt x="62" y="4"/>
                        <a:pt x="62" y="4"/>
                      </a:cubicBezTo>
                      <a:lnTo>
                        <a:pt x="6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1" name="Freeform 924">
                  <a:extLst>
                    <a:ext uri="{FF2B5EF4-FFF2-40B4-BE49-F238E27FC236}">
                      <a16:creationId xmlns:a16="http://schemas.microsoft.com/office/drawing/2014/main" id="{6AE349AE-9353-4019-B55F-2576EBBEE2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98" y="2859"/>
                  <a:ext cx="85" cy="68"/>
                </a:xfrm>
                <a:custGeom>
                  <a:avLst/>
                  <a:gdLst>
                    <a:gd name="T0" fmla="*/ 12 w 36"/>
                    <a:gd name="T1" fmla="*/ 29 h 29"/>
                    <a:gd name="T2" fmla="*/ 11 w 36"/>
                    <a:gd name="T3" fmla="*/ 28 h 29"/>
                    <a:gd name="T4" fmla="*/ 1 w 36"/>
                    <a:gd name="T5" fmla="*/ 22 h 29"/>
                    <a:gd name="T6" fmla="*/ 0 w 36"/>
                    <a:gd name="T7" fmla="*/ 21 h 29"/>
                    <a:gd name="T8" fmla="*/ 1 w 36"/>
                    <a:gd name="T9" fmla="*/ 19 h 29"/>
                    <a:gd name="T10" fmla="*/ 33 w 36"/>
                    <a:gd name="T11" fmla="*/ 0 h 29"/>
                    <a:gd name="T12" fmla="*/ 35 w 36"/>
                    <a:gd name="T13" fmla="*/ 0 h 29"/>
                    <a:gd name="T14" fmla="*/ 36 w 36"/>
                    <a:gd name="T15" fmla="*/ 2 h 29"/>
                    <a:gd name="T16" fmla="*/ 36 w 36"/>
                    <a:gd name="T17" fmla="*/ 14 h 29"/>
                    <a:gd name="T18" fmla="*/ 35 w 36"/>
                    <a:gd name="T19" fmla="*/ 16 h 29"/>
                    <a:gd name="T20" fmla="*/ 13 w 36"/>
                    <a:gd name="T21" fmla="*/ 28 h 29"/>
                    <a:gd name="T22" fmla="*/ 12 w 36"/>
                    <a:gd name="T23" fmla="*/ 29 h 29"/>
                    <a:gd name="T24" fmla="*/ 6 w 36"/>
                    <a:gd name="T25" fmla="*/ 21 h 29"/>
                    <a:gd name="T26" fmla="*/ 12 w 36"/>
                    <a:gd name="T27" fmla="*/ 24 h 29"/>
                    <a:gd name="T28" fmla="*/ 32 w 36"/>
                    <a:gd name="T29" fmla="*/ 13 h 29"/>
                    <a:gd name="T30" fmla="*/ 32 w 36"/>
                    <a:gd name="T31" fmla="*/ 6 h 29"/>
                    <a:gd name="T32" fmla="*/ 6 w 36"/>
                    <a:gd name="T33" fmla="*/ 21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6" h="29">
                      <a:moveTo>
                        <a:pt x="12" y="29"/>
                      </a:moveTo>
                      <a:cubicBezTo>
                        <a:pt x="12" y="29"/>
                        <a:pt x="11" y="29"/>
                        <a:pt x="11" y="28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2"/>
                        <a:pt x="0" y="21"/>
                        <a:pt x="0" y="21"/>
                      </a:cubicBezTo>
                      <a:cubicBezTo>
                        <a:pt x="0" y="20"/>
                        <a:pt x="0" y="19"/>
                        <a:pt x="1" y="1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0"/>
                        <a:pt x="34" y="0"/>
                        <a:pt x="35" y="0"/>
                      </a:cubicBezTo>
                      <a:cubicBezTo>
                        <a:pt x="35" y="1"/>
                        <a:pt x="36" y="1"/>
                        <a:pt x="36" y="2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cubicBezTo>
                        <a:pt x="13" y="29"/>
                        <a:pt x="12" y="29"/>
                        <a:pt x="12" y="29"/>
                      </a:cubicBezTo>
                      <a:close/>
                      <a:moveTo>
                        <a:pt x="6" y="21"/>
                      </a:move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32" y="13"/>
                        <a:pt x="32" y="13"/>
                        <a:pt x="32" y="13"/>
                      </a:cubicBezTo>
                      <a:cubicBezTo>
                        <a:pt x="32" y="6"/>
                        <a:pt x="32" y="6"/>
                        <a:pt x="32" y="6"/>
                      </a:cubicBezTo>
                      <a:lnTo>
                        <a:pt x="6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2" name="Freeform 925">
                  <a:extLst>
                    <a:ext uri="{FF2B5EF4-FFF2-40B4-BE49-F238E27FC236}">
                      <a16:creationId xmlns:a16="http://schemas.microsoft.com/office/drawing/2014/main" id="{32FDCE4B-FA9D-41F2-BF05-F39EC7ED69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27" y="2892"/>
                  <a:ext cx="56" cy="63"/>
                </a:xfrm>
                <a:custGeom>
                  <a:avLst/>
                  <a:gdLst>
                    <a:gd name="T0" fmla="*/ 22 w 24"/>
                    <a:gd name="T1" fmla="*/ 27 h 27"/>
                    <a:gd name="T2" fmla="*/ 21 w 24"/>
                    <a:gd name="T3" fmla="*/ 27 h 27"/>
                    <a:gd name="T4" fmla="*/ 1 w 24"/>
                    <a:gd name="T5" fmla="*/ 15 h 27"/>
                    <a:gd name="T6" fmla="*/ 0 w 24"/>
                    <a:gd name="T7" fmla="*/ 14 h 27"/>
                    <a:gd name="T8" fmla="*/ 1 w 24"/>
                    <a:gd name="T9" fmla="*/ 12 h 27"/>
                    <a:gd name="T10" fmla="*/ 21 w 24"/>
                    <a:gd name="T11" fmla="*/ 0 h 27"/>
                    <a:gd name="T12" fmla="*/ 23 w 24"/>
                    <a:gd name="T13" fmla="*/ 0 h 27"/>
                    <a:gd name="T14" fmla="*/ 24 w 24"/>
                    <a:gd name="T15" fmla="*/ 2 h 27"/>
                    <a:gd name="T16" fmla="*/ 24 w 24"/>
                    <a:gd name="T17" fmla="*/ 25 h 27"/>
                    <a:gd name="T18" fmla="*/ 23 w 24"/>
                    <a:gd name="T19" fmla="*/ 27 h 27"/>
                    <a:gd name="T20" fmla="*/ 22 w 24"/>
                    <a:gd name="T21" fmla="*/ 27 h 27"/>
                    <a:gd name="T22" fmla="*/ 6 w 24"/>
                    <a:gd name="T23" fmla="*/ 14 h 27"/>
                    <a:gd name="T24" fmla="*/ 20 w 24"/>
                    <a:gd name="T25" fmla="*/ 22 h 27"/>
                    <a:gd name="T26" fmla="*/ 20 w 24"/>
                    <a:gd name="T27" fmla="*/ 6 h 27"/>
                    <a:gd name="T28" fmla="*/ 6 w 24"/>
                    <a:gd name="T29" fmla="*/ 1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7">
                      <a:moveTo>
                        <a:pt x="22" y="27"/>
                      </a:moveTo>
                      <a:cubicBezTo>
                        <a:pt x="22" y="27"/>
                        <a:pt x="21" y="27"/>
                        <a:pt x="21" y="27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0" y="15"/>
                        <a:pt x="0" y="14"/>
                        <a:pt x="0" y="14"/>
                      </a:cubicBezTo>
                      <a:cubicBezTo>
                        <a:pt x="0" y="13"/>
                        <a:pt x="0" y="12"/>
                        <a:pt x="1" y="12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1"/>
                        <a:pt x="24" y="1"/>
                        <a:pt x="24" y="2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4" y="26"/>
                        <a:pt x="23" y="27"/>
                        <a:pt x="23" y="27"/>
                      </a:cubicBezTo>
                      <a:cubicBezTo>
                        <a:pt x="23" y="27"/>
                        <a:pt x="22" y="27"/>
                        <a:pt x="22" y="27"/>
                      </a:cubicBezTo>
                      <a:close/>
                      <a:moveTo>
                        <a:pt x="6" y="14"/>
                      </a:move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20" y="6"/>
                        <a:pt x="20" y="6"/>
                        <a:pt x="20" y="6"/>
                      </a:cubicBezTo>
                      <a:lnTo>
                        <a:pt x="6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3" name="Freeform 926">
                  <a:extLst>
                    <a:ext uri="{FF2B5EF4-FFF2-40B4-BE49-F238E27FC236}">
                      <a16:creationId xmlns:a16="http://schemas.microsoft.com/office/drawing/2014/main" id="{D57AFE30-D788-4496-8B19-83F457BB6A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8" y="2173"/>
                  <a:ext cx="94" cy="107"/>
                </a:xfrm>
                <a:custGeom>
                  <a:avLst/>
                  <a:gdLst>
                    <a:gd name="T0" fmla="*/ 2 w 40"/>
                    <a:gd name="T1" fmla="*/ 45 h 45"/>
                    <a:gd name="T2" fmla="*/ 1 w 40"/>
                    <a:gd name="T3" fmla="*/ 45 h 45"/>
                    <a:gd name="T4" fmla="*/ 0 w 40"/>
                    <a:gd name="T5" fmla="*/ 43 h 45"/>
                    <a:gd name="T6" fmla="*/ 0 w 40"/>
                    <a:gd name="T7" fmla="*/ 2 h 45"/>
                    <a:gd name="T8" fmla="*/ 1 w 40"/>
                    <a:gd name="T9" fmla="*/ 0 h 45"/>
                    <a:gd name="T10" fmla="*/ 3 w 40"/>
                    <a:gd name="T11" fmla="*/ 0 h 45"/>
                    <a:gd name="T12" fmla="*/ 39 w 40"/>
                    <a:gd name="T13" fmla="*/ 21 h 45"/>
                    <a:gd name="T14" fmla="*/ 40 w 40"/>
                    <a:gd name="T15" fmla="*/ 23 h 45"/>
                    <a:gd name="T16" fmla="*/ 39 w 40"/>
                    <a:gd name="T17" fmla="*/ 24 h 45"/>
                    <a:gd name="T18" fmla="*/ 3 w 40"/>
                    <a:gd name="T19" fmla="*/ 45 h 45"/>
                    <a:gd name="T20" fmla="*/ 2 w 40"/>
                    <a:gd name="T21" fmla="*/ 45 h 45"/>
                    <a:gd name="T22" fmla="*/ 4 w 40"/>
                    <a:gd name="T23" fmla="*/ 5 h 45"/>
                    <a:gd name="T24" fmla="*/ 4 w 40"/>
                    <a:gd name="T25" fmla="*/ 40 h 45"/>
                    <a:gd name="T26" fmla="*/ 34 w 40"/>
                    <a:gd name="T27" fmla="*/ 23 h 45"/>
                    <a:gd name="T28" fmla="*/ 4 w 40"/>
                    <a:gd name="T29" fmla="*/ 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0" h="45">
                      <a:moveTo>
                        <a:pt x="2" y="45"/>
                      </a:moveTo>
                      <a:cubicBezTo>
                        <a:pt x="2" y="45"/>
                        <a:pt x="1" y="45"/>
                        <a:pt x="1" y="45"/>
                      </a:cubicBezTo>
                      <a:cubicBezTo>
                        <a:pt x="1" y="45"/>
                        <a:pt x="0" y="44"/>
                        <a:pt x="0" y="4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9" y="21"/>
                        <a:pt x="39" y="21"/>
                        <a:pt x="39" y="21"/>
                      </a:cubicBezTo>
                      <a:cubicBezTo>
                        <a:pt x="40" y="21"/>
                        <a:pt x="40" y="22"/>
                        <a:pt x="40" y="23"/>
                      </a:cubicBezTo>
                      <a:cubicBezTo>
                        <a:pt x="40" y="23"/>
                        <a:pt x="40" y="24"/>
                        <a:pt x="39" y="24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5"/>
                        <a:pt x="2" y="45"/>
                        <a:pt x="2" y="45"/>
                      </a:cubicBezTo>
                      <a:close/>
                      <a:moveTo>
                        <a:pt x="4" y="5"/>
                      </a:move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34" y="23"/>
                        <a:pt x="34" y="23"/>
                        <a:pt x="34" y="23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4" name="Freeform 927">
                  <a:extLst>
                    <a:ext uri="{FF2B5EF4-FFF2-40B4-BE49-F238E27FC236}">
                      <a16:creationId xmlns:a16="http://schemas.microsoft.com/office/drawing/2014/main" id="{6344DE93-85C9-4345-A177-836D86D5A8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2951"/>
                  <a:ext cx="57" cy="321"/>
                </a:xfrm>
                <a:custGeom>
                  <a:avLst/>
                  <a:gdLst>
                    <a:gd name="T0" fmla="*/ 2 w 24"/>
                    <a:gd name="T1" fmla="*/ 136 h 136"/>
                    <a:gd name="T2" fmla="*/ 1 w 24"/>
                    <a:gd name="T3" fmla="*/ 136 h 136"/>
                    <a:gd name="T4" fmla="*/ 0 w 24"/>
                    <a:gd name="T5" fmla="*/ 134 h 136"/>
                    <a:gd name="T6" fmla="*/ 0 w 24"/>
                    <a:gd name="T7" fmla="*/ 2 h 136"/>
                    <a:gd name="T8" fmla="*/ 1 w 24"/>
                    <a:gd name="T9" fmla="*/ 0 h 136"/>
                    <a:gd name="T10" fmla="*/ 3 w 24"/>
                    <a:gd name="T11" fmla="*/ 0 h 136"/>
                    <a:gd name="T12" fmla="*/ 23 w 24"/>
                    <a:gd name="T13" fmla="*/ 12 h 136"/>
                    <a:gd name="T14" fmla="*/ 24 w 24"/>
                    <a:gd name="T15" fmla="*/ 13 h 136"/>
                    <a:gd name="T16" fmla="*/ 24 w 24"/>
                    <a:gd name="T17" fmla="*/ 123 h 136"/>
                    <a:gd name="T18" fmla="*/ 23 w 24"/>
                    <a:gd name="T19" fmla="*/ 125 h 136"/>
                    <a:gd name="T20" fmla="*/ 3 w 24"/>
                    <a:gd name="T21" fmla="*/ 136 h 136"/>
                    <a:gd name="T22" fmla="*/ 2 w 24"/>
                    <a:gd name="T23" fmla="*/ 136 h 136"/>
                    <a:gd name="T24" fmla="*/ 4 w 24"/>
                    <a:gd name="T25" fmla="*/ 5 h 136"/>
                    <a:gd name="T26" fmla="*/ 4 w 24"/>
                    <a:gd name="T27" fmla="*/ 131 h 136"/>
                    <a:gd name="T28" fmla="*/ 20 w 24"/>
                    <a:gd name="T29" fmla="*/ 122 h 136"/>
                    <a:gd name="T30" fmla="*/ 20 w 24"/>
                    <a:gd name="T31" fmla="*/ 14 h 136"/>
                    <a:gd name="T32" fmla="*/ 4 w 24"/>
                    <a:gd name="T33" fmla="*/ 5 h 136"/>
                    <a:gd name="T34" fmla="*/ 22 w 24"/>
                    <a:gd name="T35" fmla="*/ 123 h 136"/>
                    <a:gd name="T36" fmla="*/ 22 w 24"/>
                    <a:gd name="T37" fmla="*/ 123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136">
                      <a:moveTo>
                        <a:pt x="2" y="136"/>
                      </a:moveTo>
                      <a:cubicBezTo>
                        <a:pt x="2" y="136"/>
                        <a:pt x="1" y="136"/>
                        <a:pt x="1" y="136"/>
                      </a:cubicBezTo>
                      <a:cubicBezTo>
                        <a:pt x="1" y="136"/>
                        <a:pt x="0" y="135"/>
                        <a:pt x="0" y="13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3" y="12"/>
                        <a:pt x="24" y="13"/>
                        <a:pt x="24" y="13"/>
                      </a:cubicBezTo>
                      <a:cubicBezTo>
                        <a:pt x="24" y="123"/>
                        <a:pt x="24" y="123"/>
                        <a:pt x="24" y="123"/>
                      </a:cubicBezTo>
                      <a:cubicBezTo>
                        <a:pt x="24" y="124"/>
                        <a:pt x="23" y="124"/>
                        <a:pt x="23" y="125"/>
                      </a:cubicBezTo>
                      <a:cubicBezTo>
                        <a:pt x="3" y="136"/>
                        <a:pt x="3" y="136"/>
                        <a:pt x="3" y="136"/>
                      </a:cubicBezTo>
                      <a:cubicBezTo>
                        <a:pt x="3" y="136"/>
                        <a:pt x="3" y="136"/>
                        <a:pt x="2" y="136"/>
                      </a:cubicBezTo>
                      <a:close/>
                      <a:moveTo>
                        <a:pt x="4" y="5"/>
                      </a:moveTo>
                      <a:cubicBezTo>
                        <a:pt x="4" y="131"/>
                        <a:pt x="4" y="131"/>
                        <a:pt x="4" y="131"/>
                      </a:cubicBezTo>
                      <a:cubicBezTo>
                        <a:pt x="20" y="122"/>
                        <a:pt x="20" y="122"/>
                        <a:pt x="20" y="122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lnTo>
                        <a:pt x="4" y="5"/>
                      </a:lnTo>
                      <a:close/>
                      <a:moveTo>
                        <a:pt x="22" y="123"/>
                      </a:moveTo>
                      <a:cubicBezTo>
                        <a:pt x="22" y="123"/>
                        <a:pt x="22" y="123"/>
                        <a:pt x="22" y="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5" name="Freeform 928">
                  <a:extLst>
                    <a:ext uri="{FF2B5EF4-FFF2-40B4-BE49-F238E27FC236}">
                      <a16:creationId xmlns:a16="http://schemas.microsoft.com/office/drawing/2014/main" id="{D558B660-F7D3-4754-AE29-B0A8B2A9E8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96" y="1391"/>
                  <a:ext cx="161" cy="246"/>
                </a:xfrm>
                <a:custGeom>
                  <a:avLst/>
                  <a:gdLst>
                    <a:gd name="T0" fmla="*/ 14 w 68"/>
                    <a:gd name="T1" fmla="*/ 104 h 104"/>
                    <a:gd name="T2" fmla="*/ 13 w 68"/>
                    <a:gd name="T3" fmla="*/ 104 h 104"/>
                    <a:gd name="T4" fmla="*/ 1 w 68"/>
                    <a:gd name="T5" fmla="*/ 98 h 104"/>
                    <a:gd name="T6" fmla="*/ 0 w 68"/>
                    <a:gd name="T7" fmla="*/ 96 h 104"/>
                    <a:gd name="T8" fmla="*/ 0 w 68"/>
                    <a:gd name="T9" fmla="*/ 35 h 104"/>
                    <a:gd name="T10" fmla="*/ 1 w 68"/>
                    <a:gd name="T11" fmla="*/ 33 h 104"/>
                    <a:gd name="T12" fmla="*/ 14 w 68"/>
                    <a:gd name="T13" fmla="*/ 26 h 104"/>
                    <a:gd name="T14" fmla="*/ 16 w 68"/>
                    <a:gd name="T15" fmla="*/ 26 h 104"/>
                    <a:gd name="T16" fmla="*/ 18 w 68"/>
                    <a:gd name="T17" fmla="*/ 27 h 104"/>
                    <a:gd name="T18" fmla="*/ 65 w 68"/>
                    <a:gd name="T19" fmla="*/ 0 h 104"/>
                    <a:gd name="T20" fmla="*/ 67 w 68"/>
                    <a:gd name="T21" fmla="*/ 0 h 104"/>
                    <a:gd name="T22" fmla="*/ 68 w 68"/>
                    <a:gd name="T23" fmla="*/ 2 h 104"/>
                    <a:gd name="T24" fmla="*/ 68 w 68"/>
                    <a:gd name="T25" fmla="*/ 72 h 104"/>
                    <a:gd name="T26" fmla="*/ 67 w 68"/>
                    <a:gd name="T27" fmla="*/ 74 h 104"/>
                    <a:gd name="T28" fmla="*/ 15 w 68"/>
                    <a:gd name="T29" fmla="*/ 104 h 104"/>
                    <a:gd name="T30" fmla="*/ 14 w 68"/>
                    <a:gd name="T31" fmla="*/ 104 h 104"/>
                    <a:gd name="T32" fmla="*/ 4 w 68"/>
                    <a:gd name="T33" fmla="*/ 95 h 104"/>
                    <a:gd name="T34" fmla="*/ 14 w 68"/>
                    <a:gd name="T35" fmla="*/ 100 h 104"/>
                    <a:gd name="T36" fmla="*/ 64 w 68"/>
                    <a:gd name="T37" fmla="*/ 71 h 104"/>
                    <a:gd name="T38" fmla="*/ 64 w 68"/>
                    <a:gd name="T39" fmla="*/ 5 h 104"/>
                    <a:gd name="T40" fmla="*/ 19 w 68"/>
                    <a:gd name="T41" fmla="*/ 31 h 104"/>
                    <a:gd name="T42" fmla="*/ 17 w 68"/>
                    <a:gd name="T43" fmla="*/ 31 h 104"/>
                    <a:gd name="T44" fmla="*/ 15 w 68"/>
                    <a:gd name="T45" fmla="*/ 30 h 104"/>
                    <a:gd name="T46" fmla="*/ 4 w 68"/>
                    <a:gd name="T47" fmla="*/ 36 h 104"/>
                    <a:gd name="T48" fmla="*/ 4 w 68"/>
                    <a:gd name="T49" fmla="*/ 9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8" h="104">
                      <a:moveTo>
                        <a:pt x="14" y="104"/>
                      </a:moveTo>
                      <a:cubicBezTo>
                        <a:pt x="13" y="104"/>
                        <a:pt x="13" y="104"/>
                        <a:pt x="13" y="104"/>
                      </a:cubicBezTo>
                      <a:cubicBezTo>
                        <a:pt x="1" y="98"/>
                        <a:pt x="1" y="98"/>
                        <a:pt x="1" y="98"/>
                      </a:cubicBezTo>
                      <a:cubicBezTo>
                        <a:pt x="1" y="97"/>
                        <a:pt x="0" y="97"/>
                        <a:pt x="0" y="96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34"/>
                        <a:pt x="1" y="34"/>
                        <a:pt x="1" y="33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14" y="26"/>
                        <a:pt x="15" y="26"/>
                        <a:pt x="16" y="26"/>
                      </a:cubicBezTo>
                      <a:cubicBezTo>
                        <a:pt x="18" y="27"/>
                        <a:pt x="18" y="27"/>
                        <a:pt x="18" y="27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6" y="0"/>
                        <a:pt x="67" y="0"/>
                        <a:pt x="67" y="0"/>
                      </a:cubicBezTo>
                      <a:cubicBezTo>
                        <a:pt x="68" y="0"/>
                        <a:pt x="68" y="1"/>
                        <a:pt x="68" y="2"/>
                      </a:cubicBezTo>
                      <a:cubicBezTo>
                        <a:pt x="68" y="72"/>
                        <a:pt x="68" y="72"/>
                        <a:pt x="68" y="72"/>
                      </a:cubicBezTo>
                      <a:cubicBezTo>
                        <a:pt x="68" y="73"/>
                        <a:pt x="68" y="73"/>
                        <a:pt x="67" y="74"/>
                      </a:cubicBezTo>
                      <a:cubicBezTo>
                        <a:pt x="15" y="104"/>
                        <a:pt x="15" y="104"/>
                        <a:pt x="15" y="104"/>
                      </a:cubicBezTo>
                      <a:cubicBezTo>
                        <a:pt x="14" y="104"/>
                        <a:pt x="14" y="104"/>
                        <a:pt x="14" y="104"/>
                      </a:cubicBezTo>
                      <a:close/>
                      <a:moveTo>
                        <a:pt x="4" y="95"/>
                      </a:moveTo>
                      <a:cubicBezTo>
                        <a:pt x="14" y="100"/>
                        <a:pt x="14" y="100"/>
                        <a:pt x="14" y="100"/>
                      </a:cubicBezTo>
                      <a:cubicBezTo>
                        <a:pt x="64" y="71"/>
                        <a:pt x="64" y="71"/>
                        <a:pt x="64" y="71"/>
                      </a:cubicBezTo>
                      <a:cubicBezTo>
                        <a:pt x="64" y="5"/>
                        <a:pt x="64" y="5"/>
                        <a:pt x="64" y="5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18" y="32"/>
                        <a:pt x="18" y="32"/>
                        <a:pt x="17" y="31"/>
                      </a:cubicBezTo>
                      <a:cubicBezTo>
                        <a:pt x="15" y="30"/>
                        <a:pt x="15" y="30"/>
                        <a:pt x="15" y="30"/>
                      </a:cubicBezTo>
                      <a:cubicBezTo>
                        <a:pt x="4" y="36"/>
                        <a:pt x="4" y="36"/>
                        <a:pt x="4" y="36"/>
                      </a:cubicBezTo>
                      <a:lnTo>
                        <a:pt x="4" y="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6" name="Freeform 929">
                  <a:extLst>
                    <a:ext uri="{FF2B5EF4-FFF2-40B4-BE49-F238E27FC236}">
                      <a16:creationId xmlns:a16="http://schemas.microsoft.com/office/drawing/2014/main" id="{9ED32257-8612-4287-A5ED-B970F52F6FD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1351"/>
                  <a:ext cx="78" cy="76"/>
                </a:xfrm>
                <a:custGeom>
                  <a:avLst/>
                  <a:gdLst>
                    <a:gd name="T0" fmla="*/ 2 w 33"/>
                    <a:gd name="T1" fmla="*/ 32 h 32"/>
                    <a:gd name="T2" fmla="*/ 1 w 33"/>
                    <a:gd name="T3" fmla="*/ 32 h 32"/>
                    <a:gd name="T4" fmla="*/ 0 w 33"/>
                    <a:gd name="T5" fmla="*/ 30 h 32"/>
                    <a:gd name="T6" fmla="*/ 0 w 33"/>
                    <a:gd name="T7" fmla="*/ 11 h 32"/>
                    <a:gd name="T8" fmla="*/ 1 w 33"/>
                    <a:gd name="T9" fmla="*/ 9 h 32"/>
                    <a:gd name="T10" fmla="*/ 3 w 33"/>
                    <a:gd name="T11" fmla="*/ 9 h 32"/>
                    <a:gd name="T12" fmla="*/ 9 w 33"/>
                    <a:gd name="T13" fmla="*/ 13 h 32"/>
                    <a:gd name="T14" fmla="*/ 30 w 33"/>
                    <a:gd name="T15" fmla="*/ 1 h 32"/>
                    <a:gd name="T16" fmla="*/ 32 w 33"/>
                    <a:gd name="T17" fmla="*/ 1 h 32"/>
                    <a:gd name="T18" fmla="*/ 33 w 33"/>
                    <a:gd name="T19" fmla="*/ 2 h 32"/>
                    <a:gd name="T20" fmla="*/ 33 w 33"/>
                    <a:gd name="T21" fmla="*/ 13 h 32"/>
                    <a:gd name="T22" fmla="*/ 32 w 33"/>
                    <a:gd name="T23" fmla="*/ 15 h 32"/>
                    <a:gd name="T24" fmla="*/ 3 w 33"/>
                    <a:gd name="T25" fmla="*/ 32 h 32"/>
                    <a:gd name="T26" fmla="*/ 2 w 33"/>
                    <a:gd name="T27" fmla="*/ 32 h 32"/>
                    <a:gd name="T28" fmla="*/ 4 w 33"/>
                    <a:gd name="T29" fmla="*/ 14 h 32"/>
                    <a:gd name="T30" fmla="*/ 4 w 33"/>
                    <a:gd name="T31" fmla="*/ 27 h 32"/>
                    <a:gd name="T32" fmla="*/ 29 w 33"/>
                    <a:gd name="T33" fmla="*/ 12 h 32"/>
                    <a:gd name="T34" fmla="*/ 29 w 33"/>
                    <a:gd name="T35" fmla="*/ 6 h 32"/>
                    <a:gd name="T36" fmla="*/ 10 w 33"/>
                    <a:gd name="T37" fmla="*/ 17 h 32"/>
                    <a:gd name="T38" fmla="*/ 8 w 33"/>
                    <a:gd name="T39" fmla="*/ 17 h 32"/>
                    <a:gd name="T40" fmla="*/ 4 w 33"/>
                    <a:gd name="T41" fmla="*/ 14 h 32"/>
                    <a:gd name="T42" fmla="*/ 31 w 33"/>
                    <a:gd name="T43" fmla="*/ 13 h 32"/>
                    <a:gd name="T44" fmla="*/ 31 w 33"/>
                    <a:gd name="T45" fmla="*/ 13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3" h="32">
                      <a:moveTo>
                        <a:pt x="2" y="32"/>
                      </a:move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" y="8"/>
                        <a:pt x="2" y="8"/>
                        <a:pt x="3" y="9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1" y="0"/>
                        <a:pt x="32" y="0"/>
                        <a:pt x="32" y="1"/>
                      </a:cubicBezTo>
                      <a:cubicBezTo>
                        <a:pt x="33" y="1"/>
                        <a:pt x="33" y="2"/>
                        <a:pt x="33" y="2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3" y="14"/>
                        <a:pt x="33" y="14"/>
                        <a:pt x="32" y="15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lose/>
                      <a:moveTo>
                        <a:pt x="4" y="14"/>
                      </a:move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29" y="12"/>
                        <a:pt x="29" y="12"/>
                        <a:pt x="29" y="12"/>
                      </a:cubicBezTo>
                      <a:cubicBezTo>
                        <a:pt x="29" y="6"/>
                        <a:pt x="29" y="6"/>
                        <a:pt x="29" y="6"/>
                      </a:cubicBezTo>
                      <a:cubicBezTo>
                        <a:pt x="10" y="17"/>
                        <a:pt x="10" y="17"/>
                        <a:pt x="10" y="17"/>
                      </a:cubicBezTo>
                      <a:cubicBezTo>
                        <a:pt x="10" y="17"/>
                        <a:pt x="9" y="17"/>
                        <a:pt x="8" y="17"/>
                      </a:cubicBezTo>
                      <a:lnTo>
                        <a:pt x="4" y="14"/>
                      </a:lnTo>
                      <a:close/>
                      <a:moveTo>
                        <a:pt x="31" y="13"/>
                      </a:moveTo>
                      <a:cubicBezTo>
                        <a:pt x="31" y="13"/>
                        <a:pt x="31" y="13"/>
                        <a:pt x="31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7" name="Freeform 930">
                  <a:extLst>
                    <a:ext uri="{FF2B5EF4-FFF2-40B4-BE49-F238E27FC236}">
                      <a16:creationId xmlns:a16="http://schemas.microsoft.com/office/drawing/2014/main" id="{D044C99A-08DD-4BE7-9E2E-DFD2A98E86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8" y="1878"/>
                  <a:ext cx="156" cy="352"/>
                </a:xfrm>
                <a:custGeom>
                  <a:avLst/>
                  <a:gdLst>
                    <a:gd name="T0" fmla="*/ 40 w 66"/>
                    <a:gd name="T1" fmla="*/ 149 h 149"/>
                    <a:gd name="T2" fmla="*/ 39 w 66"/>
                    <a:gd name="T3" fmla="*/ 148 h 149"/>
                    <a:gd name="T4" fmla="*/ 1 w 66"/>
                    <a:gd name="T5" fmla="*/ 127 h 149"/>
                    <a:gd name="T6" fmla="*/ 0 w 66"/>
                    <a:gd name="T7" fmla="*/ 125 h 149"/>
                    <a:gd name="T8" fmla="*/ 0 w 66"/>
                    <a:gd name="T9" fmla="*/ 30 h 149"/>
                    <a:gd name="T10" fmla="*/ 1 w 66"/>
                    <a:gd name="T11" fmla="*/ 29 h 149"/>
                    <a:gd name="T12" fmla="*/ 50 w 66"/>
                    <a:gd name="T13" fmla="*/ 1 h 149"/>
                    <a:gd name="T14" fmla="*/ 52 w 66"/>
                    <a:gd name="T15" fmla="*/ 1 h 149"/>
                    <a:gd name="T16" fmla="*/ 65 w 66"/>
                    <a:gd name="T17" fmla="*/ 9 h 149"/>
                    <a:gd name="T18" fmla="*/ 66 w 66"/>
                    <a:gd name="T19" fmla="*/ 10 h 149"/>
                    <a:gd name="T20" fmla="*/ 66 w 66"/>
                    <a:gd name="T21" fmla="*/ 132 h 149"/>
                    <a:gd name="T22" fmla="*/ 65 w 66"/>
                    <a:gd name="T23" fmla="*/ 134 h 149"/>
                    <a:gd name="T24" fmla="*/ 41 w 66"/>
                    <a:gd name="T25" fmla="*/ 148 h 149"/>
                    <a:gd name="T26" fmla="*/ 40 w 66"/>
                    <a:gd name="T27" fmla="*/ 149 h 149"/>
                    <a:gd name="T28" fmla="*/ 4 w 66"/>
                    <a:gd name="T29" fmla="*/ 124 h 149"/>
                    <a:gd name="T30" fmla="*/ 40 w 66"/>
                    <a:gd name="T31" fmla="*/ 144 h 149"/>
                    <a:gd name="T32" fmla="*/ 62 w 66"/>
                    <a:gd name="T33" fmla="*/ 131 h 149"/>
                    <a:gd name="T34" fmla="*/ 62 w 66"/>
                    <a:gd name="T35" fmla="*/ 12 h 149"/>
                    <a:gd name="T36" fmla="*/ 51 w 66"/>
                    <a:gd name="T37" fmla="*/ 5 h 149"/>
                    <a:gd name="T38" fmla="*/ 4 w 66"/>
                    <a:gd name="T39" fmla="*/ 32 h 149"/>
                    <a:gd name="T40" fmla="*/ 4 w 66"/>
                    <a:gd name="T41" fmla="*/ 124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" h="149">
                      <a:moveTo>
                        <a:pt x="40" y="149"/>
                      </a:moveTo>
                      <a:cubicBezTo>
                        <a:pt x="40" y="149"/>
                        <a:pt x="39" y="149"/>
                        <a:pt x="39" y="148"/>
                      </a:cubicBezTo>
                      <a:cubicBezTo>
                        <a:pt x="1" y="127"/>
                        <a:pt x="1" y="127"/>
                        <a:pt x="1" y="127"/>
                      </a:cubicBezTo>
                      <a:cubicBezTo>
                        <a:pt x="1" y="126"/>
                        <a:pt x="0" y="125"/>
                        <a:pt x="0" y="12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0"/>
                        <a:pt x="1" y="29"/>
                        <a:pt x="1" y="29"/>
                      </a:cubicBez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50" y="0"/>
                        <a:pt x="51" y="0"/>
                        <a:pt x="52" y="1"/>
                      </a:cubicBezTo>
                      <a:cubicBezTo>
                        <a:pt x="65" y="9"/>
                        <a:pt x="65" y="9"/>
                        <a:pt x="65" y="9"/>
                      </a:cubicBezTo>
                      <a:cubicBezTo>
                        <a:pt x="66" y="9"/>
                        <a:pt x="66" y="10"/>
                        <a:pt x="66" y="10"/>
                      </a:cubicBezTo>
                      <a:cubicBezTo>
                        <a:pt x="66" y="132"/>
                        <a:pt x="66" y="132"/>
                        <a:pt x="66" y="132"/>
                      </a:cubicBezTo>
                      <a:cubicBezTo>
                        <a:pt x="66" y="133"/>
                        <a:pt x="66" y="134"/>
                        <a:pt x="65" y="134"/>
                      </a:cubicBezTo>
                      <a:cubicBezTo>
                        <a:pt x="41" y="148"/>
                        <a:pt x="41" y="148"/>
                        <a:pt x="41" y="148"/>
                      </a:cubicBezTo>
                      <a:cubicBezTo>
                        <a:pt x="41" y="149"/>
                        <a:pt x="40" y="149"/>
                        <a:pt x="40" y="149"/>
                      </a:cubicBezTo>
                      <a:close/>
                      <a:moveTo>
                        <a:pt x="4" y="124"/>
                      </a:moveTo>
                      <a:cubicBezTo>
                        <a:pt x="40" y="144"/>
                        <a:pt x="40" y="144"/>
                        <a:pt x="40" y="144"/>
                      </a:cubicBezTo>
                      <a:cubicBezTo>
                        <a:pt x="62" y="131"/>
                        <a:pt x="62" y="131"/>
                        <a:pt x="62" y="131"/>
                      </a:cubicBezTo>
                      <a:cubicBezTo>
                        <a:pt x="62" y="12"/>
                        <a:pt x="62" y="12"/>
                        <a:pt x="62" y="12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4" y="32"/>
                        <a:pt x="4" y="32"/>
                        <a:pt x="4" y="32"/>
                      </a:cubicBezTo>
                      <a:lnTo>
                        <a:pt x="4" y="1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8" name="Freeform 931">
                  <a:extLst>
                    <a:ext uri="{FF2B5EF4-FFF2-40B4-BE49-F238E27FC236}">
                      <a16:creationId xmlns:a16="http://schemas.microsoft.com/office/drawing/2014/main" id="{867B92F2-510A-4A85-BA04-759C5F10E7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242" y="2190"/>
                  <a:ext cx="62" cy="73"/>
                </a:xfrm>
                <a:custGeom>
                  <a:avLst/>
                  <a:gdLst>
                    <a:gd name="T0" fmla="*/ 24 w 26"/>
                    <a:gd name="T1" fmla="*/ 31 h 31"/>
                    <a:gd name="T2" fmla="*/ 23 w 26"/>
                    <a:gd name="T3" fmla="*/ 31 h 31"/>
                    <a:gd name="T4" fmla="*/ 1 w 26"/>
                    <a:gd name="T5" fmla="*/ 17 h 31"/>
                    <a:gd name="T6" fmla="*/ 0 w 26"/>
                    <a:gd name="T7" fmla="*/ 16 h 31"/>
                    <a:gd name="T8" fmla="*/ 1 w 26"/>
                    <a:gd name="T9" fmla="*/ 14 h 31"/>
                    <a:gd name="T10" fmla="*/ 23 w 26"/>
                    <a:gd name="T11" fmla="*/ 1 h 31"/>
                    <a:gd name="T12" fmla="*/ 25 w 26"/>
                    <a:gd name="T13" fmla="*/ 1 h 31"/>
                    <a:gd name="T14" fmla="*/ 26 w 26"/>
                    <a:gd name="T15" fmla="*/ 2 h 31"/>
                    <a:gd name="T16" fmla="*/ 26 w 26"/>
                    <a:gd name="T17" fmla="*/ 29 h 31"/>
                    <a:gd name="T18" fmla="*/ 25 w 26"/>
                    <a:gd name="T19" fmla="*/ 31 h 31"/>
                    <a:gd name="T20" fmla="*/ 24 w 26"/>
                    <a:gd name="T21" fmla="*/ 31 h 31"/>
                    <a:gd name="T22" fmla="*/ 6 w 26"/>
                    <a:gd name="T23" fmla="*/ 16 h 31"/>
                    <a:gd name="T24" fmla="*/ 22 w 26"/>
                    <a:gd name="T25" fmla="*/ 25 h 31"/>
                    <a:gd name="T26" fmla="*/ 22 w 26"/>
                    <a:gd name="T27" fmla="*/ 6 h 31"/>
                    <a:gd name="T28" fmla="*/ 6 w 26"/>
                    <a:gd name="T29" fmla="*/ 1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6" h="31">
                      <a:moveTo>
                        <a:pt x="24" y="31"/>
                      </a:moveTo>
                      <a:cubicBezTo>
                        <a:pt x="24" y="31"/>
                        <a:pt x="24" y="31"/>
                        <a:pt x="23" y="31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6"/>
                      </a:cubicBezTo>
                      <a:cubicBezTo>
                        <a:pt x="0" y="15"/>
                        <a:pt x="0" y="14"/>
                        <a:pt x="1" y="14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4" y="0"/>
                        <a:pt x="25" y="0"/>
                        <a:pt x="25" y="1"/>
                      </a:cubicBezTo>
                      <a:cubicBezTo>
                        <a:pt x="26" y="1"/>
                        <a:pt x="26" y="2"/>
                        <a:pt x="26" y="2"/>
                      </a:cubicBezTo>
                      <a:cubicBezTo>
                        <a:pt x="26" y="29"/>
                        <a:pt x="26" y="29"/>
                        <a:pt x="26" y="29"/>
                      </a:cubicBezTo>
                      <a:cubicBezTo>
                        <a:pt x="26" y="30"/>
                        <a:pt x="26" y="30"/>
                        <a:pt x="25" y="31"/>
                      </a:cubicBezTo>
                      <a:cubicBezTo>
                        <a:pt x="25" y="31"/>
                        <a:pt x="25" y="31"/>
                        <a:pt x="24" y="31"/>
                      </a:cubicBezTo>
                      <a:close/>
                      <a:moveTo>
                        <a:pt x="6" y="16"/>
                      </a:moveTo>
                      <a:cubicBezTo>
                        <a:pt x="22" y="25"/>
                        <a:pt x="22" y="25"/>
                        <a:pt x="22" y="25"/>
                      </a:cubicBezTo>
                      <a:cubicBezTo>
                        <a:pt x="22" y="6"/>
                        <a:pt x="22" y="6"/>
                        <a:pt x="22" y="6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9" name="Freeform 932">
                  <a:extLst>
                    <a:ext uri="{FF2B5EF4-FFF2-40B4-BE49-F238E27FC236}">
                      <a16:creationId xmlns:a16="http://schemas.microsoft.com/office/drawing/2014/main" id="{5B6C6DE4-4134-4C11-B638-40F7E5B1F25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266" y="1781"/>
                  <a:ext cx="175" cy="414"/>
                </a:xfrm>
                <a:custGeom>
                  <a:avLst/>
                  <a:gdLst>
                    <a:gd name="T0" fmla="*/ 16 w 74"/>
                    <a:gd name="T1" fmla="*/ 175 h 175"/>
                    <a:gd name="T2" fmla="*/ 15 w 74"/>
                    <a:gd name="T3" fmla="*/ 174 h 175"/>
                    <a:gd name="T4" fmla="*/ 14 w 74"/>
                    <a:gd name="T5" fmla="*/ 173 h 175"/>
                    <a:gd name="T6" fmla="*/ 14 w 74"/>
                    <a:gd name="T7" fmla="*/ 52 h 175"/>
                    <a:gd name="T8" fmla="*/ 1 w 74"/>
                    <a:gd name="T9" fmla="*/ 44 h 175"/>
                    <a:gd name="T10" fmla="*/ 0 w 74"/>
                    <a:gd name="T11" fmla="*/ 42 h 175"/>
                    <a:gd name="T12" fmla="*/ 1 w 74"/>
                    <a:gd name="T13" fmla="*/ 41 h 175"/>
                    <a:gd name="T14" fmla="*/ 71 w 74"/>
                    <a:gd name="T15" fmla="*/ 1 h 175"/>
                    <a:gd name="T16" fmla="*/ 73 w 74"/>
                    <a:gd name="T17" fmla="*/ 1 h 175"/>
                    <a:gd name="T18" fmla="*/ 74 w 74"/>
                    <a:gd name="T19" fmla="*/ 2 h 175"/>
                    <a:gd name="T20" fmla="*/ 74 w 74"/>
                    <a:gd name="T21" fmla="*/ 140 h 175"/>
                    <a:gd name="T22" fmla="*/ 73 w 74"/>
                    <a:gd name="T23" fmla="*/ 142 h 175"/>
                    <a:gd name="T24" fmla="*/ 17 w 74"/>
                    <a:gd name="T25" fmla="*/ 174 h 175"/>
                    <a:gd name="T26" fmla="*/ 16 w 74"/>
                    <a:gd name="T27" fmla="*/ 175 h 175"/>
                    <a:gd name="T28" fmla="*/ 6 w 74"/>
                    <a:gd name="T29" fmla="*/ 42 h 175"/>
                    <a:gd name="T30" fmla="*/ 17 w 74"/>
                    <a:gd name="T31" fmla="*/ 49 h 175"/>
                    <a:gd name="T32" fmla="*/ 18 w 74"/>
                    <a:gd name="T33" fmla="*/ 50 h 175"/>
                    <a:gd name="T34" fmla="*/ 18 w 74"/>
                    <a:gd name="T35" fmla="*/ 169 h 175"/>
                    <a:gd name="T36" fmla="*/ 70 w 74"/>
                    <a:gd name="T37" fmla="*/ 139 h 175"/>
                    <a:gd name="T38" fmla="*/ 70 w 74"/>
                    <a:gd name="T39" fmla="*/ 6 h 175"/>
                    <a:gd name="T40" fmla="*/ 6 w 74"/>
                    <a:gd name="T41" fmla="*/ 42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4" h="175">
                      <a:moveTo>
                        <a:pt x="16" y="175"/>
                      </a:moveTo>
                      <a:cubicBezTo>
                        <a:pt x="16" y="175"/>
                        <a:pt x="15" y="174"/>
                        <a:pt x="15" y="174"/>
                      </a:cubicBezTo>
                      <a:cubicBezTo>
                        <a:pt x="15" y="174"/>
                        <a:pt x="14" y="173"/>
                        <a:pt x="14" y="173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1" y="44"/>
                        <a:pt x="0" y="43"/>
                        <a:pt x="0" y="42"/>
                      </a:cubicBezTo>
                      <a:cubicBezTo>
                        <a:pt x="0" y="42"/>
                        <a:pt x="1" y="41"/>
                        <a:pt x="1" y="4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2" y="0"/>
                        <a:pt x="73" y="1"/>
                      </a:cubicBezTo>
                      <a:cubicBezTo>
                        <a:pt x="73" y="1"/>
                        <a:pt x="74" y="2"/>
                        <a:pt x="74" y="2"/>
                      </a:cubicBezTo>
                      <a:cubicBezTo>
                        <a:pt x="74" y="140"/>
                        <a:pt x="74" y="140"/>
                        <a:pt x="74" y="140"/>
                      </a:cubicBezTo>
                      <a:cubicBezTo>
                        <a:pt x="74" y="141"/>
                        <a:pt x="73" y="142"/>
                        <a:pt x="73" y="142"/>
                      </a:cubicBezTo>
                      <a:cubicBezTo>
                        <a:pt x="17" y="174"/>
                        <a:pt x="17" y="174"/>
                        <a:pt x="17" y="174"/>
                      </a:cubicBezTo>
                      <a:cubicBezTo>
                        <a:pt x="17" y="174"/>
                        <a:pt x="16" y="175"/>
                        <a:pt x="16" y="175"/>
                      </a:cubicBezTo>
                      <a:close/>
                      <a:moveTo>
                        <a:pt x="6" y="42"/>
                      </a:moveTo>
                      <a:cubicBezTo>
                        <a:pt x="17" y="49"/>
                        <a:pt x="17" y="49"/>
                        <a:pt x="17" y="49"/>
                      </a:cubicBezTo>
                      <a:cubicBezTo>
                        <a:pt x="18" y="49"/>
                        <a:pt x="18" y="50"/>
                        <a:pt x="18" y="50"/>
                      </a:cubicBezTo>
                      <a:cubicBezTo>
                        <a:pt x="18" y="169"/>
                        <a:pt x="18" y="169"/>
                        <a:pt x="18" y="169"/>
                      </a:cubicBezTo>
                      <a:cubicBezTo>
                        <a:pt x="70" y="139"/>
                        <a:pt x="70" y="139"/>
                        <a:pt x="70" y="139"/>
                      </a:cubicBezTo>
                      <a:cubicBezTo>
                        <a:pt x="70" y="6"/>
                        <a:pt x="70" y="6"/>
                        <a:pt x="70" y="6"/>
                      </a:cubicBezTo>
                      <a:lnTo>
                        <a:pt x="6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0" name="Freeform 933">
                  <a:extLst>
                    <a:ext uri="{FF2B5EF4-FFF2-40B4-BE49-F238E27FC236}">
                      <a16:creationId xmlns:a16="http://schemas.microsoft.com/office/drawing/2014/main" id="{49245DC6-D50D-4FFD-99D5-610426995E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71" y="1573"/>
                  <a:ext cx="623" cy="338"/>
                </a:xfrm>
                <a:custGeom>
                  <a:avLst/>
                  <a:gdLst>
                    <a:gd name="T0" fmla="*/ 126 w 264"/>
                    <a:gd name="T1" fmla="*/ 143 h 143"/>
                    <a:gd name="T2" fmla="*/ 125 w 264"/>
                    <a:gd name="T3" fmla="*/ 142 h 143"/>
                    <a:gd name="T4" fmla="*/ 1 w 264"/>
                    <a:gd name="T5" fmla="*/ 71 h 143"/>
                    <a:gd name="T6" fmla="*/ 0 w 264"/>
                    <a:gd name="T7" fmla="*/ 69 h 143"/>
                    <a:gd name="T8" fmla="*/ 1 w 264"/>
                    <a:gd name="T9" fmla="*/ 68 h 143"/>
                    <a:gd name="T10" fmla="*/ 87 w 264"/>
                    <a:gd name="T11" fmla="*/ 18 h 143"/>
                    <a:gd name="T12" fmla="*/ 89 w 264"/>
                    <a:gd name="T13" fmla="*/ 18 h 143"/>
                    <a:gd name="T14" fmla="*/ 147 w 264"/>
                    <a:gd name="T15" fmla="*/ 52 h 143"/>
                    <a:gd name="T16" fmla="*/ 147 w 264"/>
                    <a:gd name="T17" fmla="*/ 2 h 143"/>
                    <a:gd name="T18" fmla="*/ 148 w 264"/>
                    <a:gd name="T19" fmla="*/ 0 h 143"/>
                    <a:gd name="T20" fmla="*/ 150 w 264"/>
                    <a:gd name="T21" fmla="*/ 0 h 143"/>
                    <a:gd name="T22" fmla="*/ 182 w 264"/>
                    <a:gd name="T23" fmla="*/ 18 h 143"/>
                    <a:gd name="T24" fmla="*/ 183 w 264"/>
                    <a:gd name="T25" fmla="*/ 20 h 143"/>
                    <a:gd name="T26" fmla="*/ 183 w 264"/>
                    <a:gd name="T27" fmla="*/ 31 h 143"/>
                    <a:gd name="T28" fmla="*/ 193 w 264"/>
                    <a:gd name="T29" fmla="*/ 26 h 143"/>
                    <a:gd name="T30" fmla="*/ 195 w 264"/>
                    <a:gd name="T31" fmla="*/ 26 h 143"/>
                    <a:gd name="T32" fmla="*/ 263 w 264"/>
                    <a:gd name="T33" fmla="*/ 65 h 143"/>
                    <a:gd name="T34" fmla="*/ 264 w 264"/>
                    <a:gd name="T35" fmla="*/ 67 h 143"/>
                    <a:gd name="T36" fmla="*/ 264 w 264"/>
                    <a:gd name="T37" fmla="*/ 68 h 143"/>
                    <a:gd name="T38" fmla="*/ 263 w 264"/>
                    <a:gd name="T39" fmla="*/ 70 h 143"/>
                    <a:gd name="T40" fmla="*/ 249 w 264"/>
                    <a:gd name="T41" fmla="*/ 78 h 143"/>
                    <a:gd name="T42" fmla="*/ 247 w 264"/>
                    <a:gd name="T43" fmla="*/ 78 h 143"/>
                    <a:gd name="T44" fmla="*/ 246 w 264"/>
                    <a:gd name="T45" fmla="*/ 76 h 143"/>
                    <a:gd name="T46" fmla="*/ 246 w 264"/>
                    <a:gd name="T47" fmla="*/ 73 h 143"/>
                    <a:gd name="T48" fmla="*/ 127 w 264"/>
                    <a:gd name="T49" fmla="*/ 142 h 143"/>
                    <a:gd name="T50" fmla="*/ 126 w 264"/>
                    <a:gd name="T51" fmla="*/ 143 h 143"/>
                    <a:gd name="T52" fmla="*/ 6 w 264"/>
                    <a:gd name="T53" fmla="*/ 69 h 143"/>
                    <a:gd name="T54" fmla="*/ 126 w 264"/>
                    <a:gd name="T55" fmla="*/ 138 h 143"/>
                    <a:gd name="T56" fmla="*/ 247 w 264"/>
                    <a:gd name="T57" fmla="*/ 68 h 143"/>
                    <a:gd name="T58" fmla="*/ 249 w 264"/>
                    <a:gd name="T59" fmla="*/ 68 h 143"/>
                    <a:gd name="T60" fmla="*/ 250 w 264"/>
                    <a:gd name="T61" fmla="*/ 70 h 143"/>
                    <a:gd name="T62" fmla="*/ 250 w 264"/>
                    <a:gd name="T63" fmla="*/ 73 h 143"/>
                    <a:gd name="T64" fmla="*/ 259 w 264"/>
                    <a:gd name="T65" fmla="*/ 68 h 143"/>
                    <a:gd name="T66" fmla="*/ 194 w 264"/>
                    <a:gd name="T67" fmla="*/ 30 h 143"/>
                    <a:gd name="T68" fmla="*/ 182 w 264"/>
                    <a:gd name="T69" fmla="*/ 37 h 143"/>
                    <a:gd name="T70" fmla="*/ 180 w 264"/>
                    <a:gd name="T71" fmla="*/ 37 h 143"/>
                    <a:gd name="T72" fmla="*/ 179 w 264"/>
                    <a:gd name="T73" fmla="*/ 35 h 143"/>
                    <a:gd name="T74" fmla="*/ 179 w 264"/>
                    <a:gd name="T75" fmla="*/ 21 h 143"/>
                    <a:gd name="T76" fmla="*/ 151 w 264"/>
                    <a:gd name="T77" fmla="*/ 5 h 143"/>
                    <a:gd name="T78" fmla="*/ 151 w 264"/>
                    <a:gd name="T79" fmla="*/ 55 h 143"/>
                    <a:gd name="T80" fmla="*/ 150 w 264"/>
                    <a:gd name="T81" fmla="*/ 57 h 143"/>
                    <a:gd name="T82" fmla="*/ 148 w 264"/>
                    <a:gd name="T83" fmla="*/ 57 h 143"/>
                    <a:gd name="T84" fmla="*/ 88 w 264"/>
                    <a:gd name="T85" fmla="*/ 22 h 143"/>
                    <a:gd name="T86" fmla="*/ 6 w 264"/>
                    <a:gd name="T87" fmla="*/ 69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64" h="143">
                      <a:moveTo>
                        <a:pt x="126" y="143"/>
                      </a:moveTo>
                      <a:cubicBezTo>
                        <a:pt x="125" y="143"/>
                        <a:pt x="125" y="142"/>
                        <a:pt x="125" y="142"/>
                      </a:cubicBezTo>
                      <a:cubicBezTo>
                        <a:pt x="1" y="71"/>
                        <a:pt x="1" y="71"/>
                        <a:pt x="1" y="71"/>
                      </a:cubicBezTo>
                      <a:cubicBezTo>
                        <a:pt x="1" y="71"/>
                        <a:pt x="0" y="70"/>
                        <a:pt x="0" y="69"/>
                      </a:cubicBezTo>
                      <a:cubicBezTo>
                        <a:pt x="0" y="69"/>
                        <a:pt x="1" y="68"/>
                        <a:pt x="1" y="68"/>
                      </a:cubicBezTo>
                      <a:cubicBezTo>
                        <a:pt x="87" y="18"/>
                        <a:pt x="87" y="18"/>
                        <a:pt x="87" y="18"/>
                      </a:cubicBezTo>
                      <a:cubicBezTo>
                        <a:pt x="87" y="18"/>
                        <a:pt x="88" y="18"/>
                        <a:pt x="89" y="18"/>
                      </a:cubicBezTo>
                      <a:cubicBezTo>
                        <a:pt x="147" y="52"/>
                        <a:pt x="147" y="52"/>
                        <a:pt x="147" y="52"/>
                      </a:cubicBezTo>
                      <a:cubicBezTo>
                        <a:pt x="147" y="2"/>
                        <a:pt x="147" y="2"/>
                        <a:pt x="147" y="2"/>
                      </a:cubicBezTo>
                      <a:cubicBezTo>
                        <a:pt x="147" y="1"/>
                        <a:pt x="148" y="0"/>
                        <a:pt x="148" y="0"/>
                      </a:cubicBezTo>
                      <a:cubicBezTo>
                        <a:pt x="149" y="0"/>
                        <a:pt x="150" y="0"/>
                        <a:pt x="150" y="0"/>
                      </a:cubicBezTo>
                      <a:cubicBezTo>
                        <a:pt x="182" y="18"/>
                        <a:pt x="182" y="18"/>
                        <a:pt x="182" y="18"/>
                      </a:cubicBezTo>
                      <a:cubicBezTo>
                        <a:pt x="182" y="19"/>
                        <a:pt x="183" y="19"/>
                        <a:pt x="183" y="20"/>
                      </a:cubicBezTo>
                      <a:cubicBezTo>
                        <a:pt x="183" y="31"/>
                        <a:pt x="183" y="31"/>
                        <a:pt x="183" y="31"/>
                      </a:cubicBezTo>
                      <a:cubicBezTo>
                        <a:pt x="193" y="26"/>
                        <a:pt x="193" y="26"/>
                        <a:pt x="193" y="26"/>
                      </a:cubicBezTo>
                      <a:cubicBezTo>
                        <a:pt x="193" y="25"/>
                        <a:pt x="194" y="25"/>
                        <a:pt x="195" y="26"/>
                      </a:cubicBezTo>
                      <a:cubicBezTo>
                        <a:pt x="263" y="65"/>
                        <a:pt x="263" y="65"/>
                        <a:pt x="263" y="65"/>
                      </a:cubicBezTo>
                      <a:cubicBezTo>
                        <a:pt x="263" y="65"/>
                        <a:pt x="264" y="66"/>
                        <a:pt x="264" y="67"/>
                      </a:cubicBezTo>
                      <a:cubicBezTo>
                        <a:pt x="264" y="68"/>
                        <a:pt x="264" y="68"/>
                        <a:pt x="264" y="68"/>
                      </a:cubicBezTo>
                      <a:cubicBezTo>
                        <a:pt x="264" y="69"/>
                        <a:pt x="263" y="70"/>
                        <a:pt x="263" y="70"/>
                      </a:cubicBezTo>
                      <a:cubicBezTo>
                        <a:pt x="249" y="78"/>
                        <a:pt x="249" y="78"/>
                        <a:pt x="249" y="78"/>
                      </a:cubicBezTo>
                      <a:cubicBezTo>
                        <a:pt x="248" y="78"/>
                        <a:pt x="248" y="78"/>
                        <a:pt x="247" y="78"/>
                      </a:cubicBezTo>
                      <a:cubicBezTo>
                        <a:pt x="246" y="78"/>
                        <a:pt x="246" y="77"/>
                        <a:pt x="246" y="76"/>
                      </a:cubicBezTo>
                      <a:cubicBezTo>
                        <a:pt x="246" y="73"/>
                        <a:pt x="246" y="73"/>
                        <a:pt x="246" y="73"/>
                      </a:cubicBezTo>
                      <a:cubicBezTo>
                        <a:pt x="127" y="142"/>
                        <a:pt x="127" y="142"/>
                        <a:pt x="127" y="142"/>
                      </a:cubicBezTo>
                      <a:cubicBezTo>
                        <a:pt x="126" y="142"/>
                        <a:pt x="126" y="143"/>
                        <a:pt x="126" y="143"/>
                      </a:cubicBezTo>
                      <a:close/>
                      <a:moveTo>
                        <a:pt x="6" y="69"/>
                      </a:moveTo>
                      <a:cubicBezTo>
                        <a:pt x="126" y="138"/>
                        <a:pt x="126" y="138"/>
                        <a:pt x="126" y="138"/>
                      </a:cubicBezTo>
                      <a:cubicBezTo>
                        <a:pt x="247" y="68"/>
                        <a:pt x="247" y="68"/>
                        <a:pt x="247" y="68"/>
                      </a:cubicBezTo>
                      <a:cubicBezTo>
                        <a:pt x="248" y="68"/>
                        <a:pt x="248" y="68"/>
                        <a:pt x="249" y="68"/>
                      </a:cubicBezTo>
                      <a:cubicBezTo>
                        <a:pt x="250" y="69"/>
                        <a:pt x="250" y="69"/>
                        <a:pt x="250" y="70"/>
                      </a:cubicBezTo>
                      <a:cubicBezTo>
                        <a:pt x="250" y="73"/>
                        <a:pt x="250" y="73"/>
                        <a:pt x="250" y="73"/>
                      </a:cubicBezTo>
                      <a:cubicBezTo>
                        <a:pt x="259" y="68"/>
                        <a:pt x="259" y="68"/>
                        <a:pt x="259" y="68"/>
                      </a:cubicBezTo>
                      <a:cubicBezTo>
                        <a:pt x="194" y="30"/>
                        <a:pt x="194" y="30"/>
                        <a:pt x="194" y="30"/>
                      </a:cubicBezTo>
                      <a:cubicBezTo>
                        <a:pt x="182" y="37"/>
                        <a:pt x="182" y="37"/>
                        <a:pt x="182" y="37"/>
                      </a:cubicBezTo>
                      <a:cubicBezTo>
                        <a:pt x="181" y="37"/>
                        <a:pt x="180" y="37"/>
                        <a:pt x="180" y="37"/>
                      </a:cubicBezTo>
                      <a:cubicBezTo>
                        <a:pt x="179" y="36"/>
                        <a:pt x="179" y="35"/>
                        <a:pt x="179" y="35"/>
                      </a:cubicBezTo>
                      <a:cubicBezTo>
                        <a:pt x="179" y="21"/>
                        <a:pt x="179" y="21"/>
                        <a:pt x="179" y="21"/>
                      </a:cubicBezTo>
                      <a:cubicBezTo>
                        <a:pt x="151" y="5"/>
                        <a:pt x="151" y="5"/>
                        <a:pt x="151" y="5"/>
                      </a:cubicBezTo>
                      <a:cubicBezTo>
                        <a:pt x="151" y="55"/>
                        <a:pt x="151" y="55"/>
                        <a:pt x="151" y="55"/>
                      </a:cubicBezTo>
                      <a:cubicBezTo>
                        <a:pt x="151" y="56"/>
                        <a:pt x="151" y="57"/>
                        <a:pt x="150" y="57"/>
                      </a:cubicBezTo>
                      <a:cubicBezTo>
                        <a:pt x="150" y="57"/>
                        <a:pt x="149" y="57"/>
                        <a:pt x="148" y="57"/>
                      </a:cubicBezTo>
                      <a:cubicBezTo>
                        <a:pt x="88" y="22"/>
                        <a:pt x="88" y="22"/>
                        <a:pt x="88" y="22"/>
                      </a:cubicBezTo>
                      <a:lnTo>
                        <a:pt x="6" y="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1" name="Freeform 934">
                  <a:extLst>
                    <a:ext uri="{FF2B5EF4-FFF2-40B4-BE49-F238E27FC236}">
                      <a16:creationId xmlns:a16="http://schemas.microsoft.com/office/drawing/2014/main" id="{64896F54-69E6-4355-B3C3-6D49EB966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29" y="1382"/>
                  <a:ext cx="128" cy="80"/>
                </a:xfrm>
                <a:custGeom>
                  <a:avLst/>
                  <a:gdLst>
                    <a:gd name="T0" fmla="*/ 4 w 54"/>
                    <a:gd name="T1" fmla="*/ 34 h 34"/>
                    <a:gd name="T2" fmla="*/ 3 w 54"/>
                    <a:gd name="T3" fmla="*/ 34 h 34"/>
                    <a:gd name="T4" fmla="*/ 1 w 54"/>
                    <a:gd name="T5" fmla="*/ 33 h 34"/>
                    <a:gd name="T6" fmla="*/ 0 w 54"/>
                    <a:gd name="T7" fmla="*/ 31 h 34"/>
                    <a:gd name="T8" fmla="*/ 1 w 54"/>
                    <a:gd name="T9" fmla="*/ 29 h 34"/>
                    <a:gd name="T10" fmla="*/ 21 w 54"/>
                    <a:gd name="T11" fmla="*/ 18 h 34"/>
                    <a:gd name="T12" fmla="*/ 21 w 54"/>
                    <a:gd name="T13" fmla="*/ 18 h 34"/>
                    <a:gd name="T14" fmla="*/ 22 w 54"/>
                    <a:gd name="T15" fmla="*/ 18 h 34"/>
                    <a:gd name="T16" fmla="*/ 51 w 54"/>
                    <a:gd name="T17" fmla="*/ 0 h 34"/>
                    <a:gd name="T18" fmla="*/ 53 w 54"/>
                    <a:gd name="T19" fmla="*/ 0 h 34"/>
                    <a:gd name="T20" fmla="*/ 54 w 54"/>
                    <a:gd name="T21" fmla="*/ 2 h 34"/>
                    <a:gd name="T22" fmla="*/ 54 w 54"/>
                    <a:gd name="T23" fmla="*/ 4 h 34"/>
                    <a:gd name="T24" fmla="*/ 53 w 54"/>
                    <a:gd name="T25" fmla="*/ 6 h 34"/>
                    <a:gd name="T26" fmla="*/ 5 w 54"/>
                    <a:gd name="T27" fmla="*/ 34 h 34"/>
                    <a:gd name="T28" fmla="*/ 4 w 54"/>
                    <a:gd name="T29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4" h="34">
                      <a:moveTo>
                        <a:pt x="4" y="34"/>
                      </a:moveTo>
                      <a:cubicBezTo>
                        <a:pt x="4" y="34"/>
                        <a:pt x="3" y="34"/>
                        <a:pt x="3" y="34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2"/>
                        <a:pt x="0" y="32"/>
                        <a:pt x="0" y="31"/>
                      </a:cubicBezTo>
                      <a:cubicBezTo>
                        <a:pt x="0" y="30"/>
                        <a:pt x="1" y="30"/>
                        <a:pt x="1" y="29"/>
                      </a:cubicBezTo>
                      <a:cubicBezTo>
                        <a:pt x="21" y="18"/>
                        <a:pt x="21" y="18"/>
                        <a:pt x="21" y="18"/>
                      </a:cubicBezTo>
                      <a:cubicBezTo>
                        <a:pt x="21" y="18"/>
                        <a:pt x="21" y="18"/>
                        <a:pt x="21" y="18"/>
                      </a:cubicBezTo>
                      <a:cubicBezTo>
                        <a:pt x="21" y="18"/>
                        <a:pt x="21" y="18"/>
                        <a:pt x="22" y="18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2" y="0"/>
                        <a:pt x="53" y="0"/>
                        <a:pt x="53" y="0"/>
                      </a:cubicBezTo>
                      <a:cubicBezTo>
                        <a:pt x="54" y="1"/>
                        <a:pt x="54" y="1"/>
                        <a:pt x="54" y="2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5"/>
                        <a:pt x="54" y="5"/>
                        <a:pt x="53" y="6"/>
                      </a:cubicBez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5" y="34"/>
                        <a:pt x="4" y="34"/>
                        <a:pt x="4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2" name="Freeform 935">
                  <a:extLst>
                    <a:ext uri="{FF2B5EF4-FFF2-40B4-BE49-F238E27FC236}">
                      <a16:creationId xmlns:a16="http://schemas.microsoft.com/office/drawing/2014/main" id="{7BD5569F-ED09-416D-A167-BB56AC396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42" y="2922"/>
                  <a:ext cx="315" cy="435"/>
                </a:xfrm>
                <a:custGeom>
                  <a:avLst/>
                  <a:gdLst>
                    <a:gd name="T0" fmla="*/ 2 w 133"/>
                    <a:gd name="T1" fmla="*/ 184 h 184"/>
                    <a:gd name="T2" fmla="*/ 1 w 133"/>
                    <a:gd name="T3" fmla="*/ 183 h 184"/>
                    <a:gd name="T4" fmla="*/ 0 w 133"/>
                    <a:gd name="T5" fmla="*/ 182 h 184"/>
                    <a:gd name="T6" fmla="*/ 0 w 133"/>
                    <a:gd name="T7" fmla="*/ 32 h 184"/>
                    <a:gd name="T8" fmla="*/ 1 w 133"/>
                    <a:gd name="T9" fmla="*/ 30 h 184"/>
                    <a:gd name="T10" fmla="*/ 3 w 133"/>
                    <a:gd name="T11" fmla="*/ 29 h 184"/>
                    <a:gd name="T12" fmla="*/ 5 w 133"/>
                    <a:gd name="T13" fmla="*/ 29 h 184"/>
                    <a:gd name="T14" fmla="*/ 16 w 133"/>
                    <a:gd name="T15" fmla="*/ 35 h 184"/>
                    <a:gd name="T16" fmla="*/ 77 w 133"/>
                    <a:gd name="T17" fmla="*/ 0 h 184"/>
                    <a:gd name="T18" fmla="*/ 79 w 133"/>
                    <a:gd name="T19" fmla="*/ 0 h 184"/>
                    <a:gd name="T20" fmla="*/ 101 w 133"/>
                    <a:gd name="T21" fmla="*/ 12 h 184"/>
                    <a:gd name="T22" fmla="*/ 102 w 133"/>
                    <a:gd name="T23" fmla="*/ 14 h 184"/>
                    <a:gd name="T24" fmla="*/ 102 w 133"/>
                    <a:gd name="T25" fmla="*/ 24 h 184"/>
                    <a:gd name="T26" fmla="*/ 130 w 133"/>
                    <a:gd name="T27" fmla="*/ 8 h 184"/>
                    <a:gd name="T28" fmla="*/ 132 w 133"/>
                    <a:gd name="T29" fmla="*/ 8 h 184"/>
                    <a:gd name="T30" fmla="*/ 133 w 133"/>
                    <a:gd name="T31" fmla="*/ 10 h 184"/>
                    <a:gd name="T32" fmla="*/ 133 w 133"/>
                    <a:gd name="T33" fmla="*/ 107 h 184"/>
                    <a:gd name="T34" fmla="*/ 132 w 133"/>
                    <a:gd name="T35" fmla="*/ 109 h 184"/>
                    <a:gd name="T36" fmla="*/ 3 w 133"/>
                    <a:gd name="T37" fmla="*/ 183 h 184"/>
                    <a:gd name="T38" fmla="*/ 2 w 133"/>
                    <a:gd name="T39" fmla="*/ 184 h 184"/>
                    <a:gd name="T40" fmla="*/ 4 w 133"/>
                    <a:gd name="T41" fmla="*/ 33 h 184"/>
                    <a:gd name="T42" fmla="*/ 4 w 133"/>
                    <a:gd name="T43" fmla="*/ 178 h 184"/>
                    <a:gd name="T44" fmla="*/ 129 w 133"/>
                    <a:gd name="T45" fmla="*/ 106 h 184"/>
                    <a:gd name="T46" fmla="*/ 129 w 133"/>
                    <a:gd name="T47" fmla="*/ 13 h 184"/>
                    <a:gd name="T48" fmla="*/ 101 w 133"/>
                    <a:gd name="T49" fmla="*/ 30 h 184"/>
                    <a:gd name="T50" fmla="*/ 99 w 133"/>
                    <a:gd name="T51" fmla="*/ 30 h 184"/>
                    <a:gd name="T52" fmla="*/ 98 w 133"/>
                    <a:gd name="T53" fmla="*/ 28 h 184"/>
                    <a:gd name="T54" fmla="*/ 98 w 133"/>
                    <a:gd name="T55" fmla="*/ 15 h 184"/>
                    <a:gd name="T56" fmla="*/ 78 w 133"/>
                    <a:gd name="T57" fmla="*/ 4 h 184"/>
                    <a:gd name="T58" fmla="*/ 17 w 133"/>
                    <a:gd name="T59" fmla="*/ 39 h 184"/>
                    <a:gd name="T60" fmla="*/ 15 w 133"/>
                    <a:gd name="T61" fmla="*/ 39 h 184"/>
                    <a:gd name="T62" fmla="*/ 4 w 133"/>
                    <a:gd name="T63" fmla="*/ 33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3" h="184">
                      <a:moveTo>
                        <a:pt x="2" y="184"/>
                      </a:moveTo>
                      <a:cubicBezTo>
                        <a:pt x="1" y="184"/>
                        <a:pt x="1" y="184"/>
                        <a:pt x="1" y="183"/>
                      </a:cubicBezTo>
                      <a:cubicBezTo>
                        <a:pt x="0" y="183"/>
                        <a:pt x="0" y="182"/>
                        <a:pt x="0" y="18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0" y="30"/>
                        <a:pt x="1" y="30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4" y="28"/>
                        <a:pt x="4" y="28"/>
                        <a:pt x="5" y="29"/>
                      </a:cubicBezTo>
                      <a:cubicBezTo>
                        <a:pt x="16" y="35"/>
                        <a:pt x="16" y="35"/>
                        <a:pt x="16" y="35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8" y="0"/>
                        <a:pt x="78" y="0"/>
                        <a:pt x="79" y="0"/>
                      </a:cubicBezTo>
                      <a:cubicBezTo>
                        <a:pt x="101" y="12"/>
                        <a:pt x="101" y="12"/>
                        <a:pt x="101" y="12"/>
                      </a:cubicBezTo>
                      <a:cubicBezTo>
                        <a:pt x="101" y="13"/>
                        <a:pt x="102" y="13"/>
                        <a:pt x="102" y="14"/>
                      </a:cubicBezTo>
                      <a:cubicBezTo>
                        <a:pt x="102" y="24"/>
                        <a:pt x="102" y="24"/>
                        <a:pt x="102" y="24"/>
                      </a:cubicBezTo>
                      <a:cubicBezTo>
                        <a:pt x="130" y="8"/>
                        <a:pt x="130" y="8"/>
                        <a:pt x="130" y="8"/>
                      </a:cubicBezTo>
                      <a:cubicBezTo>
                        <a:pt x="131" y="7"/>
                        <a:pt x="132" y="7"/>
                        <a:pt x="132" y="8"/>
                      </a:cubicBezTo>
                      <a:cubicBezTo>
                        <a:pt x="133" y="8"/>
                        <a:pt x="133" y="9"/>
                        <a:pt x="133" y="10"/>
                      </a:cubicBezTo>
                      <a:cubicBezTo>
                        <a:pt x="133" y="107"/>
                        <a:pt x="133" y="107"/>
                        <a:pt x="133" y="107"/>
                      </a:cubicBezTo>
                      <a:cubicBezTo>
                        <a:pt x="133" y="107"/>
                        <a:pt x="133" y="108"/>
                        <a:pt x="132" y="109"/>
                      </a:cubicBezTo>
                      <a:cubicBezTo>
                        <a:pt x="3" y="183"/>
                        <a:pt x="3" y="183"/>
                        <a:pt x="3" y="183"/>
                      </a:cubicBezTo>
                      <a:cubicBezTo>
                        <a:pt x="2" y="184"/>
                        <a:pt x="2" y="184"/>
                        <a:pt x="2" y="184"/>
                      </a:cubicBezTo>
                      <a:close/>
                      <a:moveTo>
                        <a:pt x="4" y="33"/>
                      </a:moveTo>
                      <a:cubicBezTo>
                        <a:pt x="4" y="178"/>
                        <a:pt x="4" y="178"/>
                        <a:pt x="4" y="178"/>
                      </a:cubicBezTo>
                      <a:cubicBezTo>
                        <a:pt x="129" y="106"/>
                        <a:pt x="129" y="106"/>
                        <a:pt x="129" y="106"/>
                      </a:cubicBezTo>
                      <a:cubicBezTo>
                        <a:pt x="129" y="13"/>
                        <a:pt x="129" y="13"/>
                        <a:pt x="129" y="13"/>
                      </a:cubicBezTo>
                      <a:cubicBezTo>
                        <a:pt x="101" y="30"/>
                        <a:pt x="101" y="30"/>
                        <a:pt x="101" y="30"/>
                      </a:cubicBezTo>
                      <a:cubicBezTo>
                        <a:pt x="100" y="30"/>
                        <a:pt x="99" y="30"/>
                        <a:pt x="99" y="30"/>
                      </a:cubicBezTo>
                      <a:cubicBezTo>
                        <a:pt x="98" y="29"/>
                        <a:pt x="98" y="28"/>
                        <a:pt x="98" y="28"/>
                      </a:cubicBezTo>
                      <a:cubicBezTo>
                        <a:pt x="98" y="15"/>
                        <a:pt x="98" y="15"/>
                        <a:pt x="98" y="15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17" y="39"/>
                        <a:pt x="17" y="39"/>
                        <a:pt x="17" y="39"/>
                      </a:cubicBezTo>
                      <a:cubicBezTo>
                        <a:pt x="17" y="39"/>
                        <a:pt x="16" y="39"/>
                        <a:pt x="15" y="39"/>
                      </a:cubicBezTo>
                      <a:cubicBezTo>
                        <a:pt x="4" y="33"/>
                        <a:pt x="4" y="33"/>
                        <a:pt x="4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3" name="Freeform 936">
                  <a:extLst>
                    <a:ext uri="{FF2B5EF4-FFF2-40B4-BE49-F238E27FC236}">
                      <a16:creationId xmlns:a16="http://schemas.microsoft.com/office/drawing/2014/main" id="{08C26A57-8179-4953-B94F-9328385287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792"/>
                  <a:ext cx="73" cy="69"/>
                </a:xfrm>
                <a:custGeom>
                  <a:avLst/>
                  <a:gdLst>
                    <a:gd name="T0" fmla="*/ 2 w 31"/>
                    <a:gd name="T1" fmla="*/ 29 h 29"/>
                    <a:gd name="T2" fmla="*/ 1 w 31"/>
                    <a:gd name="T3" fmla="*/ 29 h 29"/>
                    <a:gd name="T4" fmla="*/ 0 w 31"/>
                    <a:gd name="T5" fmla="*/ 27 h 29"/>
                    <a:gd name="T6" fmla="*/ 0 w 31"/>
                    <a:gd name="T7" fmla="*/ 8 h 29"/>
                    <a:gd name="T8" fmla="*/ 1 w 31"/>
                    <a:gd name="T9" fmla="*/ 7 h 29"/>
                    <a:gd name="T10" fmla="*/ 12 w 31"/>
                    <a:gd name="T11" fmla="*/ 0 h 29"/>
                    <a:gd name="T12" fmla="*/ 14 w 31"/>
                    <a:gd name="T13" fmla="*/ 0 h 29"/>
                    <a:gd name="T14" fmla="*/ 30 w 31"/>
                    <a:gd name="T15" fmla="*/ 10 h 29"/>
                    <a:gd name="T16" fmla="*/ 31 w 31"/>
                    <a:gd name="T17" fmla="*/ 12 h 29"/>
                    <a:gd name="T18" fmla="*/ 30 w 31"/>
                    <a:gd name="T19" fmla="*/ 13 h 29"/>
                    <a:gd name="T20" fmla="*/ 3 w 31"/>
                    <a:gd name="T21" fmla="*/ 29 h 29"/>
                    <a:gd name="T22" fmla="*/ 2 w 31"/>
                    <a:gd name="T23" fmla="*/ 29 h 29"/>
                    <a:gd name="T24" fmla="*/ 4 w 31"/>
                    <a:gd name="T25" fmla="*/ 10 h 29"/>
                    <a:gd name="T26" fmla="*/ 4 w 31"/>
                    <a:gd name="T27" fmla="*/ 24 h 29"/>
                    <a:gd name="T28" fmla="*/ 25 w 31"/>
                    <a:gd name="T29" fmla="*/ 12 h 29"/>
                    <a:gd name="T30" fmla="*/ 13 w 31"/>
                    <a:gd name="T31" fmla="*/ 4 h 29"/>
                    <a:gd name="T32" fmla="*/ 4 w 31"/>
                    <a:gd name="T33" fmla="*/ 1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" h="29">
                      <a:moveTo>
                        <a:pt x="2" y="29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0" y="29"/>
                        <a:pt x="0" y="28"/>
                        <a:pt x="0" y="2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0"/>
                        <a:pt x="31" y="11"/>
                        <a:pt x="31" y="12"/>
                      </a:cubicBezTo>
                      <a:cubicBezTo>
                        <a:pt x="31" y="12"/>
                        <a:pt x="30" y="13"/>
                        <a:pt x="30" y="13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2" y="29"/>
                        <a:pt x="2" y="29"/>
                        <a:pt x="2" y="29"/>
                      </a:cubicBezTo>
                      <a:close/>
                      <a:moveTo>
                        <a:pt x="4" y="10"/>
                      </a:move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25" y="12"/>
                        <a:pt x="25" y="12"/>
                        <a:pt x="25" y="12"/>
                      </a:cubicBezTo>
                      <a:cubicBezTo>
                        <a:pt x="13" y="4"/>
                        <a:pt x="13" y="4"/>
                        <a:pt x="13" y="4"/>
                      </a:cubicBezTo>
                      <a:lnTo>
                        <a:pt x="4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4" name="Freeform 937">
                  <a:extLst>
                    <a:ext uri="{FF2B5EF4-FFF2-40B4-BE49-F238E27FC236}">
                      <a16:creationId xmlns:a16="http://schemas.microsoft.com/office/drawing/2014/main" id="{18E1AC78-38D6-4342-8FF5-6BDC17FA16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934"/>
                  <a:ext cx="78" cy="52"/>
                </a:xfrm>
                <a:custGeom>
                  <a:avLst/>
                  <a:gdLst>
                    <a:gd name="T0" fmla="*/ 2 w 33"/>
                    <a:gd name="T1" fmla="*/ 22 h 22"/>
                    <a:gd name="T2" fmla="*/ 1 w 33"/>
                    <a:gd name="T3" fmla="*/ 22 h 22"/>
                    <a:gd name="T4" fmla="*/ 0 w 33"/>
                    <a:gd name="T5" fmla="*/ 20 h 22"/>
                    <a:gd name="T6" fmla="*/ 0 w 33"/>
                    <a:gd name="T7" fmla="*/ 10 h 22"/>
                    <a:gd name="T8" fmla="*/ 1 w 33"/>
                    <a:gd name="T9" fmla="*/ 8 h 22"/>
                    <a:gd name="T10" fmla="*/ 3 w 33"/>
                    <a:gd name="T11" fmla="*/ 8 h 22"/>
                    <a:gd name="T12" fmla="*/ 9 w 33"/>
                    <a:gd name="T13" fmla="*/ 12 h 22"/>
                    <a:gd name="T14" fmla="*/ 30 w 33"/>
                    <a:gd name="T15" fmla="*/ 0 h 22"/>
                    <a:gd name="T16" fmla="*/ 32 w 33"/>
                    <a:gd name="T17" fmla="*/ 0 h 22"/>
                    <a:gd name="T18" fmla="*/ 33 w 33"/>
                    <a:gd name="T19" fmla="*/ 2 h 22"/>
                    <a:gd name="T20" fmla="*/ 33 w 33"/>
                    <a:gd name="T21" fmla="*/ 3 h 22"/>
                    <a:gd name="T22" fmla="*/ 32 w 33"/>
                    <a:gd name="T23" fmla="*/ 4 h 22"/>
                    <a:gd name="T24" fmla="*/ 3 w 33"/>
                    <a:gd name="T25" fmla="*/ 22 h 22"/>
                    <a:gd name="T26" fmla="*/ 2 w 33"/>
                    <a:gd name="T27" fmla="*/ 22 h 22"/>
                    <a:gd name="T28" fmla="*/ 4 w 33"/>
                    <a:gd name="T29" fmla="*/ 14 h 22"/>
                    <a:gd name="T30" fmla="*/ 4 w 33"/>
                    <a:gd name="T31" fmla="*/ 16 h 22"/>
                    <a:gd name="T32" fmla="*/ 6 w 33"/>
                    <a:gd name="T33" fmla="*/ 15 h 22"/>
                    <a:gd name="T34" fmla="*/ 4 w 33"/>
                    <a:gd name="T3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3" h="22">
                      <a:moveTo>
                        <a:pt x="2" y="22"/>
                      </a:move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" y="8"/>
                        <a:pt x="2" y="8"/>
                        <a:pt x="3" y="8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1" y="0"/>
                        <a:pt x="32" y="0"/>
                        <a:pt x="32" y="0"/>
                      </a:cubicBezTo>
                      <a:cubicBezTo>
                        <a:pt x="33" y="0"/>
                        <a:pt x="33" y="1"/>
                        <a:pt x="33" y="2"/>
                      </a:cubicBezTo>
                      <a:cubicBezTo>
                        <a:pt x="33" y="3"/>
                        <a:pt x="33" y="3"/>
                        <a:pt x="33" y="3"/>
                      </a:cubicBezTo>
                      <a:cubicBezTo>
                        <a:pt x="33" y="3"/>
                        <a:pt x="33" y="4"/>
                        <a:pt x="32" y="4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2" y="22"/>
                        <a:pt x="2" y="22"/>
                        <a:pt x="2" y="22"/>
                      </a:cubicBezTo>
                      <a:close/>
                      <a:moveTo>
                        <a:pt x="4" y="14"/>
                      </a:moveTo>
                      <a:cubicBezTo>
                        <a:pt x="4" y="16"/>
                        <a:pt x="4" y="16"/>
                        <a:pt x="4" y="16"/>
                      </a:cubicBezTo>
                      <a:cubicBezTo>
                        <a:pt x="6" y="15"/>
                        <a:pt x="6" y="15"/>
                        <a:pt x="6" y="15"/>
                      </a:cubicBezTo>
                      <a:lnTo>
                        <a:pt x="4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5" name="Freeform 938">
                  <a:extLst>
                    <a:ext uri="{FF2B5EF4-FFF2-40B4-BE49-F238E27FC236}">
                      <a16:creationId xmlns:a16="http://schemas.microsoft.com/office/drawing/2014/main" id="{EA6882B0-7E1C-47DC-9563-27299F4B79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653"/>
                  <a:ext cx="562" cy="343"/>
                </a:xfrm>
                <a:custGeom>
                  <a:avLst/>
                  <a:gdLst>
                    <a:gd name="T0" fmla="*/ 122 w 238"/>
                    <a:gd name="T1" fmla="*/ 145 h 145"/>
                    <a:gd name="T2" fmla="*/ 121 w 238"/>
                    <a:gd name="T3" fmla="*/ 144 h 145"/>
                    <a:gd name="T4" fmla="*/ 1 w 238"/>
                    <a:gd name="T5" fmla="*/ 75 h 145"/>
                    <a:gd name="T6" fmla="*/ 0 w 238"/>
                    <a:gd name="T7" fmla="*/ 73 h 145"/>
                    <a:gd name="T8" fmla="*/ 1 w 238"/>
                    <a:gd name="T9" fmla="*/ 72 h 145"/>
                    <a:gd name="T10" fmla="*/ 124 w 238"/>
                    <a:gd name="T11" fmla="*/ 1 h 145"/>
                    <a:gd name="T12" fmla="*/ 126 w 238"/>
                    <a:gd name="T13" fmla="*/ 1 h 145"/>
                    <a:gd name="T14" fmla="*/ 212 w 238"/>
                    <a:gd name="T15" fmla="*/ 51 h 145"/>
                    <a:gd name="T16" fmla="*/ 220 w 238"/>
                    <a:gd name="T17" fmla="*/ 46 h 145"/>
                    <a:gd name="T18" fmla="*/ 222 w 238"/>
                    <a:gd name="T19" fmla="*/ 46 h 145"/>
                    <a:gd name="T20" fmla="*/ 237 w 238"/>
                    <a:gd name="T21" fmla="*/ 54 h 145"/>
                    <a:gd name="T22" fmla="*/ 238 w 238"/>
                    <a:gd name="T23" fmla="*/ 56 h 145"/>
                    <a:gd name="T24" fmla="*/ 237 w 238"/>
                    <a:gd name="T25" fmla="*/ 58 h 145"/>
                    <a:gd name="T26" fmla="*/ 232 w 238"/>
                    <a:gd name="T27" fmla="*/ 61 h 145"/>
                    <a:gd name="T28" fmla="*/ 230 w 238"/>
                    <a:gd name="T29" fmla="*/ 61 h 145"/>
                    <a:gd name="T30" fmla="*/ 227 w 238"/>
                    <a:gd name="T31" fmla="*/ 60 h 145"/>
                    <a:gd name="T32" fmla="*/ 165 w 238"/>
                    <a:gd name="T33" fmla="*/ 95 h 145"/>
                    <a:gd name="T34" fmla="*/ 183 w 238"/>
                    <a:gd name="T35" fmla="*/ 106 h 145"/>
                    <a:gd name="T36" fmla="*/ 184 w 238"/>
                    <a:gd name="T37" fmla="*/ 108 h 145"/>
                    <a:gd name="T38" fmla="*/ 183 w 238"/>
                    <a:gd name="T39" fmla="*/ 109 h 145"/>
                    <a:gd name="T40" fmla="*/ 123 w 238"/>
                    <a:gd name="T41" fmla="*/ 144 h 145"/>
                    <a:gd name="T42" fmla="*/ 122 w 238"/>
                    <a:gd name="T43" fmla="*/ 145 h 145"/>
                    <a:gd name="T44" fmla="*/ 6 w 238"/>
                    <a:gd name="T45" fmla="*/ 73 h 145"/>
                    <a:gd name="T46" fmla="*/ 122 w 238"/>
                    <a:gd name="T47" fmla="*/ 140 h 145"/>
                    <a:gd name="T48" fmla="*/ 178 w 238"/>
                    <a:gd name="T49" fmla="*/ 108 h 145"/>
                    <a:gd name="T50" fmla="*/ 160 w 238"/>
                    <a:gd name="T51" fmla="*/ 97 h 145"/>
                    <a:gd name="T52" fmla="*/ 159 w 238"/>
                    <a:gd name="T53" fmla="*/ 95 h 145"/>
                    <a:gd name="T54" fmla="*/ 160 w 238"/>
                    <a:gd name="T55" fmla="*/ 94 h 145"/>
                    <a:gd name="T56" fmla="*/ 226 w 238"/>
                    <a:gd name="T57" fmla="*/ 56 h 145"/>
                    <a:gd name="T58" fmla="*/ 228 w 238"/>
                    <a:gd name="T59" fmla="*/ 56 h 145"/>
                    <a:gd name="T60" fmla="*/ 231 w 238"/>
                    <a:gd name="T61" fmla="*/ 57 h 145"/>
                    <a:gd name="T62" fmla="*/ 232 w 238"/>
                    <a:gd name="T63" fmla="*/ 56 h 145"/>
                    <a:gd name="T64" fmla="*/ 221 w 238"/>
                    <a:gd name="T65" fmla="*/ 50 h 145"/>
                    <a:gd name="T66" fmla="*/ 215 w 238"/>
                    <a:gd name="T67" fmla="*/ 54 h 145"/>
                    <a:gd name="T68" fmla="*/ 214 w 238"/>
                    <a:gd name="T69" fmla="*/ 55 h 145"/>
                    <a:gd name="T70" fmla="*/ 212 w 238"/>
                    <a:gd name="T71" fmla="*/ 55 h 145"/>
                    <a:gd name="T72" fmla="*/ 210 w 238"/>
                    <a:gd name="T73" fmla="*/ 55 h 145"/>
                    <a:gd name="T74" fmla="*/ 209 w 238"/>
                    <a:gd name="T75" fmla="*/ 54 h 145"/>
                    <a:gd name="T76" fmla="*/ 125 w 238"/>
                    <a:gd name="T77" fmla="*/ 5 h 145"/>
                    <a:gd name="T78" fmla="*/ 6 w 238"/>
                    <a:gd name="T79" fmla="*/ 73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38" h="145">
                      <a:moveTo>
                        <a:pt x="122" y="145"/>
                      </a:moveTo>
                      <a:cubicBezTo>
                        <a:pt x="122" y="145"/>
                        <a:pt x="121" y="144"/>
                        <a:pt x="121" y="144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1" y="75"/>
                        <a:pt x="0" y="74"/>
                        <a:pt x="0" y="73"/>
                      </a:cubicBezTo>
                      <a:cubicBezTo>
                        <a:pt x="0" y="73"/>
                        <a:pt x="1" y="72"/>
                        <a:pt x="1" y="72"/>
                      </a:cubicBezTo>
                      <a:cubicBezTo>
                        <a:pt x="124" y="1"/>
                        <a:pt x="124" y="1"/>
                        <a:pt x="124" y="1"/>
                      </a:cubicBezTo>
                      <a:cubicBezTo>
                        <a:pt x="124" y="0"/>
                        <a:pt x="125" y="0"/>
                        <a:pt x="126" y="1"/>
                      </a:cubicBezTo>
                      <a:cubicBezTo>
                        <a:pt x="212" y="51"/>
                        <a:pt x="212" y="51"/>
                        <a:pt x="212" y="51"/>
                      </a:cubicBezTo>
                      <a:cubicBezTo>
                        <a:pt x="220" y="46"/>
                        <a:pt x="220" y="46"/>
                        <a:pt x="220" y="46"/>
                      </a:cubicBezTo>
                      <a:cubicBezTo>
                        <a:pt x="221" y="45"/>
                        <a:pt x="222" y="45"/>
                        <a:pt x="222" y="46"/>
                      </a:cubicBezTo>
                      <a:cubicBezTo>
                        <a:pt x="237" y="54"/>
                        <a:pt x="237" y="54"/>
                        <a:pt x="237" y="54"/>
                      </a:cubicBezTo>
                      <a:cubicBezTo>
                        <a:pt x="238" y="55"/>
                        <a:pt x="238" y="55"/>
                        <a:pt x="238" y="56"/>
                      </a:cubicBezTo>
                      <a:cubicBezTo>
                        <a:pt x="238" y="57"/>
                        <a:pt x="238" y="57"/>
                        <a:pt x="237" y="58"/>
                      </a:cubicBezTo>
                      <a:cubicBezTo>
                        <a:pt x="232" y="61"/>
                        <a:pt x="232" y="61"/>
                        <a:pt x="232" y="61"/>
                      </a:cubicBezTo>
                      <a:cubicBezTo>
                        <a:pt x="231" y="61"/>
                        <a:pt x="230" y="61"/>
                        <a:pt x="230" y="61"/>
                      </a:cubicBezTo>
                      <a:cubicBezTo>
                        <a:pt x="227" y="60"/>
                        <a:pt x="227" y="60"/>
                        <a:pt x="227" y="60"/>
                      </a:cubicBezTo>
                      <a:cubicBezTo>
                        <a:pt x="165" y="95"/>
                        <a:pt x="165" y="95"/>
                        <a:pt x="165" y="95"/>
                      </a:cubicBezTo>
                      <a:cubicBezTo>
                        <a:pt x="183" y="106"/>
                        <a:pt x="183" y="106"/>
                        <a:pt x="183" y="106"/>
                      </a:cubicBezTo>
                      <a:cubicBezTo>
                        <a:pt x="184" y="106"/>
                        <a:pt x="184" y="107"/>
                        <a:pt x="184" y="108"/>
                      </a:cubicBezTo>
                      <a:cubicBezTo>
                        <a:pt x="184" y="108"/>
                        <a:pt x="184" y="109"/>
                        <a:pt x="183" y="109"/>
                      </a:cubicBezTo>
                      <a:cubicBezTo>
                        <a:pt x="123" y="144"/>
                        <a:pt x="123" y="144"/>
                        <a:pt x="123" y="144"/>
                      </a:cubicBezTo>
                      <a:cubicBezTo>
                        <a:pt x="123" y="144"/>
                        <a:pt x="122" y="145"/>
                        <a:pt x="122" y="145"/>
                      </a:cubicBezTo>
                      <a:close/>
                      <a:moveTo>
                        <a:pt x="6" y="73"/>
                      </a:moveTo>
                      <a:cubicBezTo>
                        <a:pt x="122" y="140"/>
                        <a:pt x="122" y="140"/>
                        <a:pt x="122" y="140"/>
                      </a:cubicBezTo>
                      <a:cubicBezTo>
                        <a:pt x="178" y="108"/>
                        <a:pt x="178" y="108"/>
                        <a:pt x="178" y="108"/>
                      </a:cubicBezTo>
                      <a:cubicBezTo>
                        <a:pt x="160" y="97"/>
                        <a:pt x="160" y="97"/>
                        <a:pt x="160" y="97"/>
                      </a:cubicBezTo>
                      <a:cubicBezTo>
                        <a:pt x="160" y="97"/>
                        <a:pt x="159" y="96"/>
                        <a:pt x="159" y="95"/>
                      </a:cubicBezTo>
                      <a:cubicBezTo>
                        <a:pt x="159" y="95"/>
                        <a:pt x="160" y="94"/>
                        <a:pt x="160" y="94"/>
                      </a:cubicBezTo>
                      <a:cubicBezTo>
                        <a:pt x="226" y="56"/>
                        <a:pt x="226" y="56"/>
                        <a:pt x="226" y="56"/>
                      </a:cubicBezTo>
                      <a:cubicBezTo>
                        <a:pt x="227" y="55"/>
                        <a:pt x="228" y="55"/>
                        <a:pt x="228" y="56"/>
                      </a:cubicBezTo>
                      <a:cubicBezTo>
                        <a:pt x="231" y="57"/>
                        <a:pt x="231" y="57"/>
                        <a:pt x="231" y="57"/>
                      </a:cubicBezTo>
                      <a:cubicBezTo>
                        <a:pt x="232" y="56"/>
                        <a:pt x="232" y="56"/>
                        <a:pt x="232" y="56"/>
                      </a:cubicBezTo>
                      <a:cubicBezTo>
                        <a:pt x="221" y="50"/>
                        <a:pt x="221" y="50"/>
                        <a:pt x="221" y="50"/>
                      </a:cubicBezTo>
                      <a:cubicBezTo>
                        <a:pt x="215" y="54"/>
                        <a:pt x="215" y="54"/>
                        <a:pt x="215" y="54"/>
                      </a:cubicBezTo>
                      <a:cubicBezTo>
                        <a:pt x="215" y="54"/>
                        <a:pt x="214" y="55"/>
                        <a:pt x="214" y="55"/>
                      </a:cubicBezTo>
                      <a:cubicBezTo>
                        <a:pt x="213" y="55"/>
                        <a:pt x="213" y="55"/>
                        <a:pt x="212" y="55"/>
                      </a:cubicBezTo>
                      <a:cubicBezTo>
                        <a:pt x="212" y="55"/>
                        <a:pt x="211" y="55"/>
                        <a:pt x="210" y="55"/>
                      </a:cubicBezTo>
                      <a:cubicBezTo>
                        <a:pt x="210" y="55"/>
                        <a:pt x="209" y="54"/>
                        <a:pt x="209" y="54"/>
                      </a:cubicBezTo>
                      <a:cubicBezTo>
                        <a:pt x="125" y="5"/>
                        <a:pt x="125" y="5"/>
                        <a:pt x="125" y="5"/>
                      </a:cubicBezTo>
                      <a:lnTo>
                        <a:pt x="6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6" name="Freeform 939">
                  <a:extLst>
                    <a:ext uri="{FF2B5EF4-FFF2-40B4-BE49-F238E27FC236}">
                      <a16:creationId xmlns:a16="http://schemas.microsoft.com/office/drawing/2014/main" id="{E4C8F1FC-53FF-418F-AE9F-381FF921BF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2778"/>
                  <a:ext cx="293" cy="466"/>
                </a:xfrm>
                <a:custGeom>
                  <a:avLst/>
                  <a:gdLst>
                    <a:gd name="T0" fmla="*/ 24 w 124"/>
                    <a:gd name="T1" fmla="*/ 197 h 197"/>
                    <a:gd name="T2" fmla="*/ 23 w 124"/>
                    <a:gd name="T3" fmla="*/ 197 h 197"/>
                    <a:gd name="T4" fmla="*/ 22 w 124"/>
                    <a:gd name="T5" fmla="*/ 195 h 197"/>
                    <a:gd name="T6" fmla="*/ 22 w 124"/>
                    <a:gd name="T7" fmla="*/ 87 h 197"/>
                    <a:gd name="T8" fmla="*/ 1 w 124"/>
                    <a:gd name="T9" fmla="*/ 75 h 197"/>
                    <a:gd name="T10" fmla="*/ 0 w 124"/>
                    <a:gd name="T11" fmla="*/ 73 h 197"/>
                    <a:gd name="T12" fmla="*/ 0 w 124"/>
                    <a:gd name="T13" fmla="*/ 69 h 197"/>
                    <a:gd name="T14" fmla="*/ 1 w 124"/>
                    <a:gd name="T15" fmla="*/ 68 h 197"/>
                    <a:gd name="T16" fmla="*/ 119 w 124"/>
                    <a:gd name="T17" fmla="*/ 0 h 197"/>
                    <a:gd name="T18" fmla="*/ 121 w 124"/>
                    <a:gd name="T19" fmla="*/ 0 h 197"/>
                    <a:gd name="T20" fmla="*/ 123 w 124"/>
                    <a:gd name="T21" fmla="*/ 1 h 197"/>
                    <a:gd name="T22" fmla="*/ 124 w 124"/>
                    <a:gd name="T23" fmla="*/ 3 h 197"/>
                    <a:gd name="T24" fmla="*/ 124 w 124"/>
                    <a:gd name="T25" fmla="*/ 15 h 197"/>
                    <a:gd name="T26" fmla="*/ 123 w 124"/>
                    <a:gd name="T27" fmla="*/ 17 h 197"/>
                    <a:gd name="T28" fmla="*/ 121 w 124"/>
                    <a:gd name="T29" fmla="*/ 17 h 197"/>
                    <a:gd name="T30" fmla="*/ 119 w 124"/>
                    <a:gd name="T31" fmla="*/ 16 h 197"/>
                    <a:gd name="T32" fmla="*/ 119 w 124"/>
                    <a:gd name="T33" fmla="*/ 141 h 197"/>
                    <a:gd name="T34" fmla="*/ 118 w 124"/>
                    <a:gd name="T35" fmla="*/ 143 h 197"/>
                    <a:gd name="T36" fmla="*/ 25 w 124"/>
                    <a:gd name="T37" fmla="*/ 197 h 197"/>
                    <a:gd name="T38" fmla="*/ 24 w 124"/>
                    <a:gd name="T39" fmla="*/ 197 h 197"/>
                    <a:gd name="T40" fmla="*/ 24 w 124"/>
                    <a:gd name="T41" fmla="*/ 83 h 197"/>
                    <a:gd name="T42" fmla="*/ 24 w 124"/>
                    <a:gd name="T43" fmla="*/ 84 h 197"/>
                    <a:gd name="T44" fmla="*/ 26 w 124"/>
                    <a:gd name="T45" fmla="*/ 85 h 197"/>
                    <a:gd name="T46" fmla="*/ 26 w 124"/>
                    <a:gd name="T47" fmla="*/ 192 h 197"/>
                    <a:gd name="T48" fmla="*/ 115 w 124"/>
                    <a:gd name="T49" fmla="*/ 140 h 197"/>
                    <a:gd name="T50" fmla="*/ 115 w 124"/>
                    <a:gd name="T51" fmla="*/ 13 h 197"/>
                    <a:gd name="T52" fmla="*/ 116 w 124"/>
                    <a:gd name="T53" fmla="*/ 11 h 197"/>
                    <a:gd name="T54" fmla="*/ 118 w 124"/>
                    <a:gd name="T55" fmla="*/ 11 h 197"/>
                    <a:gd name="T56" fmla="*/ 120 w 124"/>
                    <a:gd name="T57" fmla="*/ 12 h 197"/>
                    <a:gd name="T58" fmla="*/ 120 w 124"/>
                    <a:gd name="T59" fmla="*/ 4 h 197"/>
                    <a:gd name="T60" fmla="*/ 120 w 124"/>
                    <a:gd name="T61" fmla="*/ 4 h 197"/>
                    <a:gd name="T62" fmla="*/ 4 w 124"/>
                    <a:gd name="T63" fmla="*/ 71 h 197"/>
                    <a:gd name="T64" fmla="*/ 4 w 124"/>
                    <a:gd name="T65" fmla="*/ 72 h 197"/>
                    <a:gd name="T66" fmla="*/ 24 w 124"/>
                    <a:gd name="T67" fmla="*/ 83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4" h="197">
                      <a:moveTo>
                        <a:pt x="24" y="197"/>
                      </a:moveTo>
                      <a:cubicBezTo>
                        <a:pt x="23" y="197"/>
                        <a:pt x="23" y="197"/>
                        <a:pt x="23" y="197"/>
                      </a:cubicBezTo>
                      <a:cubicBezTo>
                        <a:pt x="22" y="197"/>
                        <a:pt x="22" y="196"/>
                        <a:pt x="22" y="195"/>
                      </a:cubicBezTo>
                      <a:cubicBezTo>
                        <a:pt x="22" y="87"/>
                        <a:pt x="22" y="87"/>
                        <a:pt x="22" y="87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1" y="74"/>
                        <a:pt x="0" y="74"/>
                        <a:pt x="0" y="73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1" y="68"/>
                        <a:pt x="1" y="68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20" y="0"/>
                        <a:pt x="121" y="0"/>
                      </a:cubicBezTo>
                      <a:cubicBezTo>
                        <a:pt x="123" y="1"/>
                        <a:pt x="123" y="1"/>
                        <a:pt x="123" y="1"/>
                      </a:cubicBezTo>
                      <a:cubicBezTo>
                        <a:pt x="123" y="2"/>
                        <a:pt x="124" y="2"/>
                        <a:pt x="124" y="3"/>
                      </a:cubicBezTo>
                      <a:cubicBezTo>
                        <a:pt x="124" y="15"/>
                        <a:pt x="124" y="15"/>
                        <a:pt x="124" y="15"/>
                      </a:cubicBezTo>
                      <a:cubicBezTo>
                        <a:pt x="124" y="16"/>
                        <a:pt x="123" y="17"/>
                        <a:pt x="123" y="17"/>
                      </a:cubicBezTo>
                      <a:cubicBezTo>
                        <a:pt x="122" y="18"/>
                        <a:pt x="121" y="18"/>
                        <a:pt x="121" y="17"/>
                      </a:cubicBezTo>
                      <a:cubicBezTo>
                        <a:pt x="119" y="16"/>
                        <a:pt x="119" y="16"/>
                        <a:pt x="119" y="16"/>
                      </a:cubicBezTo>
                      <a:cubicBezTo>
                        <a:pt x="119" y="141"/>
                        <a:pt x="119" y="141"/>
                        <a:pt x="119" y="141"/>
                      </a:cubicBezTo>
                      <a:cubicBezTo>
                        <a:pt x="119" y="142"/>
                        <a:pt x="118" y="143"/>
                        <a:pt x="118" y="143"/>
                      </a:cubicBezTo>
                      <a:cubicBezTo>
                        <a:pt x="25" y="197"/>
                        <a:pt x="25" y="197"/>
                        <a:pt x="25" y="197"/>
                      </a:cubicBezTo>
                      <a:cubicBezTo>
                        <a:pt x="24" y="197"/>
                        <a:pt x="24" y="197"/>
                        <a:pt x="24" y="197"/>
                      </a:cubicBezTo>
                      <a:close/>
                      <a:moveTo>
                        <a:pt x="24" y="83"/>
                      </a:moveTo>
                      <a:cubicBezTo>
                        <a:pt x="24" y="84"/>
                        <a:pt x="24" y="84"/>
                        <a:pt x="24" y="84"/>
                      </a:cubicBezTo>
                      <a:cubicBezTo>
                        <a:pt x="25" y="84"/>
                        <a:pt x="26" y="85"/>
                        <a:pt x="26" y="85"/>
                      </a:cubicBezTo>
                      <a:cubicBezTo>
                        <a:pt x="26" y="192"/>
                        <a:pt x="26" y="192"/>
                        <a:pt x="26" y="192"/>
                      </a:cubicBez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15" y="13"/>
                        <a:pt x="115" y="13"/>
                        <a:pt x="115" y="13"/>
                      </a:cubicBezTo>
                      <a:cubicBezTo>
                        <a:pt x="115" y="12"/>
                        <a:pt x="115" y="11"/>
                        <a:pt x="116" y="11"/>
                      </a:cubicBezTo>
                      <a:cubicBezTo>
                        <a:pt x="116" y="11"/>
                        <a:pt x="117" y="11"/>
                        <a:pt x="118" y="11"/>
                      </a:cubicBezTo>
                      <a:cubicBezTo>
                        <a:pt x="120" y="12"/>
                        <a:pt x="120" y="12"/>
                        <a:pt x="120" y="12"/>
                      </a:cubicBezTo>
                      <a:cubicBezTo>
                        <a:pt x="120" y="4"/>
                        <a:pt x="120" y="4"/>
                        <a:pt x="120" y="4"/>
                      </a:cubicBezTo>
                      <a:cubicBezTo>
                        <a:pt x="120" y="4"/>
                        <a:pt x="120" y="4"/>
                        <a:pt x="120" y="4"/>
                      </a:cubicBezTo>
                      <a:cubicBezTo>
                        <a:pt x="4" y="71"/>
                        <a:pt x="4" y="71"/>
                        <a:pt x="4" y="71"/>
                      </a:cubicBezTo>
                      <a:cubicBezTo>
                        <a:pt x="4" y="72"/>
                        <a:pt x="4" y="72"/>
                        <a:pt x="4" y="72"/>
                      </a:cubicBezTo>
                      <a:lnTo>
                        <a:pt x="24" y="8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7" name="Freeform 940">
                  <a:extLst>
                    <a:ext uri="{FF2B5EF4-FFF2-40B4-BE49-F238E27FC236}">
                      <a16:creationId xmlns:a16="http://schemas.microsoft.com/office/drawing/2014/main" id="{7F8BB3EE-66BB-49DD-9CB1-26BA214DE5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05" y="2662"/>
                  <a:ext cx="319" cy="166"/>
                </a:xfrm>
                <a:custGeom>
                  <a:avLst/>
                  <a:gdLst>
                    <a:gd name="T0" fmla="*/ 68 w 135"/>
                    <a:gd name="T1" fmla="*/ 70 h 70"/>
                    <a:gd name="T2" fmla="*/ 67 w 135"/>
                    <a:gd name="T3" fmla="*/ 70 h 70"/>
                    <a:gd name="T4" fmla="*/ 36 w 135"/>
                    <a:gd name="T5" fmla="*/ 53 h 70"/>
                    <a:gd name="T6" fmla="*/ 35 w 135"/>
                    <a:gd name="T7" fmla="*/ 51 h 70"/>
                    <a:gd name="T8" fmla="*/ 35 w 135"/>
                    <a:gd name="T9" fmla="*/ 50 h 70"/>
                    <a:gd name="T10" fmla="*/ 35 w 135"/>
                    <a:gd name="T11" fmla="*/ 50 h 70"/>
                    <a:gd name="T12" fmla="*/ 33 w 135"/>
                    <a:gd name="T13" fmla="*/ 50 h 70"/>
                    <a:gd name="T14" fmla="*/ 1 w 135"/>
                    <a:gd name="T15" fmla="*/ 32 h 70"/>
                    <a:gd name="T16" fmla="*/ 0 w 135"/>
                    <a:gd name="T17" fmla="*/ 31 h 70"/>
                    <a:gd name="T18" fmla="*/ 1 w 135"/>
                    <a:gd name="T19" fmla="*/ 29 h 70"/>
                    <a:gd name="T20" fmla="*/ 51 w 135"/>
                    <a:gd name="T21" fmla="*/ 1 h 70"/>
                    <a:gd name="T22" fmla="*/ 53 w 135"/>
                    <a:gd name="T23" fmla="*/ 1 h 70"/>
                    <a:gd name="T24" fmla="*/ 94 w 135"/>
                    <a:gd name="T25" fmla="*/ 24 h 70"/>
                    <a:gd name="T26" fmla="*/ 94 w 135"/>
                    <a:gd name="T27" fmla="*/ 10 h 70"/>
                    <a:gd name="T28" fmla="*/ 95 w 135"/>
                    <a:gd name="T29" fmla="*/ 8 h 70"/>
                    <a:gd name="T30" fmla="*/ 97 w 135"/>
                    <a:gd name="T31" fmla="*/ 8 h 70"/>
                    <a:gd name="T32" fmla="*/ 97 w 135"/>
                    <a:gd name="T33" fmla="*/ 8 h 70"/>
                    <a:gd name="T34" fmla="*/ 98 w 135"/>
                    <a:gd name="T35" fmla="*/ 10 h 70"/>
                    <a:gd name="T36" fmla="*/ 98 w 135"/>
                    <a:gd name="T37" fmla="*/ 11 h 70"/>
                    <a:gd name="T38" fmla="*/ 99 w 135"/>
                    <a:gd name="T39" fmla="*/ 10 h 70"/>
                    <a:gd name="T40" fmla="*/ 101 w 135"/>
                    <a:gd name="T41" fmla="*/ 10 h 70"/>
                    <a:gd name="T42" fmla="*/ 134 w 135"/>
                    <a:gd name="T43" fmla="*/ 29 h 70"/>
                    <a:gd name="T44" fmla="*/ 135 w 135"/>
                    <a:gd name="T45" fmla="*/ 31 h 70"/>
                    <a:gd name="T46" fmla="*/ 134 w 135"/>
                    <a:gd name="T47" fmla="*/ 32 h 70"/>
                    <a:gd name="T48" fmla="*/ 69 w 135"/>
                    <a:gd name="T49" fmla="*/ 70 h 70"/>
                    <a:gd name="T50" fmla="*/ 68 w 135"/>
                    <a:gd name="T51" fmla="*/ 70 h 70"/>
                    <a:gd name="T52" fmla="*/ 39 w 135"/>
                    <a:gd name="T53" fmla="*/ 50 h 70"/>
                    <a:gd name="T54" fmla="*/ 68 w 135"/>
                    <a:gd name="T55" fmla="*/ 66 h 70"/>
                    <a:gd name="T56" fmla="*/ 129 w 135"/>
                    <a:gd name="T57" fmla="*/ 31 h 70"/>
                    <a:gd name="T58" fmla="*/ 100 w 135"/>
                    <a:gd name="T59" fmla="*/ 14 h 70"/>
                    <a:gd name="T60" fmla="*/ 98 w 135"/>
                    <a:gd name="T61" fmla="*/ 16 h 70"/>
                    <a:gd name="T62" fmla="*/ 98 w 135"/>
                    <a:gd name="T63" fmla="*/ 28 h 70"/>
                    <a:gd name="T64" fmla="*/ 97 w 135"/>
                    <a:gd name="T65" fmla="*/ 29 h 70"/>
                    <a:gd name="T66" fmla="*/ 95 w 135"/>
                    <a:gd name="T67" fmla="*/ 29 h 70"/>
                    <a:gd name="T68" fmla="*/ 52 w 135"/>
                    <a:gd name="T69" fmla="*/ 5 h 70"/>
                    <a:gd name="T70" fmla="*/ 6 w 135"/>
                    <a:gd name="T71" fmla="*/ 31 h 70"/>
                    <a:gd name="T72" fmla="*/ 34 w 135"/>
                    <a:gd name="T73" fmla="*/ 46 h 70"/>
                    <a:gd name="T74" fmla="*/ 36 w 135"/>
                    <a:gd name="T75" fmla="*/ 45 h 70"/>
                    <a:gd name="T76" fmla="*/ 38 w 135"/>
                    <a:gd name="T77" fmla="*/ 45 h 70"/>
                    <a:gd name="T78" fmla="*/ 39 w 135"/>
                    <a:gd name="T79" fmla="*/ 47 h 70"/>
                    <a:gd name="T80" fmla="*/ 39 w 135"/>
                    <a:gd name="T81" fmla="*/ 5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35" h="70">
                      <a:moveTo>
                        <a:pt x="68" y="70"/>
                      </a:moveTo>
                      <a:cubicBezTo>
                        <a:pt x="67" y="70"/>
                        <a:pt x="67" y="70"/>
                        <a:pt x="67" y="70"/>
                      </a:cubicBezTo>
                      <a:cubicBezTo>
                        <a:pt x="36" y="53"/>
                        <a:pt x="36" y="53"/>
                        <a:pt x="36" y="53"/>
                      </a:cubicBezTo>
                      <a:cubicBezTo>
                        <a:pt x="36" y="52"/>
                        <a:pt x="35" y="52"/>
                        <a:pt x="35" y="51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4" y="51"/>
                        <a:pt x="33" y="51"/>
                        <a:pt x="33" y="50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1" y="32"/>
                        <a:pt x="0" y="31"/>
                        <a:pt x="0" y="31"/>
                      </a:cubicBezTo>
                      <a:cubicBezTo>
                        <a:pt x="0" y="30"/>
                        <a:pt x="1" y="29"/>
                        <a:pt x="1" y="29"/>
                      </a:cubicBezTo>
                      <a:cubicBezTo>
                        <a:pt x="51" y="1"/>
                        <a:pt x="51" y="1"/>
                        <a:pt x="51" y="1"/>
                      </a:cubicBezTo>
                      <a:cubicBezTo>
                        <a:pt x="51" y="0"/>
                        <a:pt x="52" y="0"/>
                        <a:pt x="53" y="1"/>
                      </a:cubicBezTo>
                      <a:cubicBezTo>
                        <a:pt x="94" y="24"/>
                        <a:pt x="94" y="24"/>
                        <a:pt x="94" y="24"/>
                      </a:cubicBezTo>
                      <a:cubicBezTo>
                        <a:pt x="94" y="10"/>
                        <a:pt x="94" y="10"/>
                        <a:pt x="94" y="10"/>
                      </a:cubicBezTo>
                      <a:cubicBezTo>
                        <a:pt x="94" y="9"/>
                        <a:pt x="94" y="8"/>
                        <a:pt x="95" y="8"/>
                      </a:cubicBezTo>
                      <a:cubicBezTo>
                        <a:pt x="96" y="7"/>
                        <a:pt x="96" y="7"/>
                        <a:pt x="97" y="8"/>
                      </a:cubicBezTo>
                      <a:cubicBezTo>
                        <a:pt x="97" y="8"/>
                        <a:pt x="97" y="8"/>
                        <a:pt x="97" y="8"/>
                      </a:cubicBezTo>
                      <a:cubicBezTo>
                        <a:pt x="98" y="8"/>
                        <a:pt x="98" y="9"/>
                        <a:pt x="98" y="10"/>
                      </a:cubicBezTo>
                      <a:cubicBezTo>
                        <a:pt x="98" y="11"/>
                        <a:pt x="98" y="11"/>
                        <a:pt x="98" y="11"/>
                      </a:cubicBezTo>
                      <a:cubicBezTo>
                        <a:pt x="99" y="10"/>
                        <a:pt x="99" y="10"/>
                        <a:pt x="99" y="10"/>
                      </a:cubicBezTo>
                      <a:cubicBezTo>
                        <a:pt x="100" y="10"/>
                        <a:pt x="101" y="10"/>
                        <a:pt x="101" y="10"/>
                      </a:cubicBezTo>
                      <a:cubicBezTo>
                        <a:pt x="134" y="29"/>
                        <a:pt x="134" y="29"/>
                        <a:pt x="134" y="29"/>
                      </a:cubicBezTo>
                      <a:cubicBezTo>
                        <a:pt x="134" y="29"/>
                        <a:pt x="135" y="30"/>
                        <a:pt x="135" y="31"/>
                      </a:cubicBezTo>
                      <a:cubicBezTo>
                        <a:pt x="135" y="31"/>
                        <a:pt x="134" y="32"/>
                        <a:pt x="134" y="32"/>
                      </a:cubicBezTo>
                      <a:cubicBezTo>
                        <a:pt x="69" y="70"/>
                        <a:pt x="69" y="70"/>
                        <a:pt x="69" y="70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lose/>
                      <a:moveTo>
                        <a:pt x="39" y="50"/>
                      </a:moveTo>
                      <a:cubicBezTo>
                        <a:pt x="68" y="66"/>
                        <a:pt x="68" y="66"/>
                        <a:pt x="68" y="66"/>
                      </a:cubicBezTo>
                      <a:cubicBezTo>
                        <a:pt x="129" y="31"/>
                        <a:pt x="129" y="31"/>
                        <a:pt x="129" y="31"/>
                      </a:cubicBezTo>
                      <a:cubicBezTo>
                        <a:pt x="100" y="14"/>
                        <a:pt x="100" y="14"/>
                        <a:pt x="100" y="14"/>
                      </a:cubicBezTo>
                      <a:cubicBezTo>
                        <a:pt x="98" y="16"/>
                        <a:pt x="98" y="16"/>
                        <a:pt x="98" y="16"/>
                      </a:cubicBezTo>
                      <a:cubicBezTo>
                        <a:pt x="98" y="28"/>
                        <a:pt x="98" y="28"/>
                        <a:pt x="98" y="28"/>
                      </a:cubicBezTo>
                      <a:cubicBezTo>
                        <a:pt x="98" y="28"/>
                        <a:pt x="98" y="29"/>
                        <a:pt x="97" y="29"/>
                      </a:cubicBezTo>
                      <a:cubicBezTo>
                        <a:pt x="96" y="30"/>
                        <a:pt x="96" y="30"/>
                        <a:pt x="95" y="29"/>
                      </a:cubicBezTo>
                      <a:cubicBezTo>
                        <a:pt x="52" y="5"/>
                        <a:pt x="52" y="5"/>
                        <a:pt x="52" y="5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34" y="46"/>
                        <a:pt x="34" y="46"/>
                        <a:pt x="34" y="46"/>
                      </a:cubicBezTo>
                      <a:cubicBezTo>
                        <a:pt x="36" y="45"/>
                        <a:pt x="36" y="45"/>
                        <a:pt x="36" y="45"/>
                      </a:cubicBezTo>
                      <a:cubicBezTo>
                        <a:pt x="37" y="44"/>
                        <a:pt x="38" y="44"/>
                        <a:pt x="38" y="45"/>
                      </a:cubicBezTo>
                      <a:cubicBezTo>
                        <a:pt x="39" y="45"/>
                        <a:pt x="39" y="46"/>
                        <a:pt x="39" y="47"/>
                      </a:cubicBezTo>
                      <a:lnTo>
                        <a:pt x="39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8" name="Freeform 941">
                  <a:extLst>
                    <a:ext uri="{FF2B5EF4-FFF2-40B4-BE49-F238E27FC236}">
                      <a16:creationId xmlns:a16="http://schemas.microsoft.com/office/drawing/2014/main" id="{4AF7A700-7AC5-4CAE-BDBC-0EEB0AC566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2816"/>
                  <a:ext cx="307" cy="517"/>
                </a:xfrm>
                <a:custGeom>
                  <a:avLst/>
                  <a:gdLst>
                    <a:gd name="T0" fmla="*/ 128 w 130"/>
                    <a:gd name="T1" fmla="*/ 219 h 219"/>
                    <a:gd name="T2" fmla="*/ 127 w 130"/>
                    <a:gd name="T3" fmla="*/ 218 h 219"/>
                    <a:gd name="T4" fmla="*/ 1 w 130"/>
                    <a:gd name="T5" fmla="*/ 146 h 219"/>
                    <a:gd name="T6" fmla="*/ 0 w 130"/>
                    <a:gd name="T7" fmla="*/ 144 h 219"/>
                    <a:gd name="T8" fmla="*/ 0 w 130"/>
                    <a:gd name="T9" fmla="*/ 126 h 219"/>
                    <a:gd name="T10" fmla="*/ 1 w 130"/>
                    <a:gd name="T11" fmla="*/ 125 h 219"/>
                    <a:gd name="T12" fmla="*/ 5 w 130"/>
                    <a:gd name="T13" fmla="*/ 122 h 219"/>
                    <a:gd name="T14" fmla="*/ 5 w 130"/>
                    <a:gd name="T15" fmla="*/ 2 h 219"/>
                    <a:gd name="T16" fmla="*/ 6 w 130"/>
                    <a:gd name="T17" fmla="*/ 1 h 219"/>
                    <a:gd name="T18" fmla="*/ 8 w 130"/>
                    <a:gd name="T19" fmla="*/ 1 h 219"/>
                    <a:gd name="T20" fmla="*/ 129 w 130"/>
                    <a:gd name="T21" fmla="*/ 70 h 219"/>
                    <a:gd name="T22" fmla="*/ 130 w 130"/>
                    <a:gd name="T23" fmla="*/ 72 h 219"/>
                    <a:gd name="T24" fmla="*/ 130 w 130"/>
                    <a:gd name="T25" fmla="*/ 217 h 219"/>
                    <a:gd name="T26" fmla="*/ 129 w 130"/>
                    <a:gd name="T27" fmla="*/ 218 h 219"/>
                    <a:gd name="T28" fmla="*/ 128 w 130"/>
                    <a:gd name="T29" fmla="*/ 219 h 219"/>
                    <a:gd name="T30" fmla="*/ 4 w 130"/>
                    <a:gd name="T31" fmla="*/ 143 h 219"/>
                    <a:gd name="T32" fmla="*/ 126 w 130"/>
                    <a:gd name="T33" fmla="*/ 213 h 219"/>
                    <a:gd name="T34" fmla="*/ 126 w 130"/>
                    <a:gd name="T35" fmla="*/ 73 h 219"/>
                    <a:gd name="T36" fmla="*/ 9 w 130"/>
                    <a:gd name="T37" fmla="*/ 6 h 219"/>
                    <a:gd name="T38" fmla="*/ 9 w 130"/>
                    <a:gd name="T39" fmla="*/ 123 h 219"/>
                    <a:gd name="T40" fmla="*/ 8 w 130"/>
                    <a:gd name="T41" fmla="*/ 125 h 219"/>
                    <a:gd name="T42" fmla="*/ 4 w 130"/>
                    <a:gd name="T43" fmla="*/ 127 h 219"/>
                    <a:gd name="T44" fmla="*/ 4 w 130"/>
                    <a:gd name="T45" fmla="*/ 143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0" h="219">
                      <a:moveTo>
                        <a:pt x="128" y="219"/>
                      </a:moveTo>
                      <a:cubicBezTo>
                        <a:pt x="127" y="219"/>
                        <a:pt x="127" y="219"/>
                        <a:pt x="127" y="218"/>
                      </a:cubicBezTo>
                      <a:cubicBezTo>
                        <a:pt x="1" y="146"/>
                        <a:pt x="1" y="146"/>
                        <a:pt x="1" y="146"/>
                      </a:cubicBezTo>
                      <a:cubicBezTo>
                        <a:pt x="1" y="146"/>
                        <a:pt x="0" y="145"/>
                        <a:pt x="0" y="144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6"/>
                        <a:pt x="1" y="125"/>
                        <a:pt x="1" y="125"/>
                      </a:cubicBezTo>
                      <a:cubicBezTo>
                        <a:pt x="5" y="122"/>
                        <a:pt x="5" y="122"/>
                        <a:pt x="5" y="122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2"/>
                        <a:pt x="6" y="1"/>
                        <a:pt x="6" y="1"/>
                      </a:cubicBezTo>
                      <a:cubicBezTo>
                        <a:pt x="7" y="0"/>
                        <a:pt x="8" y="0"/>
                        <a:pt x="8" y="1"/>
                      </a:cubicBezTo>
                      <a:cubicBezTo>
                        <a:pt x="129" y="70"/>
                        <a:pt x="129" y="70"/>
                        <a:pt x="129" y="70"/>
                      </a:cubicBezTo>
                      <a:cubicBezTo>
                        <a:pt x="129" y="70"/>
                        <a:pt x="130" y="71"/>
                        <a:pt x="130" y="72"/>
                      </a:cubicBezTo>
                      <a:cubicBezTo>
                        <a:pt x="130" y="217"/>
                        <a:pt x="130" y="217"/>
                        <a:pt x="130" y="217"/>
                      </a:cubicBezTo>
                      <a:cubicBezTo>
                        <a:pt x="130" y="217"/>
                        <a:pt x="129" y="218"/>
                        <a:pt x="129" y="218"/>
                      </a:cubicBezTo>
                      <a:cubicBezTo>
                        <a:pt x="129" y="219"/>
                        <a:pt x="128" y="219"/>
                        <a:pt x="128" y="219"/>
                      </a:cubicBezTo>
                      <a:close/>
                      <a:moveTo>
                        <a:pt x="4" y="143"/>
                      </a:moveTo>
                      <a:cubicBezTo>
                        <a:pt x="126" y="213"/>
                        <a:pt x="126" y="213"/>
                        <a:pt x="126" y="213"/>
                      </a:cubicBezTo>
                      <a:cubicBezTo>
                        <a:pt x="126" y="73"/>
                        <a:pt x="126" y="73"/>
                        <a:pt x="126" y="73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9" y="123"/>
                        <a:pt x="9" y="123"/>
                        <a:pt x="9" y="123"/>
                      </a:cubicBezTo>
                      <a:cubicBezTo>
                        <a:pt x="9" y="124"/>
                        <a:pt x="9" y="125"/>
                        <a:pt x="8" y="125"/>
                      </a:cubicBezTo>
                      <a:cubicBezTo>
                        <a:pt x="4" y="127"/>
                        <a:pt x="4" y="127"/>
                        <a:pt x="4" y="127"/>
                      </a:cubicBezTo>
                      <a:lnTo>
                        <a:pt x="4" y="14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9" name="Freeform 942">
                  <a:extLst>
                    <a:ext uri="{FF2B5EF4-FFF2-40B4-BE49-F238E27FC236}">
                      <a16:creationId xmlns:a16="http://schemas.microsoft.com/office/drawing/2014/main" id="{0B77C351-9452-4FCF-B5C1-DD4A11161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849"/>
                  <a:ext cx="78" cy="121"/>
                </a:xfrm>
                <a:custGeom>
                  <a:avLst/>
                  <a:gdLst>
                    <a:gd name="T0" fmla="*/ 9 w 33"/>
                    <a:gd name="T1" fmla="*/ 51 h 51"/>
                    <a:gd name="T2" fmla="*/ 8 w 33"/>
                    <a:gd name="T3" fmla="*/ 50 h 51"/>
                    <a:gd name="T4" fmla="*/ 1 w 33"/>
                    <a:gd name="T5" fmla="*/ 46 h 51"/>
                    <a:gd name="T6" fmla="*/ 0 w 33"/>
                    <a:gd name="T7" fmla="*/ 44 h 51"/>
                    <a:gd name="T8" fmla="*/ 0 w 33"/>
                    <a:gd name="T9" fmla="*/ 19 h 51"/>
                    <a:gd name="T10" fmla="*/ 1 w 33"/>
                    <a:gd name="T11" fmla="*/ 17 h 51"/>
                    <a:gd name="T12" fmla="*/ 30 w 33"/>
                    <a:gd name="T13" fmla="*/ 0 h 51"/>
                    <a:gd name="T14" fmla="*/ 32 w 33"/>
                    <a:gd name="T15" fmla="*/ 0 h 51"/>
                    <a:gd name="T16" fmla="*/ 33 w 33"/>
                    <a:gd name="T17" fmla="*/ 2 h 51"/>
                    <a:gd name="T18" fmla="*/ 33 w 33"/>
                    <a:gd name="T19" fmla="*/ 36 h 51"/>
                    <a:gd name="T20" fmla="*/ 32 w 33"/>
                    <a:gd name="T21" fmla="*/ 38 h 51"/>
                    <a:gd name="T22" fmla="*/ 10 w 33"/>
                    <a:gd name="T23" fmla="*/ 50 h 51"/>
                    <a:gd name="T24" fmla="*/ 9 w 33"/>
                    <a:gd name="T25" fmla="*/ 51 h 51"/>
                    <a:gd name="T26" fmla="*/ 4 w 33"/>
                    <a:gd name="T27" fmla="*/ 43 h 51"/>
                    <a:gd name="T28" fmla="*/ 9 w 33"/>
                    <a:gd name="T29" fmla="*/ 46 h 51"/>
                    <a:gd name="T30" fmla="*/ 29 w 33"/>
                    <a:gd name="T31" fmla="*/ 35 h 51"/>
                    <a:gd name="T32" fmla="*/ 29 w 33"/>
                    <a:gd name="T33" fmla="*/ 5 h 51"/>
                    <a:gd name="T34" fmla="*/ 4 w 33"/>
                    <a:gd name="T35" fmla="*/ 20 h 51"/>
                    <a:gd name="T36" fmla="*/ 4 w 33"/>
                    <a:gd name="T37" fmla="*/ 43 h 51"/>
                    <a:gd name="T38" fmla="*/ 31 w 33"/>
                    <a:gd name="T39" fmla="*/ 36 h 51"/>
                    <a:gd name="T40" fmla="*/ 31 w 33"/>
                    <a:gd name="T41" fmla="*/ 36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51">
                      <a:moveTo>
                        <a:pt x="9" y="51"/>
                      </a:moveTo>
                      <a:cubicBezTo>
                        <a:pt x="9" y="51"/>
                        <a:pt x="9" y="51"/>
                        <a:pt x="8" y="50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6"/>
                        <a:pt x="0" y="45"/>
                        <a:pt x="0" y="44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8"/>
                        <a:pt x="0" y="18"/>
                        <a:pt x="1" y="17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1" y="0"/>
                        <a:pt x="32" y="0"/>
                        <a:pt x="32" y="0"/>
                      </a:cubicBezTo>
                      <a:cubicBezTo>
                        <a:pt x="33" y="0"/>
                        <a:pt x="33" y="1"/>
                        <a:pt x="33" y="2"/>
                      </a:cubicBezTo>
                      <a:cubicBezTo>
                        <a:pt x="33" y="36"/>
                        <a:pt x="33" y="36"/>
                        <a:pt x="33" y="36"/>
                      </a:cubicBezTo>
                      <a:cubicBezTo>
                        <a:pt x="33" y="37"/>
                        <a:pt x="33" y="37"/>
                        <a:pt x="32" y="38"/>
                      </a:cubicBezTo>
                      <a:cubicBezTo>
                        <a:pt x="10" y="50"/>
                        <a:pt x="10" y="50"/>
                        <a:pt x="10" y="50"/>
                      </a:cubicBezTo>
                      <a:cubicBezTo>
                        <a:pt x="10" y="51"/>
                        <a:pt x="10" y="51"/>
                        <a:pt x="9" y="51"/>
                      </a:cubicBezTo>
                      <a:close/>
                      <a:moveTo>
                        <a:pt x="4" y="43"/>
                      </a:move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4" y="20"/>
                        <a:pt x="4" y="20"/>
                        <a:pt x="4" y="20"/>
                      </a:cubicBezTo>
                      <a:lnTo>
                        <a:pt x="4" y="43"/>
                      </a:lnTo>
                      <a:close/>
                      <a:moveTo>
                        <a:pt x="31" y="36"/>
                      </a:moveTo>
                      <a:cubicBezTo>
                        <a:pt x="31" y="36"/>
                        <a:pt x="31" y="36"/>
                        <a:pt x="3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0" name="Freeform 943">
                  <a:extLst>
                    <a:ext uri="{FF2B5EF4-FFF2-40B4-BE49-F238E27FC236}">
                      <a16:creationId xmlns:a16="http://schemas.microsoft.com/office/drawing/2014/main" id="{BA72F570-861C-40CE-BDD3-5D8AC327FFB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2833"/>
                  <a:ext cx="80" cy="104"/>
                </a:xfrm>
                <a:custGeom>
                  <a:avLst/>
                  <a:gdLst>
                    <a:gd name="T0" fmla="*/ 2 w 34"/>
                    <a:gd name="T1" fmla="*/ 44 h 44"/>
                    <a:gd name="T2" fmla="*/ 1 w 34"/>
                    <a:gd name="T3" fmla="*/ 44 h 44"/>
                    <a:gd name="T4" fmla="*/ 0 w 34"/>
                    <a:gd name="T5" fmla="*/ 42 h 44"/>
                    <a:gd name="T6" fmla="*/ 0 w 34"/>
                    <a:gd name="T7" fmla="*/ 8 h 44"/>
                    <a:gd name="T8" fmla="*/ 1 w 34"/>
                    <a:gd name="T9" fmla="*/ 6 h 44"/>
                    <a:gd name="T10" fmla="*/ 11 w 34"/>
                    <a:gd name="T11" fmla="*/ 1 h 44"/>
                    <a:gd name="T12" fmla="*/ 13 w 34"/>
                    <a:gd name="T13" fmla="*/ 1 h 44"/>
                    <a:gd name="T14" fmla="*/ 33 w 34"/>
                    <a:gd name="T15" fmla="*/ 13 h 44"/>
                    <a:gd name="T16" fmla="*/ 34 w 34"/>
                    <a:gd name="T17" fmla="*/ 14 h 44"/>
                    <a:gd name="T18" fmla="*/ 34 w 34"/>
                    <a:gd name="T19" fmla="*/ 25 h 44"/>
                    <a:gd name="T20" fmla="*/ 33 w 34"/>
                    <a:gd name="T21" fmla="*/ 26 h 44"/>
                    <a:gd name="T22" fmla="*/ 3 w 34"/>
                    <a:gd name="T23" fmla="*/ 44 h 44"/>
                    <a:gd name="T24" fmla="*/ 2 w 34"/>
                    <a:gd name="T25" fmla="*/ 44 h 44"/>
                    <a:gd name="T26" fmla="*/ 4 w 34"/>
                    <a:gd name="T27" fmla="*/ 9 h 44"/>
                    <a:gd name="T28" fmla="*/ 4 w 34"/>
                    <a:gd name="T29" fmla="*/ 39 h 44"/>
                    <a:gd name="T30" fmla="*/ 30 w 34"/>
                    <a:gd name="T31" fmla="*/ 23 h 44"/>
                    <a:gd name="T32" fmla="*/ 30 w 34"/>
                    <a:gd name="T33" fmla="*/ 16 h 44"/>
                    <a:gd name="T34" fmla="*/ 12 w 34"/>
                    <a:gd name="T35" fmla="*/ 5 h 44"/>
                    <a:gd name="T36" fmla="*/ 4 w 34"/>
                    <a:gd name="T37" fmla="*/ 9 h 44"/>
                    <a:gd name="T38" fmla="*/ 32 w 34"/>
                    <a:gd name="T39" fmla="*/ 25 h 44"/>
                    <a:gd name="T40" fmla="*/ 32 w 34"/>
                    <a:gd name="T41" fmla="*/ 2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44">
                      <a:moveTo>
                        <a:pt x="2" y="44"/>
                      </a:moveTo>
                      <a:cubicBezTo>
                        <a:pt x="2" y="44"/>
                        <a:pt x="1" y="44"/>
                        <a:pt x="1" y="44"/>
                      </a:cubicBezTo>
                      <a:cubicBezTo>
                        <a:pt x="0" y="43"/>
                        <a:pt x="0" y="43"/>
                        <a:pt x="0" y="42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4" y="13"/>
                        <a:pt x="34" y="14"/>
                        <a:pt x="34" y="14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34" y="25"/>
                        <a:pt x="34" y="26"/>
                        <a:pt x="33" y="26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2" y="44"/>
                        <a:pt x="2" y="44"/>
                      </a:cubicBezTo>
                      <a:close/>
                      <a:moveTo>
                        <a:pt x="4" y="9"/>
                      </a:moveTo>
                      <a:cubicBezTo>
                        <a:pt x="4" y="39"/>
                        <a:pt x="4" y="39"/>
                        <a:pt x="4" y="39"/>
                      </a:cubicBezTo>
                      <a:cubicBezTo>
                        <a:pt x="30" y="23"/>
                        <a:pt x="30" y="23"/>
                        <a:pt x="30" y="23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12" y="5"/>
                        <a:pt x="12" y="5"/>
                        <a:pt x="12" y="5"/>
                      </a:cubicBezTo>
                      <a:lnTo>
                        <a:pt x="4" y="9"/>
                      </a:lnTo>
                      <a:close/>
                      <a:moveTo>
                        <a:pt x="32" y="25"/>
                      </a:moveTo>
                      <a:cubicBezTo>
                        <a:pt x="32" y="25"/>
                        <a:pt x="32" y="25"/>
                        <a:pt x="32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1" name="Freeform 944">
                  <a:extLst>
                    <a:ext uri="{FF2B5EF4-FFF2-40B4-BE49-F238E27FC236}">
                      <a16:creationId xmlns:a16="http://schemas.microsoft.com/office/drawing/2014/main" id="{A31E4293-C523-40A2-A43F-9CF219A7D1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23" y="2724"/>
                  <a:ext cx="109" cy="144"/>
                </a:xfrm>
                <a:custGeom>
                  <a:avLst/>
                  <a:gdLst>
                    <a:gd name="T0" fmla="*/ 44 w 46"/>
                    <a:gd name="T1" fmla="*/ 61 h 61"/>
                    <a:gd name="T2" fmla="*/ 43 w 46"/>
                    <a:gd name="T3" fmla="*/ 60 h 61"/>
                    <a:gd name="T4" fmla="*/ 24 w 46"/>
                    <a:gd name="T5" fmla="*/ 49 h 61"/>
                    <a:gd name="T6" fmla="*/ 23 w 46"/>
                    <a:gd name="T7" fmla="*/ 47 h 61"/>
                    <a:gd name="T8" fmla="*/ 24 w 46"/>
                    <a:gd name="T9" fmla="*/ 46 h 61"/>
                    <a:gd name="T10" fmla="*/ 28 w 46"/>
                    <a:gd name="T11" fmla="*/ 43 h 61"/>
                    <a:gd name="T12" fmla="*/ 1 w 46"/>
                    <a:gd name="T13" fmla="*/ 28 h 61"/>
                    <a:gd name="T14" fmla="*/ 0 w 46"/>
                    <a:gd name="T15" fmla="*/ 26 h 61"/>
                    <a:gd name="T16" fmla="*/ 1 w 46"/>
                    <a:gd name="T17" fmla="*/ 24 h 61"/>
                    <a:gd name="T18" fmla="*/ 43 w 46"/>
                    <a:gd name="T19" fmla="*/ 0 h 61"/>
                    <a:gd name="T20" fmla="*/ 45 w 46"/>
                    <a:gd name="T21" fmla="*/ 0 h 61"/>
                    <a:gd name="T22" fmla="*/ 46 w 46"/>
                    <a:gd name="T23" fmla="*/ 2 h 61"/>
                    <a:gd name="T24" fmla="*/ 46 w 46"/>
                    <a:gd name="T25" fmla="*/ 59 h 61"/>
                    <a:gd name="T26" fmla="*/ 45 w 46"/>
                    <a:gd name="T27" fmla="*/ 60 h 61"/>
                    <a:gd name="T28" fmla="*/ 44 w 46"/>
                    <a:gd name="T29" fmla="*/ 61 h 61"/>
                    <a:gd name="T30" fmla="*/ 29 w 46"/>
                    <a:gd name="T31" fmla="*/ 47 h 61"/>
                    <a:gd name="T32" fmla="*/ 42 w 46"/>
                    <a:gd name="T33" fmla="*/ 55 h 61"/>
                    <a:gd name="T34" fmla="*/ 42 w 46"/>
                    <a:gd name="T35" fmla="*/ 5 h 61"/>
                    <a:gd name="T36" fmla="*/ 6 w 46"/>
                    <a:gd name="T37" fmla="*/ 26 h 61"/>
                    <a:gd name="T38" fmla="*/ 33 w 46"/>
                    <a:gd name="T39" fmla="*/ 42 h 61"/>
                    <a:gd name="T40" fmla="*/ 34 w 46"/>
                    <a:gd name="T41" fmla="*/ 43 h 61"/>
                    <a:gd name="T42" fmla="*/ 33 w 46"/>
                    <a:gd name="T43" fmla="*/ 45 h 61"/>
                    <a:gd name="T44" fmla="*/ 29 w 46"/>
                    <a:gd name="T45" fmla="*/ 47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6" h="61">
                      <a:moveTo>
                        <a:pt x="44" y="61"/>
                      </a:moveTo>
                      <a:cubicBezTo>
                        <a:pt x="44" y="61"/>
                        <a:pt x="44" y="60"/>
                        <a:pt x="43" y="60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3" y="48"/>
                        <a:pt x="23" y="47"/>
                      </a:cubicBezTo>
                      <a:cubicBezTo>
                        <a:pt x="23" y="47"/>
                        <a:pt x="24" y="46"/>
                        <a:pt x="24" y="46"/>
                      </a:cubicBezTo>
                      <a:cubicBezTo>
                        <a:pt x="28" y="43"/>
                        <a:pt x="28" y="43"/>
                        <a:pt x="28" y="43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7"/>
                        <a:pt x="0" y="27"/>
                        <a:pt x="0" y="26"/>
                      </a:cubicBezTo>
                      <a:cubicBezTo>
                        <a:pt x="0" y="25"/>
                        <a:pt x="1" y="25"/>
                        <a:pt x="1" y="24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4" y="0"/>
                        <a:pt x="45" y="0"/>
                        <a:pt x="45" y="0"/>
                      </a:cubicBezTo>
                      <a:cubicBezTo>
                        <a:pt x="46" y="0"/>
                        <a:pt x="46" y="1"/>
                        <a:pt x="46" y="2"/>
                      </a:cubicBezTo>
                      <a:cubicBezTo>
                        <a:pt x="46" y="59"/>
                        <a:pt x="46" y="59"/>
                        <a:pt x="46" y="59"/>
                      </a:cubicBezTo>
                      <a:cubicBezTo>
                        <a:pt x="46" y="59"/>
                        <a:pt x="46" y="60"/>
                        <a:pt x="45" y="60"/>
                      </a:cubicBezTo>
                      <a:cubicBezTo>
                        <a:pt x="45" y="60"/>
                        <a:pt x="45" y="61"/>
                        <a:pt x="44" y="61"/>
                      </a:cubicBezTo>
                      <a:close/>
                      <a:moveTo>
                        <a:pt x="29" y="47"/>
                      </a:moveTo>
                      <a:cubicBezTo>
                        <a:pt x="42" y="55"/>
                        <a:pt x="42" y="55"/>
                        <a:pt x="42" y="55"/>
                      </a:cubicBezTo>
                      <a:cubicBezTo>
                        <a:pt x="42" y="5"/>
                        <a:pt x="42" y="5"/>
                        <a:pt x="42" y="5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33" y="42"/>
                        <a:pt x="33" y="42"/>
                        <a:pt x="33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4" y="44"/>
                        <a:pt x="34" y="45"/>
                        <a:pt x="33" y="45"/>
                      </a:cubicBezTo>
                      <a:lnTo>
                        <a:pt x="29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2" name="Freeform 945">
                  <a:extLst>
                    <a:ext uri="{FF2B5EF4-FFF2-40B4-BE49-F238E27FC236}">
                      <a16:creationId xmlns:a16="http://schemas.microsoft.com/office/drawing/2014/main" id="{8163434C-2020-424E-B6E5-1B2C0334F9A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2821"/>
                  <a:ext cx="28" cy="30"/>
                </a:xfrm>
                <a:custGeom>
                  <a:avLst/>
                  <a:gdLst>
                    <a:gd name="T0" fmla="*/ 2 w 12"/>
                    <a:gd name="T1" fmla="*/ 13 h 13"/>
                    <a:gd name="T2" fmla="*/ 1 w 12"/>
                    <a:gd name="T3" fmla="*/ 13 h 13"/>
                    <a:gd name="T4" fmla="*/ 0 w 12"/>
                    <a:gd name="T5" fmla="*/ 11 h 13"/>
                    <a:gd name="T6" fmla="*/ 0 w 12"/>
                    <a:gd name="T7" fmla="*/ 2 h 13"/>
                    <a:gd name="T8" fmla="*/ 1 w 12"/>
                    <a:gd name="T9" fmla="*/ 0 h 13"/>
                    <a:gd name="T10" fmla="*/ 3 w 12"/>
                    <a:gd name="T11" fmla="*/ 0 h 13"/>
                    <a:gd name="T12" fmla="*/ 11 w 12"/>
                    <a:gd name="T13" fmla="*/ 5 h 13"/>
                    <a:gd name="T14" fmla="*/ 12 w 12"/>
                    <a:gd name="T15" fmla="*/ 6 h 13"/>
                    <a:gd name="T16" fmla="*/ 11 w 12"/>
                    <a:gd name="T17" fmla="*/ 8 h 13"/>
                    <a:gd name="T18" fmla="*/ 3 w 12"/>
                    <a:gd name="T19" fmla="*/ 13 h 13"/>
                    <a:gd name="T20" fmla="*/ 2 w 12"/>
                    <a:gd name="T21" fmla="*/ 13 h 13"/>
                    <a:gd name="T22" fmla="*/ 4 w 12"/>
                    <a:gd name="T23" fmla="*/ 5 h 13"/>
                    <a:gd name="T24" fmla="*/ 4 w 12"/>
                    <a:gd name="T25" fmla="*/ 8 h 13"/>
                    <a:gd name="T26" fmla="*/ 6 w 12"/>
                    <a:gd name="T27" fmla="*/ 6 h 13"/>
                    <a:gd name="T28" fmla="*/ 4 w 12"/>
                    <a:gd name="T29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3">
                      <a:moveTo>
                        <a:pt x="2" y="13"/>
                      </a:moveTo>
                      <a:cubicBezTo>
                        <a:pt x="2" y="13"/>
                        <a:pt x="1" y="13"/>
                        <a:pt x="1" y="13"/>
                      </a:cubicBezTo>
                      <a:cubicBezTo>
                        <a:pt x="0" y="12"/>
                        <a:pt x="0" y="12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5"/>
                        <a:pt x="12" y="6"/>
                        <a:pt x="12" y="6"/>
                      </a:cubicBezTo>
                      <a:cubicBezTo>
                        <a:pt x="12" y="7"/>
                        <a:pt x="12" y="8"/>
                        <a:pt x="11" y="8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3"/>
                        <a:pt x="2" y="13"/>
                        <a:pt x="2" y="13"/>
                      </a:cubicBezTo>
                      <a:close/>
                      <a:moveTo>
                        <a:pt x="4" y="5"/>
                      </a:move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6" y="6"/>
                        <a:pt x="6" y="6"/>
                        <a:pt x="6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3" name="Freeform 946">
                  <a:extLst>
                    <a:ext uri="{FF2B5EF4-FFF2-40B4-BE49-F238E27FC236}">
                      <a16:creationId xmlns:a16="http://schemas.microsoft.com/office/drawing/2014/main" id="{2FDC08E4-4B7B-4051-8C2D-106DEE70DDE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07" y="2783"/>
                  <a:ext cx="90" cy="57"/>
                </a:xfrm>
                <a:custGeom>
                  <a:avLst/>
                  <a:gdLst>
                    <a:gd name="T0" fmla="*/ 31 w 38"/>
                    <a:gd name="T1" fmla="*/ 24 h 24"/>
                    <a:gd name="T2" fmla="*/ 30 w 38"/>
                    <a:gd name="T3" fmla="*/ 23 h 24"/>
                    <a:gd name="T4" fmla="*/ 20 w 38"/>
                    <a:gd name="T5" fmla="*/ 18 h 24"/>
                    <a:gd name="T6" fmla="*/ 19 w 38"/>
                    <a:gd name="T7" fmla="*/ 16 h 24"/>
                    <a:gd name="T8" fmla="*/ 17 w 38"/>
                    <a:gd name="T9" fmla="*/ 16 h 24"/>
                    <a:gd name="T10" fmla="*/ 1 w 38"/>
                    <a:gd name="T11" fmla="*/ 7 h 24"/>
                    <a:gd name="T12" fmla="*/ 0 w 38"/>
                    <a:gd name="T13" fmla="*/ 5 h 24"/>
                    <a:gd name="T14" fmla="*/ 1 w 38"/>
                    <a:gd name="T15" fmla="*/ 3 h 24"/>
                    <a:gd name="T16" fmla="*/ 7 w 38"/>
                    <a:gd name="T17" fmla="*/ 0 h 24"/>
                    <a:gd name="T18" fmla="*/ 9 w 38"/>
                    <a:gd name="T19" fmla="*/ 0 h 24"/>
                    <a:gd name="T20" fmla="*/ 37 w 38"/>
                    <a:gd name="T21" fmla="*/ 17 h 24"/>
                    <a:gd name="T22" fmla="*/ 38 w 38"/>
                    <a:gd name="T23" fmla="*/ 18 h 24"/>
                    <a:gd name="T24" fmla="*/ 37 w 38"/>
                    <a:gd name="T25" fmla="*/ 20 h 24"/>
                    <a:gd name="T26" fmla="*/ 32 w 38"/>
                    <a:gd name="T27" fmla="*/ 23 h 24"/>
                    <a:gd name="T28" fmla="*/ 31 w 38"/>
                    <a:gd name="T29" fmla="*/ 24 h 24"/>
                    <a:gd name="T30" fmla="*/ 23 w 38"/>
                    <a:gd name="T31" fmla="*/ 15 h 24"/>
                    <a:gd name="T32" fmla="*/ 31 w 38"/>
                    <a:gd name="T33" fmla="*/ 19 h 24"/>
                    <a:gd name="T34" fmla="*/ 32 w 38"/>
                    <a:gd name="T35" fmla="*/ 18 h 24"/>
                    <a:gd name="T36" fmla="*/ 23 w 38"/>
                    <a:gd name="T37" fmla="*/ 13 h 24"/>
                    <a:gd name="T38" fmla="*/ 23 w 38"/>
                    <a:gd name="T39" fmla="*/ 13 h 24"/>
                    <a:gd name="T40" fmla="*/ 23 w 38"/>
                    <a:gd name="T41" fmla="*/ 15 h 24"/>
                    <a:gd name="T42" fmla="*/ 6 w 38"/>
                    <a:gd name="T43" fmla="*/ 5 h 24"/>
                    <a:gd name="T44" fmla="*/ 18 w 38"/>
                    <a:gd name="T45" fmla="*/ 12 h 24"/>
                    <a:gd name="T46" fmla="*/ 20 w 38"/>
                    <a:gd name="T47" fmla="*/ 11 h 24"/>
                    <a:gd name="T48" fmla="*/ 20 w 38"/>
                    <a:gd name="T49" fmla="*/ 11 h 24"/>
                    <a:gd name="T50" fmla="*/ 8 w 38"/>
                    <a:gd name="T51" fmla="*/ 4 h 24"/>
                    <a:gd name="T52" fmla="*/ 6 w 38"/>
                    <a:gd name="T53" fmla="*/ 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8" h="24">
                      <a:moveTo>
                        <a:pt x="31" y="24"/>
                      </a:moveTo>
                      <a:cubicBezTo>
                        <a:pt x="30" y="24"/>
                        <a:pt x="30" y="23"/>
                        <a:pt x="30" y="23"/>
                      </a:cubicBez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8"/>
                        <a:pt x="19" y="17"/>
                        <a:pt x="19" y="16"/>
                      </a:cubicBezTo>
                      <a:cubicBezTo>
                        <a:pt x="19" y="17"/>
                        <a:pt x="18" y="17"/>
                        <a:pt x="17" y="16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5"/>
                      </a:cubicBezTo>
                      <a:cubicBezTo>
                        <a:pt x="0" y="4"/>
                        <a:pt x="1" y="4"/>
                        <a:pt x="1" y="3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8" y="0"/>
                        <a:pt x="9" y="0"/>
                      </a:cubicBezTo>
                      <a:cubicBezTo>
                        <a:pt x="37" y="17"/>
                        <a:pt x="37" y="17"/>
                        <a:pt x="37" y="17"/>
                      </a:cubicBezTo>
                      <a:cubicBezTo>
                        <a:pt x="38" y="17"/>
                        <a:pt x="38" y="18"/>
                        <a:pt x="38" y="18"/>
                      </a:cubicBezTo>
                      <a:cubicBezTo>
                        <a:pt x="38" y="19"/>
                        <a:pt x="38" y="20"/>
                        <a:pt x="37" y="20"/>
                      </a:cubicBezTo>
                      <a:cubicBezTo>
                        <a:pt x="32" y="23"/>
                        <a:pt x="32" y="23"/>
                        <a:pt x="32" y="23"/>
                      </a:cubicBezTo>
                      <a:cubicBezTo>
                        <a:pt x="31" y="23"/>
                        <a:pt x="31" y="24"/>
                        <a:pt x="31" y="24"/>
                      </a:cubicBezTo>
                      <a:close/>
                      <a:moveTo>
                        <a:pt x="23" y="15"/>
                      </a:move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32" y="18"/>
                        <a:pt x="32" y="18"/>
                        <a:pt x="32" y="18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lnTo>
                        <a:pt x="23" y="15"/>
                      </a:lnTo>
                      <a:close/>
                      <a:moveTo>
                        <a:pt x="6" y="5"/>
                      </a:move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20" y="11"/>
                        <a:pt x="20" y="11"/>
                        <a:pt x="20" y="11"/>
                      </a:cubicBezTo>
                      <a:cubicBezTo>
                        <a:pt x="20" y="11"/>
                        <a:pt x="20" y="11"/>
                        <a:pt x="20" y="11"/>
                      </a:cubicBezTo>
                      <a:cubicBezTo>
                        <a:pt x="8" y="4"/>
                        <a:pt x="8" y="4"/>
                        <a:pt x="8" y="4"/>
                      </a:cubicBez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4" name="Freeform 947">
                  <a:extLst>
                    <a:ext uri="{FF2B5EF4-FFF2-40B4-BE49-F238E27FC236}">
                      <a16:creationId xmlns:a16="http://schemas.microsoft.com/office/drawing/2014/main" id="{550052F3-A4FC-4C0C-990D-D7EB5272B7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" y="2889"/>
                  <a:ext cx="80" cy="55"/>
                </a:xfrm>
                <a:custGeom>
                  <a:avLst/>
                  <a:gdLst>
                    <a:gd name="T0" fmla="*/ 2 w 34"/>
                    <a:gd name="T1" fmla="*/ 23 h 23"/>
                    <a:gd name="T2" fmla="*/ 1 w 34"/>
                    <a:gd name="T3" fmla="*/ 22 h 23"/>
                    <a:gd name="T4" fmla="*/ 0 w 34"/>
                    <a:gd name="T5" fmla="*/ 21 h 23"/>
                    <a:gd name="T6" fmla="*/ 0 w 34"/>
                    <a:gd name="T7" fmla="*/ 20 h 23"/>
                    <a:gd name="T8" fmla="*/ 1 w 34"/>
                    <a:gd name="T9" fmla="*/ 18 h 23"/>
                    <a:gd name="T10" fmla="*/ 31 w 34"/>
                    <a:gd name="T11" fmla="*/ 1 h 23"/>
                    <a:gd name="T12" fmla="*/ 33 w 34"/>
                    <a:gd name="T13" fmla="*/ 1 h 23"/>
                    <a:gd name="T14" fmla="*/ 34 w 34"/>
                    <a:gd name="T15" fmla="*/ 2 h 23"/>
                    <a:gd name="T16" fmla="*/ 34 w 34"/>
                    <a:gd name="T17" fmla="*/ 3 h 23"/>
                    <a:gd name="T18" fmla="*/ 33 w 34"/>
                    <a:gd name="T19" fmla="*/ 5 h 23"/>
                    <a:gd name="T20" fmla="*/ 3 w 34"/>
                    <a:gd name="T21" fmla="*/ 22 h 23"/>
                    <a:gd name="T22" fmla="*/ 2 w 34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23">
                      <a:moveTo>
                        <a:pt x="2" y="23"/>
                      </a:moveTo>
                      <a:cubicBezTo>
                        <a:pt x="2" y="23"/>
                        <a:pt x="1" y="23"/>
                        <a:pt x="1" y="22"/>
                      </a:cubicBezTo>
                      <a:cubicBezTo>
                        <a:pt x="0" y="22"/>
                        <a:pt x="0" y="21"/>
                        <a:pt x="0" y="21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9"/>
                        <a:pt x="0" y="19"/>
                        <a:pt x="1" y="18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2" y="0"/>
                        <a:pt x="33" y="0"/>
                        <a:pt x="33" y="1"/>
                      </a:cubicBezTo>
                      <a:cubicBezTo>
                        <a:pt x="34" y="1"/>
                        <a:pt x="34" y="2"/>
                        <a:pt x="34" y="2"/>
                      </a:cubicBez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4" y="4"/>
                        <a:pt x="34" y="5"/>
                        <a:pt x="33" y="5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3" y="23"/>
                        <a:pt x="2" y="23"/>
                        <a:pt x="2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5" name="Freeform 948">
                  <a:extLst>
                    <a:ext uri="{FF2B5EF4-FFF2-40B4-BE49-F238E27FC236}">
                      <a16:creationId xmlns:a16="http://schemas.microsoft.com/office/drawing/2014/main" id="{D2E6D3B6-C373-4750-8351-71E4152E71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816"/>
                  <a:ext cx="78" cy="78"/>
                </a:xfrm>
                <a:custGeom>
                  <a:avLst/>
                  <a:gdLst>
                    <a:gd name="T0" fmla="*/ 2 w 33"/>
                    <a:gd name="T1" fmla="*/ 33 h 33"/>
                    <a:gd name="T2" fmla="*/ 1 w 33"/>
                    <a:gd name="T3" fmla="*/ 33 h 33"/>
                    <a:gd name="T4" fmla="*/ 0 w 33"/>
                    <a:gd name="T5" fmla="*/ 31 h 33"/>
                    <a:gd name="T6" fmla="*/ 0 w 33"/>
                    <a:gd name="T7" fmla="*/ 19 h 33"/>
                    <a:gd name="T8" fmla="*/ 1 w 33"/>
                    <a:gd name="T9" fmla="*/ 17 h 33"/>
                    <a:gd name="T10" fmla="*/ 29 w 33"/>
                    <a:gd name="T11" fmla="*/ 1 h 33"/>
                    <a:gd name="T12" fmla="*/ 31 w 33"/>
                    <a:gd name="T13" fmla="*/ 1 h 33"/>
                    <a:gd name="T14" fmla="*/ 32 w 33"/>
                    <a:gd name="T15" fmla="*/ 1 h 33"/>
                    <a:gd name="T16" fmla="*/ 33 w 33"/>
                    <a:gd name="T17" fmla="*/ 3 h 33"/>
                    <a:gd name="T18" fmla="*/ 33 w 33"/>
                    <a:gd name="T19" fmla="*/ 14 h 33"/>
                    <a:gd name="T20" fmla="*/ 32 w 33"/>
                    <a:gd name="T21" fmla="*/ 16 h 33"/>
                    <a:gd name="T22" fmla="*/ 3 w 33"/>
                    <a:gd name="T23" fmla="*/ 33 h 33"/>
                    <a:gd name="T24" fmla="*/ 2 w 33"/>
                    <a:gd name="T25" fmla="*/ 33 h 33"/>
                    <a:gd name="T26" fmla="*/ 4 w 33"/>
                    <a:gd name="T27" fmla="*/ 20 h 33"/>
                    <a:gd name="T28" fmla="*/ 4 w 33"/>
                    <a:gd name="T29" fmla="*/ 28 h 33"/>
                    <a:gd name="T30" fmla="*/ 29 w 33"/>
                    <a:gd name="T31" fmla="*/ 13 h 33"/>
                    <a:gd name="T32" fmla="*/ 29 w 33"/>
                    <a:gd name="T33" fmla="*/ 5 h 33"/>
                    <a:gd name="T34" fmla="*/ 4 w 33"/>
                    <a:gd name="T35" fmla="*/ 20 h 33"/>
                    <a:gd name="T36" fmla="*/ 31 w 33"/>
                    <a:gd name="T37" fmla="*/ 14 h 33"/>
                    <a:gd name="T38" fmla="*/ 31 w 33"/>
                    <a:gd name="T39" fmla="*/ 1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3" h="33">
                      <a:moveTo>
                        <a:pt x="2" y="33"/>
                      </a:move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0" y="33"/>
                        <a:pt x="0" y="32"/>
                        <a:pt x="0" y="31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8"/>
                        <a:pt x="0" y="18"/>
                        <a:pt x="1" y="17"/>
                      </a:cubicBezTo>
                      <a:cubicBezTo>
                        <a:pt x="29" y="1"/>
                        <a:pt x="29" y="1"/>
                        <a:pt x="29" y="1"/>
                      </a:cubicBezTo>
                      <a:cubicBezTo>
                        <a:pt x="30" y="0"/>
                        <a:pt x="31" y="0"/>
                        <a:pt x="31" y="1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3" y="2"/>
                        <a:pt x="33" y="2"/>
                        <a:pt x="33" y="3"/>
                      </a:cubicBezTo>
                      <a:cubicBezTo>
                        <a:pt x="33" y="14"/>
                        <a:pt x="33" y="14"/>
                        <a:pt x="33" y="14"/>
                      </a:cubicBezTo>
                      <a:cubicBezTo>
                        <a:pt x="33" y="15"/>
                        <a:pt x="33" y="15"/>
                        <a:pt x="32" y="16"/>
                      </a:cubicBezTo>
                      <a:cubicBezTo>
                        <a:pt x="3" y="33"/>
                        <a:pt x="3" y="33"/>
                        <a:pt x="3" y="33"/>
                      </a:cubicBezTo>
                      <a:cubicBezTo>
                        <a:pt x="2" y="33"/>
                        <a:pt x="2" y="33"/>
                        <a:pt x="2" y="33"/>
                      </a:cubicBezTo>
                      <a:close/>
                      <a:moveTo>
                        <a:pt x="4" y="20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29" y="5"/>
                        <a:pt x="29" y="5"/>
                        <a:pt x="29" y="5"/>
                      </a:cubicBezTo>
                      <a:lnTo>
                        <a:pt x="4" y="20"/>
                      </a:lnTo>
                      <a:close/>
                      <a:moveTo>
                        <a:pt x="31" y="14"/>
                      </a:moveTo>
                      <a:cubicBezTo>
                        <a:pt x="31" y="14"/>
                        <a:pt x="31" y="14"/>
                        <a:pt x="31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6" name="Freeform 949">
                  <a:extLst>
                    <a:ext uri="{FF2B5EF4-FFF2-40B4-BE49-F238E27FC236}">
                      <a16:creationId xmlns:a16="http://schemas.microsoft.com/office/drawing/2014/main" id="{89BF2747-D3BE-4282-B5FA-EFB713C449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2996"/>
                  <a:ext cx="160" cy="271"/>
                </a:xfrm>
                <a:custGeom>
                  <a:avLst/>
                  <a:gdLst>
                    <a:gd name="T0" fmla="*/ 66 w 68"/>
                    <a:gd name="T1" fmla="*/ 115 h 115"/>
                    <a:gd name="T2" fmla="*/ 65 w 68"/>
                    <a:gd name="T3" fmla="*/ 115 h 115"/>
                    <a:gd name="T4" fmla="*/ 1 w 68"/>
                    <a:gd name="T5" fmla="*/ 78 h 115"/>
                    <a:gd name="T6" fmla="*/ 0 w 68"/>
                    <a:gd name="T7" fmla="*/ 76 h 115"/>
                    <a:gd name="T8" fmla="*/ 0 w 68"/>
                    <a:gd name="T9" fmla="*/ 2 h 115"/>
                    <a:gd name="T10" fmla="*/ 1 w 68"/>
                    <a:gd name="T11" fmla="*/ 0 h 115"/>
                    <a:gd name="T12" fmla="*/ 3 w 68"/>
                    <a:gd name="T13" fmla="*/ 0 h 115"/>
                    <a:gd name="T14" fmla="*/ 67 w 68"/>
                    <a:gd name="T15" fmla="*/ 37 h 115"/>
                    <a:gd name="T16" fmla="*/ 68 w 68"/>
                    <a:gd name="T17" fmla="*/ 39 h 115"/>
                    <a:gd name="T18" fmla="*/ 68 w 68"/>
                    <a:gd name="T19" fmla="*/ 113 h 115"/>
                    <a:gd name="T20" fmla="*/ 67 w 68"/>
                    <a:gd name="T21" fmla="*/ 115 h 115"/>
                    <a:gd name="T22" fmla="*/ 66 w 68"/>
                    <a:gd name="T23" fmla="*/ 115 h 115"/>
                    <a:gd name="T24" fmla="*/ 4 w 68"/>
                    <a:gd name="T25" fmla="*/ 75 h 115"/>
                    <a:gd name="T26" fmla="*/ 64 w 68"/>
                    <a:gd name="T27" fmla="*/ 109 h 115"/>
                    <a:gd name="T28" fmla="*/ 64 w 68"/>
                    <a:gd name="T29" fmla="*/ 40 h 115"/>
                    <a:gd name="T30" fmla="*/ 4 w 68"/>
                    <a:gd name="T31" fmla="*/ 5 h 115"/>
                    <a:gd name="T32" fmla="*/ 4 w 68"/>
                    <a:gd name="T33" fmla="*/ 7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8" h="115">
                      <a:moveTo>
                        <a:pt x="66" y="115"/>
                      </a:moveTo>
                      <a:cubicBezTo>
                        <a:pt x="66" y="115"/>
                        <a:pt x="65" y="115"/>
                        <a:pt x="65" y="115"/>
                      </a:cubicBezTo>
                      <a:cubicBezTo>
                        <a:pt x="1" y="78"/>
                        <a:pt x="1" y="78"/>
                        <a:pt x="1" y="78"/>
                      </a:cubicBezTo>
                      <a:cubicBezTo>
                        <a:pt x="0" y="77"/>
                        <a:pt x="0" y="76"/>
                        <a:pt x="0" y="7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67" y="37"/>
                        <a:pt x="67" y="37"/>
                        <a:pt x="67" y="37"/>
                      </a:cubicBezTo>
                      <a:cubicBezTo>
                        <a:pt x="68" y="37"/>
                        <a:pt x="68" y="38"/>
                        <a:pt x="68" y="39"/>
                      </a:cubicBezTo>
                      <a:cubicBezTo>
                        <a:pt x="68" y="113"/>
                        <a:pt x="68" y="113"/>
                        <a:pt x="68" y="113"/>
                      </a:cubicBezTo>
                      <a:cubicBezTo>
                        <a:pt x="68" y="113"/>
                        <a:pt x="68" y="114"/>
                        <a:pt x="67" y="115"/>
                      </a:cubicBezTo>
                      <a:cubicBezTo>
                        <a:pt x="67" y="115"/>
                        <a:pt x="66" y="115"/>
                        <a:pt x="66" y="115"/>
                      </a:cubicBezTo>
                      <a:close/>
                      <a:moveTo>
                        <a:pt x="4" y="75"/>
                      </a:moveTo>
                      <a:cubicBezTo>
                        <a:pt x="64" y="109"/>
                        <a:pt x="64" y="109"/>
                        <a:pt x="64" y="109"/>
                      </a:cubicBezTo>
                      <a:cubicBezTo>
                        <a:pt x="64" y="40"/>
                        <a:pt x="64" y="40"/>
                        <a:pt x="64" y="40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7" name="Freeform 950">
                  <a:extLst>
                    <a:ext uri="{FF2B5EF4-FFF2-40B4-BE49-F238E27FC236}">
                      <a16:creationId xmlns:a16="http://schemas.microsoft.com/office/drawing/2014/main" id="{32CB28B9-69A0-4989-9C90-48F60B6513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1039"/>
                  <a:ext cx="168" cy="112"/>
                </a:xfrm>
                <a:custGeom>
                  <a:avLst/>
                  <a:gdLst>
                    <a:gd name="T0" fmla="*/ 52 w 71"/>
                    <a:gd name="T1" fmla="*/ 47 h 47"/>
                    <a:gd name="T2" fmla="*/ 51 w 71"/>
                    <a:gd name="T3" fmla="*/ 46 h 47"/>
                    <a:gd name="T4" fmla="*/ 1 w 71"/>
                    <a:gd name="T5" fmla="*/ 18 h 47"/>
                    <a:gd name="T6" fmla="*/ 0 w 71"/>
                    <a:gd name="T7" fmla="*/ 16 h 47"/>
                    <a:gd name="T8" fmla="*/ 0 w 71"/>
                    <a:gd name="T9" fmla="*/ 7 h 47"/>
                    <a:gd name="T10" fmla="*/ 1 w 71"/>
                    <a:gd name="T11" fmla="*/ 6 h 47"/>
                    <a:gd name="T12" fmla="*/ 11 w 71"/>
                    <a:gd name="T13" fmla="*/ 0 h 47"/>
                    <a:gd name="T14" fmla="*/ 13 w 71"/>
                    <a:gd name="T15" fmla="*/ 0 h 47"/>
                    <a:gd name="T16" fmla="*/ 70 w 71"/>
                    <a:gd name="T17" fmla="*/ 33 h 47"/>
                    <a:gd name="T18" fmla="*/ 71 w 71"/>
                    <a:gd name="T19" fmla="*/ 34 h 47"/>
                    <a:gd name="T20" fmla="*/ 70 w 71"/>
                    <a:gd name="T21" fmla="*/ 36 h 47"/>
                    <a:gd name="T22" fmla="*/ 53 w 71"/>
                    <a:gd name="T23" fmla="*/ 46 h 47"/>
                    <a:gd name="T24" fmla="*/ 52 w 71"/>
                    <a:gd name="T25" fmla="*/ 47 h 47"/>
                    <a:gd name="T26" fmla="*/ 4 w 71"/>
                    <a:gd name="T27" fmla="*/ 15 h 47"/>
                    <a:gd name="T28" fmla="*/ 52 w 71"/>
                    <a:gd name="T29" fmla="*/ 42 h 47"/>
                    <a:gd name="T30" fmla="*/ 65 w 71"/>
                    <a:gd name="T31" fmla="*/ 34 h 47"/>
                    <a:gd name="T32" fmla="*/ 12 w 71"/>
                    <a:gd name="T33" fmla="*/ 4 h 47"/>
                    <a:gd name="T34" fmla="*/ 4 w 71"/>
                    <a:gd name="T35" fmla="*/ 9 h 47"/>
                    <a:gd name="T36" fmla="*/ 4 w 71"/>
                    <a:gd name="T37" fmla="*/ 15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1" h="47">
                      <a:moveTo>
                        <a:pt x="52" y="47"/>
                      </a:moveTo>
                      <a:cubicBezTo>
                        <a:pt x="52" y="47"/>
                        <a:pt x="51" y="46"/>
                        <a:pt x="51" y="46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7"/>
                        <a:pt x="0" y="17"/>
                        <a:pt x="0" y="1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1" y="6"/>
                        <a:pt x="1" y="6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2" y="0"/>
                        <a:pt x="13" y="0"/>
                        <a:pt x="13" y="0"/>
                      </a:cubicBezTo>
                      <a:cubicBezTo>
                        <a:pt x="70" y="33"/>
                        <a:pt x="70" y="33"/>
                        <a:pt x="70" y="33"/>
                      </a:cubicBezTo>
                      <a:cubicBezTo>
                        <a:pt x="71" y="33"/>
                        <a:pt x="71" y="34"/>
                        <a:pt x="71" y="34"/>
                      </a:cubicBezTo>
                      <a:cubicBezTo>
                        <a:pt x="71" y="35"/>
                        <a:pt x="71" y="36"/>
                        <a:pt x="70" y="36"/>
                      </a:cubicBezTo>
                      <a:cubicBezTo>
                        <a:pt x="53" y="46"/>
                        <a:pt x="53" y="46"/>
                        <a:pt x="53" y="46"/>
                      </a:cubicBezTo>
                      <a:cubicBezTo>
                        <a:pt x="53" y="46"/>
                        <a:pt x="52" y="47"/>
                        <a:pt x="52" y="47"/>
                      </a:cubicBezTo>
                      <a:close/>
                      <a:moveTo>
                        <a:pt x="4" y="15"/>
                      </a:moveTo>
                      <a:cubicBezTo>
                        <a:pt x="52" y="42"/>
                        <a:pt x="52" y="42"/>
                        <a:pt x="52" y="42"/>
                      </a:cubicBezTo>
                      <a:cubicBezTo>
                        <a:pt x="65" y="34"/>
                        <a:pt x="65" y="34"/>
                        <a:pt x="65" y="34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9"/>
                        <a:pt x="4" y="9"/>
                        <a:pt x="4" y="9"/>
                      </a:cubicBezTo>
                      <a:lnTo>
                        <a:pt x="4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8" name="Freeform 951">
                  <a:extLst>
                    <a:ext uri="{FF2B5EF4-FFF2-40B4-BE49-F238E27FC236}">
                      <a16:creationId xmlns:a16="http://schemas.microsoft.com/office/drawing/2014/main" id="{8FEC731B-B288-49B2-9B7B-04A0FC93C9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66" y="1741"/>
                  <a:ext cx="291" cy="177"/>
                </a:xfrm>
                <a:custGeom>
                  <a:avLst/>
                  <a:gdLst>
                    <a:gd name="T0" fmla="*/ 6 w 123"/>
                    <a:gd name="T1" fmla="*/ 75 h 75"/>
                    <a:gd name="T2" fmla="*/ 5 w 123"/>
                    <a:gd name="T3" fmla="*/ 74 h 75"/>
                    <a:gd name="T4" fmla="*/ 1 w 123"/>
                    <a:gd name="T5" fmla="*/ 72 h 75"/>
                    <a:gd name="T6" fmla="*/ 0 w 123"/>
                    <a:gd name="T7" fmla="*/ 70 h 75"/>
                    <a:gd name="T8" fmla="*/ 1 w 123"/>
                    <a:gd name="T9" fmla="*/ 69 h 75"/>
                    <a:gd name="T10" fmla="*/ 120 w 123"/>
                    <a:gd name="T11" fmla="*/ 0 h 75"/>
                    <a:gd name="T12" fmla="*/ 122 w 123"/>
                    <a:gd name="T13" fmla="*/ 0 h 75"/>
                    <a:gd name="T14" fmla="*/ 123 w 123"/>
                    <a:gd name="T15" fmla="*/ 2 h 75"/>
                    <a:gd name="T16" fmla="*/ 123 w 123"/>
                    <a:gd name="T17" fmla="*/ 6 h 75"/>
                    <a:gd name="T18" fmla="*/ 122 w 123"/>
                    <a:gd name="T19" fmla="*/ 8 h 75"/>
                    <a:gd name="T20" fmla="*/ 7 w 123"/>
                    <a:gd name="T21" fmla="*/ 74 h 75"/>
                    <a:gd name="T22" fmla="*/ 6 w 123"/>
                    <a:gd name="T23" fmla="*/ 75 h 75"/>
                    <a:gd name="T24" fmla="*/ 121 w 123"/>
                    <a:gd name="T25" fmla="*/ 6 h 75"/>
                    <a:gd name="T26" fmla="*/ 121 w 123"/>
                    <a:gd name="T27" fmla="*/ 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3" h="75">
                      <a:moveTo>
                        <a:pt x="6" y="75"/>
                      </a:moveTo>
                      <a:cubicBezTo>
                        <a:pt x="6" y="75"/>
                        <a:pt x="5" y="75"/>
                        <a:pt x="5" y="74"/>
                      </a:cubicBezTo>
                      <a:cubicBezTo>
                        <a:pt x="1" y="72"/>
                        <a:pt x="1" y="72"/>
                        <a:pt x="1" y="72"/>
                      </a:cubicBezTo>
                      <a:cubicBezTo>
                        <a:pt x="1" y="72"/>
                        <a:pt x="0" y="71"/>
                        <a:pt x="0" y="70"/>
                      </a:cubicBezTo>
                      <a:cubicBezTo>
                        <a:pt x="0" y="70"/>
                        <a:pt x="1" y="69"/>
                        <a:pt x="1" y="69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1" y="0"/>
                        <a:pt x="122" y="0"/>
                        <a:pt x="122" y="0"/>
                      </a:cubicBezTo>
                      <a:cubicBezTo>
                        <a:pt x="123" y="0"/>
                        <a:pt x="123" y="1"/>
                        <a:pt x="123" y="2"/>
                      </a:cubicBezTo>
                      <a:cubicBezTo>
                        <a:pt x="123" y="6"/>
                        <a:pt x="123" y="6"/>
                        <a:pt x="123" y="6"/>
                      </a:cubicBezTo>
                      <a:cubicBezTo>
                        <a:pt x="123" y="7"/>
                        <a:pt x="123" y="8"/>
                        <a:pt x="122" y="8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7" y="75"/>
                        <a:pt x="6" y="75"/>
                        <a:pt x="6" y="75"/>
                      </a:cubicBezTo>
                      <a:close/>
                      <a:moveTo>
                        <a:pt x="121" y="6"/>
                      </a:moveTo>
                      <a:cubicBezTo>
                        <a:pt x="121" y="6"/>
                        <a:pt x="121" y="6"/>
                        <a:pt x="12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9" name="Freeform 952">
                  <a:extLst>
                    <a:ext uri="{FF2B5EF4-FFF2-40B4-BE49-F238E27FC236}">
                      <a16:creationId xmlns:a16="http://schemas.microsoft.com/office/drawing/2014/main" id="{130231AC-EE63-413A-B0C1-6377E52590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42" y="1996"/>
                  <a:ext cx="298" cy="284"/>
                </a:xfrm>
                <a:custGeom>
                  <a:avLst/>
                  <a:gdLst>
                    <a:gd name="T0" fmla="*/ 2 w 126"/>
                    <a:gd name="T1" fmla="*/ 120 h 120"/>
                    <a:gd name="T2" fmla="*/ 1 w 126"/>
                    <a:gd name="T3" fmla="*/ 120 h 120"/>
                    <a:gd name="T4" fmla="*/ 0 w 126"/>
                    <a:gd name="T5" fmla="*/ 118 h 120"/>
                    <a:gd name="T6" fmla="*/ 0 w 126"/>
                    <a:gd name="T7" fmla="*/ 27 h 120"/>
                    <a:gd name="T8" fmla="*/ 1 w 126"/>
                    <a:gd name="T9" fmla="*/ 26 h 120"/>
                    <a:gd name="T10" fmla="*/ 44 w 126"/>
                    <a:gd name="T11" fmla="*/ 1 h 120"/>
                    <a:gd name="T12" fmla="*/ 46 w 126"/>
                    <a:gd name="T13" fmla="*/ 1 h 120"/>
                    <a:gd name="T14" fmla="*/ 125 w 126"/>
                    <a:gd name="T15" fmla="*/ 46 h 120"/>
                    <a:gd name="T16" fmla="*/ 126 w 126"/>
                    <a:gd name="T17" fmla="*/ 48 h 120"/>
                    <a:gd name="T18" fmla="*/ 125 w 126"/>
                    <a:gd name="T19" fmla="*/ 50 h 120"/>
                    <a:gd name="T20" fmla="*/ 3 w 126"/>
                    <a:gd name="T21" fmla="*/ 120 h 120"/>
                    <a:gd name="T22" fmla="*/ 2 w 126"/>
                    <a:gd name="T23" fmla="*/ 120 h 120"/>
                    <a:gd name="T24" fmla="*/ 4 w 126"/>
                    <a:gd name="T25" fmla="*/ 29 h 120"/>
                    <a:gd name="T26" fmla="*/ 4 w 126"/>
                    <a:gd name="T27" fmla="*/ 115 h 120"/>
                    <a:gd name="T28" fmla="*/ 120 w 126"/>
                    <a:gd name="T29" fmla="*/ 48 h 120"/>
                    <a:gd name="T30" fmla="*/ 45 w 126"/>
                    <a:gd name="T31" fmla="*/ 5 h 120"/>
                    <a:gd name="T32" fmla="*/ 4 w 126"/>
                    <a:gd name="T33" fmla="*/ 2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6" h="120">
                      <a:moveTo>
                        <a:pt x="2" y="120"/>
                      </a:move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0" y="120"/>
                        <a:pt x="0" y="119"/>
                        <a:pt x="0" y="11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27"/>
                        <a:pt x="0" y="26"/>
                        <a:pt x="1" y="26"/>
                      </a:cubicBezTo>
                      <a:cubicBezTo>
                        <a:pt x="44" y="1"/>
                        <a:pt x="44" y="1"/>
                        <a:pt x="44" y="1"/>
                      </a:cubicBezTo>
                      <a:cubicBezTo>
                        <a:pt x="44" y="0"/>
                        <a:pt x="45" y="0"/>
                        <a:pt x="46" y="1"/>
                      </a:cubicBezTo>
                      <a:cubicBezTo>
                        <a:pt x="125" y="46"/>
                        <a:pt x="125" y="46"/>
                        <a:pt x="125" y="46"/>
                      </a:cubicBezTo>
                      <a:cubicBezTo>
                        <a:pt x="125" y="47"/>
                        <a:pt x="126" y="47"/>
                        <a:pt x="126" y="48"/>
                      </a:cubicBezTo>
                      <a:cubicBezTo>
                        <a:pt x="126" y="49"/>
                        <a:pt x="125" y="49"/>
                        <a:pt x="125" y="50"/>
                      </a:cubicBezTo>
                      <a:cubicBezTo>
                        <a:pt x="3" y="120"/>
                        <a:pt x="3" y="120"/>
                        <a:pt x="3" y="120"/>
                      </a:cubicBezTo>
                      <a:cubicBezTo>
                        <a:pt x="2" y="120"/>
                        <a:pt x="2" y="120"/>
                        <a:pt x="2" y="120"/>
                      </a:cubicBezTo>
                      <a:close/>
                      <a:moveTo>
                        <a:pt x="4" y="29"/>
                      </a:moveTo>
                      <a:cubicBezTo>
                        <a:pt x="4" y="115"/>
                        <a:pt x="4" y="115"/>
                        <a:pt x="4" y="115"/>
                      </a:cubicBezTo>
                      <a:cubicBezTo>
                        <a:pt x="120" y="48"/>
                        <a:pt x="120" y="48"/>
                        <a:pt x="120" y="48"/>
                      </a:cubicBezTo>
                      <a:cubicBezTo>
                        <a:pt x="45" y="5"/>
                        <a:pt x="45" y="5"/>
                        <a:pt x="45" y="5"/>
                      </a:cubicBezTo>
                      <a:lnTo>
                        <a:pt x="4" y="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0" name="Freeform 953">
                  <a:extLst>
                    <a:ext uri="{FF2B5EF4-FFF2-40B4-BE49-F238E27FC236}">
                      <a16:creationId xmlns:a16="http://schemas.microsoft.com/office/drawing/2014/main" id="{01982DFD-85BE-4F3D-8801-D06911E4CA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42" y="1755"/>
                  <a:ext cx="315" cy="357"/>
                </a:xfrm>
                <a:custGeom>
                  <a:avLst/>
                  <a:gdLst>
                    <a:gd name="T0" fmla="*/ 125 w 133"/>
                    <a:gd name="T1" fmla="*/ 151 h 151"/>
                    <a:gd name="T2" fmla="*/ 124 w 133"/>
                    <a:gd name="T3" fmla="*/ 151 h 151"/>
                    <a:gd name="T4" fmla="*/ 45 w 133"/>
                    <a:gd name="T5" fmla="*/ 105 h 151"/>
                    <a:gd name="T6" fmla="*/ 3 w 133"/>
                    <a:gd name="T7" fmla="*/ 129 h 151"/>
                    <a:gd name="T8" fmla="*/ 1 w 133"/>
                    <a:gd name="T9" fmla="*/ 129 h 151"/>
                    <a:gd name="T10" fmla="*/ 0 w 133"/>
                    <a:gd name="T11" fmla="*/ 127 h 151"/>
                    <a:gd name="T12" fmla="*/ 0 w 133"/>
                    <a:gd name="T13" fmla="*/ 71 h 151"/>
                    <a:gd name="T14" fmla="*/ 1 w 133"/>
                    <a:gd name="T15" fmla="*/ 69 h 151"/>
                    <a:gd name="T16" fmla="*/ 10 w 133"/>
                    <a:gd name="T17" fmla="*/ 64 h 151"/>
                    <a:gd name="T18" fmla="*/ 12 w 133"/>
                    <a:gd name="T19" fmla="*/ 64 h 151"/>
                    <a:gd name="T20" fmla="*/ 16 w 133"/>
                    <a:gd name="T21" fmla="*/ 66 h 151"/>
                    <a:gd name="T22" fmla="*/ 130 w 133"/>
                    <a:gd name="T23" fmla="*/ 0 h 151"/>
                    <a:gd name="T24" fmla="*/ 132 w 133"/>
                    <a:gd name="T25" fmla="*/ 0 h 151"/>
                    <a:gd name="T26" fmla="*/ 133 w 133"/>
                    <a:gd name="T27" fmla="*/ 2 h 151"/>
                    <a:gd name="T28" fmla="*/ 133 w 133"/>
                    <a:gd name="T29" fmla="*/ 146 h 151"/>
                    <a:gd name="T30" fmla="*/ 132 w 133"/>
                    <a:gd name="T31" fmla="*/ 147 h 151"/>
                    <a:gd name="T32" fmla="*/ 126 w 133"/>
                    <a:gd name="T33" fmla="*/ 151 h 151"/>
                    <a:gd name="T34" fmla="*/ 125 w 133"/>
                    <a:gd name="T35" fmla="*/ 151 h 151"/>
                    <a:gd name="T36" fmla="*/ 45 w 133"/>
                    <a:gd name="T37" fmla="*/ 101 h 151"/>
                    <a:gd name="T38" fmla="*/ 46 w 133"/>
                    <a:gd name="T39" fmla="*/ 101 h 151"/>
                    <a:gd name="T40" fmla="*/ 125 w 133"/>
                    <a:gd name="T41" fmla="*/ 147 h 151"/>
                    <a:gd name="T42" fmla="*/ 129 w 133"/>
                    <a:gd name="T43" fmla="*/ 144 h 151"/>
                    <a:gd name="T44" fmla="*/ 129 w 133"/>
                    <a:gd name="T45" fmla="*/ 5 h 151"/>
                    <a:gd name="T46" fmla="*/ 17 w 133"/>
                    <a:gd name="T47" fmla="*/ 70 h 151"/>
                    <a:gd name="T48" fmla="*/ 15 w 133"/>
                    <a:gd name="T49" fmla="*/ 70 h 151"/>
                    <a:gd name="T50" fmla="*/ 11 w 133"/>
                    <a:gd name="T51" fmla="*/ 68 h 151"/>
                    <a:gd name="T52" fmla="*/ 4 w 133"/>
                    <a:gd name="T53" fmla="*/ 72 h 151"/>
                    <a:gd name="T54" fmla="*/ 4 w 133"/>
                    <a:gd name="T55" fmla="*/ 124 h 151"/>
                    <a:gd name="T56" fmla="*/ 44 w 133"/>
                    <a:gd name="T57" fmla="*/ 101 h 151"/>
                    <a:gd name="T58" fmla="*/ 45 w 133"/>
                    <a:gd name="T59" fmla="*/ 10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33" h="151">
                      <a:moveTo>
                        <a:pt x="125" y="151"/>
                      </a:moveTo>
                      <a:cubicBezTo>
                        <a:pt x="125" y="151"/>
                        <a:pt x="125" y="151"/>
                        <a:pt x="124" y="151"/>
                      </a:cubicBezTo>
                      <a:cubicBezTo>
                        <a:pt x="45" y="105"/>
                        <a:pt x="45" y="105"/>
                        <a:pt x="45" y="105"/>
                      </a:cubicBezTo>
                      <a:cubicBezTo>
                        <a:pt x="3" y="129"/>
                        <a:pt x="3" y="129"/>
                        <a:pt x="3" y="129"/>
                      </a:cubicBezTo>
                      <a:cubicBezTo>
                        <a:pt x="2" y="130"/>
                        <a:pt x="1" y="130"/>
                        <a:pt x="1" y="129"/>
                      </a:cubicBezTo>
                      <a:cubicBezTo>
                        <a:pt x="0" y="129"/>
                        <a:pt x="0" y="128"/>
                        <a:pt x="0" y="127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0"/>
                        <a:pt x="0" y="69"/>
                        <a:pt x="1" y="69"/>
                      </a:cubicBezTo>
                      <a:cubicBezTo>
                        <a:pt x="10" y="64"/>
                        <a:pt x="10" y="64"/>
                        <a:pt x="10" y="64"/>
                      </a:cubicBezTo>
                      <a:cubicBezTo>
                        <a:pt x="10" y="63"/>
                        <a:pt x="11" y="63"/>
                        <a:pt x="12" y="64"/>
                      </a:cubicBezTo>
                      <a:cubicBezTo>
                        <a:pt x="16" y="66"/>
                        <a:pt x="16" y="66"/>
                        <a:pt x="16" y="66"/>
                      </a:cubicBezTo>
                      <a:cubicBezTo>
                        <a:pt x="130" y="0"/>
                        <a:pt x="130" y="0"/>
                        <a:pt x="130" y="0"/>
                      </a:cubicBezTo>
                      <a:cubicBezTo>
                        <a:pt x="131" y="0"/>
                        <a:pt x="132" y="0"/>
                        <a:pt x="132" y="0"/>
                      </a:cubicBezTo>
                      <a:cubicBezTo>
                        <a:pt x="133" y="1"/>
                        <a:pt x="133" y="1"/>
                        <a:pt x="133" y="2"/>
                      </a:cubicBezTo>
                      <a:cubicBezTo>
                        <a:pt x="133" y="146"/>
                        <a:pt x="133" y="146"/>
                        <a:pt x="133" y="146"/>
                      </a:cubicBezTo>
                      <a:cubicBezTo>
                        <a:pt x="133" y="146"/>
                        <a:pt x="133" y="147"/>
                        <a:pt x="132" y="147"/>
                      </a:cubicBezTo>
                      <a:cubicBezTo>
                        <a:pt x="126" y="151"/>
                        <a:pt x="126" y="151"/>
                        <a:pt x="126" y="151"/>
                      </a:cubicBezTo>
                      <a:cubicBezTo>
                        <a:pt x="126" y="151"/>
                        <a:pt x="126" y="151"/>
                        <a:pt x="125" y="151"/>
                      </a:cubicBezTo>
                      <a:close/>
                      <a:moveTo>
                        <a:pt x="45" y="101"/>
                      </a:moveTo>
                      <a:cubicBezTo>
                        <a:pt x="45" y="101"/>
                        <a:pt x="46" y="101"/>
                        <a:pt x="46" y="101"/>
                      </a:cubicBezTo>
                      <a:cubicBezTo>
                        <a:pt x="125" y="147"/>
                        <a:pt x="125" y="147"/>
                        <a:pt x="125" y="147"/>
                      </a:cubicBezTo>
                      <a:cubicBezTo>
                        <a:pt x="129" y="144"/>
                        <a:pt x="129" y="144"/>
                        <a:pt x="129" y="144"/>
                      </a:cubicBezTo>
                      <a:cubicBezTo>
                        <a:pt x="129" y="5"/>
                        <a:pt x="129" y="5"/>
                        <a:pt x="129" y="5"/>
                      </a:cubicBezTo>
                      <a:cubicBezTo>
                        <a:pt x="17" y="70"/>
                        <a:pt x="17" y="70"/>
                        <a:pt x="17" y="70"/>
                      </a:cubicBezTo>
                      <a:cubicBezTo>
                        <a:pt x="17" y="71"/>
                        <a:pt x="16" y="71"/>
                        <a:pt x="15" y="70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4" y="124"/>
                        <a:pt x="4" y="124"/>
                        <a:pt x="4" y="124"/>
                      </a:cubicBezTo>
                      <a:cubicBezTo>
                        <a:pt x="44" y="101"/>
                        <a:pt x="44" y="101"/>
                        <a:pt x="44" y="101"/>
                      </a:cubicBezTo>
                      <a:cubicBezTo>
                        <a:pt x="44" y="101"/>
                        <a:pt x="45" y="101"/>
                        <a:pt x="45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1" name="Freeform 954">
                  <a:extLst>
                    <a:ext uri="{FF2B5EF4-FFF2-40B4-BE49-F238E27FC236}">
                      <a16:creationId xmlns:a16="http://schemas.microsoft.com/office/drawing/2014/main" id="{A36ECC72-335C-4CAB-91DE-690BFB5D74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57" y="2641"/>
                  <a:ext cx="210" cy="137"/>
                </a:xfrm>
                <a:custGeom>
                  <a:avLst/>
                  <a:gdLst>
                    <a:gd name="T0" fmla="*/ 87 w 89"/>
                    <a:gd name="T1" fmla="*/ 58 h 58"/>
                    <a:gd name="T2" fmla="*/ 86 w 89"/>
                    <a:gd name="T3" fmla="*/ 57 h 58"/>
                    <a:gd name="T4" fmla="*/ 1 w 89"/>
                    <a:gd name="T5" fmla="*/ 8 h 58"/>
                    <a:gd name="T6" fmla="*/ 0 w 89"/>
                    <a:gd name="T7" fmla="*/ 7 h 58"/>
                    <a:gd name="T8" fmla="*/ 1 w 89"/>
                    <a:gd name="T9" fmla="*/ 5 h 58"/>
                    <a:gd name="T10" fmla="*/ 9 w 89"/>
                    <a:gd name="T11" fmla="*/ 0 h 58"/>
                    <a:gd name="T12" fmla="*/ 11 w 89"/>
                    <a:gd name="T13" fmla="*/ 0 h 58"/>
                    <a:gd name="T14" fmla="*/ 88 w 89"/>
                    <a:gd name="T15" fmla="*/ 45 h 58"/>
                    <a:gd name="T16" fmla="*/ 89 w 89"/>
                    <a:gd name="T17" fmla="*/ 47 h 58"/>
                    <a:gd name="T18" fmla="*/ 89 w 89"/>
                    <a:gd name="T19" fmla="*/ 56 h 58"/>
                    <a:gd name="T20" fmla="*/ 88 w 89"/>
                    <a:gd name="T21" fmla="*/ 57 h 58"/>
                    <a:gd name="T22" fmla="*/ 87 w 89"/>
                    <a:gd name="T23" fmla="*/ 58 h 58"/>
                    <a:gd name="T24" fmla="*/ 6 w 89"/>
                    <a:gd name="T25" fmla="*/ 7 h 58"/>
                    <a:gd name="T26" fmla="*/ 85 w 89"/>
                    <a:gd name="T27" fmla="*/ 52 h 58"/>
                    <a:gd name="T28" fmla="*/ 85 w 89"/>
                    <a:gd name="T29" fmla="*/ 48 h 58"/>
                    <a:gd name="T30" fmla="*/ 10 w 89"/>
                    <a:gd name="T31" fmla="*/ 4 h 58"/>
                    <a:gd name="T32" fmla="*/ 6 w 89"/>
                    <a:gd name="T33" fmla="*/ 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9" h="58">
                      <a:moveTo>
                        <a:pt x="87" y="58"/>
                      </a:moveTo>
                      <a:cubicBezTo>
                        <a:pt x="87" y="58"/>
                        <a:pt x="87" y="57"/>
                        <a:pt x="86" y="57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1" y="8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89" y="45"/>
                        <a:pt x="89" y="46"/>
                        <a:pt x="89" y="47"/>
                      </a:cubicBezTo>
                      <a:cubicBezTo>
                        <a:pt x="89" y="56"/>
                        <a:pt x="89" y="56"/>
                        <a:pt x="89" y="56"/>
                      </a:cubicBezTo>
                      <a:cubicBezTo>
                        <a:pt x="89" y="56"/>
                        <a:pt x="89" y="57"/>
                        <a:pt x="88" y="57"/>
                      </a:cubicBezTo>
                      <a:cubicBezTo>
                        <a:pt x="88" y="57"/>
                        <a:pt x="88" y="58"/>
                        <a:pt x="87" y="58"/>
                      </a:cubicBezTo>
                      <a:close/>
                      <a:moveTo>
                        <a:pt x="6" y="7"/>
                      </a:moveTo>
                      <a:cubicBezTo>
                        <a:pt x="85" y="52"/>
                        <a:pt x="85" y="52"/>
                        <a:pt x="85" y="52"/>
                      </a:cubicBezTo>
                      <a:cubicBezTo>
                        <a:pt x="85" y="48"/>
                        <a:pt x="85" y="48"/>
                        <a:pt x="85" y="48"/>
                      </a:cubicBezTo>
                      <a:cubicBezTo>
                        <a:pt x="10" y="4"/>
                        <a:pt x="10" y="4"/>
                        <a:pt x="10" y="4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2" name="Freeform 955">
                  <a:extLst>
                    <a:ext uri="{FF2B5EF4-FFF2-40B4-BE49-F238E27FC236}">
                      <a16:creationId xmlns:a16="http://schemas.microsoft.com/office/drawing/2014/main" id="{5A88F3AF-83C5-4CCD-A69C-07DAC252EE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95" y="1734"/>
                  <a:ext cx="373" cy="364"/>
                </a:xfrm>
                <a:custGeom>
                  <a:avLst/>
                  <a:gdLst>
                    <a:gd name="T0" fmla="*/ 121 w 158"/>
                    <a:gd name="T1" fmla="*/ 154 h 154"/>
                    <a:gd name="T2" fmla="*/ 120 w 158"/>
                    <a:gd name="T3" fmla="*/ 154 h 154"/>
                    <a:gd name="T4" fmla="*/ 119 w 158"/>
                    <a:gd name="T5" fmla="*/ 152 h 154"/>
                    <a:gd name="T6" fmla="*/ 119 w 158"/>
                    <a:gd name="T7" fmla="*/ 90 h 154"/>
                    <a:gd name="T8" fmla="*/ 1 w 158"/>
                    <a:gd name="T9" fmla="*/ 22 h 154"/>
                    <a:gd name="T10" fmla="*/ 0 w 158"/>
                    <a:gd name="T11" fmla="*/ 20 h 154"/>
                    <a:gd name="T12" fmla="*/ 1 w 158"/>
                    <a:gd name="T13" fmla="*/ 18 h 154"/>
                    <a:gd name="T14" fmla="*/ 32 w 158"/>
                    <a:gd name="T15" fmla="*/ 0 h 154"/>
                    <a:gd name="T16" fmla="*/ 34 w 158"/>
                    <a:gd name="T17" fmla="*/ 0 h 154"/>
                    <a:gd name="T18" fmla="*/ 157 w 158"/>
                    <a:gd name="T19" fmla="*/ 72 h 154"/>
                    <a:gd name="T20" fmla="*/ 158 w 158"/>
                    <a:gd name="T21" fmla="*/ 73 h 154"/>
                    <a:gd name="T22" fmla="*/ 157 w 158"/>
                    <a:gd name="T23" fmla="*/ 75 h 154"/>
                    <a:gd name="T24" fmla="*/ 149 w 158"/>
                    <a:gd name="T25" fmla="*/ 80 h 154"/>
                    <a:gd name="T26" fmla="*/ 149 w 158"/>
                    <a:gd name="T27" fmla="*/ 137 h 154"/>
                    <a:gd name="T28" fmla="*/ 148 w 158"/>
                    <a:gd name="T29" fmla="*/ 139 h 154"/>
                    <a:gd name="T30" fmla="*/ 122 w 158"/>
                    <a:gd name="T31" fmla="*/ 154 h 154"/>
                    <a:gd name="T32" fmla="*/ 121 w 158"/>
                    <a:gd name="T33" fmla="*/ 154 h 154"/>
                    <a:gd name="T34" fmla="*/ 6 w 158"/>
                    <a:gd name="T35" fmla="*/ 20 h 154"/>
                    <a:gd name="T36" fmla="*/ 122 w 158"/>
                    <a:gd name="T37" fmla="*/ 87 h 154"/>
                    <a:gd name="T38" fmla="*/ 123 w 158"/>
                    <a:gd name="T39" fmla="*/ 89 h 154"/>
                    <a:gd name="T40" fmla="*/ 123 w 158"/>
                    <a:gd name="T41" fmla="*/ 149 h 154"/>
                    <a:gd name="T42" fmla="*/ 145 w 158"/>
                    <a:gd name="T43" fmla="*/ 136 h 154"/>
                    <a:gd name="T44" fmla="*/ 145 w 158"/>
                    <a:gd name="T45" fmla="*/ 79 h 154"/>
                    <a:gd name="T46" fmla="*/ 146 w 158"/>
                    <a:gd name="T47" fmla="*/ 77 h 154"/>
                    <a:gd name="T48" fmla="*/ 152 w 158"/>
                    <a:gd name="T49" fmla="*/ 73 h 154"/>
                    <a:gd name="T50" fmla="*/ 33 w 158"/>
                    <a:gd name="T51" fmla="*/ 5 h 154"/>
                    <a:gd name="T52" fmla="*/ 6 w 158"/>
                    <a:gd name="T53" fmla="*/ 2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8" h="154">
                      <a:moveTo>
                        <a:pt x="121" y="154"/>
                      </a:moveTo>
                      <a:cubicBezTo>
                        <a:pt x="121" y="154"/>
                        <a:pt x="121" y="154"/>
                        <a:pt x="120" y="154"/>
                      </a:cubicBezTo>
                      <a:cubicBezTo>
                        <a:pt x="120" y="154"/>
                        <a:pt x="119" y="153"/>
                        <a:pt x="119" y="152"/>
                      </a:cubicBezTo>
                      <a:cubicBezTo>
                        <a:pt x="119" y="90"/>
                        <a:pt x="119" y="90"/>
                        <a:pt x="119" y="90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cubicBezTo>
                        <a:pt x="0" y="19"/>
                        <a:pt x="0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157" y="72"/>
                        <a:pt x="157" y="72"/>
                        <a:pt x="157" y="72"/>
                      </a:cubicBezTo>
                      <a:cubicBezTo>
                        <a:pt x="158" y="72"/>
                        <a:pt x="158" y="73"/>
                        <a:pt x="158" y="73"/>
                      </a:cubicBezTo>
                      <a:cubicBezTo>
                        <a:pt x="158" y="74"/>
                        <a:pt x="158" y="75"/>
                        <a:pt x="157" y="75"/>
                      </a:cubicBezTo>
                      <a:cubicBezTo>
                        <a:pt x="149" y="80"/>
                        <a:pt x="149" y="80"/>
                        <a:pt x="149" y="80"/>
                      </a:cubicBezTo>
                      <a:cubicBezTo>
                        <a:pt x="149" y="137"/>
                        <a:pt x="149" y="137"/>
                        <a:pt x="149" y="137"/>
                      </a:cubicBezTo>
                      <a:cubicBezTo>
                        <a:pt x="149" y="138"/>
                        <a:pt x="149" y="139"/>
                        <a:pt x="148" y="139"/>
                      </a:cubicBezTo>
                      <a:cubicBezTo>
                        <a:pt x="122" y="154"/>
                        <a:pt x="122" y="154"/>
                        <a:pt x="122" y="154"/>
                      </a:cubicBezTo>
                      <a:cubicBezTo>
                        <a:pt x="122" y="154"/>
                        <a:pt x="122" y="154"/>
                        <a:pt x="121" y="154"/>
                      </a:cubicBezTo>
                      <a:close/>
                      <a:moveTo>
                        <a:pt x="6" y="20"/>
                      </a:moveTo>
                      <a:cubicBezTo>
                        <a:pt x="122" y="87"/>
                        <a:pt x="122" y="87"/>
                        <a:pt x="122" y="87"/>
                      </a:cubicBezTo>
                      <a:cubicBezTo>
                        <a:pt x="123" y="87"/>
                        <a:pt x="123" y="88"/>
                        <a:pt x="123" y="89"/>
                      </a:cubicBezTo>
                      <a:cubicBezTo>
                        <a:pt x="123" y="149"/>
                        <a:pt x="123" y="149"/>
                        <a:pt x="123" y="149"/>
                      </a:cubicBezTo>
                      <a:cubicBezTo>
                        <a:pt x="145" y="136"/>
                        <a:pt x="145" y="136"/>
                        <a:pt x="145" y="136"/>
                      </a:cubicBezTo>
                      <a:cubicBezTo>
                        <a:pt x="145" y="79"/>
                        <a:pt x="145" y="79"/>
                        <a:pt x="145" y="79"/>
                      </a:cubicBezTo>
                      <a:cubicBezTo>
                        <a:pt x="145" y="78"/>
                        <a:pt x="145" y="77"/>
                        <a:pt x="146" y="77"/>
                      </a:cubicBezTo>
                      <a:cubicBezTo>
                        <a:pt x="152" y="73"/>
                        <a:pt x="152" y="73"/>
                        <a:pt x="152" y="73"/>
                      </a:cubicBezTo>
                      <a:cubicBezTo>
                        <a:pt x="33" y="5"/>
                        <a:pt x="33" y="5"/>
                        <a:pt x="33" y="5"/>
                      </a:cubicBezTo>
                      <a:lnTo>
                        <a:pt x="6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3" name="Freeform 956">
                  <a:extLst>
                    <a:ext uri="{FF2B5EF4-FFF2-40B4-BE49-F238E27FC236}">
                      <a16:creationId xmlns:a16="http://schemas.microsoft.com/office/drawing/2014/main" id="{A1EE6723-BF15-4463-ADC0-2582C27499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64" y="1609"/>
                  <a:ext cx="217" cy="130"/>
                </a:xfrm>
                <a:custGeom>
                  <a:avLst/>
                  <a:gdLst>
                    <a:gd name="T0" fmla="*/ 4 w 92"/>
                    <a:gd name="T1" fmla="*/ 55 h 55"/>
                    <a:gd name="T2" fmla="*/ 3 w 92"/>
                    <a:gd name="T3" fmla="*/ 55 h 55"/>
                    <a:gd name="T4" fmla="*/ 1 w 92"/>
                    <a:gd name="T5" fmla="*/ 54 h 55"/>
                    <a:gd name="T6" fmla="*/ 0 w 92"/>
                    <a:gd name="T7" fmla="*/ 52 h 55"/>
                    <a:gd name="T8" fmla="*/ 1 w 92"/>
                    <a:gd name="T9" fmla="*/ 51 h 55"/>
                    <a:gd name="T10" fmla="*/ 89 w 92"/>
                    <a:gd name="T11" fmla="*/ 0 h 55"/>
                    <a:gd name="T12" fmla="*/ 91 w 92"/>
                    <a:gd name="T13" fmla="*/ 0 h 55"/>
                    <a:gd name="T14" fmla="*/ 92 w 92"/>
                    <a:gd name="T15" fmla="*/ 2 h 55"/>
                    <a:gd name="T16" fmla="*/ 92 w 92"/>
                    <a:gd name="T17" fmla="*/ 3 h 55"/>
                    <a:gd name="T18" fmla="*/ 91 w 92"/>
                    <a:gd name="T19" fmla="*/ 5 h 55"/>
                    <a:gd name="T20" fmla="*/ 5 w 92"/>
                    <a:gd name="T21" fmla="*/ 55 h 55"/>
                    <a:gd name="T22" fmla="*/ 4 w 92"/>
                    <a:gd name="T23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2" h="55">
                      <a:moveTo>
                        <a:pt x="4" y="55"/>
                      </a:moveTo>
                      <a:cubicBezTo>
                        <a:pt x="3" y="55"/>
                        <a:pt x="3" y="55"/>
                        <a:pt x="3" y="55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4"/>
                        <a:pt x="0" y="53"/>
                        <a:pt x="0" y="52"/>
                      </a:cubicBezTo>
                      <a:cubicBezTo>
                        <a:pt x="0" y="52"/>
                        <a:pt x="1" y="51"/>
                        <a:pt x="1" y="51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90" y="0"/>
                        <a:pt x="90" y="0"/>
                        <a:pt x="91" y="0"/>
                      </a:cubicBezTo>
                      <a:cubicBezTo>
                        <a:pt x="92" y="0"/>
                        <a:pt x="92" y="1"/>
                        <a:pt x="92" y="2"/>
                      </a:cubicBezTo>
                      <a:cubicBezTo>
                        <a:pt x="92" y="3"/>
                        <a:pt x="92" y="3"/>
                        <a:pt x="92" y="3"/>
                      </a:cubicBezTo>
                      <a:cubicBezTo>
                        <a:pt x="92" y="4"/>
                        <a:pt x="92" y="5"/>
                        <a:pt x="91" y="5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4" y="55"/>
                        <a:pt x="4" y="55"/>
                        <a:pt x="4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4" name="Freeform 957">
                  <a:extLst>
                    <a:ext uri="{FF2B5EF4-FFF2-40B4-BE49-F238E27FC236}">
                      <a16:creationId xmlns:a16="http://schemas.microsoft.com/office/drawing/2014/main" id="{DD5E1567-4880-4FF3-AAD7-C403BD91C1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76" y="2256"/>
                  <a:ext cx="19" cy="19"/>
                </a:xfrm>
                <a:custGeom>
                  <a:avLst/>
                  <a:gdLst>
                    <a:gd name="T0" fmla="*/ 2 w 8"/>
                    <a:gd name="T1" fmla="*/ 8 h 8"/>
                    <a:gd name="T2" fmla="*/ 1 w 8"/>
                    <a:gd name="T3" fmla="*/ 7 h 8"/>
                    <a:gd name="T4" fmla="*/ 0 w 8"/>
                    <a:gd name="T5" fmla="*/ 6 h 8"/>
                    <a:gd name="T6" fmla="*/ 0 w 8"/>
                    <a:gd name="T7" fmla="*/ 2 h 8"/>
                    <a:gd name="T8" fmla="*/ 1 w 8"/>
                    <a:gd name="T9" fmla="*/ 0 h 8"/>
                    <a:gd name="T10" fmla="*/ 3 w 8"/>
                    <a:gd name="T11" fmla="*/ 0 h 8"/>
                    <a:gd name="T12" fmla="*/ 7 w 8"/>
                    <a:gd name="T13" fmla="*/ 2 h 8"/>
                    <a:gd name="T14" fmla="*/ 8 w 8"/>
                    <a:gd name="T15" fmla="*/ 4 h 8"/>
                    <a:gd name="T16" fmla="*/ 7 w 8"/>
                    <a:gd name="T17" fmla="*/ 6 h 8"/>
                    <a:gd name="T18" fmla="*/ 3 w 8"/>
                    <a:gd name="T19" fmla="*/ 7 h 8"/>
                    <a:gd name="T20" fmla="*/ 2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2" y="8"/>
                      </a:moveTo>
                      <a:cubicBezTo>
                        <a:pt x="2" y="8"/>
                        <a:pt x="2" y="8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7" y="3"/>
                        <a:pt x="8" y="3"/>
                        <a:pt x="8" y="4"/>
                      </a:cubicBezTo>
                      <a:cubicBezTo>
                        <a:pt x="8" y="5"/>
                        <a:pt x="7" y="5"/>
                        <a:pt x="7" y="6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8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5" name="Freeform 958">
                  <a:extLst>
                    <a:ext uri="{FF2B5EF4-FFF2-40B4-BE49-F238E27FC236}">
                      <a16:creationId xmlns:a16="http://schemas.microsoft.com/office/drawing/2014/main" id="{C9CABB69-E06C-4C63-A80E-A8251B9946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2058"/>
                  <a:ext cx="477" cy="295"/>
                </a:xfrm>
                <a:custGeom>
                  <a:avLst/>
                  <a:gdLst>
                    <a:gd name="T0" fmla="*/ 73 w 202"/>
                    <a:gd name="T1" fmla="*/ 125 h 125"/>
                    <a:gd name="T2" fmla="*/ 72 w 202"/>
                    <a:gd name="T3" fmla="*/ 125 h 125"/>
                    <a:gd name="T4" fmla="*/ 1 w 202"/>
                    <a:gd name="T5" fmla="*/ 84 h 125"/>
                    <a:gd name="T6" fmla="*/ 0 w 202"/>
                    <a:gd name="T7" fmla="*/ 83 h 125"/>
                    <a:gd name="T8" fmla="*/ 0 w 202"/>
                    <a:gd name="T9" fmla="*/ 17 h 125"/>
                    <a:gd name="T10" fmla="*/ 1 w 202"/>
                    <a:gd name="T11" fmla="*/ 15 h 125"/>
                    <a:gd name="T12" fmla="*/ 27 w 202"/>
                    <a:gd name="T13" fmla="*/ 1 h 125"/>
                    <a:gd name="T14" fmla="*/ 29 w 202"/>
                    <a:gd name="T15" fmla="*/ 1 h 125"/>
                    <a:gd name="T16" fmla="*/ 30 w 202"/>
                    <a:gd name="T17" fmla="*/ 2 h 125"/>
                    <a:gd name="T18" fmla="*/ 30 w 202"/>
                    <a:gd name="T19" fmla="*/ 92 h 125"/>
                    <a:gd name="T20" fmla="*/ 152 w 202"/>
                    <a:gd name="T21" fmla="*/ 21 h 125"/>
                    <a:gd name="T22" fmla="*/ 154 w 202"/>
                    <a:gd name="T23" fmla="*/ 21 h 125"/>
                    <a:gd name="T24" fmla="*/ 201 w 202"/>
                    <a:gd name="T25" fmla="*/ 48 h 125"/>
                    <a:gd name="T26" fmla="*/ 202 w 202"/>
                    <a:gd name="T27" fmla="*/ 50 h 125"/>
                    <a:gd name="T28" fmla="*/ 201 w 202"/>
                    <a:gd name="T29" fmla="*/ 52 h 125"/>
                    <a:gd name="T30" fmla="*/ 74 w 202"/>
                    <a:gd name="T31" fmla="*/ 125 h 125"/>
                    <a:gd name="T32" fmla="*/ 73 w 202"/>
                    <a:gd name="T33" fmla="*/ 125 h 125"/>
                    <a:gd name="T34" fmla="*/ 30 w 202"/>
                    <a:gd name="T35" fmla="*/ 96 h 125"/>
                    <a:gd name="T36" fmla="*/ 73 w 202"/>
                    <a:gd name="T37" fmla="*/ 121 h 125"/>
                    <a:gd name="T38" fmla="*/ 196 w 202"/>
                    <a:gd name="T39" fmla="*/ 50 h 125"/>
                    <a:gd name="T40" fmla="*/ 153 w 202"/>
                    <a:gd name="T41" fmla="*/ 25 h 125"/>
                    <a:gd name="T42" fmla="*/ 30 w 202"/>
                    <a:gd name="T43" fmla="*/ 96 h 125"/>
                    <a:gd name="T44" fmla="*/ 4 w 202"/>
                    <a:gd name="T45" fmla="*/ 82 h 125"/>
                    <a:gd name="T46" fmla="*/ 26 w 202"/>
                    <a:gd name="T47" fmla="*/ 94 h 125"/>
                    <a:gd name="T48" fmla="*/ 26 w 202"/>
                    <a:gd name="T49" fmla="*/ 6 h 125"/>
                    <a:gd name="T50" fmla="*/ 4 w 202"/>
                    <a:gd name="T51" fmla="*/ 18 h 125"/>
                    <a:gd name="T52" fmla="*/ 4 w 202"/>
                    <a:gd name="T53" fmla="*/ 82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2" h="125">
                      <a:moveTo>
                        <a:pt x="73" y="125"/>
                      </a:moveTo>
                      <a:cubicBezTo>
                        <a:pt x="73" y="125"/>
                        <a:pt x="72" y="125"/>
                        <a:pt x="72" y="125"/>
                      </a:cubicBezTo>
                      <a:cubicBezTo>
                        <a:pt x="1" y="84"/>
                        <a:pt x="1" y="84"/>
                        <a:pt x="1" y="84"/>
                      </a:cubicBezTo>
                      <a:cubicBezTo>
                        <a:pt x="1" y="84"/>
                        <a:pt x="0" y="83"/>
                        <a:pt x="0" y="8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1" y="16"/>
                        <a:pt x="1" y="15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8" y="0"/>
                        <a:pt x="28" y="0"/>
                        <a:pt x="29" y="1"/>
                      </a:cubicBezTo>
                      <a:cubicBezTo>
                        <a:pt x="30" y="1"/>
                        <a:pt x="30" y="2"/>
                        <a:pt x="30" y="2"/>
                      </a:cubicBezTo>
                      <a:cubicBezTo>
                        <a:pt x="30" y="92"/>
                        <a:pt x="30" y="92"/>
                        <a:pt x="30" y="92"/>
                      </a:cubicBezTo>
                      <a:cubicBezTo>
                        <a:pt x="152" y="21"/>
                        <a:pt x="152" y="21"/>
                        <a:pt x="152" y="21"/>
                      </a:cubicBezTo>
                      <a:cubicBezTo>
                        <a:pt x="153" y="21"/>
                        <a:pt x="154" y="21"/>
                        <a:pt x="154" y="21"/>
                      </a:cubicBezTo>
                      <a:cubicBezTo>
                        <a:pt x="201" y="48"/>
                        <a:pt x="201" y="48"/>
                        <a:pt x="201" y="48"/>
                      </a:cubicBezTo>
                      <a:cubicBezTo>
                        <a:pt x="202" y="48"/>
                        <a:pt x="202" y="49"/>
                        <a:pt x="202" y="50"/>
                      </a:cubicBezTo>
                      <a:cubicBezTo>
                        <a:pt x="202" y="51"/>
                        <a:pt x="202" y="51"/>
                        <a:pt x="201" y="52"/>
                      </a:cubicBezTo>
                      <a:cubicBezTo>
                        <a:pt x="74" y="125"/>
                        <a:pt x="74" y="125"/>
                        <a:pt x="74" y="125"/>
                      </a:cubicBezTo>
                      <a:cubicBezTo>
                        <a:pt x="74" y="125"/>
                        <a:pt x="73" y="125"/>
                        <a:pt x="73" y="125"/>
                      </a:cubicBezTo>
                      <a:close/>
                      <a:moveTo>
                        <a:pt x="30" y="96"/>
                      </a:moveTo>
                      <a:cubicBezTo>
                        <a:pt x="73" y="121"/>
                        <a:pt x="73" y="121"/>
                        <a:pt x="73" y="121"/>
                      </a:cubicBezTo>
                      <a:cubicBezTo>
                        <a:pt x="196" y="50"/>
                        <a:pt x="196" y="50"/>
                        <a:pt x="196" y="50"/>
                      </a:cubicBezTo>
                      <a:cubicBezTo>
                        <a:pt x="153" y="25"/>
                        <a:pt x="153" y="25"/>
                        <a:pt x="153" y="25"/>
                      </a:cubicBezTo>
                      <a:lnTo>
                        <a:pt x="30" y="96"/>
                      </a:lnTo>
                      <a:close/>
                      <a:moveTo>
                        <a:pt x="4" y="82"/>
                      </a:moveTo>
                      <a:cubicBezTo>
                        <a:pt x="26" y="94"/>
                        <a:pt x="26" y="94"/>
                        <a:pt x="26" y="94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6" name="Freeform 959">
                  <a:extLst>
                    <a:ext uri="{FF2B5EF4-FFF2-40B4-BE49-F238E27FC236}">
                      <a16:creationId xmlns:a16="http://schemas.microsoft.com/office/drawing/2014/main" id="{B3CAA9EF-2D6F-498B-BC66-49183938E4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1025"/>
                  <a:ext cx="31" cy="33"/>
                </a:xfrm>
                <a:custGeom>
                  <a:avLst/>
                  <a:gdLst>
                    <a:gd name="T0" fmla="*/ 2 w 13"/>
                    <a:gd name="T1" fmla="*/ 14 h 14"/>
                    <a:gd name="T2" fmla="*/ 1 w 13"/>
                    <a:gd name="T3" fmla="*/ 13 h 14"/>
                    <a:gd name="T4" fmla="*/ 0 w 13"/>
                    <a:gd name="T5" fmla="*/ 12 h 14"/>
                    <a:gd name="T6" fmla="*/ 0 w 13"/>
                    <a:gd name="T7" fmla="*/ 2 h 14"/>
                    <a:gd name="T8" fmla="*/ 1 w 13"/>
                    <a:gd name="T9" fmla="*/ 0 h 14"/>
                    <a:gd name="T10" fmla="*/ 3 w 13"/>
                    <a:gd name="T11" fmla="*/ 0 h 14"/>
                    <a:gd name="T12" fmla="*/ 12 w 13"/>
                    <a:gd name="T13" fmla="*/ 5 h 14"/>
                    <a:gd name="T14" fmla="*/ 13 w 13"/>
                    <a:gd name="T15" fmla="*/ 7 h 14"/>
                    <a:gd name="T16" fmla="*/ 12 w 13"/>
                    <a:gd name="T17" fmla="*/ 8 h 14"/>
                    <a:gd name="T18" fmla="*/ 3 w 13"/>
                    <a:gd name="T19" fmla="*/ 13 h 14"/>
                    <a:gd name="T20" fmla="*/ 2 w 13"/>
                    <a:gd name="T21" fmla="*/ 14 h 14"/>
                    <a:gd name="T22" fmla="*/ 4 w 13"/>
                    <a:gd name="T23" fmla="*/ 5 h 14"/>
                    <a:gd name="T24" fmla="*/ 4 w 13"/>
                    <a:gd name="T25" fmla="*/ 8 h 14"/>
                    <a:gd name="T26" fmla="*/ 7 w 13"/>
                    <a:gd name="T27" fmla="*/ 7 h 14"/>
                    <a:gd name="T28" fmla="*/ 4 w 13"/>
                    <a:gd name="T29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4">
                      <a:moveTo>
                        <a:pt x="2" y="14"/>
                      </a:moveTo>
                      <a:cubicBezTo>
                        <a:pt x="2" y="14"/>
                        <a:pt x="2" y="13"/>
                        <a:pt x="1" y="13"/>
                      </a:cubicBezTo>
                      <a:cubicBezTo>
                        <a:pt x="1" y="13"/>
                        <a:pt x="0" y="12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3" y="6"/>
                        <a:pt x="13" y="7"/>
                      </a:cubicBezTo>
                      <a:cubicBezTo>
                        <a:pt x="13" y="7"/>
                        <a:pt x="12" y="8"/>
                        <a:pt x="12" y="8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3"/>
                        <a:pt x="3" y="14"/>
                        <a:pt x="2" y="14"/>
                      </a:cubicBezTo>
                      <a:close/>
                      <a:moveTo>
                        <a:pt x="4" y="5"/>
                      </a:move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7" y="7"/>
                        <a:pt x="7" y="7"/>
                        <a:pt x="7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7" name="Freeform 960">
                  <a:extLst>
                    <a:ext uri="{FF2B5EF4-FFF2-40B4-BE49-F238E27FC236}">
                      <a16:creationId xmlns:a16="http://schemas.microsoft.com/office/drawing/2014/main" id="{9FABA738-24A6-43D9-BC95-F1E67A5CB6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88" y="1285"/>
                  <a:ext cx="293" cy="499"/>
                </a:xfrm>
                <a:custGeom>
                  <a:avLst/>
                  <a:gdLst>
                    <a:gd name="T0" fmla="*/ 3 w 124"/>
                    <a:gd name="T1" fmla="*/ 211 h 211"/>
                    <a:gd name="T2" fmla="*/ 2 w 124"/>
                    <a:gd name="T3" fmla="*/ 211 h 211"/>
                    <a:gd name="T4" fmla="*/ 1 w 124"/>
                    <a:gd name="T5" fmla="*/ 210 h 211"/>
                    <a:gd name="T6" fmla="*/ 0 w 124"/>
                    <a:gd name="T7" fmla="*/ 208 h 211"/>
                    <a:gd name="T8" fmla="*/ 0 w 124"/>
                    <a:gd name="T9" fmla="*/ 71 h 211"/>
                    <a:gd name="T10" fmla="*/ 1 w 124"/>
                    <a:gd name="T11" fmla="*/ 70 h 211"/>
                    <a:gd name="T12" fmla="*/ 121 w 124"/>
                    <a:gd name="T13" fmla="*/ 1 h 211"/>
                    <a:gd name="T14" fmla="*/ 123 w 124"/>
                    <a:gd name="T15" fmla="*/ 1 h 211"/>
                    <a:gd name="T16" fmla="*/ 124 w 124"/>
                    <a:gd name="T17" fmla="*/ 2 h 211"/>
                    <a:gd name="T18" fmla="*/ 124 w 124"/>
                    <a:gd name="T19" fmla="*/ 137 h 211"/>
                    <a:gd name="T20" fmla="*/ 123 w 124"/>
                    <a:gd name="T21" fmla="*/ 139 h 211"/>
                    <a:gd name="T22" fmla="*/ 35 w 124"/>
                    <a:gd name="T23" fmla="*/ 189 h 211"/>
                    <a:gd name="T24" fmla="*/ 35 w 124"/>
                    <a:gd name="T25" fmla="*/ 190 h 211"/>
                    <a:gd name="T26" fmla="*/ 36 w 124"/>
                    <a:gd name="T27" fmla="*/ 191 h 211"/>
                    <a:gd name="T28" fmla="*/ 35 w 124"/>
                    <a:gd name="T29" fmla="*/ 193 h 211"/>
                    <a:gd name="T30" fmla="*/ 4 w 124"/>
                    <a:gd name="T31" fmla="*/ 211 h 211"/>
                    <a:gd name="T32" fmla="*/ 3 w 124"/>
                    <a:gd name="T33" fmla="*/ 211 h 211"/>
                    <a:gd name="T34" fmla="*/ 4 w 124"/>
                    <a:gd name="T35" fmla="*/ 73 h 211"/>
                    <a:gd name="T36" fmla="*/ 4 w 124"/>
                    <a:gd name="T37" fmla="*/ 206 h 211"/>
                    <a:gd name="T38" fmla="*/ 30 w 124"/>
                    <a:gd name="T39" fmla="*/ 191 h 211"/>
                    <a:gd name="T40" fmla="*/ 30 w 124"/>
                    <a:gd name="T41" fmla="*/ 191 h 211"/>
                    <a:gd name="T42" fmla="*/ 29 w 124"/>
                    <a:gd name="T43" fmla="*/ 189 h 211"/>
                    <a:gd name="T44" fmla="*/ 30 w 124"/>
                    <a:gd name="T45" fmla="*/ 188 h 211"/>
                    <a:gd name="T46" fmla="*/ 120 w 124"/>
                    <a:gd name="T47" fmla="*/ 136 h 211"/>
                    <a:gd name="T48" fmla="*/ 120 w 124"/>
                    <a:gd name="T49" fmla="*/ 6 h 211"/>
                    <a:gd name="T50" fmla="*/ 4 w 124"/>
                    <a:gd name="T51" fmla="*/ 73 h 211"/>
                    <a:gd name="T52" fmla="*/ 122 w 124"/>
                    <a:gd name="T53" fmla="*/ 137 h 211"/>
                    <a:gd name="T54" fmla="*/ 122 w 124"/>
                    <a:gd name="T55" fmla="*/ 137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24" h="211">
                      <a:moveTo>
                        <a:pt x="3" y="211"/>
                      </a:moveTo>
                      <a:cubicBezTo>
                        <a:pt x="3" y="211"/>
                        <a:pt x="3" y="211"/>
                        <a:pt x="2" y="211"/>
                      </a:cubicBezTo>
                      <a:cubicBezTo>
                        <a:pt x="1" y="210"/>
                        <a:pt x="1" y="210"/>
                        <a:pt x="1" y="210"/>
                      </a:cubicBezTo>
                      <a:cubicBezTo>
                        <a:pt x="1" y="210"/>
                        <a:pt x="0" y="209"/>
                        <a:pt x="0" y="208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1"/>
                        <a:pt x="1" y="70"/>
                        <a:pt x="1" y="70"/>
                      </a:cubicBezTo>
                      <a:cubicBezTo>
                        <a:pt x="121" y="1"/>
                        <a:pt x="121" y="1"/>
                        <a:pt x="121" y="1"/>
                      </a:cubicBezTo>
                      <a:cubicBezTo>
                        <a:pt x="122" y="0"/>
                        <a:pt x="122" y="0"/>
                        <a:pt x="123" y="1"/>
                      </a:cubicBezTo>
                      <a:cubicBezTo>
                        <a:pt x="124" y="1"/>
                        <a:pt x="124" y="2"/>
                        <a:pt x="124" y="2"/>
                      </a:cubicBezTo>
                      <a:cubicBezTo>
                        <a:pt x="124" y="137"/>
                        <a:pt x="124" y="137"/>
                        <a:pt x="124" y="137"/>
                      </a:cubicBezTo>
                      <a:cubicBezTo>
                        <a:pt x="124" y="138"/>
                        <a:pt x="124" y="138"/>
                        <a:pt x="123" y="139"/>
                      </a:cubicBezTo>
                      <a:cubicBezTo>
                        <a:pt x="35" y="189"/>
                        <a:pt x="35" y="189"/>
                        <a:pt x="35" y="189"/>
                      </a:cubicBezTo>
                      <a:cubicBezTo>
                        <a:pt x="35" y="190"/>
                        <a:pt x="35" y="190"/>
                        <a:pt x="35" y="190"/>
                      </a:cubicBezTo>
                      <a:cubicBezTo>
                        <a:pt x="36" y="190"/>
                        <a:pt x="36" y="191"/>
                        <a:pt x="36" y="191"/>
                      </a:cubicBezTo>
                      <a:cubicBezTo>
                        <a:pt x="36" y="192"/>
                        <a:pt x="36" y="193"/>
                        <a:pt x="35" y="193"/>
                      </a:cubicBezTo>
                      <a:cubicBezTo>
                        <a:pt x="4" y="211"/>
                        <a:pt x="4" y="211"/>
                        <a:pt x="4" y="211"/>
                      </a:cubicBezTo>
                      <a:cubicBezTo>
                        <a:pt x="4" y="211"/>
                        <a:pt x="4" y="211"/>
                        <a:pt x="3" y="211"/>
                      </a:cubicBezTo>
                      <a:close/>
                      <a:moveTo>
                        <a:pt x="4" y="73"/>
                      </a:moveTo>
                      <a:cubicBezTo>
                        <a:pt x="4" y="206"/>
                        <a:pt x="4" y="206"/>
                        <a:pt x="4" y="206"/>
                      </a:cubicBezTo>
                      <a:cubicBezTo>
                        <a:pt x="30" y="191"/>
                        <a:pt x="30" y="191"/>
                        <a:pt x="30" y="191"/>
                      </a:cubicBezTo>
                      <a:cubicBezTo>
                        <a:pt x="30" y="191"/>
                        <a:pt x="30" y="191"/>
                        <a:pt x="30" y="191"/>
                      </a:cubicBezTo>
                      <a:cubicBezTo>
                        <a:pt x="29" y="191"/>
                        <a:pt x="29" y="190"/>
                        <a:pt x="29" y="189"/>
                      </a:cubicBezTo>
                      <a:cubicBezTo>
                        <a:pt x="29" y="189"/>
                        <a:pt x="29" y="188"/>
                        <a:pt x="30" y="188"/>
                      </a:cubicBezTo>
                      <a:cubicBezTo>
                        <a:pt x="120" y="136"/>
                        <a:pt x="120" y="136"/>
                        <a:pt x="120" y="136"/>
                      </a:cubicBezTo>
                      <a:cubicBezTo>
                        <a:pt x="120" y="6"/>
                        <a:pt x="120" y="6"/>
                        <a:pt x="120" y="6"/>
                      </a:cubicBezTo>
                      <a:lnTo>
                        <a:pt x="4" y="73"/>
                      </a:lnTo>
                      <a:close/>
                      <a:moveTo>
                        <a:pt x="122" y="137"/>
                      </a:moveTo>
                      <a:cubicBezTo>
                        <a:pt x="122" y="137"/>
                        <a:pt x="122" y="137"/>
                        <a:pt x="122" y="1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8" name="Freeform 961">
                  <a:extLst>
                    <a:ext uri="{FF2B5EF4-FFF2-40B4-BE49-F238E27FC236}">
                      <a16:creationId xmlns:a16="http://schemas.microsoft.com/office/drawing/2014/main" id="{0035CA4D-7D0D-44DF-B285-7ACBAD15E5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1169"/>
                  <a:ext cx="28" cy="33"/>
                </a:xfrm>
                <a:custGeom>
                  <a:avLst/>
                  <a:gdLst>
                    <a:gd name="T0" fmla="*/ 2 w 12"/>
                    <a:gd name="T1" fmla="*/ 14 h 14"/>
                    <a:gd name="T2" fmla="*/ 1 w 12"/>
                    <a:gd name="T3" fmla="*/ 14 h 14"/>
                    <a:gd name="T4" fmla="*/ 0 w 12"/>
                    <a:gd name="T5" fmla="*/ 12 h 14"/>
                    <a:gd name="T6" fmla="*/ 0 w 12"/>
                    <a:gd name="T7" fmla="*/ 2 h 14"/>
                    <a:gd name="T8" fmla="*/ 1 w 12"/>
                    <a:gd name="T9" fmla="*/ 0 h 14"/>
                    <a:gd name="T10" fmla="*/ 3 w 12"/>
                    <a:gd name="T11" fmla="*/ 0 h 14"/>
                    <a:gd name="T12" fmla="*/ 11 w 12"/>
                    <a:gd name="T13" fmla="*/ 5 h 14"/>
                    <a:gd name="T14" fmla="*/ 12 w 12"/>
                    <a:gd name="T15" fmla="*/ 7 h 14"/>
                    <a:gd name="T16" fmla="*/ 11 w 12"/>
                    <a:gd name="T17" fmla="*/ 9 h 14"/>
                    <a:gd name="T18" fmla="*/ 3 w 12"/>
                    <a:gd name="T19" fmla="*/ 14 h 14"/>
                    <a:gd name="T20" fmla="*/ 2 w 12"/>
                    <a:gd name="T21" fmla="*/ 14 h 14"/>
                    <a:gd name="T22" fmla="*/ 4 w 12"/>
                    <a:gd name="T23" fmla="*/ 6 h 14"/>
                    <a:gd name="T24" fmla="*/ 4 w 12"/>
                    <a:gd name="T25" fmla="*/ 9 h 14"/>
                    <a:gd name="T26" fmla="*/ 6 w 12"/>
                    <a:gd name="T27" fmla="*/ 7 h 14"/>
                    <a:gd name="T28" fmla="*/ 4 w 12"/>
                    <a:gd name="T29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4">
                      <a:moveTo>
                        <a:pt x="2" y="14"/>
                      </a:move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0" y="13"/>
                        <a:pt x="0" y="13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6"/>
                        <a:pt x="12" y="6"/>
                        <a:pt x="12" y="7"/>
                      </a:cubicBezTo>
                      <a:cubicBezTo>
                        <a:pt x="12" y="8"/>
                        <a:pt x="12" y="8"/>
                        <a:pt x="11" y="9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2" y="14"/>
                        <a:pt x="2" y="14"/>
                        <a:pt x="2" y="14"/>
                      </a:cubicBezTo>
                      <a:close/>
                      <a:moveTo>
                        <a:pt x="4" y="6"/>
                      </a:move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9" name="Freeform 962">
                  <a:extLst>
                    <a:ext uri="{FF2B5EF4-FFF2-40B4-BE49-F238E27FC236}">
                      <a16:creationId xmlns:a16="http://schemas.microsoft.com/office/drawing/2014/main" id="{FD33640F-3C64-49BE-BDBA-ABCD56B7FD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706"/>
                  <a:ext cx="317" cy="383"/>
                </a:xfrm>
                <a:custGeom>
                  <a:avLst/>
                  <a:gdLst>
                    <a:gd name="T0" fmla="*/ 64 w 134"/>
                    <a:gd name="T1" fmla="*/ 162 h 162"/>
                    <a:gd name="T2" fmla="*/ 63 w 134"/>
                    <a:gd name="T3" fmla="*/ 162 h 162"/>
                    <a:gd name="T4" fmla="*/ 1 w 134"/>
                    <a:gd name="T5" fmla="*/ 126 h 162"/>
                    <a:gd name="T6" fmla="*/ 0 w 134"/>
                    <a:gd name="T7" fmla="*/ 125 h 162"/>
                    <a:gd name="T8" fmla="*/ 0 w 134"/>
                    <a:gd name="T9" fmla="*/ 30 h 162"/>
                    <a:gd name="T10" fmla="*/ 1 w 134"/>
                    <a:gd name="T11" fmla="*/ 29 h 162"/>
                    <a:gd name="T12" fmla="*/ 49 w 134"/>
                    <a:gd name="T13" fmla="*/ 1 h 162"/>
                    <a:gd name="T14" fmla="*/ 51 w 134"/>
                    <a:gd name="T15" fmla="*/ 1 h 162"/>
                    <a:gd name="T16" fmla="*/ 133 w 134"/>
                    <a:gd name="T17" fmla="*/ 48 h 162"/>
                    <a:gd name="T18" fmla="*/ 134 w 134"/>
                    <a:gd name="T19" fmla="*/ 49 h 162"/>
                    <a:gd name="T20" fmla="*/ 134 w 134"/>
                    <a:gd name="T21" fmla="*/ 51 h 162"/>
                    <a:gd name="T22" fmla="*/ 133 w 134"/>
                    <a:gd name="T23" fmla="*/ 52 h 162"/>
                    <a:gd name="T24" fmla="*/ 120 w 134"/>
                    <a:gd name="T25" fmla="*/ 60 h 162"/>
                    <a:gd name="T26" fmla="*/ 120 w 134"/>
                    <a:gd name="T27" fmla="*/ 129 h 162"/>
                    <a:gd name="T28" fmla="*/ 119 w 134"/>
                    <a:gd name="T29" fmla="*/ 131 h 162"/>
                    <a:gd name="T30" fmla="*/ 65 w 134"/>
                    <a:gd name="T31" fmla="*/ 162 h 162"/>
                    <a:gd name="T32" fmla="*/ 64 w 134"/>
                    <a:gd name="T33" fmla="*/ 162 h 162"/>
                    <a:gd name="T34" fmla="*/ 4 w 134"/>
                    <a:gd name="T35" fmla="*/ 124 h 162"/>
                    <a:gd name="T36" fmla="*/ 64 w 134"/>
                    <a:gd name="T37" fmla="*/ 158 h 162"/>
                    <a:gd name="T38" fmla="*/ 116 w 134"/>
                    <a:gd name="T39" fmla="*/ 128 h 162"/>
                    <a:gd name="T40" fmla="*/ 116 w 134"/>
                    <a:gd name="T41" fmla="*/ 58 h 162"/>
                    <a:gd name="T42" fmla="*/ 117 w 134"/>
                    <a:gd name="T43" fmla="*/ 57 h 162"/>
                    <a:gd name="T44" fmla="*/ 129 w 134"/>
                    <a:gd name="T45" fmla="*/ 50 h 162"/>
                    <a:gd name="T46" fmla="*/ 50 w 134"/>
                    <a:gd name="T47" fmla="*/ 5 h 162"/>
                    <a:gd name="T48" fmla="*/ 4 w 134"/>
                    <a:gd name="T49" fmla="*/ 31 h 162"/>
                    <a:gd name="T50" fmla="*/ 4 w 134"/>
                    <a:gd name="T51" fmla="*/ 124 h 162"/>
                    <a:gd name="T52" fmla="*/ 132 w 134"/>
                    <a:gd name="T53" fmla="*/ 51 h 162"/>
                    <a:gd name="T54" fmla="*/ 132 w 134"/>
                    <a:gd name="T55" fmla="*/ 51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34" h="162">
                      <a:moveTo>
                        <a:pt x="64" y="162"/>
                      </a:moveTo>
                      <a:cubicBezTo>
                        <a:pt x="63" y="162"/>
                        <a:pt x="63" y="162"/>
                        <a:pt x="63" y="162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0" y="126"/>
                        <a:pt x="0" y="125"/>
                        <a:pt x="0" y="12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50" y="0"/>
                        <a:pt x="50" y="0"/>
                        <a:pt x="51" y="1"/>
                      </a:cubicBezTo>
                      <a:cubicBezTo>
                        <a:pt x="133" y="48"/>
                        <a:pt x="133" y="48"/>
                        <a:pt x="133" y="48"/>
                      </a:cubicBezTo>
                      <a:cubicBezTo>
                        <a:pt x="133" y="48"/>
                        <a:pt x="134" y="49"/>
                        <a:pt x="134" y="49"/>
                      </a:cubicBezTo>
                      <a:cubicBezTo>
                        <a:pt x="134" y="51"/>
                        <a:pt x="134" y="51"/>
                        <a:pt x="134" y="51"/>
                      </a:cubicBezTo>
                      <a:cubicBezTo>
                        <a:pt x="134" y="51"/>
                        <a:pt x="133" y="52"/>
                        <a:pt x="133" y="52"/>
                      </a:cubicBezTo>
                      <a:cubicBezTo>
                        <a:pt x="120" y="60"/>
                        <a:pt x="120" y="60"/>
                        <a:pt x="120" y="60"/>
                      </a:cubicBezTo>
                      <a:cubicBezTo>
                        <a:pt x="120" y="129"/>
                        <a:pt x="120" y="129"/>
                        <a:pt x="120" y="129"/>
                      </a:cubicBezTo>
                      <a:cubicBezTo>
                        <a:pt x="120" y="130"/>
                        <a:pt x="120" y="130"/>
                        <a:pt x="119" y="131"/>
                      </a:cubicBezTo>
                      <a:cubicBezTo>
                        <a:pt x="65" y="162"/>
                        <a:pt x="65" y="162"/>
                        <a:pt x="65" y="162"/>
                      </a:cubicBezTo>
                      <a:cubicBezTo>
                        <a:pt x="64" y="162"/>
                        <a:pt x="64" y="162"/>
                        <a:pt x="64" y="162"/>
                      </a:cubicBezTo>
                      <a:close/>
                      <a:moveTo>
                        <a:pt x="4" y="124"/>
                      </a:moveTo>
                      <a:cubicBezTo>
                        <a:pt x="64" y="158"/>
                        <a:pt x="64" y="158"/>
                        <a:pt x="64" y="158"/>
                      </a:cubicBezTo>
                      <a:cubicBezTo>
                        <a:pt x="116" y="128"/>
                        <a:pt x="116" y="128"/>
                        <a:pt x="116" y="128"/>
                      </a:cubicBezTo>
                      <a:cubicBezTo>
                        <a:pt x="116" y="58"/>
                        <a:pt x="116" y="58"/>
                        <a:pt x="116" y="58"/>
                      </a:cubicBezTo>
                      <a:cubicBezTo>
                        <a:pt x="116" y="58"/>
                        <a:pt x="117" y="57"/>
                        <a:pt x="117" y="57"/>
                      </a:cubicBezTo>
                      <a:cubicBezTo>
                        <a:pt x="129" y="50"/>
                        <a:pt x="129" y="50"/>
                        <a:pt x="129" y="50"/>
                      </a:cubicBezTo>
                      <a:cubicBezTo>
                        <a:pt x="50" y="5"/>
                        <a:pt x="50" y="5"/>
                        <a:pt x="50" y="5"/>
                      </a:cubicBezTo>
                      <a:cubicBezTo>
                        <a:pt x="4" y="31"/>
                        <a:pt x="4" y="31"/>
                        <a:pt x="4" y="31"/>
                      </a:cubicBezTo>
                      <a:lnTo>
                        <a:pt x="4" y="124"/>
                      </a:lnTo>
                      <a:close/>
                      <a:moveTo>
                        <a:pt x="132" y="51"/>
                      </a:moveTo>
                      <a:cubicBezTo>
                        <a:pt x="132" y="51"/>
                        <a:pt x="132" y="51"/>
                        <a:pt x="132" y="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0" name="Freeform 963">
                  <a:extLst>
                    <a:ext uri="{FF2B5EF4-FFF2-40B4-BE49-F238E27FC236}">
                      <a16:creationId xmlns:a16="http://schemas.microsoft.com/office/drawing/2014/main" id="{76415BA4-C6A3-40BD-9A8B-2CBB5F4784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730"/>
                  <a:ext cx="62" cy="314"/>
                </a:xfrm>
                <a:custGeom>
                  <a:avLst/>
                  <a:gdLst>
                    <a:gd name="T0" fmla="*/ 12 w 26"/>
                    <a:gd name="T1" fmla="*/ 133 h 133"/>
                    <a:gd name="T2" fmla="*/ 11 w 26"/>
                    <a:gd name="T3" fmla="*/ 132 h 133"/>
                    <a:gd name="T4" fmla="*/ 1 w 26"/>
                    <a:gd name="T5" fmla="*/ 127 h 133"/>
                    <a:gd name="T6" fmla="*/ 0 w 26"/>
                    <a:gd name="T7" fmla="*/ 125 h 133"/>
                    <a:gd name="T8" fmla="*/ 0 w 26"/>
                    <a:gd name="T9" fmla="*/ 2 h 133"/>
                    <a:gd name="T10" fmla="*/ 1 w 26"/>
                    <a:gd name="T11" fmla="*/ 0 h 133"/>
                    <a:gd name="T12" fmla="*/ 3 w 26"/>
                    <a:gd name="T13" fmla="*/ 0 h 133"/>
                    <a:gd name="T14" fmla="*/ 25 w 26"/>
                    <a:gd name="T15" fmla="*/ 13 h 133"/>
                    <a:gd name="T16" fmla="*/ 26 w 26"/>
                    <a:gd name="T17" fmla="*/ 14 h 133"/>
                    <a:gd name="T18" fmla="*/ 26 w 26"/>
                    <a:gd name="T19" fmla="*/ 124 h 133"/>
                    <a:gd name="T20" fmla="*/ 25 w 26"/>
                    <a:gd name="T21" fmla="*/ 126 h 133"/>
                    <a:gd name="T22" fmla="*/ 13 w 26"/>
                    <a:gd name="T23" fmla="*/ 132 h 133"/>
                    <a:gd name="T24" fmla="*/ 12 w 26"/>
                    <a:gd name="T25" fmla="*/ 133 h 133"/>
                    <a:gd name="T26" fmla="*/ 4 w 26"/>
                    <a:gd name="T27" fmla="*/ 124 h 133"/>
                    <a:gd name="T28" fmla="*/ 12 w 26"/>
                    <a:gd name="T29" fmla="*/ 128 h 133"/>
                    <a:gd name="T30" fmla="*/ 22 w 26"/>
                    <a:gd name="T31" fmla="*/ 123 h 133"/>
                    <a:gd name="T32" fmla="*/ 22 w 26"/>
                    <a:gd name="T33" fmla="*/ 16 h 133"/>
                    <a:gd name="T34" fmla="*/ 4 w 26"/>
                    <a:gd name="T35" fmla="*/ 6 h 133"/>
                    <a:gd name="T36" fmla="*/ 4 w 26"/>
                    <a:gd name="T37" fmla="*/ 124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" h="133">
                      <a:moveTo>
                        <a:pt x="12" y="133"/>
                      </a:moveTo>
                      <a:cubicBezTo>
                        <a:pt x="12" y="133"/>
                        <a:pt x="12" y="133"/>
                        <a:pt x="11" y="132"/>
                      </a:cubicBezTo>
                      <a:cubicBezTo>
                        <a:pt x="1" y="127"/>
                        <a:pt x="1" y="127"/>
                        <a:pt x="1" y="127"/>
                      </a:cubicBezTo>
                      <a:cubicBezTo>
                        <a:pt x="1" y="126"/>
                        <a:pt x="0" y="126"/>
                        <a:pt x="0" y="12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5" y="13"/>
                        <a:pt x="26" y="14"/>
                        <a:pt x="26" y="14"/>
                      </a:cubicBezTo>
                      <a:cubicBezTo>
                        <a:pt x="26" y="124"/>
                        <a:pt x="26" y="124"/>
                        <a:pt x="26" y="124"/>
                      </a:cubicBezTo>
                      <a:cubicBezTo>
                        <a:pt x="26" y="125"/>
                        <a:pt x="25" y="126"/>
                        <a:pt x="25" y="126"/>
                      </a:cubicBezTo>
                      <a:cubicBezTo>
                        <a:pt x="13" y="132"/>
                        <a:pt x="13" y="132"/>
                        <a:pt x="13" y="132"/>
                      </a:cubicBezTo>
                      <a:cubicBezTo>
                        <a:pt x="13" y="133"/>
                        <a:pt x="13" y="133"/>
                        <a:pt x="12" y="133"/>
                      </a:cubicBezTo>
                      <a:close/>
                      <a:moveTo>
                        <a:pt x="4" y="124"/>
                      </a:moveTo>
                      <a:cubicBezTo>
                        <a:pt x="12" y="128"/>
                        <a:pt x="12" y="128"/>
                        <a:pt x="12" y="128"/>
                      </a:cubicBezTo>
                      <a:cubicBezTo>
                        <a:pt x="22" y="123"/>
                        <a:pt x="22" y="123"/>
                        <a:pt x="22" y="12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1" name="Freeform 964">
                  <a:extLst>
                    <a:ext uri="{FF2B5EF4-FFF2-40B4-BE49-F238E27FC236}">
                      <a16:creationId xmlns:a16="http://schemas.microsoft.com/office/drawing/2014/main" id="{BEE39C75-7932-4630-87CD-446C6ABEE9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1143"/>
                  <a:ext cx="560" cy="312"/>
                </a:xfrm>
                <a:custGeom>
                  <a:avLst/>
                  <a:gdLst>
                    <a:gd name="T0" fmla="*/ 115 w 237"/>
                    <a:gd name="T1" fmla="*/ 132 h 132"/>
                    <a:gd name="T2" fmla="*/ 114 w 237"/>
                    <a:gd name="T3" fmla="*/ 132 h 132"/>
                    <a:gd name="T4" fmla="*/ 1 w 237"/>
                    <a:gd name="T5" fmla="*/ 67 h 132"/>
                    <a:gd name="T6" fmla="*/ 0 w 237"/>
                    <a:gd name="T7" fmla="*/ 65 h 132"/>
                    <a:gd name="T8" fmla="*/ 0 w 237"/>
                    <a:gd name="T9" fmla="*/ 38 h 132"/>
                    <a:gd name="T10" fmla="*/ 1 w 237"/>
                    <a:gd name="T11" fmla="*/ 36 h 132"/>
                    <a:gd name="T12" fmla="*/ 3 w 237"/>
                    <a:gd name="T13" fmla="*/ 36 h 132"/>
                    <a:gd name="T14" fmla="*/ 50 w 237"/>
                    <a:gd name="T15" fmla="*/ 64 h 132"/>
                    <a:gd name="T16" fmla="*/ 159 w 237"/>
                    <a:gd name="T17" fmla="*/ 1 h 132"/>
                    <a:gd name="T18" fmla="*/ 161 w 237"/>
                    <a:gd name="T19" fmla="*/ 1 h 132"/>
                    <a:gd name="T20" fmla="*/ 236 w 237"/>
                    <a:gd name="T21" fmla="*/ 44 h 132"/>
                    <a:gd name="T22" fmla="*/ 237 w 237"/>
                    <a:gd name="T23" fmla="*/ 46 h 132"/>
                    <a:gd name="T24" fmla="*/ 237 w 237"/>
                    <a:gd name="T25" fmla="*/ 60 h 132"/>
                    <a:gd name="T26" fmla="*/ 236 w 237"/>
                    <a:gd name="T27" fmla="*/ 62 h 132"/>
                    <a:gd name="T28" fmla="*/ 116 w 237"/>
                    <a:gd name="T29" fmla="*/ 132 h 132"/>
                    <a:gd name="T30" fmla="*/ 115 w 237"/>
                    <a:gd name="T31" fmla="*/ 132 h 132"/>
                    <a:gd name="T32" fmla="*/ 4 w 237"/>
                    <a:gd name="T33" fmla="*/ 64 h 132"/>
                    <a:gd name="T34" fmla="*/ 115 w 237"/>
                    <a:gd name="T35" fmla="*/ 128 h 132"/>
                    <a:gd name="T36" fmla="*/ 233 w 237"/>
                    <a:gd name="T37" fmla="*/ 59 h 132"/>
                    <a:gd name="T38" fmla="*/ 233 w 237"/>
                    <a:gd name="T39" fmla="*/ 47 h 132"/>
                    <a:gd name="T40" fmla="*/ 160 w 237"/>
                    <a:gd name="T41" fmla="*/ 5 h 132"/>
                    <a:gd name="T42" fmla="*/ 51 w 237"/>
                    <a:gd name="T43" fmla="*/ 68 h 132"/>
                    <a:gd name="T44" fmla="*/ 49 w 237"/>
                    <a:gd name="T45" fmla="*/ 68 h 132"/>
                    <a:gd name="T46" fmla="*/ 4 w 237"/>
                    <a:gd name="T47" fmla="*/ 41 h 132"/>
                    <a:gd name="T48" fmla="*/ 4 w 237"/>
                    <a:gd name="T49" fmla="*/ 64 h 132"/>
                    <a:gd name="T50" fmla="*/ 235 w 237"/>
                    <a:gd name="T51" fmla="*/ 60 h 132"/>
                    <a:gd name="T52" fmla="*/ 235 w 237"/>
                    <a:gd name="T53" fmla="*/ 6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37" h="132">
                      <a:moveTo>
                        <a:pt x="115" y="132"/>
                      </a:moveTo>
                      <a:cubicBezTo>
                        <a:pt x="114" y="132"/>
                        <a:pt x="114" y="132"/>
                        <a:pt x="114" y="132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0" y="66"/>
                        <a:pt x="0" y="66"/>
                        <a:pt x="0" y="6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7"/>
                        <a:pt x="0" y="37"/>
                        <a:pt x="1" y="36"/>
                      </a:cubicBezTo>
                      <a:cubicBezTo>
                        <a:pt x="1" y="36"/>
                        <a:pt x="2" y="36"/>
                        <a:pt x="3" y="36"/>
                      </a:cubicBezTo>
                      <a:cubicBezTo>
                        <a:pt x="50" y="64"/>
                        <a:pt x="50" y="64"/>
                        <a:pt x="50" y="64"/>
                      </a:cubicBezTo>
                      <a:cubicBezTo>
                        <a:pt x="159" y="1"/>
                        <a:pt x="159" y="1"/>
                        <a:pt x="159" y="1"/>
                      </a:cubicBezTo>
                      <a:cubicBezTo>
                        <a:pt x="159" y="0"/>
                        <a:pt x="160" y="0"/>
                        <a:pt x="161" y="1"/>
                      </a:cubicBezTo>
                      <a:cubicBezTo>
                        <a:pt x="236" y="44"/>
                        <a:pt x="236" y="44"/>
                        <a:pt x="236" y="44"/>
                      </a:cubicBezTo>
                      <a:cubicBezTo>
                        <a:pt x="237" y="44"/>
                        <a:pt x="237" y="45"/>
                        <a:pt x="237" y="46"/>
                      </a:cubicBezTo>
                      <a:cubicBezTo>
                        <a:pt x="237" y="60"/>
                        <a:pt x="237" y="60"/>
                        <a:pt x="237" y="60"/>
                      </a:cubicBezTo>
                      <a:cubicBezTo>
                        <a:pt x="237" y="61"/>
                        <a:pt x="237" y="62"/>
                        <a:pt x="236" y="62"/>
                      </a:cubicBezTo>
                      <a:cubicBezTo>
                        <a:pt x="116" y="132"/>
                        <a:pt x="116" y="132"/>
                        <a:pt x="116" y="132"/>
                      </a:cubicBezTo>
                      <a:cubicBezTo>
                        <a:pt x="115" y="132"/>
                        <a:pt x="115" y="132"/>
                        <a:pt x="115" y="132"/>
                      </a:cubicBezTo>
                      <a:close/>
                      <a:moveTo>
                        <a:pt x="4" y="64"/>
                      </a:moveTo>
                      <a:cubicBezTo>
                        <a:pt x="115" y="128"/>
                        <a:pt x="115" y="128"/>
                        <a:pt x="115" y="128"/>
                      </a:cubicBezTo>
                      <a:cubicBezTo>
                        <a:pt x="233" y="59"/>
                        <a:pt x="233" y="59"/>
                        <a:pt x="233" y="59"/>
                      </a:cubicBezTo>
                      <a:cubicBezTo>
                        <a:pt x="233" y="47"/>
                        <a:pt x="233" y="47"/>
                        <a:pt x="233" y="47"/>
                      </a:cubicBezTo>
                      <a:cubicBezTo>
                        <a:pt x="160" y="5"/>
                        <a:pt x="160" y="5"/>
                        <a:pt x="160" y="5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1" y="68"/>
                        <a:pt x="50" y="68"/>
                        <a:pt x="49" y="68"/>
                      </a:cubicBezTo>
                      <a:cubicBezTo>
                        <a:pt x="4" y="41"/>
                        <a:pt x="4" y="41"/>
                        <a:pt x="4" y="41"/>
                      </a:cubicBezTo>
                      <a:lnTo>
                        <a:pt x="4" y="64"/>
                      </a:lnTo>
                      <a:close/>
                      <a:moveTo>
                        <a:pt x="235" y="60"/>
                      </a:moveTo>
                      <a:cubicBezTo>
                        <a:pt x="235" y="60"/>
                        <a:pt x="235" y="60"/>
                        <a:pt x="235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2" name="Freeform 965">
                  <a:extLst>
                    <a:ext uri="{FF2B5EF4-FFF2-40B4-BE49-F238E27FC236}">
                      <a16:creationId xmlns:a16="http://schemas.microsoft.com/office/drawing/2014/main" id="{5DCC993A-F799-45CF-8254-28E231C282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231"/>
                  <a:ext cx="317" cy="491"/>
                </a:xfrm>
                <a:custGeom>
                  <a:avLst/>
                  <a:gdLst>
                    <a:gd name="T0" fmla="*/ 132 w 134"/>
                    <a:gd name="T1" fmla="*/ 208 h 208"/>
                    <a:gd name="T2" fmla="*/ 131 w 134"/>
                    <a:gd name="T3" fmla="*/ 208 h 208"/>
                    <a:gd name="T4" fmla="*/ 1 w 134"/>
                    <a:gd name="T5" fmla="*/ 133 h 208"/>
                    <a:gd name="T6" fmla="*/ 0 w 134"/>
                    <a:gd name="T7" fmla="*/ 131 h 208"/>
                    <a:gd name="T8" fmla="*/ 0 w 134"/>
                    <a:gd name="T9" fmla="*/ 2 h 208"/>
                    <a:gd name="T10" fmla="*/ 1 w 134"/>
                    <a:gd name="T11" fmla="*/ 0 h 208"/>
                    <a:gd name="T12" fmla="*/ 3 w 134"/>
                    <a:gd name="T13" fmla="*/ 0 h 208"/>
                    <a:gd name="T14" fmla="*/ 23 w 134"/>
                    <a:gd name="T15" fmla="*/ 11 h 208"/>
                    <a:gd name="T16" fmla="*/ 24 w 134"/>
                    <a:gd name="T17" fmla="*/ 13 h 208"/>
                    <a:gd name="T18" fmla="*/ 24 w 134"/>
                    <a:gd name="T19" fmla="*/ 22 h 208"/>
                    <a:gd name="T20" fmla="*/ 31 w 134"/>
                    <a:gd name="T21" fmla="*/ 18 h 208"/>
                    <a:gd name="T22" fmla="*/ 33 w 134"/>
                    <a:gd name="T23" fmla="*/ 18 h 208"/>
                    <a:gd name="T24" fmla="*/ 49 w 134"/>
                    <a:gd name="T25" fmla="*/ 27 h 208"/>
                    <a:gd name="T26" fmla="*/ 66 w 134"/>
                    <a:gd name="T27" fmla="*/ 17 h 208"/>
                    <a:gd name="T28" fmla="*/ 68 w 134"/>
                    <a:gd name="T29" fmla="*/ 17 h 208"/>
                    <a:gd name="T30" fmla="*/ 133 w 134"/>
                    <a:gd name="T31" fmla="*/ 54 h 208"/>
                    <a:gd name="T32" fmla="*/ 134 w 134"/>
                    <a:gd name="T33" fmla="*/ 56 h 208"/>
                    <a:gd name="T34" fmla="*/ 134 w 134"/>
                    <a:gd name="T35" fmla="*/ 206 h 208"/>
                    <a:gd name="T36" fmla="*/ 133 w 134"/>
                    <a:gd name="T37" fmla="*/ 208 h 208"/>
                    <a:gd name="T38" fmla="*/ 132 w 134"/>
                    <a:gd name="T39" fmla="*/ 208 h 208"/>
                    <a:gd name="T40" fmla="*/ 4 w 134"/>
                    <a:gd name="T41" fmla="*/ 130 h 208"/>
                    <a:gd name="T42" fmla="*/ 130 w 134"/>
                    <a:gd name="T43" fmla="*/ 203 h 208"/>
                    <a:gd name="T44" fmla="*/ 130 w 134"/>
                    <a:gd name="T45" fmla="*/ 57 h 208"/>
                    <a:gd name="T46" fmla="*/ 67 w 134"/>
                    <a:gd name="T47" fmla="*/ 21 h 208"/>
                    <a:gd name="T48" fmla="*/ 50 w 134"/>
                    <a:gd name="T49" fmla="*/ 31 h 208"/>
                    <a:gd name="T50" fmla="*/ 48 w 134"/>
                    <a:gd name="T51" fmla="*/ 31 h 208"/>
                    <a:gd name="T52" fmla="*/ 32 w 134"/>
                    <a:gd name="T53" fmla="*/ 22 h 208"/>
                    <a:gd name="T54" fmla="*/ 23 w 134"/>
                    <a:gd name="T55" fmla="*/ 27 h 208"/>
                    <a:gd name="T56" fmla="*/ 21 w 134"/>
                    <a:gd name="T57" fmla="*/ 27 h 208"/>
                    <a:gd name="T58" fmla="*/ 20 w 134"/>
                    <a:gd name="T59" fmla="*/ 25 h 208"/>
                    <a:gd name="T60" fmla="*/ 20 w 134"/>
                    <a:gd name="T61" fmla="*/ 14 h 208"/>
                    <a:gd name="T62" fmla="*/ 4 w 134"/>
                    <a:gd name="T63" fmla="*/ 5 h 208"/>
                    <a:gd name="T64" fmla="*/ 4 w 134"/>
                    <a:gd name="T65" fmla="*/ 130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4" h="208">
                      <a:moveTo>
                        <a:pt x="132" y="208"/>
                      </a:moveTo>
                      <a:cubicBezTo>
                        <a:pt x="132" y="208"/>
                        <a:pt x="131" y="208"/>
                        <a:pt x="131" y="208"/>
                      </a:cubicBezTo>
                      <a:cubicBezTo>
                        <a:pt x="1" y="133"/>
                        <a:pt x="1" y="133"/>
                        <a:pt x="1" y="133"/>
                      </a:cubicBezTo>
                      <a:cubicBezTo>
                        <a:pt x="0" y="132"/>
                        <a:pt x="0" y="132"/>
                        <a:pt x="0" y="13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2"/>
                        <a:pt x="24" y="12"/>
                        <a:pt x="24" y="13"/>
                      </a:cubicBezTo>
                      <a:cubicBezTo>
                        <a:pt x="24" y="22"/>
                        <a:pt x="24" y="22"/>
                        <a:pt x="24" y="22"/>
                      </a:cubicBezTo>
                      <a:cubicBezTo>
                        <a:pt x="31" y="18"/>
                        <a:pt x="31" y="18"/>
                        <a:pt x="31" y="18"/>
                      </a:cubicBezTo>
                      <a:cubicBezTo>
                        <a:pt x="32" y="17"/>
                        <a:pt x="32" y="17"/>
                        <a:pt x="33" y="18"/>
                      </a:cubicBezTo>
                      <a:cubicBezTo>
                        <a:pt x="49" y="27"/>
                        <a:pt x="49" y="27"/>
                        <a:pt x="49" y="27"/>
                      </a:cubicBezTo>
                      <a:cubicBezTo>
                        <a:pt x="66" y="17"/>
                        <a:pt x="66" y="17"/>
                        <a:pt x="66" y="17"/>
                      </a:cubicBezTo>
                      <a:cubicBezTo>
                        <a:pt x="67" y="16"/>
                        <a:pt x="67" y="16"/>
                        <a:pt x="68" y="17"/>
                      </a:cubicBezTo>
                      <a:cubicBezTo>
                        <a:pt x="133" y="54"/>
                        <a:pt x="133" y="54"/>
                        <a:pt x="133" y="54"/>
                      </a:cubicBezTo>
                      <a:cubicBezTo>
                        <a:pt x="134" y="55"/>
                        <a:pt x="134" y="55"/>
                        <a:pt x="134" y="56"/>
                      </a:cubicBezTo>
                      <a:cubicBezTo>
                        <a:pt x="134" y="206"/>
                        <a:pt x="134" y="206"/>
                        <a:pt x="134" y="206"/>
                      </a:cubicBezTo>
                      <a:cubicBezTo>
                        <a:pt x="134" y="207"/>
                        <a:pt x="134" y="208"/>
                        <a:pt x="133" y="208"/>
                      </a:cubicBezTo>
                      <a:cubicBezTo>
                        <a:pt x="133" y="208"/>
                        <a:pt x="132" y="208"/>
                        <a:pt x="132" y="208"/>
                      </a:cubicBezTo>
                      <a:close/>
                      <a:moveTo>
                        <a:pt x="4" y="130"/>
                      </a:moveTo>
                      <a:cubicBezTo>
                        <a:pt x="130" y="203"/>
                        <a:pt x="130" y="203"/>
                        <a:pt x="130" y="203"/>
                      </a:cubicBezTo>
                      <a:cubicBezTo>
                        <a:pt x="130" y="57"/>
                        <a:pt x="130" y="57"/>
                        <a:pt x="130" y="57"/>
                      </a:cubicBezTo>
                      <a:cubicBezTo>
                        <a:pt x="67" y="21"/>
                        <a:pt x="67" y="21"/>
                        <a:pt x="67" y="21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49" y="31"/>
                        <a:pt x="48" y="31"/>
                        <a:pt x="48" y="31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2" y="27"/>
                        <a:pt x="21" y="27"/>
                        <a:pt x="21" y="27"/>
                      </a:cubicBezTo>
                      <a:cubicBezTo>
                        <a:pt x="20" y="27"/>
                        <a:pt x="20" y="26"/>
                        <a:pt x="20" y="25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3" name="Freeform 966">
                  <a:extLst>
                    <a:ext uri="{FF2B5EF4-FFF2-40B4-BE49-F238E27FC236}">
                      <a16:creationId xmlns:a16="http://schemas.microsoft.com/office/drawing/2014/main" id="{D09DE263-17E5-400C-BE82-84BF2D0990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1781"/>
                  <a:ext cx="19" cy="340"/>
                </a:xfrm>
                <a:custGeom>
                  <a:avLst/>
                  <a:gdLst>
                    <a:gd name="T0" fmla="*/ 3 w 8"/>
                    <a:gd name="T1" fmla="*/ 144 h 144"/>
                    <a:gd name="T2" fmla="*/ 2 w 8"/>
                    <a:gd name="T3" fmla="*/ 144 h 144"/>
                    <a:gd name="T4" fmla="*/ 0 w 8"/>
                    <a:gd name="T5" fmla="*/ 142 h 144"/>
                    <a:gd name="T6" fmla="*/ 0 w 8"/>
                    <a:gd name="T7" fmla="*/ 4 h 144"/>
                    <a:gd name="T8" fmla="*/ 1 w 8"/>
                    <a:gd name="T9" fmla="*/ 3 h 144"/>
                    <a:gd name="T10" fmla="*/ 5 w 8"/>
                    <a:gd name="T11" fmla="*/ 1 h 144"/>
                    <a:gd name="T12" fmla="*/ 7 w 8"/>
                    <a:gd name="T13" fmla="*/ 1 h 144"/>
                    <a:gd name="T14" fmla="*/ 8 w 8"/>
                    <a:gd name="T15" fmla="*/ 2 h 144"/>
                    <a:gd name="T16" fmla="*/ 8 w 8"/>
                    <a:gd name="T17" fmla="*/ 140 h 144"/>
                    <a:gd name="T18" fmla="*/ 7 w 8"/>
                    <a:gd name="T19" fmla="*/ 142 h 144"/>
                    <a:gd name="T20" fmla="*/ 4 w 8"/>
                    <a:gd name="T21" fmla="*/ 144 h 144"/>
                    <a:gd name="T22" fmla="*/ 3 w 8"/>
                    <a:gd name="T23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44">
                      <a:moveTo>
                        <a:pt x="3" y="144"/>
                      </a:moveTo>
                      <a:cubicBezTo>
                        <a:pt x="2" y="144"/>
                        <a:pt x="2" y="144"/>
                        <a:pt x="2" y="144"/>
                      </a:cubicBezTo>
                      <a:cubicBezTo>
                        <a:pt x="1" y="144"/>
                        <a:pt x="0" y="143"/>
                        <a:pt x="0" y="142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3"/>
                        <a:pt x="1" y="3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6" y="0"/>
                        <a:pt x="7" y="1"/>
                      </a:cubicBezTo>
                      <a:cubicBezTo>
                        <a:pt x="7" y="1"/>
                        <a:pt x="8" y="2"/>
                        <a:pt x="8" y="2"/>
                      </a:cubicBezTo>
                      <a:cubicBezTo>
                        <a:pt x="8" y="140"/>
                        <a:pt x="8" y="140"/>
                        <a:pt x="8" y="140"/>
                      </a:cubicBezTo>
                      <a:cubicBezTo>
                        <a:pt x="8" y="141"/>
                        <a:pt x="7" y="142"/>
                        <a:pt x="7" y="142"/>
                      </a:cubicBezTo>
                      <a:cubicBezTo>
                        <a:pt x="4" y="144"/>
                        <a:pt x="4" y="144"/>
                        <a:pt x="4" y="144"/>
                      </a:cubicBezTo>
                      <a:cubicBezTo>
                        <a:pt x="3" y="144"/>
                        <a:pt x="3" y="144"/>
                        <a:pt x="3" y="1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4" name="Freeform 967">
                  <a:extLst>
                    <a:ext uri="{FF2B5EF4-FFF2-40B4-BE49-F238E27FC236}">
                      <a16:creationId xmlns:a16="http://schemas.microsoft.com/office/drawing/2014/main" id="{1EABED6A-5922-4D6D-BF71-27D7959D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21" y="1162"/>
                  <a:ext cx="38" cy="29"/>
                </a:xfrm>
                <a:custGeom>
                  <a:avLst/>
                  <a:gdLst>
                    <a:gd name="T0" fmla="*/ 13 w 16"/>
                    <a:gd name="T1" fmla="*/ 12 h 12"/>
                    <a:gd name="T2" fmla="*/ 12 w 16"/>
                    <a:gd name="T3" fmla="*/ 12 h 12"/>
                    <a:gd name="T4" fmla="*/ 1 w 16"/>
                    <a:gd name="T5" fmla="*/ 5 h 12"/>
                    <a:gd name="T6" fmla="*/ 0 w 16"/>
                    <a:gd name="T7" fmla="*/ 3 h 12"/>
                    <a:gd name="T8" fmla="*/ 0 w 16"/>
                    <a:gd name="T9" fmla="*/ 2 h 12"/>
                    <a:gd name="T10" fmla="*/ 1 w 16"/>
                    <a:gd name="T11" fmla="*/ 0 h 12"/>
                    <a:gd name="T12" fmla="*/ 3 w 16"/>
                    <a:gd name="T13" fmla="*/ 0 h 12"/>
                    <a:gd name="T14" fmla="*/ 15 w 16"/>
                    <a:gd name="T15" fmla="*/ 7 h 12"/>
                    <a:gd name="T16" fmla="*/ 16 w 16"/>
                    <a:gd name="T17" fmla="*/ 9 h 12"/>
                    <a:gd name="T18" fmla="*/ 15 w 16"/>
                    <a:gd name="T19" fmla="*/ 11 h 12"/>
                    <a:gd name="T20" fmla="*/ 14 w 16"/>
                    <a:gd name="T21" fmla="*/ 12 h 12"/>
                    <a:gd name="T22" fmla="*/ 13 w 16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" h="12">
                      <a:moveTo>
                        <a:pt x="13" y="12"/>
                      </a:moveTo>
                      <a:cubicBezTo>
                        <a:pt x="13" y="12"/>
                        <a:pt x="12" y="12"/>
                        <a:pt x="12" y="12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6" y="8"/>
                        <a:pt x="16" y="8"/>
                        <a:pt x="16" y="9"/>
                      </a:cubicBezTo>
                      <a:cubicBezTo>
                        <a:pt x="16" y="10"/>
                        <a:pt x="16" y="10"/>
                        <a:pt x="15" y="11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cubicBezTo>
                        <a:pt x="14" y="12"/>
                        <a:pt x="13" y="12"/>
                        <a:pt x="1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501" name="Freeform 969">
                <a:extLst>
                  <a:ext uri="{FF2B5EF4-FFF2-40B4-BE49-F238E27FC236}">
                    <a16:creationId xmlns:a16="http://schemas.microsoft.com/office/drawing/2014/main" id="{D2DB17F9-E17E-4B33-9728-53E79D96E0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08" y="2169"/>
                <a:ext cx="130" cy="255"/>
              </a:xfrm>
              <a:custGeom>
                <a:avLst/>
                <a:gdLst>
                  <a:gd name="T0" fmla="*/ 53 w 55"/>
                  <a:gd name="T1" fmla="*/ 108 h 108"/>
                  <a:gd name="T2" fmla="*/ 52 w 55"/>
                  <a:gd name="T3" fmla="*/ 107 h 108"/>
                  <a:gd name="T4" fmla="*/ 1 w 55"/>
                  <a:gd name="T5" fmla="*/ 79 h 108"/>
                  <a:gd name="T6" fmla="*/ 0 w 55"/>
                  <a:gd name="T7" fmla="*/ 77 h 108"/>
                  <a:gd name="T8" fmla="*/ 0 w 55"/>
                  <a:gd name="T9" fmla="*/ 3 h 108"/>
                  <a:gd name="T10" fmla="*/ 1 w 55"/>
                  <a:gd name="T11" fmla="*/ 1 h 108"/>
                  <a:gd name="T12" fmla="*/ 3 w 55"/>
                  <a:gd name="T13" fmla="*/ 1 h 108"/>
                  <a:gd name="T14" fmla="*/ 39 w 55"/>
                  <a:gd name="T15" fmla="*/ 21 h 108"/>
                  <a:gd name="T16" fmla="*/ 40 w 55"/>
                  <a:gd name="T17" fmla="*/ 23 h 108"/>
                  <a:gd name="T18" fmla="*/ 39 w 55"/>
                  <a:gd name="T19" fmla="*/ 25 h 108"/>
                  <a:gd name="T20" fmla="*/ 11 w 55"/>
                  <a:gd name="T21" fmla="*/ 41 h 108"/>
                  <a:gd name="T22" fmla="*/ 54 w 55"/>
                  <a:gd name="T23" fmla="*/ 66 h 108"/>
                  <a:gd name="T24" fmla="*/ 55 w 55"/>
                  <a:gd name="T25" fmla="*/ 67 h 108"/>
                  <a:gd name="T26" fmla="*/ 55 w 55"/>
                  <a:gd name="T27" fmla="*/ 106 h 108"/>
                  <a:gd name="T28" fmla="*/ 54 w 55"/>
                  <a:gd name="T29" fmla="*/ 107 h 108"/>
                  <a:gd name="T30" fmla="*/ 53 w 55"/>
                  <a:gd name="T31" fmla="*/ 108 h 108"/>
                  <a:gd name="T32" fmla="*/ 4 w 55"/>
                  <a:gd name="T33" fmla="*/ 76 h 108"/>
                  <a:gd name="T34" fmla="*/ 51 w 55"/>
                  <a:gd name="T35" fmla="*/ 102 h 108"/>
                  <a:gd name="T36" fmla="*/ 51 w 55"/>
                  <a:gd name="T37" fmla="*/ 68 h 108"/>
                  <a:gd name="T38" fmla="*/ 6 w 55"/>
                  <a:gd name="T39" fmla="*/ 43 h 108"/>
                  <a:gd name="T40" fmla="*/ 5 w 55"/>
                  <a:gd name="T41" fmla="*/ 41 h 108"/>
                  <a:gd name="T42" fmla="*/ 6 w 55"/>
                  <a:gd name="T43" fmla="*/ 39 h 108"/>
                  <a:gd name="T44" fmla="*/ 34 w 55"/>
                  <a:gd name="T45" fmla="*/ 23 h 108"/>
                  <a:gd name="T46" fmla="*/ 4 w 55"/>
                  <a:gd name="T47" fmla="*/ 6 h 108"/>
                  <a:gd name="T48" fmla="*/ 4 w 55"/>
                  <a:gd name="T4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108">
                    <a:moveTo>
                      <a:pt x="53" y="108"/>
                    </a:moveTo>
                    <a:cubicBezTo>
                      <a:pt x="52" y="108"/>
                      <a:pt x="52" y="108"/>
                      <a:pt x="52" y="107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1" y="78"/>
                      <a:pt x="0" y="78"/>
                      <a:pt x="0" y="77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2"/>
                      <a:pt x="40" y="22"/>
                      <a:pt x="40" y="23"/>
                    </a:cubicBezTo>
                    <a:cubicBezTo>
                      <a:pt x="40" y="24"/>
                      <a:pt x="39" y="24"/>
                      <a:pt x="39" y="25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54" y="66"/>
                      <a:pt x="54" y="66"/>
                      <a:pt x="54" y="66"/>
                    </a:cubicBezTo>
                    <a:cubicBezTo>
                      <a:pt x="54" y="66"/>
                      <a:pt x="55" y="67"/>
                      <a:pt x="55" y="67"/>
                    </a:cubicBezTo>
                    <a:cubicBezTo>
                      <a:pt x="55" y="106"/>
                      <a:pt x="55" y="106"/>
                      <a:pt x="55" y="106"/>
                    </a:cubicBezTo>
                    <a:cubicBezTo>
                      <a:pt x="55" y="106"/>
                      <a:pt x="54" y="107"/>
                      <a:pt x="54" y="107"/>
                    </a:cubicBezTo>
                    <a:cubicBezTo>
                      <a:pt x="53" y="108"/>
                      <a:pt x="53" y="108"/>
                      <a:pt x="53" y="108"/>
                    </a:cubicBezTo>
                    <a:close/>
                    <a:moveTo>
                      <a:pt x="4" y="76"/>
                    </a:moveTo>
                    <a:cubicBezTo>
                      <a:pt x="51" y="102"/>
                      <a:pt x="51" y="102"/>
                      <a:pt x="51" y="102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2"/>
                      <a:pt x="5" y="42"/>
                      <a:pt x="5" y="41"/>
                    </a:cubicBezTo>
                    <a:cubicBezTo>
                      <a:pt x="5" y="40"/>
                      <a:pt x="5" y="40"/>
                      <a:pt x="6" y="39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2" name="Freeform 970">
                <a:extLst>
                  <a:ext uri="{FF2B5EF4-FFF2-40B4-BE49-F238E27FC236}">
                    <a16:creationId xmlns:a16="http://schemas.microsoft.com/office/drawing/2014/main" id="{5580F40E-5D00-4CCD-A2BB-BB8B3DC21C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00" y="2457"/>
                <a:ext cx="38" cy="40"/>
              </a:xfrm>
              <a:custGeom>
                <a:avLst/>
                <a:gdLst>
                  <a:gd name="T0" fmla="*/ 14 w 16"/>
                  <a:gd name="T1" fmla="*/ 17 h 17"/>
                  <a:gd name="T2" fmla="*/ 13 w 16"/>
                  <a:gd name="T3" fmla="*/ 17 h 17"/>
                  <a:gd name="T4" fmla="*/ 1 w 16"/>
                  <a:gd name="T5" fmla="*/ 10 h 17"/>
                  <a:gd name="T6" fmla="*/ 0 w 16"/>
                  <a:gd name="T7" fmla="*/ 9 h 17"/>
                  <a:gd name="T8" fmla="*/ 1 w 16"/>
                  <a:gd name="T9" fmla="*/ 7 h 17"/>
                  <a:gd name="T10" fmla="*/ 13 w 16"/>
                  <a:gd name="T11" fmla="*/ 0 h 17"/>
                  <a:gd name="T12" fmla="*/ 15 w 16"/>
                  <a:gd name="T13" fmla="*/ 0 h 17"/>
                  <a:gd name="T14" fmla="*/ 16 w 16"/>
                  <a:gd name="T15" fmla="*/ 2 h 17"/>
                  <a:gd name="T16" fmla="*/ 16 w 16"/>
                  <a:gd name="T17" fmla="*/ 15 h 17"/>
                  <a:gd name="T18" fmla="*/ 15 w 16"/>
                  <a:gd name="T19" fmla="*/ 17 h 17"/>
                  <a:gd name="T20" fmla="*/ 14 w 16"/>
                  <a:gd name="T21" fmla="*/ 17 h 17"/>
                  <a:gd name="T22" fmla="*/ 6 w 16"/>
                  <a:gd name="T23" fmla="*/ 9 h 17"/>
                  <a:gd name="T24" fmla="*/ 12 w 16"/>
                  <a:gd name="T25" fmla="*/ 12 h 17"/>
                  <a:gd name="T26" fmla="*/ 12 w 16"/>
                  <a:gd name="T27" fmla="*/ 6 h 17"/>
                  <a:gd name="T28" fmla="*/ 6 w 16"/>
                  <a:gd name="T2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17">
                    <a:moveTo>
                      <a:pt x="14" y="17"/>
                    </a:moveTo>
                    <a:cubicBezTo>
                      <a:pt x="13" y="17"/>
                      <a:pt x="13" y="17"/>
                      <a:pt x="13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9"/>
                      <a:pt x="0" y="9"/>
                    </a:cubicBezTo>
                    <a:cubicBezTo>
                      <a:pt x="0" y="8"/>
                      <a:pt x="1" y="7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5" y="1"/>
                      <a:pt x="16" y="1"/>
                      <a:pt x="16" y="2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6"/>
                      <a:pt x="15" y="16"/>
                      <a:pt x="15" y="17"/>
                    </a:cubicBezTo>
                    <a:cubicBezTo>
                      <a:pt x="14" y="17"/>
                      <a:pt x="14" y="17"/>
                      <a:pt x="14" y="17"/>
                    </a:cubicBezTo>
                    <a:close/>
                    <a:moveTo>
                      <a:pt x="6" y="9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"/>
                      <a:pt x="12" y="6"/>
                      <a:pt x="12" y="6"/>
                    </a:cubicBezTo>
                    <a:lnTo>
                      <a:pt x="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3" name="Freeform 971">
                <a:extLst>
                  <a:ext uri="{FF2B5EF4-FFF2-40B4-BE49-F238E27FC236}">
                    <a16:creationId xmlns:a16="http://schemas.microsoft.com/office/drawing/2014/main" id="{2FBF0736-9FC7-4058-B58C-F725BB8A0F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81" y="1779"/>
                <a:ext cx="302" cy="402"/>
              </a:xfrm>
              <a:custGeom>
                <a:avLst/>
                <a:gdLst>
                  <a:gd name="T0" fmla="*/ 68 w 128"/>
                  <a:gd name="T1" fmla="*/ 170 h 170"/>
                  <a:gd name="T2" fmla="*/ 67 w 128"/>
                  <a:gd name="T3" fmla="*/ 169 h 170"/>
                  <a:gd name="T4" fmla="*/ 55 w 128"/>
                  <a:gd name="T5" fmla="*/ 163 h 170"/>
                  <a:gd name="T6" fmla="*/ 43 w 128"/>
                  <a:gd name="T7" fmla="*/ 169 h 170"/>
                  <a:gd name="T8" fmla="*/ 41 w 128"/>
                  <a:gd name="T9" fmla="*/ 169 h 170"/>
                  <a:gd name="T10" fmla="*/ 1 w 128"/>
                  <a:gd name="T11" fmla="*/ 146 h 170"/>
                  <a:gd name="T12" fmla="*/ 0 w 128"/>
                  <a:gd name="T13" fmla="*/ 144 h 170"/>
                  <a:gd name="T14" fmla="*/ 1 w 128"/>
                  <a:gd name="T15" fmla="*/ 142 h 170"/>
                  <a:gd name="T16" fmla="*/ 3 w 128"/>
                  <a:gd name="T17" fmla="*/ 141 h 170"/>
                  <a:gd name="T18" fmla="*/ 3 w 128"/>
                  <a:gd name="T19" fmla="*/ 2 h 170"/>
                  <a:gd name="T20" fmla="*/ 4 w 128"/>
                  <a:gd name="T21" fmla="*/ 1 h 170"/>
                  <a:gd name="T22" fmla="*/ 5 w 128"/>
                  <a:gd name="T23" fmla="*/ 0 h 170"/>
                  <a:gd name="T24" fmla="*/ 7 w 128"/>
                  <a:gd name="T25" fmla="*/ 0 h 170"/>
                  <a:gd name="T26" fmla="*/ 127 w 128"/>
                  <a:gd name="T27" fmla="*/ 69 h 170"/>
                  <a:gd name="T28" fmla="*/ 128 w 128"/>
                  <a:gd name="T29" fmla="*/ 71 h 170"/>
                  <a:gd name="T30" fmla="*/ 128 w 128"/>
                  <a:gd name="T31" fmla="*/ 134 h 170"/>
                  <a:gd name="T32" fmla="*/ 127 w 128"/>
                  <a:gd name="T33" fmla="*/ 136 h 170"/>
                  <a:gd name="T34" fmla="*/ 69 w 128"/>
                  <a:gd name="T35" fmla="*/ 169 h 170"/>
                  <a:gd name="T36" fmla="*/ 68 w 128"/>
                  <a:gd name="T37" fmla="*/ 170 h 170"/>
                  <a:gd name="T38" fmla="*/ 55 w 128"/>
                  <a:gd name="T39" fmla="*/ 158 h 170"/>
                  <a:gd name="T40" fmla="*/ 56 w 128"/>
                  <a:gd name="T41" fmla="*/ 159 h 170"/>
                  <a:gd name="T42" fmla="*/ 68 w 128"/>
                  <a:gd name="T43" fmla="*/ 165 h 170"/>
                  <a:gd name="T44" fmla="*/ 124 w 128"/>
                  <a:gd name="T45" fmla="*/ 133 h 170"/>
                  <a:gd name="T46" fmla="*/ 124 w 128"/>
                  <a:gd name="T47" fmla="*/ 72 h 170"/>
                  <a:gd name="T48" fmla="*/ 7 w 128"/>
                  <a:gd name="T49" fmla="*/ 5 h 170"/>
                  <a:gd name="T50" fmla="*/ 7 w 128"/>
                  <a:gd name="T51" fmla="*/ 142 h 170"/>
                  <a:gd name="T52" fmla="*/ 6 w 128"/>
                  <a:gd name="T53" fmla="*/ 144 h 170"/>
                  <a:gd name="T54" fmla="*/ 6 w 128"/>
                  <a:gd name="T55" fmla="*/ 144 h 170"/>
                  <a:gd name="T56" fmla="*/ 42 w 128"/>
                  <a:gd name="T57" fmla="*/ 165 h 170"/>
                  <a:gd name="T58" fmla="*/ 54 w 128"/>
                  <a:gd name="T59" fmla="*/ 159 h 170"/>
                  <a:gd name="T60" fmla="*/ 55 w 128"/>
                  <a:gd name="T61" fmla="*/ 158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8" h="170">
                    <a:moveTo>
                      <a:pt x="68" y="170"/>
                    </a:moveTo>
                    <a:cubicBezTo>
                      <a:pt x="67" y="170"/>
                      <a:pt x="67" y="170"/>
                      <a:pt x="67" y="169"/>
                    </a:cubicBezTo>
                    <a:cubicBezTo>
                      <a:pt x="55" y="163"/>
                      <a:pt x="55" y="163"/>
                      <a:pt x="55" y="163"/>
                    </a:cubicBezTo>
                    <a:cubicBezTo>
                      <a:pt x="43" y="169"/>
                      <a:pt x="43" y="169"/>
                      <a:pt x="43" y="169"/>
                    </a:cubicBezTo>
                    <a:cubicBezTo>
                      <a:pt x="43" y="169"/>
                      <a:pt x="42" y="169"/>
                      <a:pt x="41" y="169"/>
                    </a:cubicBezTo>
                    <a:cubicBezTo>
                      <a:pt x="1" y="146"/>
                      <a:pt x="1" y="146"/>
                      <a:pt x="1" y="146"/>
                    </a:cubicBezTo>
                    <a:cubicBezTo>
                      <a:pt x="1" y="146"/>
                      <a:pt x="0" y="145"/>
                      <a:pt x="0" y="144"/>
                    </a:cubicBezTo>
                    <a:cubicBezTo>
                      <a:pt x="0" y="143"/>
                      <a:pt x="1" y="143"/>
                      <a:pt x="1" y="142"/>
                    </a:cubicBezTo>
                    <a:cubicBezTo>
                      <a:pt x="3" y="141"/>
                      <a:pt x="3" y="141"/>
                      <a:pt x="3" y="14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0"/>
                    </a:cubicBezTo>
                    <a:cubicBezTo>
                      <a:pt x="127" y="69"/>
                      <a:pt x="127" y="69"/>
                      <a:pt x="127" y="69"/>
                    </a:cubicBezTo>
                    <a:cubicBezTo>
                      <a:pt x="127" y="69"/>
                      <a:pt x="128" y="70"/>
                      <a:pt x="128" y="71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28" y="135"/>
                      <a:pt x="127" y="135"/>
                      <a:pt x="127" y="136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8" y="170"/>
                      <a:pt x="68" y="170"/>
                      <a:pt x="68" y="170"/>
                    </a:cubicBezTo>
                    <a:close/>
                    <a:moveTo>
                      <a:pt x="55" y="158"/>
                    </a:moveTo>
                    <a:cubicBezTo>
                      <a:pt x="55" y="158"/>
                      <a:pt x="55" y="158"/>
                      <a:pt x="56" y="159"/>
                    </a:cubicBezTo>
                    <a:cubicBezTo>
                      <a:pt x="68" y="165"/>
                      <a:pt x="68" y="165"/>
                      <a:pt x="68" y="165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42"/>
                      <a:pt x="7" y="142"/>
                      <a:pt x="7" y="142"/>
                    </a:cubicBezTo>
                    <a:cubicBezTo>
                      <a:pt x="7" y="143"/>
                      <a:pt x="7" y="144"/>
                      <a:pt x="6" y="144"/>
                    </a:cubicBezTo>
                    <a:cubicBezTo>
                      <a:pt x="6" y="144"/>
                      <a:pt x="6" y="144"/>
                      <a:pt x="6" y="144"/>
                    </a:cubicBezTo>
                    <a:cubicBezTo>
                      <a:pt x="42" y="165"/>
                      <a:pt x="42" y="165"/>
                      <a:pt x="42" y="165"/>
                    </a:cubicBezTo>
                    <a:cubicBezTo>
                      <a:pt x="54" y="159"/>
                      <a:pt x="54" y="159"/>
                      <a:pt x="54" y="159"/>
                    </a:cubicBezTo>
                    <a:cubicBezTo>
                      <a:pt x="54" y="158"/>
                      <a:pt x="54" y="158"/>
                      <a:pt x="55" y="1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4" name="Freeform 972">
                <a:extLst>
                  <a:ext uri="{FF2B5EF4-FFF2-40B4-BE49-F238E27FC236}">
                    <a16:creationId xmlns:a16="http://schemas.microsoft.com/office/drawing/2014/main" id="{05A880E6-4ACF-4979-8DA5-C8847399BD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27" y="2221"/>
                <a:ext cx="141" cy="106"/>
              </a:xfrm>
              <a:custGeom>
                <a:avLst/>
                <a:gdLst>
                  <a:gd name="T0" fmla="*/ 45 w 60"/>
                  <a:gd name="T1" fmla="*/ 45 h 45"/>
                  <a:gd name="T2" fmla="*/ 44 w 60"/>
                  <a:gd name="T3" fmla="*/ 45 h 45"/>
                  <a:gd name="T4" fmla="*/ 1 w 60"/>
                  <a:gd name="T5" fmla="*/ 21 h 45"/>
                  <a:gd name="T6" fmla="*/ 0 w 60"/>
                  <a:gd name="T7" fmla="*/ 19 h 45"/>
                  <a:gd name="T8" fmla="*/ 1 w 60"/>
                  <a:gd name="T9" fmla="*/ 17 h 45"/>
                  <a:gd name="T10" fmla="*/ 30 w 60"/>
                  <a:gd name="T11" fmla="*/ 0 h 45"/>
                  <a:gd name="T12" fmla="*/ 32 w 60"/>
                  <a:gd name="T13" fmla="*/ 0 h 45"/>
                  <a:gd name="T14" fmla="*/ 59 w 60"/>
                  <a:gd name="T15" fmla="*/ 15 h 45"/>
                  <a:gd name="T16" fmla="*/ 60 w 60"/>
                  <a:gd name="T17" fmla="*/ 17 h 45"/>
                  <a:gd name="T18" fmla="*/ 59 w 60"/>
                  <a:gd name="T19" fmla="*/ 19 h 45"/>
                  <a:gd name="T20" fmla="*/ 47 w 60"/>
                  <a:gd name="T21" fmla="*/ 26 h 45"/>
                  <a:gd name="T22" fmla="*/ 47 w 60"/>
                  <a:gd name="T23" fmla="*/ 43 h 45"/>
                  <a:gd name="T24" fmla="*/ 46 w 60"/>
                  <a:gd name="T25" fmla="*/ 45 h 45"/>
                  <a:gd name="T26" fmla="*/ 45 w 60"/>
                  <a:gd name="T27" fmla="*/ 45 h 45"/>
                  <a:gd name="T28" fmla="*/ 6 w 60"/>
                  <a:gd name="T29" fmla="*/ 19 h 45"/>
                  <a:gd name="T30" fmla="*/ 43 w 60"/>
                  <a:gd name="T31" fmla="*/ 40 h 45"/>
                  <a:gd name="T32" fmla="*/ 43 w 60"/>
                  <a:gd name="T33" fmla="*/ 24 h 45"/>
                  <a:gd name="T34" fmla="*/ 44 w 60"/>
                  <a:gd name="T35" fmla="*/ 23 h 45"/>
                  <a:gd name="T36" fmla="*/ 54 w 60"/>
                  <a:gd name="T37" fmla="*/ 17 h 45"/>
                  <a:gd name="T38" fmla="*/ 31 w 60"/>
                  <a:gd name="T39" fmla="*/ 4 h 45"/>
                  <a:gd name="T40" fmla="*/ 6 w 60"/>
                  <a:gd name="T41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5">
                    <a:moveTo>
                      <a:pt x="45" y="45"/>
                    </a:moveTo>
                    <a:cubicBezTo>
                      <a:pt x="44" y="45"/>
                      <a:pt x="44" y="45"/>
                      <a:pt x="44" y="45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20"/>
                      <a:pt x="0" y="19"/>
                    </a:cubicBezTo>
                    <a:cubicBezTo>
                      <a:pt x="0" y="18"/>
                      <a:pt x="0" y="18"/>
                      <a:pt x="1" y="17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59" y="16"/>
                      <a:pt x="60" y="16"/>
                      <a:pt x="60" y="17"/>
                    </a:cubicBezTo>
                    <a:cubicBezTo>
                      <a:pt x="60" y="18"/>
                      <a:pt x="59" y="18"/>
                      <a:pt x="59" y="19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7" y="44"/>
                      <a:pt x="46" y="45"/>
                      <a:pt x="46" y="45"/>
                    </a:cubicBezTo>
                    <a:cubicBezTo>
                      <a:pt x="45" y="45"/>
                      <a:pt x="45" y="45"/>
                      <a:pt x="45" y="45"/>
                    </a:cubicBezTo>
                    <a:close/>
                    <a:moveTo>
                      <a:pt x="6" y="19"/>
                    </a:moveTo>
                    <a:cubicBezTo>
                      <a:pt x="43" y="40"/>
                      <a:pt x="43" y="40"/>
                      <a:pt x="43" y="4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4" y="23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31" y="4"/>
                      <a:pt x="31" y="4"/>
                      <a:pt x="31" y="4"/>
                    </a:cubicBezTo>
                    <a:lnTo>
                      <a:pt x="6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5" name="Freeform 973">
                <a:extLst>
                  <a:ext uri="{FF2B5EF4-FFF2-40B4-BE49-F238E27FC236}">
                    <a16:creationId xmlns:a16="http://schemas.microsoft.com/office/drawing/2014/main" id="{DD7C542A-9371-481F-A231-E923C15025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76" y="2473"/>
                <a:ext cx="62" cy="182"/>
              </a:xfrm>
              <a:custGeom>
                <a:avLst/>
                <a:gdLst>
                  <a:gd name="T0" fmla="*/ 13 w 26"/>
                  <a:gd name="T1" fmla="*/ 77 h 77"/>
                  <a:gd name="T2" fmla="*/ 12 w 26"/>
                  <a:gd name="T3" fmla="*/ 77 h 77"/>
                  <a:gd name="T4" fmla="*/ 1 w 26"/>
                  <a:gd name="T5" fmla="*/ 71 h 77"/>
                  <a:gd name="T6" fmla="*/ 0 w 26"/>
                  <a:gd name="T7" fmla="*/ 69 h 77"/>
                  <a:gd name="T8" fmla="*/ 0 w 26"/>
                  <a:gd name="T9" fmla="*/ 7 h 77"/>
                  <a:gd name="T10" fmla="*/ 1 w 26"/>
                  <a:gd name="T11" fmla="*/ 6 h 77"/>
                  <a:gd name="T12" fmla="*/ 10 w 26"/>
                  <a:gd name="T13" fmla="*/ 1 h 77"/>
                  <a:gd name="T14" fmla="*/ 12 w 26"/>
                  <a:gd name="T15" fmla="*/ 1 h 77"/>
                  <a:gd name="T16" fmla="*/ 25 w 26"/>
                  <a:gd name="T17" fmla="*/ 8 h 77"/>
                  <a:gd name="T18" fmla="*/ 26 w 26"/>
                  <a:gd name="T19" fmla="*/ 10 h 77"/>
                  <a:gd name="T20" fmla="*/ 26 w 26"/>
                  <a:gd name="T21" fmla="*/ 69 h 77"/>
                  <a:gd name="T22" fmla="*/ 25 w 26"/>
                  <a:gd name="T23" fmla="*/ 71 h 77"/>
                  <a:gd name="T24" fmla="*/ 14 w 26"/>
                  <a:gd name="T25" fmla="*/ 77 h 77"/>
                  <a:gd name="T26" fmla="*/ 13 w 26"/>
                  <a:gd name="T27" fmla="*/ 77 h 77"/>
                  <a:gd name="T28" fmla="*/ 4 w 26"/>
                  <a:gd name="T29" fmla="*/ 68 h 77"/>
                  <a:gd name="T30" fmla="*/ 13 w 26"/>
                  <a:gd name="T31" fmla="*/ 73 h 77"/>
                  <a:gd name="T32" fmla="*/ 22 w 26"/>
                  <a:gd name="T33" fmla="*/ 68 h 77"/>
                  <a:gd name="T34" fmla="*/ 22 w 26"/>
                  <a:gd name="T35" fmla="*/ 11 h 77"/>
                  <a:gd name="T36" fmla="*/ 11 w 26"/>
                  <a:gd name="T37" fmla="*/ 5 h 77"/>
                  <a:gd name="T38" fmla="*/ 4 w 26"/>
                  <a:gd name="T39" fmla="*/ 9 h 77"/>
                  <a:gd name="T40" fmla="*/ 4 w 26"/>
                  <a:gd name="T41" fmla="*/ 68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77">
                    <a:moveTo>
                      <a:pt x="13" y="77"/>
                    </a:moveTo>
                    <a:cubicBezTo>
                      <a:pt x="13" y="77"/>
                      <a:pt x="12" y="77"/>
                      <a:pt x="12" y="77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6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5" y="9"/>
                      <a:pt x="26" y="9"/>
                      <a:pt x="26" y="10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70"/>
                      <a:pt x="25" y="71"/>
                      <a:pt x="25" y="71"/>
                    </a:cubicBezTo>
                    <a:cubicBezTo>
                      <a:pt x="14" y="77"/>
                      <a:pt x="14" y="77"/>
                      <a:pt x="14" y="77"/>
                    </a:cubicBezTo>
                    <a:cubicBezTo>
                      <a:pt x="14" y="77"/>
                      <a:pt x="13" y="77"/>
                      <a:pt x="13" y="77"/>
                    </a:cubicBezTo>
                    <a:close/>
                    <a:moveTo>
                      <a:pt x="4" y="68"/>
                    </a:moveTo>
                    <a:cubicBezTo>
                      <a:pt x="13" y="73"/>
                      <a:pt x="13" y="73"/>
                      <a:pt x="13" y="7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6" name="Freeform 974">
                <a:extLst>
                  <a:ext uri="{FF2B5EF4-FFF2-40B4-BE49-F238E27FC236}">
                    <a16:creationId xmlns:a16="http://schemas.microsoft.com/office/drawing/2014/main" id="{9530AE9E-A7DA-42E8-A87C-639F0790C3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00" y="2173"/>
                <a:ext cx="137" cy="90"/>
              </a:xfrm>
              <a:custGeom>
                <a:avLst/>
                <a:gdLst>
                  <a:gd name="T0" fmla="*/ 28 w 58"/>
                  <a:gd name="T1" fmla="*/ 38 h 38"/>
                  <a:gd name="T2" fmla="*/ 27 w 58"/>
                  <a:gd name="T3" fmla="*/ 38 h 38"/>
                  <a:gd name="T4" fmla="*/ 1 w 58"/>
                  <a:gd name="T5" fmla="*/ 23 h 38"/>
                  <a:gd name="T6" fmla="*/ 0 w 58"/>
                  <a:gd name="T7" fmla="*/ 21 h 38"/>
                  <a:gd name="T8" fmla="*/ 1 w 58"/>
                  <a:gd name="T9" fmla="*/ 19 h 38"/>
                  <a:gd name="T10" fmla="*/ 33 w 58"/>
                  <a:gd name="T11" fmla="*/ 1 h 38"/>
                  <a:gd name="T12" fmla="*/ 35 w 58"/>
                  <a:gd name="T13" fmla="*/ 1 h 38"/>
                  <a:gd name="T14" fmla="*/ 57 w 58"/>
                  <a:gd name="T15" fmla="*/ 13 h 38"/>
                  <a:gd name="T16" fmla="*/ 58 w 58"/>
                  <a:gd name="T17" fmla="*/ 15 h 38"/>
                  <a:gd name="T18" fmla="*/ 58 w 58"/>
                  <a:gd name="T19" fmla="*/ 20 h 38"/>
                  <a:gd name="T20" fmla="*/ 57 w 58"/>
                  <a:gd name="T21" fmla="*/ 21 h 38"/>
                  <a:gd name="T22" fmla="*/ 29 w 58"/>
                  <a:gd name="T23" fmla="*/ 38 h 38"/>
                  <a:gd name="T24" fmla="*/ 28 w 58"/>
                  <a:gd name="T25" fmla="*/ 38 h 38"/>
                  <a:gd name="T26" fmla="*/ 6 w 58"/>
                  <a:gd name="T27" fmla="*/ 21 h 38"/>
                  <a:gd name="T28" fmla="*/ 28 w 58"/>
                  <a:gd name="T29" fmla="*/ 34 h 38"/>
                  <a:gd name="T30" fmla="*/ 54 w 58"/>
                  <a:gd name="T31" fmla="*/ 19 h 38"/>
                  <a:gd name="T32" fmla="*/ 54 w 58"/>
                  <a:gd name="T33" fmla="*/ 16 h 38"/>
                  <a:gd name="T34" fmla="*/ 34 w 58"/>
                  <a:gd name="T35" fmla="*/ 5 h 38"/>
                  <a:gd name="T36" fmla="*/ 6 w 58"/>
                  <a:gd name="T37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8" h="38">
                    <a:moveTo>
                      <a:pt x="28" y="38"/>
                    </a:moveTo>
                    <a:cubicBezTo>
                      <a:pt x="28" y="38"/>
                      <a:pt x="27" y="38"/>
                      <a:pt x="27" y="38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20"/>
                      <a:pt x="1" y="19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4" y="0"/>
                      <a:pt x="35" y="0"/>
                      <a:pt x="35" y="1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8" y="14"/>
                      <a:pt x="58" y="14"/>
                      <a:pt x="58" y="15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8" y="20"/>
                      <a:pt x="58" y="21"/>
                      <a:pt x="57" y="21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9" y="38"/>
                      <a:pt x="29" y="38"/>
                      <a:pt x="28" y="38"/>
                    </a:cubicBezTo>
                    <a:close/>
                    <a:moveTo>
                      <a:pt x="6" y="21"/>
                    </a:moveTo>
                    <a:cubicBezTo>
                      <a:pt x="28" y="34"/>
                      <a:pt x="28" y="34"/>
                      <a:pt x="28" y="3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34" y="5"/>
                      <a:pt x="34" y="5"/>
                      <a:pt x="34" y="5"/>
                    </a:cubicBezTo>
                    <a:lnTo>
                      <a:pt x="6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7" name="Freeform 975">
                <a:extLst>
                  <a:ext uri="{FF2B5EF4-FFF2-40B4-BE49-F238E27FC236}">
                    <a16:creationId xmlns:a16="http://schemas.microsoft.com/office/drawing/2014/main" id="{522AA326-9C35-4BF9-86FB-6000E7771D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31" y="2379"/>
                <a:ext cx="155" cy="307"/>
              </a:xfrm>
              <a:custGeom>
                <a:avLst/>
                <a:gdLst>
                  <a:gd name="T0" fmla="*/ 43 w 66"/>
                  <a:gd name="T1" fmla="*/ 130 h 130"/>
                  <a:gd name="T2" fmla="*/ 42 w 66"/>
                  <a:gd name="T3" fmla="*/ 130 h 130"/>
                  <a:gd name="T4" fmla="*/ 42 w 66"/>
                  <a:gd name="T5" fmla="*/ 129 h 130"/>
                  <a:gd name="T6" fmla="*/ 41 w 66"/>
                  <a:gd name="T7" fmla="*/ 128 h 130"/>
                  <a:gd name="T8" fmla="*/ 41 w 66"/>
                  <a:gd name="T9" fmla="*/ 74 h 130"/>
                  <a:gd name="T10" fmla="*/ 1 w 66"/>
                  <a:gd name="T11" fmla="*/ 51 h 130"/>
                  <a:gd name="T12" fmla="*/ 0 w 66"/>
                  <a:gd name="T13" fmla="*/ 49 h 130"/>
                  <a:gd name="T14" fmla="*/ 0 w 66"/>
                  <a:gd name="T15" fmla="*/ 34 h 130"/>
                  <a:gd name="T16" fmla="*/ 1 w 66"/>
                  <a:gd name="T17" fmla="*/ 33 h 130"/>
                  <a:gd name="T18" fmla="*/ 14 w 66"/>
                  <a:gd name="T19" fmla="*/ 25 h 130"/>
                  <a:gd name="T20" fmla="*/ 15 w 66"/>
                  <a:gd name="T21" fmla="*/ 25 h 130"/>
                  <a:gd name="T22" fmla="*/ 15 w 66"/>
                  <a:gd name="T23" fmla="*/ 24 h 130"/>
                  <a:gd name="T24" fmla="*/ 57 w 66"/>
                  <a:gd name="T25" fmla="*/ 0 h 130"/>
                  <a:gd name="T26" fmla="*/ 59 w 66"/>
                  <a:gd name="T27" fmla="*/ 0 h 130"/>
                  <a:gd name="T28" fmla="*/ 65 w 66"/>
                  <a:gd name="T29" fmla="*/ 4 h 130"/>
                  <a:gd name="T30" fmla="*/ 66 w 66"/>
                  <a:gd name="T31" fmla="*/ 5 h 130"/>
                  <a:gd name="T32" fmla="*/ 65 w 66"/>
                  <a:gd name="T33" fmla="*/ 7 h 130"/>
                  <a:gd name="T34" fmla="*/ 17 w 66"/>
                  <a:gd name="T35" fmla="*/ 35 h 130"/>
                  <a:gd name="T36" fmla="*/ 53 w 66"/>
                  <a:gd name="T37" fmla="*/ 56 h 130"/>
                  <a:gd name="T38" fmla="*/ 54 w 66"/>
                  <a:gd name="T39" fmla="*/ 58 h 130"/>
                  <a:gd name="T40" fmla="*/ 53 w 66"/>
                  <a:gd name="T41" fmla="*/ 59 h 130"/>
                  <a:gd name="T42" fmla="*/ 45 w 66"/>
                  <a:gd name="T43" fmla="*/ 64 h 130"/>
                  <a:gd name="T44" fmla="*/ 45 w 66"/>
                  <a:gd name="T45" fmla="*/ 128 h 130"/>
                  <a:gd name="T46" fmla="*/ 44 w 66"/>
                  <a:gd name="T47" fmla="*/ 130 h 130"/>
                  <a:gd name="T48" fmla="*/ 43 w 66"/>
                  <a:gd name="T49" fmla="*/ 130 h 130"/>
                  <a:gd name="T50" fmla="*/ 4 w 66"/>
                  <a:gd name="T51" fmla="*/ 48 h 130"/>
                  <a:gd name="T52" fmla="*/ 41 w 66"/>
                  <a:gd name="T53" fmla="*/ 69 h 130"/>
                  <a:gd name="T54" fmla="*/ 41 w 66"/>
                  <a:gd name="T55" fmla="*/ 62 h 130"/>
                  <a:gd name="T56" fmla="*/ 42 w 66"/>
                  <a:gd name="T57" fmla="*/ 61 h 130"/>
                  <a:gd name="T58" fmla="*/ 48 w 66"/>
                  <a:gd name="T59" fmla="*/ 58 h 130"/>
                  <a:gd name="T60" fmla="*/ 12 w 66"/>
                  <a:gd name="T61" fmla="*/ 37 h 130"/>
                  <a:gd name="T62" fmla="*/ 11 w 66"/>
                  <a:gd name="T63" fmla="*/ 35 h 130"/>
                  <a:gd name="T64" fmla="*/ 12 w 66"/>
                  <a:gd name="T65" fmla="*/ 33 h 130"/>
                  <a:gd name="T66" fmla="*/ 60 w 66"/>
                  <a:gd name="T67" fmla="*/ 5 h 130"/>
                  <a:gd name="T68" fmla="*/ 58 w 66"/>
                  <a:gd name="T69" fmla="*/ 4 h 130"/>
                  <a:gd name="T70" fmla="*/ 18 w 66"/>
                  <a:gd name="T71" fmla="*/ 27 h 130"/>
                  <a:gd name="T72" fmla="*/ 18 w 66"/>
                  <a:gd name="T73" fmla="*/ 28 h 130"/>
                  <a:gd name="T74" fmla="*/ 17 w 66"/>
                  <a:gd name="T75" fmla="*/ 30 h 130"/>
                  <a:gd name="T76" fmla="*/ 15 w 66"/>
                  <a:gd name="T77" fmla="*/ 30 h 130"/>
                  <a:gd name="T78" fmla="*/ 15 w 66"/>
                  <a:gd name="T79" fmla="*/ 29 h 130"/>
                  <a:gd name="T80" fmla="*/ 4 w 66"/>
                  <a:gd name="T81" fmla="*/ 35 h 130"/>
                  <a:gd name="T82" fmla="*/ 4 w 66"/>
                  <a:gd name="T83" fmla="*/ 4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130">
                    <a:moveTo>
                      <a:pt x="43" y="130"/>
                    </a:moveTo>
                    <a:cubicBezTo>
                      <a:pt x="43" y="130"/>
                      <a:pt x="43" y="130"/>
                      <a:pt x="42" y="130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1" y="129"/>
                      <a:pt x="41" y="128"/>
                      <a:pt x="41" y="128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4"/>
                      <a:pt x="1" y="33"/>
                      <a:pt x="1" y="33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5"/>
                      <a:pt x="14" y="25"/>
                      <a:pt x="15" y="25"/>
                    </a:cubicBezTo>
                    <a:cubicBezTo>
                      <a:pt x="15" y="25"/>
                      <a:pt x="15" y="24"/>
                      <a:pt x="15" y="24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8" y="0"/>
                      <a:pt x="59" y="0"/>
                      <a:pt x="59" y="0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6" y="4"/>
                      <a:pt x="66" y="5"/>
                      <a:pt x="66" y="5"/>
                    </a:cubicBezTo>
                    <a:cubicBezTo>
                      <a:pt x="66" y="6"/>
                      <a:pt x="66" y="7"/>
                      <a:pt x="65" y="7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53" y="56"/>
                      <a:pt x="54" y="57"/>
                      <a:pt x="54" y="58"/>
                    </a:cubicBezTo>
                    <a:cubicBezTo>
                      <a:pt x="54" y="58"/>
                      <a:pt x="53" y="59"/>
                      <a:pt x="53" y="59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5" y="129"/>
                      <a:pt x="45" y="129"/>
                      <a:pt x="44" y="130"/>
                    </a:cubicBezTo>
                    <a:cubicBezTo>
                      <a:pt x="44" y="130"/>
                      <a:pt x="44" y="130"/>
                      <a:pt x="43" y="130"/>
                    </a:cubicBezTo>
                    <a:close/>
                    <a:moveTo>
                      <a:pt x="4" y="48"/>
                    </a:moveTo>
                    <a:cubicBezTo>
                      <a:pt x="41" y="69"/>
                      <a:pt x="41" y="69"/>
                      <a:pt x="41" y="69"/>
                    </a:cubicBezTo>
                    <a:cubicBezTo>
                      <a:pt x="41" y="62"/>
                      <a:pt x="41" y="62"/>
                      <a:pt x="41" y="62"/>
                    </a:cubicBezTo>
                    <a:cubicBezTo>
                      <a:pt x="41" y="62"/>
                      <a:pt x="42" y="61"/>
                      <a:pt x="42" y="61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1" y="36"/>
                      <a:pt x="11" y="36"/>
                      <a:pt x="11" y="35"/>
                    </a:cubicBezTo>
                    <a:cubicBezTo>
                      <a:pt x="11" y="34"/>
                      <a:pt x="11" y="34"/>
                      <a:pt x="12" y="33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18" y="29"/>
                      <a:pt x="18" y="29"/>
                      <a:pt x="17" y="30"/>
                    </a:cubicBezTo>
                    <a:cubicBezTo>
                      <a:pt x="17" y="30"/>
                      <a:pt x="16" y="30"/>
                      <a:pt x="15" y="30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4" y="35"/>
                      <a:pt x="4" y="35"/>
                      <a:pt x="4" y="35"/>
                    </a:cubicBezTo>
                    <a:lnTo>
                      <a:pt x="4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8" name="Freeform 976">
                <a:extLst>
                  <a:ext uri="{FF2B5EF4-FFF2-40B4-BE49-F238E27FC236}">
                    <a16:creationId xmlns:a16="http://schemas.microsoft.com/office/drawing/2014/main" id="{BC7BB45F-B672-4F37-B539-4FE4D8E17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2" y="2684"/>
                <a:ext cx="12" cy="12"/>
              </a:xfrm>
              <a:custGeom>
                <a:avLst/>
                <a:gdLst>
                  <a:gd name="T0" fmla="*/ 2 w 5"/>
                  <a:gd name="T1" fmla="*/ 5 h 5"/>
                  <a:gd name="T2" fmla="*/ 1 w 5"/>
                  <a:gd name="T3" fmla="*/ 4 h 5"/>
                  <a:gd name="T4" fmla="*/ 0 w 5"/>
                  <a:gd name="T5" fmla="*/ 3 h 5"/>
                  <a:gd name="T6" fmla="*/ 0 w 5"/>
                  <a:gd name="T7" fmla="*/ 2 h 5"/>
                  <a:gd name="T8" fmla="*/ 1 w 5"/>
                  <a:gd name="T9" fmla="*/ 0 h 5"/>
                  <a:gd name="T10" fmla="*/ 3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4 w 5"/>
                  <a:gd name="T17" fmla="*/ 4 h 5"/>
                  <a:gd name="T18" fmla="*/ 3 w 5"/>
                  <a:gd name="T19" fmla="*/ 4 h 5"/>
                  <a:gd name="T20" fmla="*/ 2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5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5" y="1"/>
                      <a:pt x="5" y="2"/>
                    </a:cubicBezTo>
                    <a:cubicBezTo>
                      <a:pt x="5" y="3"/>
                      <a:pt x="4" y="3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9" name="Freeform 977">
                <a:extLst>
                  <a:ext uri="{FF2B5EF4-FFF2-40B4-BE49-F238E27FC236}">
                    <a16:creationId xmlns:a16="http://schemas.microsoft.com/office/drawing/2014/main" id="{6243D0AF-8ED3-4A90-A3B1-F8EF90F485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32" y="2511"/>
                <a:ext cx="149" cy="180"/>
              </a:xfrm>
              <a:custGeom>
                <a:avLst/>
                <a:gdLst>
                  <a:gd name="T0" fmla="*/ 4 w 63"/>
                  <a:gd name="T1" fmla="*/ 76 h 76"/>
                  <a:gd name="T2" fmla="*/ 3 w 63"/>
                  <a:gd name="T3" fmla="*/ 76 h 76"/>
                  <a:gd name="T4" fmla="*/ 1 w 63"/>
                  <a:gd name="T5" fmla="*/ 75 h 76"/>
                  <a:gd name="T6" fmla="*/ 0 w 63"/>
                  <a:gd name="T7" fmla="*/ 73 h 76"/>
                  <a:gd name="T8" fmla="*/ 0 w 63"/>
                  <a:gd name="T9" fmla="*/ 7 h 76"/>
                  <a:gd name="T10" fmla="*/ 1 w 63"/>
                  <a:gd name="T11" fmla="*/ 6 h 76"/>
                  <a:gd name="T12" fmla="*/ 9 w 63"/>
                  <a:gd name="T13" fmla="*/ 1 h 76"/>
                  <a:gd name="T14" fmla="*/ 11 w 63"/>
                  <a:gd name="T15" fmla="*/ 1 h 76"/>
                  <a:gd name="T16" fmla="*/ 38 w 63"/>
                  <a:gd name="T17" fmla="*/ 16 h 76"/>
                  <a:gd name="T18" fmla="*/ 60 w 63"/>
                  <a:gd name="T19" fmla="*/ 4 h 76"/>
                  <a:gd name="T20" fmla="*/ 62 w 63"/>
                  <a:gd name="T21" fmla="*/ 4 h 76"/>
                  <a:gd name="T22" fmla="*/ 63 w 63"/>
                  <a:gd name="T23" fmla="*/ 5 h 76"/>
                  <a:gd name="T24" fmla="*/ 63 w 63"/>
                  <a:gd name="T25" fmla="*/ 41 h 76"/>
                  <a:gd name="T26" fmla="*/ 62 w 63"/>
                  <a:gd name="T27" fmla="*/ 43 h 76"/>
                  <a:gd name="T28" fmla="*/ 5 w 63"/>
                  <a:gd name="T29" fmla="*/ 76 h 76"/>
                  <a:gd name="T30" fmla="*/ 4 w 63"/>
                  <a:gd name="T31" fmla="*/ 76 h 76"/>
                  <a:gd name="T32" fmla="*/ 4 w 63"/>
                  <a:gd name="T33" fmla="*/ 72 h 76"/>
                  <a:gd name="T34" fmla="*/ 4 w 63"/>
                  <a:gd name="T35" fmla="*/ 72 h 76"/>
                  <a:gd name="T36" fmla="*/ 59 w 63"/>
                  <a:gd name="T37" fmla="*/ 40 h 76"/>
                  <a:gd name="T38" fmla="*/ 59 w 63"/>
                  <a:gd name="T39" fmla="*/ 9 h 76"/>
                  <a:gd name="T40" fmla="*/ 39 w 63"/>
                  <a:gd name="T41" fmla="*/ 20 h 76"/>
                  <a:gd name="T42" fmla="*/ 37 w 63"/>
                  <a:gd name="T43" fmla="*/ 20 h 76"/>
                  <a:gd name="T44" fmla="*/ 10 w 63"/>
                  <a:gd name="T45" fmla="*/ 5 h 76"/>
                  <a:gd name="T46" fmla="*/ 4 w 63"/>
                  <a:gd name="T47" fmla="*/ 9 h 76"/>
                  <a:gd name="T48" fmla="*/ 4 w 63"/>
                  <a:gd name="T49" fmla="*/ 7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76">
                    <a:moveTo>
                      <a:pt x="4" y="76"/>
                    </a:moveTo>
                    <a:cubicBezTo>
                      <a:pt x="4" y="76"/>
                      <a:pt x="4" y="76"/>
                      <a:pt x="3" y="76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0" y="74"/>
                      <a:pt x="0" y="74"/>
                      <a:pt x="0" y="7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61" y="3"/>
                      <a:pt x="61" y="3"/>
                      <a:pt x="62" y="4"/>
                    </a:cubicBezTo>
                    <a:cubicBezTo>
                      <a:pt x="63" y="4"/>
                      <a:pt x="63" y="5"/>
                      <a:pt x="63" y="5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2"/>
                      <a:pt x="63" y="43"/>
                      <a:pt x="62" y="43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76"/>
                      <a:pt x="5" y="76"/>
                      <a:pt x="4" y="76"/>
                    </a:cubicBezTo>
                    <a:close/>
                    <a:moveTo>
                      <a:pt x="4" y="72"/>
                    </a:moveTo>
                    <a:cubicBezTo>
                      <a:pt x="4" y="72"/>
                      <a:pt x="4" y="72"/>
                      <a:pt x="4" y="72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21"/>
                      <a:pt x="38" y="21"/>
                      <a:pt x="37" y="20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0" name="Freeform 978">
                <a:extLst>
                  <a:ext uri="{FF2B5EF4-FFF2-40B4-BE49-F238E27FC236}">
                    <a16:creationId xmlns:a16="http://schemas.microsoft.com/office/drawing/2014/main" id="{22AEB791-641B-4CB6-8276-7AC1F746EF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76" y="2464"/>
                <a:ext cx="26" cy="28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1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7 h 12"/>
                  <a:gd name="T18" fmla="*/ 3 w 11"/>
                  <a:gd name="T19" fmla="*/ 11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2" y="11"/>
                      <a:pt x="1" y="11"/>
                    </a:cubicBezTo>
                    <a:cubicBezTo>
                      <a:pt x="1" y="11"/>
                      <a:pt x="0" y="10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6"/>
                      <a:pt x="11" y="7"/>
                      <a:pt x="10" y="7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1" name="Freeform 979">
                <a:extLst>
                  <a:ext uri="{FF2B5EF4-FFF2-40B4-BE49-F238E27FC236}">
                    <a16:creationId xmlns:a16="http://schemas.microsoft.com/office/drawing/2014/main" id="{B55E91DB-CF68-49C4-A55F-5D4A054419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2" y="2608"/>
                <a:ext cx="217" cy="130"/>
              </a:xfrm>
              <a:custGeom>
                <a:avLst/>
                <a:gdLst>
                  <a:gd name="T0" fmla="*/ 34 w 92"/>
                  <a:gd name="T1" fmla="*/ 55 h 55"/>
                  <a:gd name="T2" fmla="*/ 33 w 92"/>
                  <a:gd name="T3" fmla="*/ 55 h 55"/>
                  <a:gd name="T4" fmla="*/ 1 w 92"/>
                  <a:gd name="T5" fmla="*/ 36 h 55"/>
                  <a:gd name="T6" fmla="*/ 0 w 92"/>
                  <a:gd name="T7" fmla="*/ 34 h 55"/>
                  <a:gd name="T8" fmla="*/ 1 w 92"/>
                  <a:gd name="T9" fmla="*/ 32 h 55"/>
                  <a:gd name="T10" fmla="*/ 57 w 92"/>
                  <a:gd name="T11" fmla="*/ 0 h 55"/>
                  <a:gd name="T12" fmla="*/ 59 w 92"/>
                  <a:gd name="T13" fmla="*/ 0 h 55"/>
                  <a:gd name="T14" fmla="*/ 91 w 92"/>
                  <a:gd name="T15" fmla="*/ 19 h 55"/>
                  <a:gd name="T16" fmla="*/ 92 w 92"/>
                  <a:gd name="T17" fmla="*/ 21 h 55"/>
                  <a:gd name="T18" fmla="*/ 91 w 92"/>
                  <a:gd name="T19" fmla="*/ 22 h 55"/>
                  <a:gd name="T20" fmla="*/ 35 w 92"/>
                  <a:gd name="T21" fmla="*/ 55 h 55"/>
                  <a:gd name="T22" fmla="*/ 34 w 92"/>
                  <a:gd name="T23" fmla="*/ 55 h 55"/>
                  <a:gd name="T24" fmla="*/ 6 w 92"/>
                  <a:gd name="T25" fmla="*/ 34 h 55"/>
                  <a:gd name="T26" fmla="*/ 34 w 92"/>
                  <a:gd name="T27" fmla="*/ 51 h 55"/>
                  <a:gd name="T28" fmla="*/ 86 w 92"/>
                  <a:gd name="T29" fmla="*/ 21 h 55"/>
                  <a:gd name="T30" fmla="*/ 58 w 92"/>
                  <a:gd name="T31" fmla="*/ 4 h 55"/>
                  <a:gd name="T32" fmla="*/ 6 w 92"/>
                  <a:gd name="T33" fmla="*/ 3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2" h="55">
                    <a:moveTo>
                      <a:pt x="34" y="55"/>
                    </a:moveTo>
                    <a:cubicBezTo>
                      <a:pt x="34" y="55"/>
                      <a:pt x="34" y="55"/>
                      <a:pt x="33" y="55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6"/>
                      <a:pt x="0" y="35"/>
                      <a:pt x="0" y="34"/>
                    </a:cubicBezTo>
                    <a:cubicBezTo>
                      <a:pt x="0" y="33"/>
                      <a:pt x="0" y="33"/>
                      <a:pt x="1" y="32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7" y="0"/>
                      <a:pt x="58" y="0"/>
                      <a:pt x="59" y="0"/>
                    </a:cubicBezTo>
                    <a:cubicBezTo>
                      <a:pt x="91" y="19"/>
                      <a:pt x="91" y="19"/>
                      <a:pt x="91" y="19"/>
                    </a:cubicBezTo>
                    <a:cubicBezTo>
                      <a:pt x="92" y="19"/>
                      <a:pt x="92" y="20"/>
                      <a:pt x="92" y="21"/>
                    </a:cubicBezTo>
                    <a:cubicBezTo>
                      <a:pt x="92" y="21"/>
                      <a:pt x="92" y="22"/>
                      <a:pt x="91" y="22"/>
                    </a:cubicBez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5"/>
                      <a:pt x="35" y="55"/>
                      <a:pt x="34" y="55"/>
                    </a:cubicBezTo>
                    <a:close/>
                    <a:moveTo>
                      <a:pt x="6" y="34"/>
                    </a:moveTo>
                    <a:cubicBezTo>
                      <a:pt x="34" y="51"/>
                      <a:pt x="34" y="51"/>
                      <a:pt x="34" y="51"/>
                    </a:cubicBezTo>
                    <a:cubicBezTo>
                      <a:pt x="86" y="21"/>
                      <a:pt x="86" y="21"/>
                      <a:pt x="86" y="21"/>
                    </a:cubicBezTo>
                    <a:cubicBezTo>
                      <a:pt x="58" y="4"/>
                      <a:pt x="58" y="4"/>
                      <a:pt x="58" y="4"/>
                    </a:cubicBezTo>
                    <a:lnTo>
                      <a:pt x="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2" name="Freeform 980">
                <a:extLst>
                  <a:ext uri="{FF2B5EF4-FFF2-40B4-BE49-F238E27FC236}">
                    <a16:creationId xmlns:a16="http://schemas.microsoft.com/office/drawing/2014/main" id="{47D17E30-A57B-42D4-A973-CD3827DF0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77" y="2488"/>
                <a:ext cx="130" cy="241"/>
              </a:xfrm>
              <a:custGeom>
                <a:avLst/>
                <a:gdLst>
                  <a:gd name="T0" fmla="*/ 2 w 55"/>
                  <a:gd name="T1" fmla="*/ 102 h 102"/>
                  <a:gd name="T2" fmla="*/ 1 w 55"/>
                  <a:gd name="T3" fmla="*/ 102 h 102"/>
                  <a:gd name="T4" fmla="*/ 0 w 55"/>
                  <a:gd name="T5" fmla="*/ 100 h 102"/>
                  <a:gd name="T6" fmla="*/ 0 w 55"/>
                  <a:gd name="T7" fmla="*/ 26 h 102"/>
                  <a:gd name="T8" fmla="*/ 1 w 55"/>
                  <a:gd name="T9" fmla="*/ 24 h 102"/>
                  <a:gd name="T10" fmla="*/ 42 w 55"/>
                  <a:gd name="T11" fmla="*/ 1 h 102"/>
                  <a:gd name="T12" fmla="*/ 44 w 55"/>
                  <a:gd name="T13" fmla="*/ 1 h 102"/>
                  <a:gd name="T14" fmla="*/ 45 w 55"/>
                  <a:gd name="T15" fmla="*/ 2 h 102"/>
                  <a:gd name="T16" fmla="*/ 45 w 55"/>
                  <a:gd name="T17" fmla="*/ 63 h 102"/>
                  <a:gd name="T18" fmla="*/ 54 w 55"/>
                  <a:gd name="T19" fmla="*/ 69 h 102"/>
                  <a:gd name="T20" fmla="*/ 55 w 55"/>
                  <a:gd name="T21" fmla="*/ 70 h 102"/>
                  <a:gd name="T22" fmla="*/ 54 w 55"/>
                  <a:gd name="T23" fmla="*/ 72 h 102"/>
                  <a:gd name="T24" fmla="*/ 3 w 55"/>
                  <a:gd name="T25" fmla="*/ 102 h 102"/>
                  <a:gd name="T26" fmla="*/ 2 w 55"/>
                  <a:gd name="T27" fmla="*/ 102 h 102"/>
                  <a:gd name="T28" fmla="*/ 4 w 55"/>
                  <a:gd name="T29" fmla="*/ 27 h 102"/>
                  <a:gd name="T30" fmla="*/ 4 w 55"/>
                  <a:gd name="T31" fmla="*/ 97 h 102"/>
                  <a:gd name="T32" fmla="*/ 49 w 55"/>
                  <a:gd name="T33" fmla="*/ 70 h 102"/>
                  <a:gd name="T34" fmla="*/ 42 w 55"/>
                  <a:gd name="T35" fmla="*/ 66 h 102"/>
                  <a:gd name="T36" fmla="*/ 41 w 55"/>
                  <a:gd name="T37" fmla="*/ 64 h 102"/>
                  <a:gd name="T38" fmla="*/ 41 w 55"/>
                  <a:gd name="T39" fmla="*/ 6 h 102"/>
                  <a:gd name="T40" fmla="*/ 4 w 55"/>
                  <a:gd name="T41" fmla="*/ 2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5" h="102">
                    <a:moveTo>
                      <a:pt x="2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2"/>
                      <a:pt x="0" y="101"/>
                      <a:pt x="0" y="10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5"/>
                      <a:pt x="0" y="25"/>
                      <a:pt x="1" y="24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3" y="0"/>
                      <a:pt x="44" y="1"/>
                    </a:cubicBezTo>
                    <a:cubicBezTo>
                      <a:pt x="44" y="1"/>
                      <a:pt x="45" y="2"/>
                      <a:pt x="45" y="2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54" y="69"/>
                      <a:pt x="54" y="69"/>
                      <a:pt x="54" y="69"/>
                    </a:cubicBezTo>
                    <a:cubicBezTo>
                      <a:pt x="55" y="69"/>
                      <a:pt x="55" y="70"/>
                      <a:pt x="55" y="70"/>
                    </a:cubicBezTo>
                    <a:cubicBezTo>
                      <a:pt x="55" y="71"/>
                      <a:pt x="55" y="72"/>
                      <a:pt x="54" y="72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2" y="102"/>
                      <a:pt x="2" y="102"/>
                      <a:pt x="2" y="102"/>
                    </a:cubicBezTo>
                    <a:close/>
                    <a:moveTo>
                      <a:pt x="4" y="27"/>
                    </a:moveTo>
                    <a:cubicBezTo>
                      <a:pt x="4" y="97"/>
                      <a:pt x="4" y="97"/>
                      <a:pt x="4" y="97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2" y="66"/>
                      <a:pt x="42" y="66"/>
                      <a:pt x="42" y="66"/>
                    </a:cubicBezTo>
                    <a:cubicBezTo>
                      <a:pt x="41" y="66"/>
                      <a:pt x="41" y="65"/>
                      <a:pt x="41" y="64"/>
                    </a:cubicBezTo>
                    <a:cubicBezTo>
                      <a:pt x="41" y="6"/>
                      <a:pt x="41" y="6"/>
                      <a:pt x="41" y="6"/>
                    </a:cubicBezTo>
                    <a:lnTo>
                      <a:pt x="4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3" name="Freeform 981">
                <a:extLst>
                  <a:ext uri="{FF2B5EF4-FFF2-40B4-BE49-F238E27FC236}">
                    <a16:creationId xmlns:a16="http://schemas.microsoft.com/office/drawing/2014/main" id="{9C239D29-7EB6-43E8-A8D3-9F5DAA3754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76" y="2280"/>
                <a:ext cx="291" cy="472"/>
              </a:xfrm>
              <a:custGeom>
                <a:avLst/>
                <a:gdLst>
                  <a:gd name="T0" fmla="*/ 121 w 123"/>
                  <a:gd name="T1" fmla="*/ 200 h 200"/>
                  <a:gd name="T2" fmla="*/ 120 w 123"/>
                  <a:gd name="T3" fmla="*/ 200 h 200"/>
                  <a:gd name="T4" fmla="*/ 44 w 123"/>
                  <a:gd name="T5" fmla="*/ 156 h 200"/>
                  <a:gd name="T6" fmla="*/ 36 w 123"/>
                  <a:gd name="T7" fmla="*/ 160 h 200"/>
                  <a:gd name="T8" fmla="*/ 34 w 123"/>
                  <a:gd name="T9" fmla="*/ 160 h 200"/>
                  <a:gd name="T10" fmla="*/ 1 w 123"/>
                  <a:gd name="T11" fmla="*/ 141 h 200"/>
                  <a:gd name="T12" fmla="*/ 0 w 123"/>
                  <a:gd name="T13" fmla="*/ 139 h 200"/>
                  <a:gd name="T14" fmla="*/ 0 w 123"/>
                  <a:gd name="T15" fmla="*/ 103 h 200"/>
                  <a:gd name="T16" fmla="*/ 1 w 123"/>
                  <a:gd name="T17" fmla="*/ 101 h 200"/>
                  <a:gd name="T18" fmla="*/ 42 w 123"/>
                  <a:gd name="T19" fmla="*/ 77 h 200"/>
                  <a:gd name="T20" fmla="*/ 1 w 123"/>
                  <a:gd name="T21" fmla="*/ 53 h 200"/>
                  <a:gd name="T22" fmla="*/ 0 w 123"/>
                  <a:gd name="T23" fmla="*/ 52 h 200"/>
                  <a:gd name="T24" fmla="*/ 0 w 123"/>
                  <a:gd name="T25" fmla="*/ 6 h 200"/>
                  <a:gd name="T26" fmla="*/ 0 w 123"/>
                  <a:gd name="T27" fmla="*/ 4 h 200"/>
                  <a:gd name="T28" fmla="*/ 0 w 123"/>
                  <a:gd name="T29" fmla="*/ 2 h 200"/>
                  <a:gd name="T30" fmla="*/ 1 w 123"/>
                  <a:gd name="T31" fmla="*/ 0 h 200"/>
                  <a:gd name="T32" fmla="*/ 3 w 123"/>
                  <a:gd name="T33" fmla="*/ 0 h 200"/>
                  <a:gd name="T34" fmla="*/ 122 w 123"/>
                  <a:gd name="T35" fmla="*/ 69 h 200"/>
                  <a:gd name="T36" fmla="*/ 123 w 123"/>
                  <a:gd name="T37" fmla="*/ 70 h 200"/>
                  <a:gd name="T38" fmla="*/ 123 w 123"/>
                  <a:gd name="T39" fmla="*/ 198 h 200"/>
                  <a:gd name="T40" fmla="*/ 122 w 123"/>
                  <a:gd name="T41" fmla="*/ 200 h 200"/>
                  <a:gd name="T42" fmla="*/ 121 w 123"/>
                  <a:gd name="T43" fmla="*/ 200 h 200"/>
                  <a:gd name="T44" fmla="*/ 44 w 123"/>
                  <a:gd name="T45" fmla="*/ 151 h 200"/>
                  <a:gd name="T46" fmla="*/ 45 w 123"/>
                  <a:gd name="T47" fmla="*/ 152 h 200"/>
                  <a:gd name="T48" fmla="*/ 119 w 123"/>
                  <a:gd name="T49" fmla="*/ 194 h 200"/>
                  <a:gd name="T50" fmla="*/ 119 w 123"/>
                  <a:gd name="T51" fmla="*/ 72 h 200"/>
                  <a:gd name="T52" fmla="*/ 4 w 123"/>
                  <a:gd name="T53" fmla="*/ 5 h 200"/>
                  <a:gd name="T54" fmla="*/ 4 w 123"/>
                  <a:gd name="T55" fmla="*/ 6 h 200"/>
                  <a:gd name="T56" fmla="*/ 4 w 123"/>
                  <a:gd name="T57" fmla="*/ 8 h 200"/>
                  <a:gd name="T58" fmla="*/ 4 w 123"/>
                  <a:gd name="T59" fmla="*/ 50 h 200"/>
                  <a:gd name="T60" fmla="*/ 47 w 123"/>
                  <a:gd name="T61" fmla="*/ 75 h 200"/>
                  <a:gd name="T62" fmla="*/ 48 w 123"/>
                  <a:gd name="T63" fmla="*/ 77 h 200"/>
                  <a:gd name="T64" fmla="*/ 47 w 123"/>
                  <a:gd name="T65" fmla="*/ 79 h 200"/>
                  <a:gd name="T66" fmla="*/ 4 w 123"/>
                  <a:gd name="T67" fmla="*/ 104 h 200"/>
                  <a:gd name="T68" fmla="*/ 4 w 123"/>
                  <a:gd name="T69" fmla="*/ 138 h 200"/>
                  <a:gd name="T70" fmla="*/ 35 w 123"/>
                  <a:gd name="T71" fmla="*/ 156 h 200"/>
                  <a:gd name="T72" fmla="*/ 43 w 123"/>
                  <a:gd name="T73" fmla="*/ 152 h 200"/>
                  <a:gd name="T74" fmla="*/ 44 w 123"/>
                  <a:gd name="T75" fmla="*/ 15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3" h="200">
                    <a:moveTo>
                      <a:pt x="121" y="200"/>
                    </a:moveTo>
                    <a:cubicBezTo>
                      <a:pt x="121" y="200"/>
                      <a:pt x="121" y="200"/>
                      <a:pt x="120" y="200"/>
                    </a:cubicBezTo>
                    <a:cubicBezTo>
                      <a:pt x="44" y="156"/>
                      <a:pt x="44" y="156"/>
                      <a:pt x="44" y="156"/>
                    </a:cubicBezTo>
                    <a:cubicBezTo>
                      <a:pt x="36" y="160"/>
                      <a:pt x="36" y="160"/>
                      <a:pt x="36" y="160"/>
                    </a:cubicBezTo>
                    <a:cubicBezTo>
                      <a:pt x="35" y="161"/>
                      <a:pt x="34" y="161"/>
                      <a:pt x="34" y="160"/>
                    </a:cubicBezTo>
                    <a:cubicBezTo>
                      <a:pt x="1" y="141"/>
                      <a:pt x="1" y="141"/>
                      <a:pt x="1" y="141"/>
                    </a:cubicBezTo>
                    <a:cubicBezTo>
                      <a:pt x="0" y="141"/>
                      <a:pt x="0" y="140"/>
                      <a:pt x="0" y="139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102"/>
                      <a:pt x="0" y="101"/>
                      <a:pt x="1" y="101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3"/>
                      <a:pt x="0" y="52"/>
                      <a:pt x="0" y="5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23" y="69"/>
                      <a:pt x="123" y="70"/>
                      <a:pt x="123" y="70"/>
                    </a:cubicBezTo>
                    <a:cubicBezTo>
                      <a:pt x="123" y="198"/>
                      <a:pt x="123" y="198"/>
                      <a:pt x="123" y="198"/>
                    </a:cubicBezTo>
                    <a:cubicBezTo>
                      <a:pt x="123" y="199"/>
                      <a:pt x="123" y="199"/>
                      <a:pt x="122" y="200"/>
                    </a:cubicBezTo>
                    <a:cubicBezTo>
                      <a:pt x="122" y="200"/>
                      <a:pt x="122" y="200"/>
                      <a:pt x="121" y="200"/>
                    </a:cubicBezTo>
                    <a:close/>
                    <a:moveTo>
                      <a:pt x="44" y="151"/>
                    </a:moveTo>
                    <a:cubicBezTo>
                      <a:pt x="44" y="151"/>
                      <a:pt x="45" y="151"/>
                      <a:pt x="45" y="152"/>
                    </a:cubicBezTo>
                    <a:cubicBezTo>
                      <a:pt x="119" y="194"/>
                      <a:pt x="119" y="194"/>
                      <a:pt x="119" y="194"/>
                    </a:cubicBezTo>
                    <a:cubicBezTo>
                      <a:pt x="119" y="72"/>
                      <a:pt x="119" y="72"/>
                      <a:pt x="119" y="7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7" y="76"/>
                      <a:pt x="48" y="76"/>
                      <a:pt x="48" y="77"/>
                    </a:cubicBezTo>
                    <a:cubicBezTo>
                      <a:pt x="48" y="78"/>
                      <a:pt x="47" y="78"/>
                      <a:pt x="47" y="7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35" y="156"/>
                      <a:pt x="35" y="156"/>
                      <a:pt x="35" y="156"/>
                    </a:cubicBezTo>
                    <a:cubicBezTo>
                      <a:pt x="43" y="152"/>
                      <a:pt x="43" y="152"/>
                      <a:pt x="43" y="152"/>
                    </a:cubicBezTo>
                    <a:cubicBezTo>
                      <a:pt x="43" y="151"/>
                      <a:pt x="44" y="151"/>
                      <a:pt x="44" y="1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4" name="Freeform 982">
                <a:extLst>
                  <a:ext uri="{FF2B5EF4-FFF2-40B4-BE49-F238E27FC236}">
                    <a16:creationId xmlns:a16="http://schemas.microsoft.com/office/drawing/2014/main" id="{EC702CA5-7835-41E4-AD94-10345850D5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26" y="2641"/>
                <a:ext cx="106" cy="85"/>
              </a:xfrm>
              <a:custGeom>
                <a:avLst/>
                <a:gdLst>
                  <a:gd name="T0" fmla="*/ 43 w 45"/>
                  <a:gd name="T1" fmla="*/ 36 h 36"/>
                  <a:gd name="T2" fmla="*/ 42 w 45"/>
                  <a:gd name="T3" fmla="*/ 36 h 36"/>
                  <a:gd name="T4" fmla="*/ 1 w 45"/>
                  <a:gd name="T5" fmla="*/ 12 h 36"/>
                  <a:gd name="T6" fmla="*/ 0 w 45"/>
                  <a:gd name="T7" fmla="*/ 10 h 36"/>
                  <a:gd name="T8" fmla="*/ 1 w 45"/>
                  <a:gd name="T9" fmla="*/ 9 h 36"/>
                  <a:gd name="T10" fmla="*/ 16 w 45"/>
                  <a:gd name="T11" fmla="*/ 0 h 36"/>
                  <a:gd name="T12" fmla="*/ 18 w 45"/>
                  <a:gd name="T13" fmla="*/ 0 h 36"/>
                  <a:gd name="T14" fmla="*/ 44 w 45"/>
                  <a:gd name="T15" fmla="*/ 16 h 36"/>
                  <a:gd name="T16" fmla="*/ 45 w 45"/>
                  <a:gd name="T17" fmla="*/ 18 h 36"/>
                  <a:gd name="T18" fmla="*/ 45 w 45"/>
                  <a:gd name="T19" fmla="*/ 34 h 36"/>
                  <a:gd name="T20" fmla="*/ 44 w 45"/>
                  <a:gd name="T21" fmla="*/ 36 h 36"/>
                  <a:gd name="T22" fmla="*/ 43 w 45"/>
                  <a:gd name="T23" fmla="*/ 36 h 36"/>
                  <a:gd name="T24" fmla="*/ 6 w 45"/>
                  <a:gd name="T25" fmla="*/ 10 h 36"/>
                  <a:gd name="T26" fmla="*/ 41 w 45"/>
                  <a:gd name="T27" fmla="*/ 30 h 36"/>
                  <a:gd name="T28" fmla="*/ 41 w 45"/>
                  <a:gd name="T29" fmla="*/ 19 h 36"/>
                  <a:gd name="T30" fmla="*/ 17 w 45"/>
                  <a:gd name="T31" fmla="*/ 4 h 36"/>
                  <a:gd name="T32" fmla="*/ 6 w 45"/>
                  <a:gd name="T33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36">
                    <a:moveTo>
                      <a:pt x="43" y="36"/>
                    </a:moveTo>
                    <a:cubicBezTo>
                      <a:pt x="43" y="36"/>
                      <a:pt x="43" y="36"/>
                      <a:pt x="42" y="3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5" y="16"/>
                      <a:pt x="45" y="17"/>
                      <a:pt x="45" y="18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5" y="35"/>
                      <a:pt x="45" y="35"/>
                      <a:pt x="44" y="36"/>
                    </a:cubicBezTo>
                    <a:cubicBezTo>
                      <a:pt x="44" y="36"/>
                      <a:pt x="44" y="36"/>
                      <a:pt x="43" y="36"/>
                    </a:cubicBezTo>
                    <a:close/>
                    <a:moveTo>
                      <a:pt x="6" y="10"/>
                    </a:move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17" y="4"/>
                      <a:pt x="17" y="4"/>
                      <a:pt x="17" y="4"/>
                    </a:cubicBezTo>
                    <a:lnTo>
                      <a:pt x="6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5" name="Freeform 983">
                <a:extLst>
                  <a:ext uri="{FF2B5EF4-FFF2-40B4-BE49-F238E27FC236}">
                    <a16:creationId xmlns:a16="http://schemas.microsoft.com/office/drawing/2014/main" id="{FB2FEC3B-6FB2-4055-8B04-4FC8061551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07" y="2495"/>
                <a:ext cx="125" cy="189"/>
              </a:xfrm>
              <a:custGeom>
                <a:avLst/>
                <a:gdLst>
                  <a:gd name="T0" fmla="*/ 51 w 53"/>
                  <a:gd name="T1" fmla="*/ 80 h 80"/>
                  <a:gd name="T2" fmla="*/ 50 w 53"/>
                  <a:gd name="T3" fmla="*/ 79 h 80"/>
                  <a:gd name="T4" fmla="*/ 25 w 53"/>
                  <a:gd name="T5" fmla="*/ 65 h 80"/>
                  <a:gd name="T6" fmla="*/ 10 w 53"/>
                  <a:gd name="T7" fmla="*/ 73 h 80"/>
                  <a:gd name="T8" fmla="*/ 8 w 53"/>
                  <a:gd name="T9" fmla="*/ 73 h 80"/>
                  <a:gd name="T10" fmla="*/ 1 w 53"/>
                  <a:gd name="T11" fmla="*/ 69 h 80"/>
                  <a:gd name="T12" fmla="*/ 0 w 53"/>
                  <a:gd name="T13" fmla="*/ 67 h 80"/>
                  <a:gd name="T14" fmla="*/ 1 w 53"/>
                  <a:gd name="T15" fmla="*/ 66 h 80"/>
                  <a:gd name="T16" fmla="*/ 10 w 53"/>
                  <a:gd name="T17" fmla="*/ 60 h 80"/>
                  <a:gd name="T18" fmla="*/ 10 w 53"/>
                  <a:gd name="T19" fmla="*/ 2 h 80"/>
                  <a:gd name="T20" fmla="*/ 11 w 53"/>
                  <a:gd name="T21" fmla="*/ 0 h 80"/>
                  <a:gd name="T22" fmla="*/ 13 w 53"/>
                  <a:gd name="T23" fmla="*/ 0 h 80"/>
                  <a:gd name="T24" fmla="*/ 52 w 53"/>
                  <a:gd name="T25" fmla="*/ 23 h 80"/>
                  <a:gd name="T26" fmla="*/ 53 w 53"/>
                  <a:gd name="T27" fmla="*/ 24 h 80"/>
                  <a:gd name="T28" fmla="*/ 53 w 53"/>
                  <a:gd name="T29" fmla="*/ 78 h 80"/>
                  <a:gd name="T30" fmla="*/ 52 w 53"/>
                  <a:gd name="T31" fmla="*/ 79 h 80"/>
                  <a:gd name="T32" fmla="*/ 51 w 53"/>
                  <a:gd name="T33" fmla="*/ 80 h 80"/>
                  <a:gd name="T34" fmla="*/ 25 w 53"/>
                  <a:gd name="T35" fmla="*/ 60 h 80"/>
                  <a:gd name="T36" fmla="*/ 26 w 53"/>
                  <a:gd name="T37" fmla="*/ 61 h 80"/>
                  <a:gd name="T38" fmla="*/ 49 w 53"/>
                  <a:gd name="T39" fmla="*/ 74 h 80"/>
                  <a:gd name="T40" fmla="*/ 49 w 53"/>
                  <a:gd name="T41" fmla="*/ 26 h 80"/>
                  <a:gd name="T42" fmla="*/ 14 w 53"/>
                  <a:gd name="T43" fmla="*/ 5 h 80"/>
                  <a:gd name="T44" fmla="*/ 14 w 53"/>
                  <a:gd name="T45" fmla="*/ 61 h 80"/>
                  <a:gd name="T46" fmla="*/ 13 w 53"/>
                  <a:gd name="T47" fmla="*/ 63 h 80"/>
                  <a:gd name="T48" fmla="*/ 6 w 53"/>
                  <a:gd name="T49" fmla="*/ 67 h 80"/>
                  <a:gd name="T50" fmla="*/ 9 w 53"/>
                  <a:gd name="T51" fmla="*/ 69 h 80"/>
                  <a:gd name="T52" fmla="*/ 24 w 53"/>
                  <a:gd name="T53" fmla="*/ 61 h 80"/>
                  <a:gd name="T54" fmla="*/ 25 w 53"/>
                  <a:gd name="T55" fmla="*/ 6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" h="80">
                    <a:moveTo>
                      <a:pt x="51" y="80"/>
                    </a:moveTo>
                    <a:cubicBezTo>
                      <a:pt x="51" y="80"/>
                      <a:pt x="51" y="80"/>
                      <a:pt x="50" y="79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9" y="73"/>
                      <a:pt x="8" y="73"/>
                      <a:pt x="8" y="73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9"/>
                      <a:pt x="0" y="68"/>
                      <a:pt x="0" y="67"/>
                    </a:cubicBezTo>
                    <a:cubicBezTo>
                      <a:pt x="0" y="67"/>
                      <a:pt x="0" y="66"/>
                      <a:pt x="1" y="66"/>
                    </a:cubicBezTo>
                    <a:cubicBezTo>
                      <a:pt x="10" y="60"/>
                      <a:pt x="10" y="60"/>
                      <a:pt x="10" y="6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1"/>
                      <a:pt x="11" y="1"/>
                      <a:pt x="11" y="0"/>
                    </a:cubicBezTo>
                    <a:cubicBezTo>
                      <a:pt x="12" y="0"/>
                      <a:pt x="13" y="0"/>
                      <a:pt x="13" y="0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23"/>
                      <a:pt x="53" y="24"/>
                      <a:pt x="53" y="24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3" y="78"/>
                      <a:pt x="53" y="79"/>
                      <a:pt x="52" y="79"/>
                    </a:cubicBezTo>
                    <a:cubicBezTo>
                      <a:pt x="52" y="80"/>
                      <a:pt x="52" y="80"/>
                      <a:pt x="51" y="80"/>
                    </a:cubicBezTo>
                    <a:close/>
                    <a:moveTo>
                      <a:pt x="25" y="60"/>
                    </a:moveTo>
                    <a:cubicBezTo>
                      <a:pt x="25" y="60"/>
                      <a:pt x="25" y="60"/>
                      <a:pt x="26" y="61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61"/>
                      <a:pt x="14" y="61"/>
                      <a:pt x="14" y="61"/>
                    </a:cubicBezTo>
                    <a:cubicBezTo>
                      <a:pt x="14" y="62"/>
                      <a:pt x="14" y="63"/>
                      <a:pt x="13" y="63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24" y="60"/>
                      <a:pt x="24" y="60"/>
                      <a:pt x="2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6" name="Freeform 984">
                <a:extLst>
                  <a:ext uri="{FF2B5EF4-FFF2-40B4-BE49-F238E27FC236}">
                    <a16:creationId xmlns:a16="http://schemas.microsoft.com/office/drawing/2014/main" id="{8A235C89-D78A-4C6E-8671-6D786179DF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524"/>
                <a:ext cx="282" cy="191"/>
              </a:xfrm>
              <a:custGeom>
                <a:avLst/>
                <a:gdLst>
                  <a:gd name="T0" fmla="*/ 54 w 119"/>
                  <a:gd name="T1" fmla="*/ 81 h 81"/>
                  <a:gd name="T2" fmla="*/ 53 w 119"/>
                  <a:gd name="T3" fmla="*/ 81 h 81"/>
                  <a:gd name="T4" fmla="*/ 44 w 119"/>
                  <a:gd name="T5" fmla="*/ 76 h 81"/>
                  <a:gd name="T6" fmla="*/ 43 w 119"/>
                  <a:gd name="T7" fmla="*/ 74 h 81"/>
                  <a:gd name="T8" fmla="*/ 43 w 119"/>
                  <a:gd name="T9" fmla="*/ 56 h 81"/>
                  <a:gd name="T10" fmla="*/ 28 w 119"/>
                  <a:gd name="T11" fmla="*/ 65 h 81"/>
                  <a:gd name="T12" fmla="*/ 26 w 119"/>
                  <a:gd name="T13" fmla="*/ 65 h 81"/>
                  <a:gd name="T14" fmla="*/ 1 w 119"/>
                  <a:gd name="T15" fmla="*/ 51 h 81"/>
                  <a:gd name="T16" fmla="*/ 0 w 119"/>
                  <a:gd name="T17" fmla="*/ 49 h 81"/>
                  <a:gd name="T18" fmla="*/ 0 w 119"/>
                  <a:gd name="T19" fmla="*/ 43 h 81"/>
                  <a:gd name="T20" fmla="*/ 1 w 119"/>
                  <a:gd name="T21" fmla="*/ 41 h 81"/>
                  <a:gd name="T22" fmla="*/ 72 w 119"/>
                  <a:gd name="T23" fmla="*/ 0 h 81"/>
                  <a:gd name="T24" fmla="*/ 74 w 119"/>
                  <a:gd name="T25" fmla="*/ 0 h 81"/>
                  <a:gd name="T26" fmla="*/ 101 w 119"/>
                  <a:gd name="T27" fmla="*/ 16 h 81"/>
                  <a:gd name="T28" fmla="*/ 102 w 119"/>
                  <a:gd name="T29" fmla="*/ 18 h 81"/>
                  <a:gd name="T30" fmla="*/ 102 w 119"/>
                  <a:gd name="T31" fmla="*/ 31 h 81"/>
                  <a:gd name="T32" fmla="*/ 118 w 119"/>
                  <a:gd name="T33" fmla="*/ 40 h 81"/>
                  <a:gd name="T34" fmla="*/ 119 w 119"/>
                  <a:gd name="T35" fmla="*/ 42 h 81"/>
                  <a:gd name="T36" fmla="*/ 118 w 119"/>
                  <a:gd name="T37" fmla="*/ 44 h 81"/>
                  <a:gd name="T38" fmla="*/ 86 w 119"/>
                  <a:gd name="T39" fmla="*/ 63 h 81"/>
                  <a:gd name="T40" fmla="*/ 84 w 119"/>
                  <a:gd name="T41" fmla="*/ 63 h 81"/>
                  <a:gd name="T42" fmla="*/ 58 w 119"/>
                  <a:gd name="T43" fmla="*/ 48 h 81"/>
                  <a:gd name="T44" fmla="*/ 58 w 119"/>
                  <a:gd name="T45" fmla="*/ 78 h 81"/>
                  <a:gd name="T46" fmla="*/ 57 w 119"/>
                  <a:gd name="T47" fmla="*/ 79 h 81"/>
                  <a:gd name="T48" fmla="*/ 55 w 119"/>
                  <a:gd name="T49" fmla="*/ 81 h 81"/>
                  <a:gd name="T50" fmla="*/ 54 w 119"/>
                  <a:gd name="T51" fmla="*/ 81 h 81"/>
                  <a:gd name="T52" fmla="*/ 47 w 119"/>
                  <a:gd name="T53" fmla="*/ 73 h 81"/>
                  <a:gd name="T54" fmla="*/ 54 w 119"/>
                  <a:gd name="T55" fmla="*/ 76 h 81"/>
                  <a:gd name="T56" fmla="*/ 54 w 119"/>
                  <a:gd name="T57" fmla="*/ 76 h 81"/>
                  <a:gd name="T58" fmla="*/ 54 w 119"/>
                  <a:gd name="T59" fmla="*/ 44 h 81"/>
                  <a:gd name="T60" fmla="*/ 55 w 119"/>
                  <a:gd name="T61" fmla="*/ 43 h 81"/>
                  <a:gd name="T62" fmla="*/ 57 w 119"/>
                  <a:gd name="T63" fmla="*/ 43 h 81"/>
                  <a:gd name="T64" fmla="*/ 85 w 119"/>
                  <a:gd name="T65" fmla="*/ 59 h 81"/>
                  <a:gd name="T66" fmla="*/ 113 w 119"/>
                  <a:gd name="T67" fmla="*/ 42 h 81"/>
                  <a:gd name="T68" fmla="*/ 99 w 119"/>
                  <a:gd name="T69" fmla="*/ 34 h 81"/>
                  <a:gd name="T70" fmla="*/ 98 w 119"/>
                  <a:gd name="T71" fmla="*/ 32 h 81"/>
                  <a:gd name="T72" fmla="*/ 98 w 119"/>
                  <a:gd name="T73" fmla="*/ 19 h 81"/>
                  <a:gd name="T74" fmla="*/ 73 w 119"/>
                  <a:gd name="T75" fmla="*/ 5 h 81"/>
                  <a:gd name="T76" fmla="*/ 4 w 119"/>
                  <a:gd name="T77" fmla="*/ 44 h 81"/>
                  <a:gd name="T78" fmla="*/ 4 w 119"/>
                  <a:gd name="T79" fmla="*/ 48 h 81"/>
                  <a:gd name="T80" fmla="*/ 27 w 119"/>
                  <a:gd name="T81" fmla="*/ 61 h 81"/>
                  <a:gd name="T82" fmla="*/ 44 w 119"/>
                  <a:gd name="T83" fmla="*/ 51 h 81"/>
                  <a:gd name="T84" fmla="*/ 46 w 119"/>
                  <a:gd name="T85" fmla="*/ 51 h 81"/>
                  <a:gd name="T86" fmla="*/ 47 w 119"/>
                  <a:gd name="T87" fmla="*/ 53 h 81"/>
                  <a:gd name="T88" fmla="*/ 47 w 119"/>
                  <a:gd name="T89" fmla="*/ 7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81">
                    <a:moveTo>
                      <a:pt x="54" y="81"/>
                    </a:moveTo>
                    <a:cubicBezTo>
                      <a:pt x="54" y="81"/>
                      <a:pt x="53" y="81"/>
                      <a:pt x="53" y="81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4" y="75"/>
                      <a:pt x="43" y="75"/>
                      <a:pt x="43" y="74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7" y="65"/>
                      <a:pt x="26" y="65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3" y="0"/>
                      <a:pt x="74" y="0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1" y="16"/>
                      <a:pt x="102" y="17"/>
                      <a:pt x="102" y="18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2"/>
                    </a:cubicBezTo>
                    <a:cubicBezTo>
                      <a:pt x="119" y="43"/>
                      <a:pt x="119" y="44"/>
                      <a:pt x="118" y="44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5" y="63"/>
                      <a:pt x="85" y="63"/>
                      <a:pt x="84" y="63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78"/>
                      <a:pt x="58" y="79"/>
                      <a:pt x="57" y="79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5" y="81"/>
                      <a:pt x="54" y="81"/>
                      <a:pt x="54" y="81"/>
                    </a:cubicBezTo>
                    <a:close/>
                    <a:moveTo>
                      <a:pt x="47" y="73"/>
                    </a:move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4"/>
                      <a:pt x="54" y="43"/>
                      <a:pt x="55" y="43"/>
                    </a:cubicBezTo>
                    <a:cubicBezTo>
                      <a:pt x="56" y="42"/>
                      <a:pt x="56" y="42"/>
                      <a:pt x="57" y="43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99" y="34"/>
                      <a:pt x="99" y="34"/>
                      <a:pt x="99" y="34"/>
                    </a:cubicBezTo>
                    <a:cubicBezTo>
                      <a:pt x="98" y="33"/>
                      <a:pt x="98" y="33"/>
                      <a:pt x="98" y="32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27" y="61"/>
                      <a:pt x="27" y="61"/>
                      <a:pt x="27" y="6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5" y="51"/>
                      <a:pt x="46" y="51"/>
                      <a:pt x="46" y="51"/>
                    </a:cubicBezTo>
                    <a:cubicBezTo>
                      <a:pt x="47" y="52"/>
                      <a:pt x="47" y="52"/>
                      <a:pt x="47" y="53"/>
                    </a:cubicBezTo>
                    <a:lnTo>
                      <a:pt x="47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7" name="Freeform 985">
                <a:extLst>
                  <a:ext uri="{FF2B5EF4-FFF2-40B4-BE49-F238E27FC236}">
                    <a16:creationId xmlns:a16="http://schemas.microsoft.com/office/drawing/2014/main" id="{EA275CCB-28DC-4699-93BA-BA64336A3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316"/>
                <a:ext cx="241" cy="309"/>
              </a:xfrm>
              <a:custGeom>
                <a:avLst/>
                <a:gdLst>
                  <a:gd name="T0" fmla="*/ 2 w 102"/>
                  <a:gd name="T1" fmla="*/ 131 h 131"/>
                  <a:gd name="T2" fmla="*/ 1 w 102"/>
                  <a:gd name="T3" fmla="*/ 131 h 131"/>
                  <a:gd name="T4" fmla="*/ 0 w 102"/>
                  <a:gd name="T5" fmla="*/ 129 h 131"/>
                  <a:gd name="T6" fmla="*/ 0 w 102"/>
                  <a:gd name="T7" fmla="*/ 58 h 131"/>
                  <a:gd name="T8" fmla="*/ 1 w 102"/>
                  <a:gd name="T9" fmla="*/ 57 h 131"/>
                  <a:gd name="T10" fmla="*/ 99 w 102"/>
                  <a:gd name="T11" fmla="*/ 1 h 131"/>
                  <a:gd name="T12" fmla="*/ 101 w 102"/>
                  <a:gd name="T13" fmla="*/ 1 h 131"/>
                  <a:gd name="T14" fmla="*/ 102 w 102"/>
                  <a:gd name="T15" fmla="*/ 2 h 131"/>
                  <a:gd name="T16" fmla="*/ 102 w 102"/>
                  <a:gd name="T17" fmla="*/ 104 h 131"/>
                  <a:gd name="T18" fmla="*/ 101 w 102"/>
                  <a:gd name="T19" fmla="*/ 106 h 131"/>
                  <a:gd name="T20" fmla="*/ 99 w 102"/>
                  <a:gd name="T21" fmla="*/ 106 h 131"/>
                  <a:gd name="T22" fmla="*/ 73 w 102"/>
                  <a:gd name="T23" fmla="*/ 91 h 131"/>
                  <a:gd name="T24" fmla="*/ 3 w 102"/>
                  <a:gd name="T25" fmla="*/ 131 h 131"/>
                  <a:gd name="T26" fmla="*/ 2 w 102"/>
                  <a:gd name="T27" fmla="*/ 131 h 131"/>
                  <a:gd name="T28" fmla="*/ 4 w 102"/>
                  <a:gd name="T29" fmla="*/ 60 h 131"/>
                  <a:gd name="T30" fmla="*/ 4 w 102"/>
                  <a:gd name="T31" fmla="*/ 125 h 131"/>
                  <a:gd name="T32" fmla="*/ 72 w 102"/>
                  <a:gd name="T33" fmla="*/ 87 h 131"/>
                  <a:gd name="T34" fmla="*/ 74 w 102"/>
                  <a:gd name="T35" fmla="*/ 87 h 131"/>
                  <a:gd name="T36" fmla="*/ 98 w 102"/>
                  <a:gd name="T37" fmla="*/ 100 h 131"/>
                  <a:gd name="T38" fmla="*/ 98 w 102"/>
                  <a:gd name="T39" fmla="*/ 6 h 131"/>
                  <a:gd name="T40" fmla="*/ 4 w 102"/>
                  <a:gd name="T41" fmla="*/ 6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31">
                    <a:moveTo>
                      <a:pt x="2" y="131"/>
                    </a:moveTo>
                    <a:cubicBezTo>
                      <a:pt x="2" y="131"/>
                      <a:pt x="2" y="131"/>
                      <a:pt x="1" y="131"/>
                    </a:cubicBezTo>
                    <a:cubicBezTo>
                      <a:pt x="1" y="130"/>
                      <a:pt x="0" y="130"/>
                      <a:pt x="0" y="129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1" y="57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5"/>
                      <a:pt x="101" y="105"/>
                      <a:pt x="101" y="106"/>
                    </a:cubicBezTo>
                    <a:cubicBezTo>
                      <a:pt x="100" y="106"/>
                      <a:pt x="99" y="106"/>
                      <a:pt x="99" y="106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" y="131"/>
                      <a:pt x="3" y="131"/>
                      <a:pt x="2" y="131"/>
                    </a:cubicBezTo>
                    <a:close/>
                    <a:moveTo>
                      <a:pt x="4" y="60"/>
                    </a:moveTo>
                    <a:cubicBezTo>
                      <a:pt x="4" y="125"/>
                      <a:pt x="4" y="125"/>
                      <a:pt x="4" y="125"/>
                    </a:cubicBezTo>
                    <a:cubicBezTo>
                      <a:pt x="72" y="87"/>
                      <a:pt x="72" y="87"/>
                      <a:pt x="72" y="87"/>
                    </a:cubicBezTo>
                    <a:cubicBezTo>
                      <a:pt x="72" y="86"/>
                      <a:pt x="73" y="86"/>
                      <a:pt x="74" y="87"/>
                    </a:cubicBezTo>
                    <a:cubicBezTo>
                      <a:pt x="98" y="100"/>
                      <a:pt x="98" y="100"/>
                      <a:pt x="98" y="100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8" name="Freeform 986">
                <a:extLst>
                  <a:ext uri="{FF2B5EF4-FFF2-40B4-BE49-F238E27FC236}">
                    <a16:creationId xmlns:a16="http://schemas.microsoft.com/office/drawing/2014/main" id="{2A51CB4C-D8E3-4AE4-BE78-EC4FEBDC65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640"/>
                <a:ext cx="67" cy="73"/>
              </a:xfrm>
              <a:custGeom>
                <a:avLst/>
                <a:gdLst>
                  <a:gd name="T0" fmla="*/ 2 w 28"/>
                  <a:gd name="T1" fmla="*/ 31 h 31"/>
                  <a:gd name="T2" fmla="*/ 1 w 28"/>
                  <a:gd name="T3" fmla="*/ 30 h 31"/>
                  <a:gd name="T4" fmla="*/ 0 w 28"/>
                  <a:gd name="T5" fmla="*/ 29 h 31"/>
                  <a:gd name="T6" fmla="*/ 0 w 28"/>
                  <a:gd name="T7" fmla="*/ 2 h 31"/>
                  <a:gd name="T8" fmla="*/ 1 w 28"/>
                  <a:gd name="T9" fmla="*/ 0 h 31"/>
                  <a:gd name="T10" fmla="*/ 3 w 28"/>
                  <a:gd name="T11" fmla="*/ 0 h 31"/>
                  <a:gd name="T12" fmla="*/ 27 w 28"/>
                  <a:gd name="T13" fmla="*/ 14 h 31"/>
                  <a:gd name="T14" fmla="*/ 28 w 28"/>
                  <a:gd name="T15" fmla="*/ 15 h 31"/>
                  <a:gd name="T16" fmla="*/ 27 w 28"/>
                  <a:gd name="T17" fmla="*/ 17 h 31"/>
                  <a:gd name="T18" fmla="*/ 3 w 28"/>
                  <a:gd name="T19" fmla="*/ 30 h 31"/>
                  <a:gd name="T20" fmla="*/ 2 w 28"/>
                  <a:gd name="T21" fmla="*/ 31 h 31"/>
                  <a:gd name="T22" fmla="*/ 4 w 28"/>
                  <a:gd name="T23" fmla="*/ 5 h 31"/>
                  <a:gd name="T24" fmla="*/ 4 w 28"/>
                  <a:gd name="T25" fmla="*/ 25 h 31"/>
                  <a:gd name="T26" fmla="*/ 22 w 28"/>
                  <a:gd name="T27" fmla="*/ 15 h 31"/>
                  <a:gd name="T28" fmla="*/ 4 w 28"/>
                  <a:gd name="T2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1">
                    <a:moveTo>
                      <a:pt x="2" y="31"/>
                    </a:moveTo>
                    <a:cubicBezTo>
                      <a:pt x="2" y="31"/>
                      <a:pt x="2" y="31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4"/>
                      <a:pt x="28" y="15"/>
                      <a:pt x="28" y="15"/>
                    </a:cubicBezTo>
                    <a:cubicBezTo>
                      <a:pt x="28" y="16"/>
                      <a:pt x="27" y="17"/>
                      <a:pt x="27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1"/>
                      <a:pt x="3" y="31"/>
                      <a:pt x="2" y="31"/>
                    </a:cubicBezTo>
                    <a:close/>
                    <a:moveTo>
                      <a:pt x="4" y="5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2" y="15"/>
                      <a:pt x="22" y="15"/>
                      <a:pt x="22" y="15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9" name="Freeform 987">
                <a:extLst>
                  <a:ext uri="{FF2B5EF4-FFF2-40B4-BE49-F238E27FC236}">
                    <a16:creationId xmlns:a16="http://schemas.microsoft.com/office/drawing/2014/main" id="{398AC31C-967C-487F-AD4C-75345948A0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76" y="1250"/>
                <a:ext cx="62" cy="68"/>
              </a:xfrm>
              <a:custGeom>
                <a:avLst/>
                <a:gdLst>
                  <a:gd name="T0" fmla="*/ 2 w 26"/>
                  <a:gd name="T1" fmla="*/ 29 h 29"/>
                  <a:gd name="T2" fmla="*/ 1 w 26"/>
                  <a:gd name="T3" fmla="*/ 29 h 29"/>
                  <a:gd name="T4" fmla="*/ 0 w 26"/>
                  <a:gd name="T5" fmla="*/ 27 h 29"/>
                  <a:gd name="T6" fmla="*/ 0 w 26"/>
                  <a:gd name="T7" fmla="*/ 2 h 29"/>
                  <a:gd name="T8" fmla="*/ 1 w 26"/>
                  <a:gd name="T9" fmla="*/ 1 h 29"/>
                  <a:gd name="T10" fmla="*/ 3 w 26"/>
                  <a:gd name="T11" fmla="*/ 1 h 29"/>
                  <a:gd name="T12" fmla="*/ 25 w 26"/>
                  <a:gd name="T13" fmla="*/ 13 h 29"/>
                  <a:gd name="T14" fmla="*/ 26 w 26"/>
                  <a:gd name="T15" fmla="*/ 15 h 29"/>
                  <a:gd name="T16" fmla="*/ 25 w 26"/>
                  <a:gd name="T17" fmla="*/ 17 h 29"/>
                  <a:gd name="T18" fmla="*/ 3 w 26"/>
                  <a:gd name="T19" fmla="*/ 29 h 29"/>
                  <a:gd name="T20" fmla="*/ 2 w 26"/>
                  <a:gd name="T21" fmla="*/ 29 h 29"/>
                  <a:gd name="T22" fmla="*/ 4 w 26"/>
                  <a:gd name="T23" fmla="*/ 6 h 29"/>
                  <a:gd name="T24" fmla="*/ 4 w 26"/>
                  <a:gd name="T25" fmla="*/ 24 h 29"/>
                  <a:gd name="T26" fmla="*/ 20 w 26"/>
                  <a:gd name="T27" fmla="*/ 15 h 29"/>
                  <a:gd name="T28" fmla="*/ 4 w 26"/>
                  <a:gd name="T29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" y="29"/>
                    </a:moveTo>
                    <a:cubicBezTo>
                      <a:pt x="2" y="29"/>
                      <a:pt x="2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3"/>
                      <a:pt x="26" y="14"/>
                      <a:pt x="26" y="15"/>
                    </a:cubicBezTo>
                    <a:cubicBezTo>
                      <a:pt x="26" y="16"/>
                      <a:pt x="26" y="16"/>
                      <a:pt x="25" y="1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2" y="29"/>
                    </a:cubicBezTo>
                    <a:close/>
                    <a:moveTo>
                      <a:pt x="4" y="6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20" y="15"/>
                      <a:pt x="20" y="15"/>
                      <a:pt x="20" y="15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0" name="Freeform 988">
                <a:extLst>
                  <a:ext uri="{FF2B5EF4-FFF2-40B4-BE49-F238E27FC236}">
                    <a16:creationId xmlns:a16="http://schemas.microsoft.com/office/drawing/2014/main" id="{2E47A133-7DBC-479B-83D7-A490B6A501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673"/>
                <a:ext cx="109" cy="111"/>
              </a:xfrm>
              <a:custGeom>
                <a:avLst/>
                <a:gdLst>
                  <a:gd name="T0" fmla="*/ 4 w 46"/>
                  <a:gd name="T1" fmla="*/ 47 h 47"/>
                  <a:gd name="T2" fmla="*/ 3 w 46"/>
                  <a:gd name="T3" fmla="*/ 47 h 47"/>
                  <a:gd name="T4" fmla="*/ 1 w 46"/>
                  <a:gd name="T5" fmla="*/ 46 h 47"/>
                  <a:gd name="T6" fmla="*/ 0 w 46"/>
                  <a:gd name="T7" fmla="*/ 44 h 47"/>
                  <a:gd name="T8" fmla="*/ 0 w 46"/>
                  <a:gd name="T9" fmla="*/ 17 h 47"/>
                  <a:gd name="T10" fmla="*/ 1 w 46"/>
                  <a:gd name="T11" fmla="*/ 15 h 47"/>
                  <a:gd name="T12" fmla="*/ 26 w 46"/>
                  <a:gd name="T13" fmla="*/ 1 h 47"/>
                  <a:gd name="T14" fmla="*/ 28 w 46"/>
                  <a:gd name="T15" fmla="*/ 1 h 47"/>
                  <a:gd name="T16" fmla="*/ 45 w 46"/>
                  <a:gd name="T17" fmla="*/ 10 h 47"/>
                  <a:gd name="T18" fmla="*/ 46 w 46"/>
                  <a:gd name="T19" fmla="*/ 12 h 47"/>
                  <a:gd name="T20" fmla="*/ 46 w 46"/>
                  <a:gd name="T21" fmla="*/ 22 h 47"/>
                  <a:gd name="T22" fmla="*/ 45 w 46"/>
                  <a:gd name="T23" fmla="*/ 23 h 47"/>
                  <a:gd name="T24" fmla="*/ 5 w 46"/>
                  <a:gd name="T25" fmla="*/ 47 h 47"/>
                  <a:gd name="T26" fmla="*/ 4 w 46"/>
                  <a:gd name="T27" fmla="*/ 47 h 47"/>
                  <a:gd name="T28" fmla="*/ 4 w 46"/>
                  <a:gd name="T29" fmla="*/ 18 h 47"/>
                  <a:gd name="T30" fmla="*/ 4 w 46"/>
                  <a:gd name="T31" fmla="*/ 42 h 47"/>
                  <a:gd name="T32" fmla="*/ 42 w 46"/>
                  <a:gd name="T33" fmla="*/ 21 h 47"/>
                  <a:gd name="T34" fmla="*/ 42 w 46"/>
                  <a:gd name="T35" fmla="*/ 13 h 47"/>
                  <a:gd name="T36" fmla="*/ 27 w 46"/>
                  <a:gd name="T37" fmla="*/ 5 h 47"/>
                  <a:gd name="T38" fmla="*/ 4 w 46"/>
                  <a:gd name="T39" fmla="*/ 1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7">
                    <a:moveTo>
                      <a:pt x="4" y="47"/>
                    </a:move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8" y="0"/>
                      <a:pt x="28" y="1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2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22"/>
                      <a:pt x="45" y="23"/>
                      <a:pt x="45" y="2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7"/>
                      <a:pt x="4" y="47"/>
                      <a:pt x="4" y="47"/>
                    </a:cubicBezTo>
                    <a:close/>
                    <a:moveTo>
                      <a:pt x="4" y="18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1" name="Freeform 989">
                <a:extLst>
                  <a:ext uri="{FF2B5EF4-FFF2-40B4-BE49-F238E27FC236}">
                    <a16:creationId xmlns:a16="http://schemas.microsoft.com/office/drawing/2014/main" id="{ACE34B60-4297-4969-A6C0-500141773E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76" y="1285"/>
                <a:ext cx="59" cy="312"/>
              </a:xfrm>
              <a:custGeom>
                <a:avLst/>
                <a:gdLst>
                  <a:gd name="T0" fmla="*/ 23 w 25"/>
                  <a:gd name="T1" fmla="*/ 132 h 132"/>
                  <a:gd name="T2" fmla="*/ 22 w 25"/>
                  <a:gd name="T3" fmla="*/ 132 h 132"/>
                  <a:gd name="T4" fmla="*/ 1 w 25"/>
                  <a:gd name="T5" fmla="*/ 120 h 132"/>
                  <a:gd name="T6" fmla="*/ 0 w 25"/>
                  <a:gd name="T7" fmla="*/ 118 h 132"/>
                  <a:gd name="T8" fmla="*/ 0 w 25"/>
                  <a:gd name="T9" fmla="*/ 14 h 132"/>
                  <a:gd name="T10" fmla="*/ 1 w 25"/>
                  <a:gd name="T11" fmla="*/ 13 h 132"/>
                  <a:gd name="T12" fmla="*/ 22 w 25"/>
                  <a:gd name="T13" fmla="*/ 1 h 132"/>
                  <a:gd name="T14" fmla="*/ 24 w 25"/>
                  <a:gd name="T15" fmla="*/ 1 h 132"/>
                  <a:gd name="T16" fmla="*/ 25 w 25"/>
                  <a:gd name="T17" fmla="*/ 2 h 132"/>
                  <a:gd name="T18" fmla="*/ 25 w 25"/>
                  <a:gd name="T19" fmla="*/ 130 h 132"/>
                  <a:gd name="T20" fmla="*/ 24 w 25"/>
                  <a:gd name="T21" fmla="*/ 132 h 132"/>
                  <a:gd name="T22" fmla="*/ 23 w 25"/>
                  <a:gd name="T23" fmla="*/ 132 h 132"/>
                  <a:gd name="T24" fmla="*/ 4 w 25"/>
                  <a:gd name="T25" fmla="*/ 117 h 132"/>
                  <a:gd name="T26" fmla="*/ 21 w 25"/>
                  <a:gd name="T27" fmla="*/ 126 h 132"/>
                  <a:gd name="T28" fmla="*/ 21 w 25"/>
                  <a:gd name="T29" fmla="*/ 6 h 132"/>
                  <a:gd name="T30" fmla="*/ 4 w 25"/>
                  <a:gd name="T31" fmla="*/ 16 h 132"/>
                  <a:gd name="T32" fmla="*/ 4 w 25"/>
                  <a:gd name="T33" fmla="*/ 11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132">
                    <a:moveTo>
                      <a:pt x="23" y="132"/>
                    </a:moveTo>
                    <a:cubicBezTo>
                      <a:pt x="23" y="132"/>
                      <a:pt x="22" y="132"/>
                      <a:pt x="22" y="13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19"/>
                      <a:pt x="0" y="119"/>
                      <a:pt x="0" y="11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5" y="1"/>
                      <a:pt x="25" y="2"/>
                      <a:pt x="25" y="2"/>
                    </a:cubicBezTo>
                    <a:cubicBezTo>
                      <a:pt x="25" y="130"/>
                      <a:pt x="25" y="130"/>
                      <a:pt x="25" y="130"/>
                    </a:cubicBezTo>
                    <a:cubicBezTo>
                      <a:pt x="25" y="131"/>
                      <a:pt x="25" y="131"/>
                      <a:pt x="24" y="132"/>
                    </a:cubicBezTo>
                    <a:cubicBezTo>
                      <a:pt x="24" y="132"/>
                      <a:pt x="23" y="132"/>
                      <a:pt x="23" y="132"/>
                    </a:cubicBezTo>
                    <a:close/>
                    <a:moveTo>
                      <a:pt x="4" y="117"/>
                    </a:moveTo>
                    <a:cubicBezTo>
                      <a:pt x="21" y="126"/>
                      <a:pt x="21" y="126"/>
                      <a:pt x="21" y="12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2" name="Freeform 990">
                <a:extLst>
                  <a:ext uri="{FF2B5EF4-FFF2-40B4-BE49-F238E27FC236}">
                    <a16:creationId xmlns:a16="http://schemas.microsoft.com/office/drawing/2014/main" id="{98DB17B6-C68D-441D-84FC-DF58F4D418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24" y="1595"/>
                <a:ext cx="73" cy="56"/>
              </a:xfrm>
              <a:custGeom>
                <a:avLst/>
                <a:gdLst>
                  <a:gd name="T0" fmla="*/ 19 w 31"/>
                  <a:gd name="T1" fmla="*/ 24 h 24"/>
                  <a:gd name="T2" fmla="*/ 18 w 31"/>
                  <a:gd name="T3" fmla="*/ 24 h 24"/>
                  <a:gd name="T4" fmla="*/ 1 w 31"/>
                  <a:gd name="T5" fmla="*/ 14 h 24"/>
                  <a:gd name="T6" fmla="*/ 0 w 31"/>
                  <a:gd name="T7" fmla="*/ 12 h 24"/>
                  <a:gd name="T8" fmla="*/ 1 w 31"/>
                  <a:gd name="T9" fmla="*/ 10 h 24"/>
                  <a:gd name="T10" fmla="*/ 3 w 31"/>
                  <a:gd name="T11" fmla="*/ 9 h 24"/>
                  <a:gd name="T12" fmla="*/ 3 w 31"/>
                  <a:gd name="T13" fmla="*/ 2 h 24"/>
                  <a:gd name="T14" fmla="*/ 4 w 31"/>
                  <a:gd name="T15" fmla="*/ 0 h 24"/>
                  <a:gd name="T16" fmla="*/ 6 w 31"/>
                  <a:gd name="T17" fmla="*/ 0 h 24"/>
                  <a:gd name="T18" fmla="*/ 30 w 31"/>
                  <a:gd name="T19" fmla="*/ 14 h 24"/>
                  <a:gd name="T20" fmla="*/ 31 w 31"/>
                  <a:gd name="T21" fmla="*/ 16 h 24"/>
                  <a:gd name="T22" fmla="*/ 30 w 31"/>
                  <a:gd name="T23" fmla="*/ 18 h 24"/>
                  <a:gd name="T24" fmla="*/ 20 w 31"/>
                  <a:gd name="T25" fmla="*/ 24 h 24"/>
                  <a:gd name="T26" fmla="*/ 19 w 31"/>
                  <a:gd name="T27" fmla="*/ 24 h 24"/>
                  <a:gd name="T28" fmla="*/ 6 w 31"/>
                  <a:gd name="T29" fmla="*/ 12 h 24"/>
                  <a:gd name="T30" fmla="*/ 19 w 31"/>
                  <a:gd name="T31" fmla="*/ 20 h 24"/>
                  <a:gd name="T32" fmla="*/ 25 w 31"/>
                  <a:gd name="T33" fmla="*/ 16 h 24"/>
                  <a:gd name="T34" fmla="*/ 7 w 31"/>
                  <a:gd name="T35" fmla="*/ 5 h 24"/>
                  <a:gd name="T36" fmla="*/ 7 w 31"/>
                  <a:gd name="T37" fmla="*/ 10 h 24"/>
                  <a:gd name="T38" fmla="*/ 6 w 31"/>
                  <a:gd name="T39" fmla="*/ 12 h 24"/>
                  <a:gd name="T40" fmla="*/ 5 w 31"/>
                  <a:gd name="T41" fmla="*/ 10 h 24"/>
                  <a:gd name="T42" fmla="*/ 5 w 31"/>
                  <a:gd name="T4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24">
                    <a:moveTo>
                      <a:pt x="19" y="24"/>
                    </a:moveTo>
                    <a:cubicBezTo>
                      <a:pt x="18" y="24"/>
                      <a:pt x="18" y="24"/>
                      <a:pt x="18" y="2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0"/>
                      <a:pt x="4" y="0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5"/>
                      <a:pt x="31" y="15"/>
                      <a:pt x="31" y="16"/>
                    </a:cubicBezTo>
                    <a:cubicBezTo>
                      <a:pt x="31" y="17"/>
                      <a:pt x="31" y="17"/>
                      <a:pt x="30" y="18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9" y="24"/>
                      <a:pt x="19" y="24"/>
                      <a:pt x="19" y="24"/>
                    </a:cubicBezTo>
                    <a:close/>
                    <a:moveTo>
                      <a:pt x="6" y="12"/>
                    </a:moveTo>
                    <a:cubicBezTo>
                      <a:pt x="19" y="20"/>
                      <a:pt x="19" y="20"/>
                      <a:pt x="19" y="20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3" name="Freeform 991">
                <a:extLst>
                  <a:ext uri="{FF2B5EF4-FFF2-40B4-BE49-F238E27FC236}">
                    <a16:creationId xmlns:a16="http://schemas.microsoft.com/office/drawing/2014/main" id="{200E3C8E-2C07-49CB-996A-EA3C409DA2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76" y="1564"/>
                <a:ext cx="59" cy="61"/>
              </a:xfrm>
              <a:custGeom>
                <a:avLst/>
                <a:gdLst>
                  <a:gd name="T0" fmla="*/ 20 w 25"/>
                  <a:gd name="T1" fmla="*/ 26 h 26"/>
                  <a:gd name="T2" fmla="*/ 19 w 25"/>
                  <a:gd name="T3" fmla="*/ 26 h 26"/>
                  <a:gd name="T4" fmla="*/ 1 w 25"/>
                  <a:gd name="T5" fmla="*/ 16 h 26"/>
                  <a:gd name="T6" fmla="*/ 0 w 25"/>
                  <a:gd name="T7" fmla="*/ 14 h 26"/>
                  <a:gd name="T8" fmla="*/ 0 w 25"/>
                  <a:gd name="T9" fmla="*/ 2 h 26"/>
                  <a:gd name="T10" fmla="*/ 1 w 25"/>
                  <a:gd name="T11" fmla="*/ 0 h 26"/>
                  <a:gd name="T12" fmla="*/ 3 w 25"/>
                  <a:gd name="T13" fmla="*/ 0 h 26"/>
                  <a:gd name="T14" fmla="*/ 24 w 25"/>
                  <a:gd name="T15" fmla="*/ 12 h 26"/>
                  <a:gd name="T16" fmla="*/ 25 w 25"/>
                  <a:gd name="T17" fmla="*/ 14 h 26"/>
                  <a:gd name="T18" fmla="*/ 25 w 25"/>
                  <a:gd name="T19" fmla="*/ 22 h 26"/>
                  <a:gd name="T20" fmla="*/ 24 w 25"/>
                  <a:gd name="T21" fmla="*/ 24 h 26"/>
                  <a:gd name="T22" fmla="*/ 21 w 25"/>
                  <a:gd name="T23" fmla="*/ 26 h 26"/>
                  <a:gd name="T24" fmla="*/ 20 w 25"/>
                  <a:gd name="T25" fmla="*/ 26 h 26"/>
                  <a:gd name="T26" fmla="*/ 4 w 25"/>
                  <a:gd name="T27" fmla="*/ 13 h 26"/>
                  <a:gd name="T28" fmla="*/ 20 w 25"/>
                  <a:gd name="T29" fmla="*/ 22 h 26"/>
                  <a:gd name="T30" fmla="*/ 21 w 25"/>
                  <a:gd name="T31" fmla="*/ 21 h 26"/>
                  <a:gd name="T32" fmla="*/ 21 w 25"/>
                  <a:gd name="T33" fmla="*/ 15 h 26"/>
                  <a:gd name="T34" fmla="*/ 4 w 25"/>
                  <a:gd name="T35" fmla="*/ 5 h 26"/>
                  <a:gd name="T36" fmla="*/ 4 w 25"/>
                  <a:gd name="T37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6">
                    <a:moveTo>
                      <a:pt x="20" y="26"/>
                    </a:moveTo>
                    <a:cubicBezTo>
                      <a:pt x="20" y="26"/>
                      <a:pt x="19" y="26"/>
                      <a:pt x="19" y="2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5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5" y="12"/>
                      <a:pt x="25" y="13"/>
                      <a:pt x="25" y="1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5" y="23"/>
                      <a:pt x="25" y="24"/>
                      <a:pt x="24" y="24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0" y="26"/>
                      <a:pt x="20" y="26"/>
                    </a:cubicBezTo>
                    <a:close/>
                    <a:moveTo>
                      <a:pt x="4" y="13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4" name="Freeform 992">
                <a:extLst>
                  <a:ext uri="{FF2B5EF4-FFF2-40B4-BE49-F238E27FC236}">
                    <a16:creationId xmlns:a16="http://schemas.microsoft.com/office/drawing/2014/main" id="{50C096AC-663E-4353-8034-CE93AAD6D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31" y="1623"/>
                <a:ext cx="19" cy="19"/>
              </a:xfrm>
              <a:custGeom>
                <a:avLst/>
                <a:gdLst>
                  <a:gd name="T0" fmla="*/ 6 w 8"/>
                  <a:gd name="T1" fmla="*/ 8 h 8"/>
                  <a:gd name="T2" fmla="*/ 5 w 8"/>
                  <a:gd name="T3" fmla="*/ 8 h 8"/>
                  <a:gd name="T4" fmla="*/ 1 w 8"/>
                  <a:gd name="T5" fmla="*/ 6 h 8"/>
                  <a:gd name="T6" fmla="*/ 0 w 8"/>
                  <a:gd name="T7" fmla="*/ 4 h 8"/>
                  <a:gd name="T8" fmla="*/ 1 w 8"/>
                  <a:gd name="T9" fmla="*/ 2 h 8"/>
                  <a:gd name="T10" fmla="*/ 5 w 8"/>
                  <a:gd name="T11" fmla="*/ 0 h 8"/>
                  <a:gd name="T12" fmla="*/ 7 w 8"/>
                  <a:gd name="T13" fmla="*/ 0 h 8"/>
                  <a:gd name="T14" fmla="*/ 8 w 8"/>
                  <a:gd name="T15" fmla="*/ 2 h 8"/>
                  <a:gd name="T16" fmla="*/ 8 w 8"/>
                  <a:gd name="T17" fmla="*/ 6 h 8"/>
                  <a:gd name="T18" fmla="*/ 7 w 8"/>
                  <a:gd name="T19" fmla="*/ 8 h 8"/>
                  <a:gd name="T20" fmla="*/ 6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7" y="8"/>
                    </a:cubicBezTo>
                    <a:cubicBezTo>
                      <a:pt x="7" y="8"/>
                      <a:pt x="6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5" name="Freeform 993">
                <a:extLst>
                  <a:ext uri="{FF2B5EF4-FFF2-40B4-BE49-F238E27FC236}">
                    <a16:creationId xmlns:a16="http://schemas.microsoft.com/office/drawing/2014/main" id="{277DE0C7-4912-4991-BA92-0836FA8952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90" y="1708"/>
                <a:ext cx="60" cy="71"/>
              </a:xfrm>
              <a:custGeom>
                <a:avLst/>
                <a:gdLst>
                  <a:gd name="T0" fmla="*/ 23 w 25"/>
                  <a:gd name="T1" fmla="*/ 30 h 30"/>
                  <a:gd name="T2" fmla="*/ 22 w 25"/>
                  <a:gd name="T3" fmla="*/ 30 h 30"/>
                  <a:gd name="T4" fmla="*/ 1 w 25"/>
                  <a:gd name="T5" fmla="*/ 18 h 30"/>
                  <a:gd name="T6" fmla="*/ 0 w 25"/>
                  <a:gd name="T7" fmla="*/ 16 h 30"/>
                  <a:gd name="T8" fmla="*/ 0 w 25"/>
                  <a:gd name="T9" fmla="*/ 15 h 30"/>
                  <a:gd name="T10" fmla="*/ 1 w 25"/>
                  <a:gd name="T11" fmla="*/ 13 h 30"/>
                  <a:gd name="T12" fmla="*/ 22 w 25"/>
                  <a:gd name="T13" fmla="*/ 1 h 30"/>
                  <a:gd name="T14" fmla="*/ 24 w 25"/>
                  <a:gd name="T15" fmla="*/ 1 h 30"/>
                  <a:gd name="T16" fmla="*/ 25 w 25"/>
                  <a:gd name="T17" fmla="*/ 3 h 30"/>
                  <a:gd name="T18" fmla="*/ 25 w 25"/>
                  <a:gd name="T19" fmla="*/ 28 h 30"/>
                  <a:gd name="T20" fmla="*/ 24 w 25"/>
                  <a:gd name="T21" fmla="*/ 30 h 30"/>
                  <a:gd name="T22" fmla="*/ 23 w 25"/>
                  <a:gd name="T23" fmla="*/ 30 h 30"/>
                  <a:gd name="T24" fmla="*/ 5 w 25"/>
                  <a:gd name="T25" fmla="*/ 15 h 30"/>
                  <a:gd name="T26" fmla="*/ 21 w 25"/>
                  <a:gd name="T27" fmla="*/ 25 h 30"/>
                  <a:gd name="T28" fmla="*/ 21 w 25"/>
                  <a:gd name="T29" fmla="*/ 6 h 30"/>
                  <a:gd name="T30" fmla="*/ 5 w 25"/>
                  <a:gd name="T3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30">
                    <a:moveTo>
                      <a:pt x="23" y="30"/>
                    </a:moveTo>
                    <a:cubicBezTo>
                      <a:pt x="22" y="30"/>
                      <a:pt x="22" y="30"/>
                      <a:pt x="22" y="3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3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4" y="29"/>
                      <a:pt x="24" y="30"/>
                    </a:cubicBezTo>
                    <a:cubicBezTo>
                      <a:pt x="24" y="30"/>
                      <a:pt x="23" y="30"/>
                      <a:pt x="23" y="30"/>
                    </a:cubicBezTo>
                    <a:close/>
                    <a:moveTo>
                      <a:pt x="5" y="15"/>
                    </a:moveTo>
                    <a:cubicBezTo>
                      <a:pt x="21" y="25"/>
                      <a:pt x="21" y="25"/>
                      <a:pt x="21" y="25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5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6" name="Freeform 994">
                <a:extLst>
                  <a:ext uri="{FF2B5EF4-FFF2-40B4-BE49-F238E27FC236}">
                    <a16:creationId xmlns:a16="http://schemas.microsoft.com/office/drawing/2014/main" id="{6F161D86-54A4-4C5C-A98F-2E9377644B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25" y="1214"/>
                <a:ext cx="501" cy="607"/>
              </a:xfrm>
              <a:custGeom>
                <a:avLst/>
                <a:gdLst>
                  <a:gd name="T0" fmla="*/ 129 w 212"/>
                  <a:gd name="T1" fmla="*/ 257 h 257"/>
                  <a:gd name="T2" fmla="*/ 128 w 212"/>
                  <a:gd name="T3" fmla="*/ 201 h 257"/>
                  <a:gd name="T4" fmla="*/ 66 w 212"/>
                  <a:gd name="T5" fmla="*/ 236 h 257"/>
                  <a:gd name="T6" fmla="*/ 65 w 212"/>
                  <a:gd name="T7" fmla="*/ 224 h 257"/>
                  <a:gd name="T8" fmla="*/ 0 w 212"/>
                  <a:gd name="T9" fmla="*/ 185 h 257"/>
                  <a:gd name="T10" fmla="*/ 4 w 212"/>
                  <a:gd name="T11" fmla="*/ 182 h 257"/>
                  <a:gd name="T12" fmla="*/ 68 w 212"/>
                  <a:gd name="T13" fmla="*/ 218 h 257"/>
                  <a:gd name="T14" fmla="*/ 68 w 212"/>
                  <a:gd name="T15" fmla="*/ 144 h 257"/>
                  <a:gd name="T16" fmla="*/ 66 w 212"/>
                  <a:gd name="T17" fmla="*/ 144 h 257"/>
                  <a:gd name="T18" fmla="*/ 65 w 212"/>
                  <a:gd name="T19" fmla="*/ 2 h 257"/>
                  <a:gd name="T20" fmla="*/ 68 w 212"/>
                  <a:gd name="T21" fmla="*/ 0 h 257"/>
                  <a:gd name="T22" fmla="*/ 79 w 212"/>
                  <a:gd name="T23" fmla="*/ 8 h 257"/>
                  <a:gd name="T24" fmla="*/ 211 w 212"/>
                  <a:gd name="T25" fmla="*/ 214 h 257"/>
                  <a:gd name="T26" fmla="*/ 211 w 212"/>
                  <a:gd name="T27" fmla="*/ 217 h 257"/>
                  <a:gd name="T28" fmla="*/ 198 w 212"/>
                  <a:gd name="T29" fmla="*/ 226 h 257"/>
                  <a:gd name="T30" fmla="*/ 190 w 212"/>
                  <a:gd name="T31" fmla="*/ 222 h 257"/>
                  <a:gd name="T32" fmla="*/ 187 w 212"/>
                  <a:gd name="T33" fmla="*/ 223 h 257"/>
                  <a:gd name="T34" fmla="*/ 161 w 212"/>
                  <a:gd name="T35" fmla="*/ 238 h 257"/>
                  <a:gd name="T36" fmla="*/ 131 w 212"/>
                  <a:gd name="T37" fmla="*/ 257 h 257"/>
                  <a:gd name="T38" fmla="*/ 130 w 212"/>
                  <a:gd name="T39" fmla="*/ 196 h 257"/>
                  <a:gd name="T40" fmla="*/ 132 w 212"/>
                  <a:gd name="T41" fmla="*/ 198 h 257"/>
                  <a:gd name="T42" fmla="*/ 157 w 212"/>
                  <a:gd name="T43" fmla="*/ 237 h 257"/>
                  <a:gd name="T44" fmla="*/ 158 w 212"/>
                  <a:gd name="T45" fmla="*/ 203 h 257"/>
                  <a:gd name="T46" fmla="*/ 188 w 212"/>
                  <a:gd name="T47" fmla="*/ 219 h 257"/>
                  <a:gd name="T48" fmla="*/ 191 w 212"/>
                  <a:gd name="T49" fmla="*/ 218 h 257"/>
                  <a:gd name="T50" fmla="*/ 206 w 212"/>
                  <a:gd name="T51" fmla="*/ 215 h 257"/>
                  <a:gd name="T52" fmla="*/ 75 w 212"/>
                  <a:gd name="T53" fmla="*/ 139 h 257"/>
                  <a:gd name="T54" fmla="*/ 69 w 212"/>
                  <a:gd name="T55" fmla="*/ 6 h 257"/>
                  <a:gd name="T56" fmla="*/ 69 w 212"/>
                  <a:gd name="T57" fmla="*/ 140 h 257"/>
                  <a:gd name="T58" fmla="*/ 139 w 212"/>
                  <a:gd name="T59" fmla="*/ 181 h 257"/>
                  <a:gd name="T60" fmla="*/ 69 w 212"/>
                  <a:gd name="T61" fmla="*/ 222 h 257"/>
                  <a:gd name="T62" fmla="*/ 69 w 212"/>
                  <a:gd name="T63" fmla="*/ 223 h 257"/>
                  <a:gd name="T64" fmla="*/ 129 w 212"/>
                  <a:gd name="T65" fmla="*/ 196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2" h="257">
                    <a:moveTo>
                      <a:pt x="130" y="257"/>
                    </a:moveTo>
                    <a:cubicBezTo>
                      <a:pt x="129" y="257"/>
                      <a:pt x="129" y="257"/>
                      <a:pt x="129" y="257"/>
                    </a:cubicBezTo>
                    <a:cubicBezTo>
                      <a:pt x="128" y="256"/>
                      <a:pt x="128" y="256"/>
                      <a:pt x="128" y="255"/>
                    </a:cubicBezTo>
                    <a:cubicBezTo>
                      <a:pt x="128" y="201"/>
                      <a:pt x="128" y="201"/>
                      <a:pt x="128" y="201"/>
                    </a:cubicBezTo>
                    <a:cubicBezTo>
                      <a:pt x="68" y="236"/>
                      <a:pt x="68" y="236"/>
                      <a:pt x="68" y="236"/>
                    </a:cubicBezTo>
                    <a:cubicBezTo>
                      <a:pt x="68" y="236"/>
                      <a:pt x="67" y="236"/>
                      <a:pt x="66" y="236"/>
                    </a:cubicBezTo>
                    <a:cubicBezTo>
                      <a:pt x="66" y="235"/>
                      <a:pt x="65" y="235"/>
                      <a:pt x="65" y="234"/>
                    </a:cubicBezTo>
                    <a:cubicBezTo>
                      <a:pt x="65" y="224"/>
                      <a:pt x="65" y="224"/>
                      <a:pt x="65" y="224"/>
                    </a:cubicBezTo>
                    <a:cubicBezTo>
                      <a:pt x="1" y="187"/>
                      <a:pt x="1" y="187"/>
                      <a:pt x="1" y="187"/>
                    </a:cubicBezTo>
                    <a:cubicBezTo>
                      <a:pt x="1" y="187"/>
                      <a:pt x="0" y="186"/>
                      <a:pt x="0" y="185"/>
                    </a:cubicBezTo>
                    <a:cubicBezTo>
                      <a:pt x="0" y="185"/>
                      <a:pt x="1" y="184"/>
                      <a:pt x="1" y="184"/>
                    </a:cubicBezTo>
                    <a:cubicBezTo>
                      <a:pt x="4" y="182"/>
                      <a:pt x="4" y="182"/>
                      <a:pt x="4" y="182"/>
                    </a:cubicBezTo>
                    <a:cubicBezTo>
                      <a:pt x="5" y="182"/>
                      <a:pt x="5" y="182"/>
                      <a:pt x="6" y="182"/>
                    </a:cubicBezTo>
                    <a:cubicBezTo>
                      <a:pt x="68" y="218"/>
                      <a:pt x="68" y="218"/>
                      <a:pt x="68" y="218"/>
                    </a:cubicBezTo>
                    <a:cubicBezTo>
                      <a:pt x="133" y="181"/>
                      <a:pt x="133" y="181"/>
                      <a:pt x="133" y="181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7" y="144"/>
                      <a:pt x="66" y="144"/>
                    </a:cubicBezTo>
                    <a:cubicBezTo>
                      <a:pt x="66" y="144"/>
                      <a:pt x="65" y="143"/>
                      <a:pt x="65" y="14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5" y="1"/>
                      <a:pt x="66" y="1"/>
                      <a:pt x="66" y="0"/>
                    </a:cubicBezTo>
                    <a:cubicBezTo>
                      <a:pt x="67" y="0"/>
                      <a:pt x="68" y="0"/>
                      <a:pt x="68" y="0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9" y="7"/>
                      <a:pt x="79" y="7"/>
                      <a:pt x="79" y="8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211" y="214"/>
                      <a:pt x="211" y="214"/>
                      <a:pt x="211" y="214"/>
                    </a:cubicBezTo>
                    <a:cubicBezTo>
                      <a:pt x="211" y="214"/>
                      <a:pt x="212" y="215"/>
                      <a:pt x="212" y="215"/>
                    </a:cubicBezTo>
                    <a:cubicBezTo>
                      <a:pt x="212" y="216"/>
                      <a:pt x="211" y="217"/>
                      <a:pt x="211" y="217"/>
                    </a:cubicBezTo>
                    <a:cubicBezTo>
                      <a:pt x="199" y="224"/>
                      <a:pt x="199" y="224"/>
                      <a:pt x="199" y="224"/>
                    </a:cubicBezTo>
                    <a:cubicBezTo>
                      <a:pt x="199" y="225"/>
                      <a:pt x="199" y="225"/>
                      <a:pt x="198" y="226"/>
                    </a:cubicBezTo>
                    <a:cubicBezTo>
                      <a:pt x="197" y="226"/>
                      <a:pt x="197" y="226"/>
                      <a:pt x="196" y="226"/>
                    </a:cubicBezTo>
                    <a:cubicBezTo>
                      <a:pt x="190" y="222"/>
                      <a:pt x="190" y="222"/>
                      <a:pt x="190" y="222"/>
                    </a:cubicBezTo>
                    <a:cubicBezTo>
                      <a:pt x="189" y="223"/>
                      <a:pt x="189" y="223"/>
                      <a:pt x="189" y="223"/>
                    </a:cubicBezTo>
                    <a:cubicBezTo>
                      <a:pt x="188" y="223"/>
                      <a:pt x="188" y="223"/>
                      <a:pt x="187" y="223"/>
                    </a:cubicBezTo>
                    <a:cubicBezTo>
                      <a:pt x="161" y="208"/>
                      <a:pt x="161" y="208"/>
                      <a:pt x="161" y="208"/>
                    </a:cubicBezTo>
                    <a:cubicBezTo>
                      <a:pt x="161" y="238"/>
                      <a:pt x="161" y="238"/>
                      <a:pt x="161" y="238"/>
                    </a:cubicBezTo>
                    <a:cubicBezTo>
                      <a:pt x="161" y="238"/>
                      <a:pt x="161" y="239"/>
                      <a:pt x="160" y="239"/>
                    </a:cubicBezTo>
                    <a:cubicBezTo>
                      <a:pt x="131" y="257"/>
                      <a:pt x="131" y="257"/>
                      <a:pt x="131" y="257"/>
                    </a:cubicBezTo>
                    <a:cubicBezTo>
                      <a:pt x="130" y="257"/>
                      <a:pt x="130" y="257"/>
                      <a:pt x="130" y="257"/>
                    </a:cubicBezTo>
                    <a:close/>
                    <a:moveTo>
                      <a:pt x="130" y="196"/>
                    </a:moveTo>
                    <a:cubicBezTo>
                      <a:pt x="130" y="196"/>
                      <a:pt x="130" y="196"/>
                      <a:pt x="131" y="196"/>
                    </a:cubicBezTo>
                    <a:cubicBezTo>
                      <a:pt x="131" y="196"/>
                      <a:pt x="132" y="197"/>
                      <a:pt x="132" y="198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57" y="237"/>
                      <a:pt x="157" y="237"/>
                      <a:pt x="157" y="237"/>
                    </a:cubicBezTo>
                    <a:cubicBezTo>
                      <a:pt x="157" y="205"/>
                      <a:pt x="157" y="205"/>
                      <a:pt x="157" y="205"/>
                    </a:cubicBezTo>
                    <a:cubicBezTo>
                      <a:pt x="157" y="204"/>
                      <a:pt x="158" y="203"/>
                      <a:pt x="158" y="203"/>
                    </a:cubicBezTo>
                    <a:cubicBezTo>
                      <a:pt x="159" y="202"/>
                      <a:pt x="160" y="202"/>
                      <a:pt x="160" y="203"/>
                    </a:cubicBezTo>
                    <a:cubicBezTo>
                      <a:pt x="188" y="219"/>
                      <a:pt x="188" y="219"/>
                      <a:pt x="188" y="219"/>
                    </a:cubicBezTo>
                    <a:cubicBezTo>
                      <a:pt x="189" y="218"/>
                      <a:pt x="189" y="218"/>
                      <a:pt x="189" y="218"/>
                    </a:cubicBezTo>
                    <a:cubicBezTo>
                      <a:pt x="190" y="218"/>
                      <a:pt x="190" y="218"/>
                      <a:pt x="191" y="218"/>
                    </a:cubicBezTo>
                    <a:cubicBezTo>
                      <a:pt x="196" y="221"/>
                      <a:pt x="196" y="221"/>
                      <a:pt x="196" y="221"/>
                    </a:cubicBezTo>
                    <a:cubicBezTo>
                      <a:pt x="206" y="215"/>
                      <a:pt x="206" y="215"/>
                      <a:pt x="206" y="215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76" y="140"/>
                      <a:pt x="75" y="140"/>
                      <a:pt x="75" y="13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138" y="179"/>
                      <a:pt x="138" y="179"/>
                      <a:pt x="138" y="179"/>
                    </a:cubicBezTo>
                    <a:cubicBezTo>
                      <a:pt x="139" y="180"/>
                      <a:pt x="139" y="180"/>
                      <a:pt x="139" y="181"/>
                    </a:cubicBezTo>
                    <a:cubicBezTo>
                      <a:pt x="139" y="182"/>
                      <a:pt x="139" y="182"/>
                      <a:pt x="138" y="183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3"/>
                      <a:pt x="69" y="223"/>
                      <a:pt x="69" y="223"/>
                    </a:cubicBezTo>
                    <a:cubicBezTo>
                      <a:pt x="69" y="230"/>
                      <a:pt x="69" y="230"/>
                      <a:pt x="69" y="230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196"/>
                      <a:pt x="129" y="196"/>
                      <a:pt x="130" y="1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7" name="Freeform 995">
                <a:extLst>
                  <a:ext uri="{FF2B5EF4-FFF2-40B4-BE49-F238E27FC236}">
                    <a16:creationId xmlns:a16="http://schemas.microsoft.com/office/drawing/2014/main" id="{A42ECB16-8D18-4762-8BDC-FB8F35D34F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710"/>
                <a:ext cx="263" cy="473"/>
              </a:xfrm>
              <a:custGeom>
                <a:avLst/>
                <a:gdLst>
                  <a:gd name="T0" fmla="*/ 44 w 111"/>
                  <a:gd name="T1" fmla="*/ 200 h 200"/>
                  <a:gd name="T2" fmla="*/ 43 w 111"/>
                  <a:gd name="T3" fmla="*/ 200 h 200"/>
                  <a:gd name="T4" fmla="*/ 37 w 111"/>
                  <a:gd name="T5" fmla="*/ 196 h 200"/>
                  <a:gd name="T6" fmla="*/ 36 w 111"/>
                  <a:gd name="T7" fmla="*/ 194 h 200"/>
                  <a:gd name="T8" fmla="*/ 36 w 111"/>
                  <a:gd name="T9" fmla="*/ 137 h 200"/>
                  <a:gd name="T10" fmla="*/ 1 w 111"/>
                  <a:gd name="T11" fmla="*/ 117 h 200"/>
                  <a:gd name="T12" fmla="*/ 0 w 111"/>
                  <a:gd name="T13" fmla="*/ 115 h 200"/>
                  <a:gd name="T14" fmla="*/ 0 w 111"/>
                  <a:gd name="T15" fmla="*/ 76 h 200"/>
                  <a:gd name="T16" fmla="*/ 1 w 111"/>
                  <a:gd name="T17" fmla="*/ 75 h 200"/>
                  <a:gd name="T18" fmla="*/ 43 w 111"/>
                  <a:gd name="T19" fmla="*/ 51 h 200"/>
                  <a:gd name="T20" fmla="*/ 43 w 111"/>
                  <a:gd name="T21" fmla="*/ 7 h 200"/>
                  <a:gd name="T22" fmla="*/ 44 w 111"/>
                  <a:gd name="T23" fmla="*/ 5 h 200"/>
                  <a:gd name="T24" fmla="*/ 53 w 111"/>
                  <a:gd name="T25" fmla="*/ 0 h 200"/>
                  <a:gd name="T26" fmla="*/ 55 w 111"/>
                  <a:gd name="T27" fmla="*/ 0 h 200"/>
                  <a:gd name="T28" fmla="*/ 57 w 111"/>
                  <a:gd name="T29" fmla="*/ 1 h 200"/>
                  <a:gd name="T30" fmla="*/ 58 w 111"/>
                  <a:gd name="T31" fmla="*/ 3 h 200"/>
                  <a:gd name="T32" fmla="*/ 58 w 111"/>
                  <a:gd name="T33" fmla="*/ 42 h 200"/>
                  <a:gd name="T34" fmla="*/ 110 w 111"/>
                  <a:gd name="T35" fmla="*/ 72 h 200"/>
                  <a:gd name="T36" fmla="*/ 111 w 111"/>
                  <a:gd name="T37" fmla="*/ 74 h 200"/>
                  <a:gd name="T38" fmla="*/ 111 w 111"/>
                  <a:gd name="T39" fmla="*/ 89 h 200"/>
                  <a:gd name="T40" fmla="*/ 110 w 111"/>
                  <a:gd name="T41" fmla="*/ 90 h 200"/>
                  <a:gd name="T42" fmla="*/ 46 w 111"/>
                  <a:gd name="T43" fmla="*/ 128 h 200"/>
                  <a:gd name="T44" fmla="*/ 46 w 111"/>
                  <a:gd name="T45" fmla="*/ 198 h 200"/>
                  <a:gd name="T46" fmla="*/ 45 w 111"/>
                  <a:gd name="T47" fmla="*/ 200 h 200"/>
                  <a:gd name="T48" fmla="*/ 44 w 111"/>
                  <a:gd name="T49" fmla="*/ 200 h 200"/>
                  <a:gd name="T50" fmla="*/ 40 w 111"/>
                  <a:gd name="T51" fmla="*/ 193 h 200"/>
                  <a:gd name="T52" fmla="*/ 42 w 111"/>
                  <a:gd name="T53" fmla="*/ 194 h 200"/>
                  <a:gd name="T54" fmla="*/ 42 w 111"/>
                  <a:gd name="T55" fmla="*/ 127 h 200"/>
                  <a:gd name="T56" fmla="*/ 43 w 111"/>
                  <a:gd name="T57" fmla="*/ 125 h 200"/>
                  <a:gd name="T58" fmla="*/ 107 w 111"/>
                  <a:gd name="T59" fmla="*/ 88 h 200"/>
                  <a:gd name="T60" fmla="*/ 107 w 111"/>
                  <a:gd name="T61" fmla="*/ 75 h 200"/>
                  <a:gd name="T62" fmla="*/ 55 w 111"/>
                  <a:gd name="T63" fmla="*/ 45 h 200"/>
                  <a:gd name="T64" fmla="*/ 54 w 111"/>
                  <a:gd name="T65" fmla="*/ 43 h 200"/>
                  <a:gd name="T66" fmla="*/ 54 w 111"/>
                  <a:gd name="T67" fmla="*/ 4 h 200"/>
                  <a:gd name="T68" fmla="*/ 54 w 111"/>
                  <a:gd name="T69" fmla="*/ 4 h 200"/>
                  <a:gd name="T70" fmla="*/ 47 w 111"/>
                  <a:gd name="T71" fmla="*/ 8 h 200"/>
                  <a:gd name="T72" fmla="*/ 47 w 111"/>
                  <a:gd name="T73" fmla="*/ 52 h 200"/>
                  <a:gd name="T74" fmla="*/ 46 w 111"/>
                  <a:gd name="T75" fmla="*/ 53 h 200"/>
                  <a:gd name="T76" fmla="*/ 4 w 111"/>
                  <a:gd name="T77" fmla="*/ 78 h 200"/>
                  <a:gd name="T78" fmla="*/ 4 w 111"/>
                  <a:gd name="T79" fmla="*/ 114 h 200"/>
                  <a:gd name="T80" fmla="*/ 39 w 111"/>
                  <a:gd name="T81" fmla="*/ 134 h 200"/>
                  <a:gd name="T82" fmla="*/ 40 w 111"/>
                  <a:gd name="T83" fmla="*/ 135 h 200"/>
                  <a:gd name="T84" fmla="*/ 40 w 111"/>
                  <a:gd name="T85" fmla="*/ 19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1" h="200">
                    <a:moveTo>
                      <a:pt x="44" y="200"/>
                    </a:moveTo>
                    <a:cubicBezTo>
                      <a:pt x="43" y="200"/>
                      <a:pt x="43" y="200"/>
                      <a:pt x="43" y="200"/>
                    </a:cubicBezTo>
                    <a:cubicBezTo>
                      <a:pt x="37" y="196"/>
                      <a:pt x="37" y="196"/>
                      <a:pt x="37" y="196"/>
                    </a:cubicBezTo>
                    <a:cubicBezTo>
                      <a:pt x="36" y="196"/>
                      <a:pt x="36" y="195"/>
                      <a:pt x="36" y="194"/>
                    </a:cubicBezTo>
                    <a:cubicBezTo>
                      <a:pt x="36" y="137"/>
                      <a:pt x="36" y="137"/>
                      <a:pt x="36" y="137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1" y="116"/>
                      <a:pt x="0" y="116"/>
                      <a:pt x="0" y="115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0" y="76"/>
                      <a:pt x="1" y="75"/>
                      <a:pt x="1" y="75"/>
                    </a:cubicBezTo>
                    <a:cubicBezTo>
                      <a:pt x="43" y="51"/>
                      <a:pt x="43" y="51"/>
                      <a:pt x="43" y="51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3" y="6"/>
                      <a:pt x="44" y="5"/>
                      <a:pt x="44" y="5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54" y="0"/>
                      <a:pt x="55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8" y="2"/>
                      <a:pt x="58" y="2"/>
                      <a:pt x="58" y="3"/>
                    </a:cubicBezTo>
                    <a:cubicBezTo>
                      <a:pt x="58" y="42"/>
                      <a:pt x="58" y="42"/>
                      <a:pt x="58" y="42"/>
                    </a:cubicBezTo>
                    <a:cubicBezTo>
                      <a:pt x="110" y="72"/>
                      <a:pt x="110" y="72"/>
                      <a:pt x="110" y="72"/>
                    </a:cubicBezTo>
                    <a:cubicBezTo>
                      <a:pt x="111" y="73"/>
                      <a:pt x="111" y="73"/>
                      <a:pt x="111" y="74"/>
                    </a:cubicBezTo>
                    <a:cubicBezTo>
                      <a:pt x="111" y="89"/>
                      <a:pt x="111" y="89"/>
                      <a:pt x="111" y="89"/>
                    </a:cubicBezTo>
                    <a:cubicBezTo>
                      <a:pt x="111" y="89"/>
                      <a:pt x="111" y="90"/>
                      <a:pt x="110" y="90"/>
                    </a:cubicBezTo>
                    <a:cubicBezTo>
                      <a:pt x="46" y="128"/>
                      <a:pt x="46" y="128"/>
                      <a:pt x="46" y="128"/>
                    </a:cubicBezTo>
                    <a:cubicBezTo>
                      <a:pt x="46" y="198"/>
                      <a:pt x="46" y="198"/>
                      <a:pt x="46" y="198"/>
                    </a:cubicBezTo>
                    <a:cubicBezTo>
                      <a:pt x="46" y="199"/>
                      <a:pt x="45" y="199"/>
                      <a:pt x="45" y="200"/>
                    </a:cubicBezTo>
                    <a:cubicBezTo>
                      <a:pt x="44" y="200"/>
                      <a:pt x="44" y="200"/>
                      <a:pt x="44" y="200"/>
                    </a:cubicBezTo>
                    <a:close/>
                    <a:moveTo>
                      <a:pt x="40" y="193"/>
                    </a:moveTo>
                    <a:cubicBezTo>
                      <a:pt x="42" y="194"/>
                      <a:pt x="42" y="194"/>
                      <a:pt x="42" y="194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42" y="126"/>
                      <a:pt x="42" y="125"/>
                      <a:pt x="43" y="125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4" y="45"/>
                      <a:pt x="54" y="44"/>
                      <a:pt x="54" y="43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52"/>
                      <a:pt x="47" y="52"/>
                      <a:pt x="47" y="52"/>
                    </a:cubicBezTo>
                    <a:cubicBezTo>
                      <a:pt x="47" y="52"/>
                      <a:pt x="47" y="53"/>
                      <a:pt x="46" y="53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114"/>
                      <a:pt x="4" y="114"/>
                      <a:pt x="4" y="114"/>
                    </a:cubicBezTo>
                    <a:cubicBezTo>
                      <a:pt x="39" y="134"/>
                      <a:pt x="39" y="134"/>
                      <a:pt x="39" y="134"/>
                    </a:cubicBezTo>
                    <a:cubicBezTo>
                      <a:pt x="39" y="134"/>
                      <a:pt x="40" y="135"/>
                      <a:pt x="40" y="135"/>
                    </a:cubicBezTo>
                    <a:lnTo>
                      <a:pt x="40" y="1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8" name="Freeform 996">
                <a:extLst>
                  <a:ext uri="{FF2B5EF4-FFF2-40B4-BE49-F238E27FC236}">
                    <a16:creationId xmlns:a16="http://schemas.microsoft.com/office/drawing/2014/main" id="{047AC728-3281-4A46-A3B8-0781E94C3F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38" y="1982"/>
                <a:ext cx="94" cy="189"/>
              </a:xfrm>
              <a:custGeom>
                <a:avLst/>
                <a:gdLst>
                  <a:gd name="T0" fmla="*/ 38 w 40"/>
                  <a:gd name="T1" fmla="*/ 80 h 80"/>
                  <a:gd name="T2" fmla="*/ 37 w 40"/>
                  <a:gd name="T3" fmla="*/ 80 h 80"/>
                  <a:gd name="T4" fmla="*/ 1 w 40"/>
                  <a:gd name="T5" fmla="*/ 59 h 80"/>
                  <a:gd name="T6" fmla="*/ 0 w 40"/>
                  <a:gd name="T7" fmla="*/ 58 h 80"/>
                  <a:gd name="T8" fmla="*/ 1 w 40"/>
                  <a:gd name="T9" fmla="*/ 56 h 80"/>
                  <a:gd name="T10" fmla="*/ 2 w 40"/>
                  <a:gd name="T11" fmla="*/ 55 h 80"/>
                  <a:gd name="T12" fmla="*/ 2 w 40"/>
                  <a:gd name="T13" fmla="*/ 2 h 80"/>
                  <a:gd name="T14" fmla="*/ 3 w 40"/>
                  <a:gd name="T15" fmla="*/ 0 h 80"/>
                  <a:gd name="T16" fmla="*/ 5 w 40"/>
                  <a:gd name="T17" fmla="*/ 0 h 80"/>
                  <a:gd name="T18" fmla="*/ 39 w 40"/>
                  <a:gd name="T19" fmla="*/ 20 h 80"/>
                  <a:gd name="T20" fmla="*/ 40 w 40"/>
                  <a:gd name="T21" fmla="*/ 21 h 80"/>
                  <a:gd name="T22" fmla="*/ 40 w 40"/>
                  <a:gd name="T23" fmla="*/ 78 h 80"/>
                  <a:gd name="T24" fmla="*/ 39 w 40"/>
                  <a:gd name="T25" fmla="*/ 80 h 80"/>
                  <a:gd name="T26" fmla="*/ 38 w 40"/>
                  <a:gd name="T27" fmla="*/ 80 h 80"/>
                  <a:gd name="T28" fmla="*/ 6 w 40"/>
                  <a:gd name="T29" fmla="*/ 58 h 80"/>
                  <a:gd name="T30" fmla="*/ 36 w 40"/>
                  <a:gd name="T31" fmla="*/ 75 h 80"/>
                  <a:gd name="T32" fmla="*/ 36 w 40"/>
                  <a:gd name="T33" fmla="*/ 23 h 80"/>
                  <a:gd name="T34" fmla="*/ 6 w 40"/>
                  <a:gd name="T35" fmla="*/ 5 h 80"/>
                  <a:gd name="T36" fmla="*/ 6 w 40"/>
                  <a:gd name="T37" fmla="*/ 56 h 80"/>
                  <a:gd name="T38" fmla="*/ 6 w 40"/>
                  <a:gd name="T39" fmla="*/ 58 h 80"/>
                  <a:gd name="T40" fmla="*/ 4 w 40"/>
                  <a:gd name="T41" fmla="*/ 56 h 80"/>
                  <a:gd name="T42" fmla="*/ 4 w 40"/>
                  <a:gd name="T43" fmla="*/ 5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80">
                    <a:moveTo>
                      <a:pt x="38" y="80"/>
                    </a:moveTo>
                    <a:cubicBezTo>
                      <a:pt x="38" y="80"/>
                      <a:pt x="37" y="80"/>
                      <a:pt x="37" y="80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59"/>
                      <a:pt x="0" y="58"/>
                      <a:pt x="0" y="58"/>
                    </a:cubicBezTo>
                    <a:cubicBezTo>
                      <a:pt x="0" y="57"/>
                      <a:pt x="1" y="56"/>
                      <a:pt x="1" y="56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3" y="1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40" y="20"/>
                      <a:pt x="40" y="21"/>
                      <a:pt x="40" y="21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40" y="79"/>
                      <a:pt x="40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lose/>
                    <a:moveTo>
                      <a:pt x="6" y="58"/>
                    </a:moveTo>
                    <a:cubicBezTo>
                      <a:pt x="36" y="75"/>
                      <a:pt x="36" y="75"/>
                      <a:pt x="36" y="75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7"/>
                      <a:pt x="6" y="57"/>
                      <a:pt x="6" y="58"/>
                    </a:cubicBezTo>
                    <a:close/>
                    <a:moveTo>
                      <a:pt x="4" y="56"/>
                    </a:moveTo>
                    <a:cubicBezTo>
                      <a:pt x="4" y="56"/>
                      <a:pt x="4" y="56"/>
                      <a:pt x="4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9" name="Freeform 997">
                <a:extLst>
                  <a:ext uri="{FF2B5EF4-FFF2-40B4-BE49-F238E27FC236}">
                    <a16:creationId xmlns:a16="http://schemas.microsoft.com/office/drawing/2014/main" id="{C2E69FFB-4F46-494F-833F-7E1DBCB010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725"/>
                <a:ext cx="109" cy="167"/>
              </a:xfrm>
              <a:custGeom>
                <a:avLst/>
                <a:gdLst>
                  <a:gd name="T0" fmla="*/ 2 w 46"/>
                  <a:gd name="T1" fmla="*/ 71 h 71"/>
                  <a:gd name="T2" fmla="*/ 1 w 46"/>
                  <a:gd name="T3" fmla="*/ 70 h 71"/>
                  <a:gd name="T4" fmla="*/ 0 w 46"/>
                  <a:gd name="T5" fmla="*/ 69 h 71"/>
                  <a:gd name="T6" fmla="*/ 0 w 46"/>
                  <a:gd name="T7" fmla="*/ 62 h 71"/>
                  <a:gd name="T8" fmla="*/ 1 w 46"/>
                  <a:gd name="T9" fmla="*/ 60 h 71"/>
                  <a:gd name="T10" fmla="*/ 33 w 46"/>
                  <a:gd name="T11" fmla="*/ 42 h 71"/>
                  <a:gd name="T12" fmla="*/ 4 w 46"/>
                  <a:gd name="T13" fmla="*/ 25 h 71"/>
                  <a:gd name="T14" fmla="*/ 3 w 46"/>
                  <a:gd name="T15" fmla="*/ 24 h 71"/>
                  <a:gd name="T16" fmla="*/ 4 w 46"/>
                  <a:gd name="T17" fmla="*/ 22 h 71"/>
                  <a:gd name="T18" fmla="*/ 43 w 46"/>
                  <a:gd name="T19" fmla="*/ 0 h 71"/>
                  <a:gd name="T20" fmla="*/ 45 w 46"/>
                  <a:gd name="T21" fmla="*/ 0 h 71"/>
                  <a:gd name="T22" fmla="*/ 46 w 46"/>
                  <a:gd name="T23" fmla="*/ 2 h 71"/>
                  <a:gd name="T24" fmla="*/ 46 w 46"/>
                  <a:gd name="T25" fmla="*/ 45 h 71"/>
                  <a:gd name="T26" fmla="*/ 45 w 46"/>
                  <a:gd name="T27" fmla="*/ 47 h 71"/>
                  <a:gd name="T28" fmla="*/ 3 w 46"/>
                  <a:gd name="T29" fmla="*/ 70 h 71"/>
                  <a:gd name="T30" fmla="*/ 2 w 46"/>
                  <a:gd name="T31" fmla="*/ 71 h 71"/>
                  <a:gd name="T32" fmla="*/ 4 w 46"/>
                  <a:gd name="T33" fmla="*/ 63 h 71"/>
                  <a:gd name="T34" fmla="*/ 4 w 46"/>
                  <a:gd name="T35" fmla="*/ 65 h 71"/>
                  <a:gd name="T36" fmla="*/ 42 w 46"/>
                  <a:gd name="T37" fmla="*/ 44 h 71"/>
                  <a:gd name="T38" fmla="*/ 42 w 46"/>
                  <a:gd name="T39" fmla="*/ 5 h 71"/>
                  <a:gd name="T40" fmla="*/ 9 w 46"/>
                  <a:gd name="T41" fmla="*/ 24 h 71"/>
                  <a:gd name="T42" fmla="*/ 38 w 46"/>
                  <a:gd name="T43" fmla="*/ 40 h 71"/>
                  <a:gd name="T44" fmla="*/ 39 w 46"/>
                  <a:gd name="T45" fmla="*/ 42 h 71"/>
                  <a:gd name="T46" fmla="*/ 38 w 46"/>
                  <a:gd name="T47" fmla="*/ 44 h 71"/>
                  <a:gd name="T48" fmla="*/ 4 w 46"/>
                  <a:gd name="T49" fmla="*/ 6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71">
                    <a:moveTo>
                      <a:pt x="2" y="71"/>
                    </a:moveTo>
                    <a:cubicBezTo>
                      <a:pt x="2" y="71"/>
                      <a:pt x="2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5"/>
                      <a:pt x="3" y="24"/>
                      <a:pt x="3" y="24"/>
                    </a:cubicBezTo>
                    <a:cubicBezTo>
                      <a:pt x="3" y="23"/>
                      <a:pt x="4" y="22"/>
                      <a:pt x="4" y="2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0"/>
                      <a:pt x="46" y="1"/>
                      <a:pt x="46" y="2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46" y="45"/>
                      <a:pt x="45" y="46"/>
                      <a:pt x="45" y="4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3" y="71"/>
                      <a:pt x="2" y="71"/>
                    </a:cubicBezTo>
                    <a:close/>
                    <a:moveTo>
                      <a:pt x="4" y="63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38" y="40"/>
                      <a:pt x="38" y="40"/>
                      <a:pt x="38" y="40"/>
                    </a:cubicBezTo>
                    <a:cubicBezTo>
                      <a:pt x="39" y="41"/>
                      <a:pt x="39" y="41"/>
                      <a:pt x="39" y="42"/>
                    </a:cubicBezTo>
                    <a:cubicBezTo>
                      <a:pt x="39" y="43"/>
                      <a:pt x="39" y="43"/>
                      <a:pt x="38" y="44"/>
                    </a:cubicBezTo>
                    <a:lnTo>
                      <a:pt x="4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0" name="Freeform 998">
                <a:extLst>
                  <a:ext uri="{FF2B5EF4-FFF2-40B4-BE49-F238E27FC236}">
                    <a16:creationId xmlns:a16="http://schemas.microsoft.com/office/drawing/2014/main" id="{5D761B0D-7819-497D-8F2D-B8BECC4A8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779"/>
                <a:ext cx="85" cy="92"/>
              </a:xfrm>
              <a:custGeom>
                <a:avLst/>
                <a:gdLst>
                  <a:gd name="T0" fmla="*/ 2 w 36"/>
                  <a:gd name="T1" fmla="*/ 39 h 39"/>
                  <a:gd name="T2" fmla="*/ 1 w 36"/>
                  <a:gd name="T3" fmla="*/ 39 h 39"/>
                  <a:gd name="T4" fmla="*/ 0 w 36"/>
                  <a:gd name="T5" fmla="*/ 37 h 39"/>
                  <a:gd name="T6" fmla="*/ 0 w 36"/>
                  <a:gd name="T7" fmla="*/ 2 h 39"/>
                  <a:gd name="T8" fmla="*/ 1 w 36"/>
                  <a:gd name="T9" fmla="*/ 1 h 39"/>
                  <a:gd name="T10" fmla="*/ 3 w 36"/>
                  <a:gd name="T11" fmla="*/ 0 h 39"/>
                  <a:gd name="T12" fmla="*/ 5 w 36"/>
                  <a:gd name="T13" fmla="*/ 0 h 39"/>
                  <a:gd name="T14" fmla="*/ 35 w 36"/>
                  <a:gd name="T15" fmla="*/ 17 h 39"/>
                  <a:gd name="T16" fmla="*/ 36 w 36"/>
                  <a:gd name="T17" fmla="*/ 19 h 39"/>
                  <a:gd name="T18" fmla="*/ 35 w 36"/>
                  <a:gd name="T19" fmla="*/ 21 h 39"/>
                  <a:gd name="T20" fmla="*/ 3 w 36"/>
                  <a:gd name="T21" fmla="*/ 39 h 39"/>
                  <a:gd name="T22" fmla="*/ 2 w 36"/>
                  <a:gd name="T23" fmla="*/ 39 h 39"/>
                  <a:gd name="T24" fmla="*/ 4 w 36"/>
                  <a:gd name="T25" fmla="*/ 4 h 39"/>
                  <a:gd name="T26" fmla="*/ 4 w 36"/>
                  <a:gd name="T27" fmla="*/ 34 h 39"/>
                  <a:gd name="T28" fmla="*/ 30 w 36"/>
                  <a:gd name="T29" fmla="*/ 19 h 39"/>
                  <a:gd name="T30" fmla="*/ 4 w 36"/>
                  <a:gd name="T31" fmla="*/ 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9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8"/>
                      <a:pt x="36" y="18"/>
                      <a:pt x="36" y="19"/>
                    </a:cubicBezTo>
                    <a:cubicBezTo>
                      <a:pt x="36" y="20"/>
                      <a:pt x="35" y="20"/>
                      <a:pt x="35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4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30" y="19"/>
                      <a:pt x="30" y="19"/>
                      <a:pt x="30" y="19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1" name="Freeform 999">
                <a:extLst>
                  <a:ext uri="{FF2B5EF4-FFF2-40B4-BE49-F238E27FC236}">
                    <a16:creationId xmlns:a16="http://schemas.microsoft.com/office/drawing/2014/main" id="{7D5567C5-B393-4DE1-A928-36E7F111A7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61" y="638"/>
                <a:ext cx="389" cy="191"/>
              </a:xfrm>
              <a:custGeom>
                <a:avLst/>
                <a:gdLst>
                  <a:gd name="T0" fmla="*/ 84 w 165"/>
                  <a:gd name="T1" fmla="*/ 81 h 81"/>
                  <a:gd name="T2" fmla="*/ 83 w 165"/>
                  <a:gd name="T3" fmla="*/ 80 h 81"/>
                  <a:gd name="T4" fmla="*/ 82 w 165"/>
                  <a:gd name="T5" fmla="*/ 79 h 81"/>
                  <a:gd name="T6" fmla="*/ 1 w 165"/>
                  <a:gd name="T7" fmla="*/ 32 h 81"/>
                  <a:gd name="T8" fmla="*/ 0 w 165"/>
                  <a:gd name="T9" fmla="*/ 30 h 81"/>
                  <a:gd name="T10" fmla="*/ 1 w 165"/>
                  <a:gd name="T11" fmla="*/ 29 h 81"/>
                  <a:gd name="T12" fmla="*/ 48 w 165"/>
                  <a:gd name="T13" fmla="*/ 1 h 81"/>
                  <a:gd name="T14" fmla="*/ 50 w 165"/>
                  <a:gd name="T15" fmla="*/ 1 h 81"/>
                  <a:gd name="T16" fmla="*/ 78 w 165"/>
                  <a:gd name="T17" fmla="*/ 18 h 81"/>
                  <a:gd name="T18" fmla="*/ 109 w 165"/>
                  <a:gd name="T19" fmla="*/ 0 h 81"/>
                  <a:gd name="T20" fmla="*/ 111 w 165"/>
                  <a:gd name="T21" fmla="*/ 0 h 81"/>
                  <a:gd name="T22" fmla="*/ 164 w 165"/>
                  <a:gd name="T23" fmla="*/ 31 h 81"/>
                  <a:gd name="T24" fmla="*/ 165 w 165"/>
                  <a:gd name="T25" fmla="*/ 33 h 81"/>
                  <a:gd name="T26" fmla="*/ 164 w 165"/>
                  <a:gd name="T27" fmla="*/ 34 h 81"/>
                  <a:gd name="T28" fmla="*/ 85 w 165"/>
                  <a:gd name="T29" fmla="*/ 80 h 81"/>
                  <a:gd name="T30" fmla="*/ 84 w 165"/>
                  <a:gd name="T31" fmla="*/ 81 h 81"/>
                  <a:gd name="T32" fmla="*/ 6 w 165"/>
                  <a:gd name="T33" fmla="*/ 30 h 81"/>
                  <a:gd name="T34" fmla="*/ 84 w 165"/>
                  <a:gd name="T35" fmla="*/ 76 h 81"/>
                  <a:gd name="T36" fmla="*/ 159 w 165"/>
                  <a:gd name="T37" fmla="*/ 33 h 81"/>
                  <a:gd name="T38" fmla="*/ 110 w 165"/>
                  <a:gd name="T39" fmla="*/ 4 h 81"/>
                  <a:gd name="T40" fmla="*/ 79 w 165"/>
                  <a:gd name="T41" fmla="*/ 22 h 81"/>
                  <a:gd name="T42" fmla="*/ 77 w 165"/>
                  <a:gd name="T43" fmla="*/ 22 h 81"/>
                  <a:gd name="T44" fmla="*/ 49 w 165"/>
                  <a:gd name="T45" fmla="*/ 5 h 81"/>
                  <a:gd name="T46" fmla="*/ 6 w 165"/>
                  <a:gd name="T47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5" h="81">
                    <a:moveTo>
                      <a:pt x="84" y="81"/>
                    </a:moveTo>
                    <a:cubicBezTo>
                      <a:pt x="83" y="81"/>
                      <a:pt x="83" y="81"/>
                      <a:pt x="83" y="80"/>
                    </a:cubicBezTo>
                    <a:cubicBezTo>
                      <a:pt x="82" y="80"/>
                      <a:pt x="82" y="79"/>
                      <a:pt x="82" y="79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9" y="1"/>
                      <a:pt x="49" y="1"/>
                      <a:pt x="50" y="1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110" y="0"/>
                      <a:pt x="111" y="0"/>
                    </a:cubicBezTo>
                    <a:cubicBezTo>
                      <a:pt x="164" y="31"/>
                      <a:pt x="164" y="31"/>
                      <a:pt x="164" y="31"/>
                    </a:cubicBezTo>
                    <a:cubicBezTo>
                      <a:pt x="165" y="31"/>
                      <a:pt x="165" y="32"/>
                      <a:pt x="165" y="33"/>
                    </a:cubicBezTo>
                    <a:cubicBezTo>
                      <a:pt x="165" y="33"/>
                      <a:pt x="165" y="34"/>
                      <a:pt x="164" y="34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81"/>
                      <a:pt x="84" y="81"/>
                      <a:pt x="84" y="81"/>
                    </a:cubicBezTo>
                    <a:close/>
                    <a:moveTo>
                      <a:pt x="6" y="30"/>
                    </a:moveTo>
                    <a:cubicBezTo>
                      <a:pt x="84" y="76"/>
                      <a:pt x="84" y="76"/>
                      <a:pt x="84" y="76"/>
                    </a:cubicBezTo>
                    <a:cubicBezTo>
                      <a:pt x="159" y="33"/>
                      <a:pt x="159" y="33"/>
                      <a:pt x="159" y="33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78" y="22"/>
                      <a:pt x="78" y="22"/>
                      <a:pt x="77" y="22"/>
                    </a:cubicBezTo>
                    <a:cubicBezTo>
                      <a:pt x="49" y="5"/>
                      <a:pt x="49" y="5"/>
                      <a:pt x="49" y="5"/>
                    </a:cubicBezTo>
                    <a:lnTo>
                      <a:pt x="6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2" name="Freeform 1000">
                <a:extLst>
                  <a:ext uri="{FF2B5EF4-FFF2-40B4-BE49-F238E27FC236}">
                    <a16:creationId xmlns:a16="http://schemas.microsoft.com/office/drawing/2014/main" id="{8C3B6023-B3FF-457A-AC5B-A94EEAAB9F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16" y="775"/>
                <a:ext cx="178" cy="319"/>
              </a:xfrm>
              <a:custGeom>
                <a:avLst/>
                <a:gdLst>
                  <a:gd name="T0" fmla="*/ 72 w 75"/>
                  <a:gd name="T1" fmla="*/ 135 h 135"/>
                  <a:gd name="T2" fmla="*/ 71 w 75"/>
                  <a:gd name="T3" fmla="*/ 135 h 135"/>
                  <a:gd name="T4" fmla="*/ 7 w 75"/>
                  <a:gd name="T5" fmla="*/ 98 h 135"/>
                  <a:gd name="T6" fmla="*/ 3 w 75"/>
                  <a:gd name="T7" fmla="*/ 101 h 135"/>
                  <a:gd name="T8" fmla="*/ 1 w 75"/>
                  <a:gd name="T9" fmla="*/ 101 h 135"/>
                  <a:gd name="T10" fmla="*/ 0 w 75"/>
                  <a:gd name="T11" fmla="*/ 99 h 135"/>
                  <a:gd name="T12" fmla="*/ 0 w 75"/>
                  <a:gd name="T13" fmla="*/ 24 h 135"/>
                  <a:gd name="T14" fmla="*/ 1 w 75"/>
                  <a:gd name="T15" fmla="*/ 22 h 135"/>
                  <a:gd name="T16" fmla="*/ 5 w 75"/>
                  <a:gd name="T17" fmla="*/ 20 h 135"/>
                  <a:gd name="T18" fmla="*/ 1 w 75"/>
                  <a:gd name="T19" fmla="*/ 18 h 135"/>
                  <a:gd name="T20" fmla="*/ 0 w 75"/>
                  <a:gd name="T21" fmla="*/ 16 h 135"/>
                  <a:gd name="T22" fmla="*/ 0 w 75"/>
                  <a:gd name="T23" fmla="*/ 7 h 135"/>
                  <a:gd name="T24" fmla="*/ 1 w 75"/>
                  <a:gd name="T25" fmla="*/ 6 h 135"/>
                  <a:gd name="T26" fmla="*/ 10 w 75"/>
                  <a:gd name="T27" fmla="*/ 0 h 135"/>
                  <a:gd name="T28" fmla="*/ 12 w 75"/>
                  <a:gd name="T29" fmla="*/ 0 h 135"/>
                  <a:gd name="T30" fmla="*/ 13 w 75"/>
                  <a:gd name="T31" fmla="*/ 2 h 135"/>
                  <a:gd name="T32" fmla="*/ 13 w 75"/>
                  <a:gd name="T33" fmla="*/ 95 h 135"/>
                  <a:gd name="T34" fmla="*/ 74 w 75"/>
                  <a:gd name="T35" fmla="*/ 131 h 135"/>
                  <a:gd name="T36" fmla="*/ 75 w 75"/>
                  <a:gd name="T37" fmla="*/ 132 h 135"/>
                  <a:gd name="T38" fmla="*/ 74 w 75"/>
                  <a:gd name="T39" fmla="*/ 134 h 135"/>
                  <a:gd name="T40" fmla="*/ 73 w 75"/>
                  <a:gd name="T41" fmla="*/ 135 h 135"/>
                  <a:gd name="T42" fmla="*/ 72 w 75"/>
                  <a:gd name="T43" fmla="*/ 135 h 135"/>
                  <a:gd name="T44" fmla="*/ 4 w 75"/>
                  <a:gd name="T45" fmla="*/ 25 h 135"/>
                  <a:gd name="T46" fmla="*/ 4 w 75"/>
                  <a:gd name="T47" fmla="*/ 96 h 135"/>
                  <a:gd name="T48" fmla="*/ 6 w 75"/>
                  <a:gd name="T49" fmla="*/ 94 h 135"/>
                  <a:gd name="T50" fmla="*/ 8 w 75"/>
                  <a:gd name="T51" fmla="*/ 94 h 135"/>
                  <a:gd name="T52" fmla="*/ 9 w 75"/>
                  <a:gd name="T53" fmla="*/ 95 h 135"/>
                  <a:gd name="T54" fmla="*/ 9 w 75"/>
                  <a:gd name="T55" fmla="*/ 22 h 135"/>
                  <a:gd name="T56" fmla="*/ 4 w 75"/>
                  <a:gd name="T57" fmla="*/ 25 h 135"/>
                  <a:gd name="T58" fmla="*/ 4 w 75"/>
                  <a:gd name="T59" fmla="*/ 15 h 135"/>
                  <a:gd name="T60" fmla="*/ 9 w 75"/>
                  <a:gd name="T61" fmla="*/ 18 h 135"/>
                  <a:gd name="T62" fmla="*/ 9 w 75"/>
                  <a:gd name="T63" fmla="*/ 6 h 135"/>
                  <a:gd name="T64" fmla="*/ 4 w 75"/>
                  <a:gd name="T65" fmla="*/ 9 h 135"/>
                  <a:gd name="T66" fmla="*/ 4 w 75"/>
                  <a:gd name="T67" fmla="*/ 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35">
                    <a:moveTo>
                      <a:pt x="72" y="135"/>
                    </a:moveTo>
                    <a:cubicBezTo>
                      <a:pt x="71" y="135"/>
                      <a:pt x="71" y="135"/>
                      <a:pt x="71" y="13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2" y="101"/>
                      <a:pt x="2" y="101"/>
                      <a:pt x="1" y="101"/>
                    </a:cubicBezTo>
                    <a:cubicBezTo>
                      <a:pt x="0" y="100"/>
                      <a:pt x="0" y="100"/>
                      <a:pt x="0" y="9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3" y="1"/>
                      <a:pt x="13" y="1"/>
                      <a:pt x="13" y="2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74" y="131"/>
                      <a:pt x="74" y="131"/>
                      <a:pt x="74" y="131"/>
                    </a:cubicBezTo>
                    <a:cubicBezTo>
                      <a:pt x="75" y="131"/>
                      <a:pt x="75" y="132"/>
                      <a:pt x="75" y="132"/>
                    </a:cubicBezTo>
                    <a:cubicBezTo>
                      <a:pt x="75" y="133"/>
                      <a:pt x="75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2" y="135"/>
                      <a:pt x="72" y="135"/>
                      <a:pt x="72" y="135"/>
                    </a:cubicBezTo>
                    <a:close/>
                    <a:moveTo>
                      <a:pt x="4" y="25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7" y="94"/>
                      <a:pt x="8" y="94"/>
                      <a:pt x="8" y="94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9" y="22"/>
                      <a:pt x="9" y="22"/>
                      <a:pt x="9" y="22"/>
                    </a:cubicBezTo>
                    <a:lnTo>
                      <a:pt x="4" y="25"/>
                    </a:lnTo>
                    <a:close/>
                    <a:moveTo>
                      <a:pt x="4" y="15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3" name="Freeform 1001">
                <a:extLst>
                  <a:ext uri="{FF2B5EF4-FFF2-40B4-BE49-F238E27FC236}">
                    <a16:creationId xmlns:a16="http://schemas.microsoft.com/office/drawing/2014/main" id="{FACF4BF8-FCFA-4900-9A21-1F11E26EEE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16" y="494"/>
                <a:ext cx="260" cy="300"/>
              </a:xfrm>
              <a:custGeom>
                <a:avLst/>
                <a:gdLst>
                  <a:gd name="T0" fmla="*/ 2 w 110"/>
                  <a:gd name="T1" fmla="*/ 127 h 127"/>
                  <a:gd name="T2" fmla="*/ 1 w 110"/>
                  <a:gd name="T3" fmla="*/ 126 h 127"/>
                  <a:gd name="T4" fmla="*/ 0 w 110"/>
                  <a:gd name="T5" fmla="*/ 125 h 127"/>
                  <a:gd name="T6" fmla="*/ 0 w 110"/>
                  <a:gd name="T7" fmla="*/ 2 h 127"/>
                  <a:gd name="T8" fmla="*/ 1 w 110"/>
                  <a:gd name="T9" fmla="*/ 0 h 127"/>
                  <a:gd name="T10" fmla="*/ 3 w 110"/>
                  <a:gd name="T11" fmla="*/ 0 h 127"/>
                  <a:gd name="T12" fmla="*/ 109 w 110"/>
                  <a:gd name="T13" fmla="*/ 61 h 127"/>
                  <a:gd name="T14" fmla="*/ 110 w 110"/>
                  <a:gd name="T15" fmla="*/ 63 h 127"/>
                  <a:gd name="T16" fmla="*/ 109 w 110"/>
                  <a:gd name="T17" fmla="*/ 65 h 127"/>
                  <a:gd name="T18" fmla="*/ 62 w 110"/>
                  <a:gd name="T19" fmla="*/ 92 h 127"/>
                  <a:gd name="T20" fmla="*/ 60 w 110"/>
                  <a:gd name="T21" fmla="*/ 92 h 127"/>
                  <a:gd name="T22" fmla="*/ 13 w 110"/>
                  <a:gd name="T23" fmla="*/ 65 h 127"/>
                  <a:gd name="T24" fmla="*/ 13 w 110"/>
                  <a:gd name="T25" fmla="*/ 119 h 127"/>
                  <a:gd name="T26" fmla="*/ 12 w 110"/>
                  <a:gd name="T27" fmla="*/ 121 h 127"/>
                  <a:gd name="T28" fmla="*/ 3 w 110"/>
                  <a:gd name="T29" fmla="*/ 126 h 127"/>
                  <a:gd name="T30" fmla="*/ 2 w 110"/>
                  <a:gd name="T31" fmla="*/ 127 h 127"/>
                  <a:gd name="T32" fmla="*/ 4 w 110"/>
                  <a:gd name="T33" fmla="*/ 5 h 127"/>
                  <a:gd name="T34" fmla="*/ 4 w 110"/>
                  <a:gd name="T35" fmla="*/ 121 h 127"/>
                  <a:gd name="T36" fmla="*/ 9 w 110"/>
                  <a:gd name="T37" fmla="*/ 118 h 127"/>
                  <a:gd name="T38" fmla="*/ 9 w 110"/>
                  <a:gd name="T39" fmla="*/ 61 h 127"/>
                  <a:gd name="T40" fmla="*/ 10 w 110"/>
                  <a:gd name="T41" fmla="*/ 60 h 127"/>
                  <a:gd name="T42" fmla="*/ 12 w 110"/>
                  <a:gd name="T43" fmla="*/ 60 h 127"/>
                  <a:gd name="T44" fmla="*/ 61 w 110"/>
                  <a:gd name="T45" fmla="*/ 88 h 127"/>
                  <a:gd name="T46" fmla="*/ 104 w 110"/>
                  <a:gd name="T47" fmla="*/ 63 h 127"/>
                  <a:gd name="T48" fmla="*/ 4 w 110"/>
                  <a:gd name="T49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0" h="127">
                    <a:moveTo>
                      <a:pt x="2" y="127"/>
                    </a:moveTo>
                    <a:cubicBezTo>
                      <a:pt x="2" y="127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9" y="61"/>
                      <a:pt x="109" y="61"/>
                      <a:pt x="109" y="61"/>
                    </a:cubicBezTo>
                    <a:cubicBezTo>
                      <a:pt x="110" y="62"/>
                      <a:pt x="110" y="62"/>
                      <a:pt x="110" y="63"/>
                    </a:cubicBezTo>
                    <a:cubicBezTo>
                      <a:pt x="110" y="64"/>
                      <a:pt x="110" y="65"/>
                      <a:pt x="109" y="65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61" y="92"/>
                      <a:pt x="61" y="92"/>
                      <a:pt x="60" y="92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119"/>
                      <a:pt x="13" y="119"/>
                      <a:pt x="13" y="119"/>
                    </a:cubicBezTo>
                    <a:cubicBezTo>
                      <a:pt x="13" y="120"/>
                      <a:pt x="13" y="121"/>
                      <a:pt x="12" y="121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3" y="126"/>
                      <a:pt x="2" y="127"/>
                      <a:pt x="2" y="127"/>
                    </a:cubicBezTo>
                    <a:close/>
                    <a:moveTo>
                      <a:pt x="4" y="5"/>
                    </a:moveTo>
                    <a:cubicBezTo>
                      <a:pt x="4" y="121"/>
                      <a:pt x="4" y="121"/>
                      <a:pt x="4" y="121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1"/>
                      <a:pt x="9" y="60"/>
                      <a:pt x="10" y="60"/>
                    </a:cubicBezTo>
                    <a:cubicBezTo>
                      <a:pt x="11" y="59"/>
                      <a:pt x="11" y="59"/>
                      <a:pt x="12" y="60"/>
                    </a:cubicBezTo>
                    <a:cubicBezTo>
                      <a:pt x="61" y="88"/>
                      <a:pt x="61" y="88"/>
                      <a:pt x="61" y="88"/>
                    </a:cubicBezTo>
                    <a:cubicBezTo>
                      <a:pt x="104" y="63"/>
                      <a:pt x="104" y="63"/>
                      <a:pt x="104" y="63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4" name="Freeform 1002">
                <a:extLst>
                  <a:ext uri="{FF2B5EF4-FFF2-40B4-BE49-F238E27FC236}">
                    <a16:creationId xmlns:a16="http://schemas.microsoft.com/office/drawing/2014/main" id="{66B1B8FD-F78C-4653-BB84-F743179E25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50" y="697"/>
                <a:ext cx="33" cy="35"/>
              </a:xfrm>
              <a:custGeom>
                <a:avLst/>
                <a:gdLst>
                  <a:gd name="T0" fmla="*/ 12 w 14"/>
                  <a:gd name="T1" fmla="*/ 15 h 15"/>
                  <a:gd name="T2" fmla="*/ 11 w 14"/>
                  <a:gd name="T3" fmla="*/ 15 h 15"/>
                  <a:gd name="T4" fmla="*/ 1 w 14"/>
                  <a:gd name="T5" fmla="*/ 9 h 15"/>
                  <a:gd name="T6" fmla="*/ 0 w 14"/>
                  <a:gd name="T7" fmla="*/ 8 h 15"/>
                  <a:gd name="T8" fmla="*/ 1 w 14"/>
                  <a:gd name="T9" fmla="*/ 6 h 15"/>
                  <a:gd name="T10" fmla="*/ 11 w 14"/>
                  <a:gd name="T11" fmla="*/ 0 h 15"/>
                  <a:gd name="T12" fmla="*/ 13 w 14"/>
                  <a:gd name="T13" fmla="*/ 0 h 15"/>
                  <a:gd name="T14" fmla="*/ 14 w 14"/>
                  <a:gd name="T15" fmla="*/ 2 h 15"/>
                  <a:gd name="T16" fmla="*/ 14 w 14"/>
                  <a:gd name="T17" fmla="*/ 13 h 15"/>
                  <a:gd name="T18" fmla="*/ 13 w 14"/>
                  <a:gd name="T19" fmla="*/ 15 h 15"/>
                  <a:gd name="T20" fmla="*/ 12 w 14"/>
                  <a:gd name="T21" fmla="*/ 15 h 15"/>
                  <a:gd name="T22" fmla="*/ 6 w 14"/>
                  <a:gd name="T23" fmla="*/ 8 h 15"/>
                  <a:gd name="T24" fmla="*/ 10 w 14"/>
                  <a:gd name="T25" fmla="*/ 10 h 15"/>
                  <a:gd name="T26" fmla="*/ 10 w 14"/>
                  <a:gd name="T27" fmla="*/ 5 h 15"/>
                  <a:gd name="T28" fmla="*/ 6 w 14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12" y="15"/>
                    </a:moveTo>
                    <a:cubicBezTo>
                      <a:pt x="11" y="15"/>
                      <a:pt x="11" y="15"/>
                      <a:pt x="11" y="15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4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2" y="15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5"/>
                      <a:pt x="10" y="5"/>
                      <a:pt x="10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5" name="Freeform 1003">
                <a:extLst>
                  <a:ext uri="{FF2B5EF4-FFF2-40B4-BE49-F238E27FC236}">
                    <a16:creationId xmlns:a16="http://schemas.microsoft.com/office/drawing/2014/main" id="{340F4967-DBFE-4D41-9CF4-E056A4BC31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76" y="572"/>
                <a:ext cx="144" cy="113"/>
              </a:xfrm>
              <a:custGeom>
                <a:avLst/>
                <a:gdLst>
                  <a:gd name="T0" fmla="*/ 29 w 61"/>
                  <a:gd name="T1" fmla="*/ 48 h 48"/>
                  <a:gd name="T2" fmla="*/ 28 w 61"/>
                  <a:gd name="T3" fmla="*/ 48 h 48"/>
                  <a:gd name="T4" fmla="*/ 1 w 61"/>
                  <a:gd name="T5" fmla="*/ 32 h 48"/>
                  <a:gd name="T6" fmla="*/ 0 w 61"/>
                  <a:gd name="T7" fmla="*/ 30 h 48"/>
                  <a:gd name="T8" fmla="*/ 1 w 61"/>
                  <a:gd name="T9" fmla="*/ 28 h 48"/>
                  <a:gd name="T10" fmla="*/ 11 w 61"/>
                  <a:gd name="T11" fmla="*/ 22 h 48"/>
                  <a:gd name="T12" fmla="*/ 11 w 61"/>
                  <a:gd name="T13" fmla="*/ 2 h 48"/>
                  <a:gd name="T14" fmla="*/ 12 w 61"/>
                  <a:gd name="T15" fmla="*/ 0 h 48"/>
                  <a:gd name="T16" fmla="*/ 14 w 61"/>
                  <a:gd name="T17" fmla="*/ 0 h 48"/>
                  <a:gd name="T18" fmla="*/ 60 w 61"/>
                  <a:gd name="T19" fmla="*/ 27 h 48"/>
                  <a:gd name="T20" fmla="*/ 61 w 61"/>
                  <a:gd name="T21" fmla="*/ 29 h 48"/>
                  <a:gd name="T22" fmla="*/ 60 w 61"/>
                  <a:gd name="T23" fmla="*/ 30 h 48"/>
                  <a:gd name="T24" fmla="*/ 30 w 61"/>
                  <a:gd name="T25" fmla="*/ 48 h 48"/>
                  <a:gd name="T26" fmla="*/ 29 w 61"/>
                  <a:gd name="T27" fmla="*/ 48 h 48"/>
                  <a:gd name="T28" fmla="*/ 6 w 61"/>
                  <a:gd name="T29" fmla="*/ 30 h 48"/>
                  <a:gd name="T30" fmla="*/ 29 w 61"/>
                  <a:gd name="T31" fmla="*/ 44 h 48"/>
                  <a:gd name="T32" fmla="*/ 55 w 61"/>
                  <a:gd name="T33" fmla="*/ 29 h 48"/>
                  <a:gd name="T34" fmla="*/ 15 w 61"/>
                  <a:gd name="T35" fmla="*/ 6 h 48"/>
                  <a:gd name="T36" fmla="*/ 15 w 61"/>
                  <a:gd name="T37" fmla="*/ 23 h 48"/>
                  <a:gd name="T38" fmla="*/ 14 w 61"/>
                  <a:gd name="T39" fmla="*/ 25 h 48"/>
                  <a:gd name="T40" fmla="*/ 6 w 61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8">
                    <a:moveTo>
                      <a:pt x="29" y="48"/>
                    </a:moveTo>
                    <a:cubicBezTo>
                      <a:pt x="29" y="48"/>
                      <a:pt x="28" y="48"/>
                      <a:pt x="28" y="48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9"/>
                      <a:pt x="0" y="29"/>
                      <a:pt x="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1"/>
                      <a:pt x="12" y="1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1" y="27"/>
                      <a:pt x="61" y="28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29" y="48"/>
                      <a:pt x="29" y="48"/>
                    </a:cubicBezTo>
                    <a:close/>
                    <a:moveTo>
                      <a:pt x="6" y="30"/>
                    </a:moveTo>
                    <a:cubicBezTo>
                      <a:pt x="29" y="44"/>
                      <a:pt x="29" y="44"/>
                      <a:pt x="29" y="44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4"/>
                      <a:pt x="15" y="25"/>
                      <a:pt x="14" y="25"/>
                    </a:cubicBezTo>
                    <a:lnTo>
                      <a:pt x="6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6" name="Freeform 1004">
                <a:extLst>
                  <a:ext uri="{FF2B5EF4-FFF2-40B4-BE49-F238E27FC236}">
                    <a16:creationId xmlns:a16="http://schemas.microsoft.com/office/drawing/2014/main" id="{634CD764-2383-4FA5-8601-8244CF622C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18" y="546"/>
                <a:ext cx="165" cy="172"/>
              </a:xfrm>
              <a:custGeom>
                <a:avLst/>
                <a:gdLst>
                  <a:gd name="T0" fmla="*/ 56 w 70"/>
                  <a:gd name="T1" fmla="*/ 73 h 73"/>
                  <a:gd name="T2" fmla="*/ 55 w 70"/>
                  <a:gd name="T3" fmla="*/ 72 h 73"/>
                  <a:gd name="T4" fmla="*/ 1 w 70"/>
                  <a:gd name="T5" fmla="*/ 41 h 73"/>
                  <a:gd name="T6" fmla="*/ 0 w 70"/>
                  <a:gd name="T7" fmla="*/ 40 h 73"/>
                  <a:gd name="T8" fmla="*/ 1 w 70"/>
                  <a:gd name="T9" fmla="*/ 38 h 73"/>
                  <a:gd name="T10" fmla="*/ 67 w 70"/>
                  <a:gd name="T11" fmla="*/ 0 h 73"/>
                  <a:gd name="T12" fmla="*/ 69 w 70"/>
                  <a:gd name="T13" fmla="*/ 0 h 73"/>
                  <a:gd name="T14" fmla="*/ 70 w 70"/>
                  <a:gd name="T15" fmla="*/ 2 h 73"/>
                  <a:gd name="T16" fmla="*/ 70 w 70"/>
                  <a:gd name="T17" fmla="*/ 64 h 73"/>
                  <a:gd name="T18" fmla="*/ 69 w 70"/>
                  <a:gd name="T19" fmla="*/ 66 h 73"/>
                  <a:gd name="T20" fmla="*/ 57 w 70"/>
                  <a:gd name="T21" fmla="*/ 72 h 73"/>
                  <a:gd name="T22" fmla="*/ 56 w 70"/>
                  <a:gd name="T23" fmla="*/ 73 h 73"/>
                  <a:gd name="T24" fmla="*/ 6 w 70"/>
                  <a:gd name="T25" fmla="*/ 40 h 73"/>
                  <a:gd name="T26" fmla="*/ 56 w 70"/>
                  <a:gd name="T27" fmla="*/ 68 h 73"/>
                  <a:gd name="T28" fmla="*/ 66 w 70"/>
                  <a:gd name="T29" fmla="*/ 63 h 73"/>
                  <a:gd name="T30" fmla="*/ 66 w 70"/>
                  <a:gd name="T31" fmla="*/ 5 h 73"/>
                  <a:gd name="T32" fmla="*/ 6 w 70"/>
                  <a:gd name="T33" fmla="*/ 4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" h="73">
                    <a:moveTo>
                      <a:pt x="56" y="73"/>
                    </a:moveTo>
                    <a:cubicBezTo>
                      <a:pt x="56" y="73"/>
                      <a:pt x="55" y="72"/>
                      <a:pt x="55" y="7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8" y="0"/>
                      <a:pt x="69" y="0"/>
                    </a:cubicBezTo>
                    <a:cubicBezTo>
                      <a:pt x="69" y="1"/>
                      <a:pt x="70" y="1"/>
                      <a:pt x="70" y="2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5"/>
                      <a:pt x="69" y="65"/>
                      <a:pt x="69" y="6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7" y="72"/>
                      <a:pt x="56" y="73"/>
                      <a:pt x="56" y="73"/>
                    </a:cubicBezTo>
                    <a:close/>
                    <a:moveTo>
                      <a:pt x="6" y="40"/>
                    </a:moveTo>
                    <a:cubicBezTo>
                      <a:pt x="56" y="68"/>
                      <a:pt x="56" y="68"/>
                      <a:pt x="56" y="68"/>
                    </a:cubicBez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5"/>
                      <a:pt x="66" y="5"/>
                      <a:pt x="66" y="5"/>
                    </a:cubicBezTo>
                    <a:lnTo>
                      <a:pt x="6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7" name="Freeform 1005">
                <a:extLst>
                  <a:ext uri="{FF2B5EF4-FFF2-40B4-BE49-F238E27FC236}">
                    <a16:creationId xmlns:a16="http://schemas.microsoft.com/office/drawing/2014/main" id="{94AECB28-D7E0-4633-89DB-25411E99F1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943"/>
                <a:ext cx="229" cy="243"/>
              </a:xfrm>
              <a:custGeom>
                <a:avLst/>
                <a:gdLst>
                  <a:gd name="T0" fmla="*/ 2 w 97"/>
                  <a:gd name="T1" fmla="*/ 103 h 103"/>
                  <a:gd name="T2" fmla="*/ 1 w 97"/>
                  <a:gd name="T3" fmla="*/ 103 h 103"/>
                  <a:gd name="T4" fmla="*/ 0 w 97"/>
                  <a:gd name="T5" fmla="*/ 101 h 103"/>
                  <a:gd name="T6" fmla="*/ 0 w 97"/>
                  <a:gd name="T7" fmla="*/ 22 h 103"/>
                  <a:gd name="T8" fmla="*/ 1 w 97"/>
                  <a:gd name="T9" fmla="*/ 20 h 103"/>
                  <a:gd name="T10" fmla="*/ 35 w 97"/>
                  <a:gd name="T11" fmla="*/ 0 h 103"/>
                  <a:gd name="T12" fmla="*/ 37 w 97"/>
                  <a:gd name="T13" fmla="*/ 0 h 103"/>
                  <a:gd name="T14" fmla="*/ 96 w 97"/>
                  <a:gd name="T15" fmla="*/ 34 h 103"/>
                  <a:gd name="T16" fmla="*/ 97 w 97"/>
                  <a:gd name="T17" fmla="*/ 36 h 103"/>
                  <a:gd name="T18" fmla="*/ 97 w 97"/>
                  <a:gd name="T19" fmla="*/ 48 h 103"/>
                  <a:gd name="T20" fmla="*/ 96 w 97"/>
                  <a:gd name="T21" fmla="*/ 49 h 103"/>
                  <a:gd name="T22" fmla="*/ 3 w 97"/>
                  <a:gd name="T23" fmla="*/ 103 h 103"/>
                  <a:gd name="T24" fmla="*/ 2 w 97"/>
                  <a:gd name="T25" fmla="*/ 103 h 103"/>
                  <a:gd name="T26" fmla="*/ 4 w 97"/>
                  <a:gd name="T27" fmla="*/ 23 h 103"/>
                  <a:gd name="T28" fmla="*/ 4 w 97"/>
                  <a:gd name="T29" fmla="*/ 98 h 103"/>
                  <a:gd name="T30" fmla="*/ 93 w 97"/>
                  <a:gd name="T31" fmla="*/ 46 h 103"/>
                  <a:gd name="T32" fmla="*/ 93 w 97"/>
                  <a:gd name="T33" fmla="*/ 37 h 103"/>
                  <a:gd name="T34" fmla="*/ 36 w 97"/>
                  <a:gd name="T35" fmla="*/ 4 h 103"/>
                  <a:gd name="T36" fmla="*/ 4 w 97"/>
                  <a:gd name="T37" fmla="*/ 2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103">
                    <a:moveTo>
                      <a:pt x="2" y="103"/>
                    </a:move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1"/>
                      <a:pt x="0" y="21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7" y="0"/>
                      <a:pt x="37" y="0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6" y="35"/>
                      <a:pt x="97" y="35"/>
                      <a:pt x="97" y="36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48"/>
                      <a:pt x="96" y="49"/>
                      <a:pt x="96" y="49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2" y="103"/>
                      <a:pt x="2" y="103"/>
                      <a:pt x="2" y="103"/>
                    </a:cubicBezTo>
                    <a:close/>
                    <a:moveTo>
                      <a:pt x="4" y="23"/>
                    </a:moveTo>
                    <a:cubicBezTo>
                      <a:pt x="4" y="98"/>
                      <a:pt x="4" y="98"/>
                      <a:pt x="4" y="98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93" y="37"/>
                      <a:pt x="93" y="37"/>
                      <a:pt x="93" y="37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8" name="Freeform 1006">
                <a:extLst>
                  <a:ext uri="{FF2B5EF4-FFF2-40B4-BE49-F238E27FC236}">
                    <a16:creationId xmlns:a16="http://schemas.microsoft.com/office/drawing/2014/main" id="{54F9C3FD-267D-46CD-B22B-4E756EE099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711"/>
                <a:ext cx="229" cy="317"/>
              </a:xfrm>
              <a:custGeom>
                <a:avLst/>
                <a:gdLst>
                  <a:gd name="T0" fmla="*/ 95 w 97"/>
                  <a:gd name="T1" fmla="*/ 134 h 134"/>
                  <a:gd name="T2" fmla="*/ 94 w 97"/>
                  <a:gd name="T3" fmla="*/ 134 h 134"/>
                  <a:gd name="T4" fmla="*/ 36 w 97"/>
                  <a:gd name="T5" fmla="*/ 100 h 134"/>
                  <a:gd name="T6" fmla="*/ 3 w 97"/>
                  <a:gd name="T7" fmla="*/ 120 h 134"/>
                  <a:gd name="T8" fmla="*/ 1 w 97"/>
                  <a:gd name="T9" fmla="*/ 120 h 134"/>
                  <a:gd name="T10" fmla="*/ 0 w 97"/>
                  <a:gd name="T11" fmla="*/ 118 h 134"/>
                  <a:gd name="T12" fmla="*/ 0 w 97"/>
                  <a:gd name="T13" fmla="*/ 50 h 134"/>
                  <a:gd name="T14" fmla="*/ 1 w 97"/>
                  <a:gd name="T15" fmla="*/ 48 h 134"/>
                  <a:gd name="T16" fmla="*/ 82 w 97"/>
                  <a:gd name="T17" fmla="*/ 1 h 134"/>
                  <a:gd name="T18" fmla="*/ 84 w 97"/>
                  <a:gd name="T19" fmla="*/ 1 h 134"/>
                  <a:gd name="T20" fmla="*/ 96 w 97"/>
                  <a:gd name="T21" fmla="*/ 8 h 134"/>
                  <a:gd name="T22" fmla="*/ 97 w 97"/>
                  <a:gd name="T23" fmla="*/ 9 h 134"/>
                  <a:gd name="T24" fmla="*/ 97 w 97"/>
                  <a:gd name="T25" fmla="*/ 132 h 134"/>
                  <a:gd name="T26" fmla="*/ 96 w 97"/>
                  <a:gd name="T27" fmla="*/ 134 h 134"/>
                  <a:gd name="T28" fmla="*/ 95 w 97"/>
                  <a:gd name="T29" fmla="*/ 134 h 134"/>
                  <a:gd name="T30" fmla="*/ 36 w 97"/>
                  <a:gd name="T31" fmla="*/ 96 h 134"/>
                  <a:gd name="T32" fmla="*/ 37 w 97"/>
                  <a:gd name="T33" fmla="*/ 96 h 134"/>
                  <a:gd name="T34" fmla="*/ 93 w 97"/>
                  <a:gd name="T35" fmla="*/ 129 h 134"/>
                  <a:gd name="T36" fmla="*/ 93 w 97"/>
                  <a:gd name="T37" fmla="*/ 10 h 134"/>
                  <a:gd name="T38" fmla="*/ 83 w 97"/>
                  <a:gd name="T39" fmla="*/ 5 h 134"/>
                  <a:gd name="T40" fmla="*/ 4 w 97"/>
                  <a:gd name="T41" fmla="*/ 51 h 134"/>
                  <a:gd name="T42" fmla="*/ 4 w 97"/>
                  <a:gd name="T43" fmla="*/ 115 h 134"/>
                  <a:gd name="T44" fmla="*/ 35 w 97"/>
                  <a:gd name="T45" fmla="*/ 96 h 134"/>
                  <a:gd name="T46" fmla="*/ 36 w 97"/>
                  <a:gd name="T47" fmla="*/ 9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7" h="134">
                    <a:moveTo>
                      <a:pt x="95" y="134"/>
                    </a:moveTo>
                    <a:cubicBezTo>
                      <a:pt x="94" y="134"/>
                      <a:pt x="94" y="134"/>
                      <a:pt x="94" y="134"/>
                    </a:cubicBezTo>
                    <a:cubicBezTo>
                      <a:pt x="36" y="100"/>
                      <a:pt x="36" y="100"/>
                      <a:pt x="36" y="10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2" y="120"/>
                      <a:pt x="1" y="120"/>
                      <a:pt x="1" y="120"/>
                    </a:cubicBezTo>
                    <a:cubicBezTo>
                      <a:pt x="0" y="119"/>
                      <a:pt x="0" y="119"/>
                      <a:pt x="0" y="118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49"/>
                      <a:pt x="0" y="48"/>
                      <a:pt x="1" y="48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3" y="0"/>
                      <a:pt x="83" y="0"/>
                      <a:pt x="84" y="1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97" y="9"/>
                      <a:pt x="97" y="9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7" y="133"/>
                      <a:pt x="96" y="133"/>
                      <a:pt x="96" y="134"/>
                    </a:cubicBezTo>
                    <a:cubicBezTo>
                      <a:pt x="95" y="134"/>
                      <a:pt x="95" y="134"/>
                      <a:pt x="95" y="134"/>
                    </a:cubicBezTo>
                    <a:close/>
                    <a:moveTo>
                      <a:pt x="36" y="96"/>
                    </a:moveTo>
                    <a:cubicBezTo>
                      <a:pt x="36" y="96"/>
                      <a:pt x="37" y="96"/>
                      <a:pt x="37" y="96"/>
                    </a:cubicBezTo>
                    <a:cubicBezTo>
                      <a:pt x="93" y="129"/>
                      <a:pt x="93" y="129"/>
                      <a:pt x="93" y="12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6"/>
                      <a:pt x="36" y="96"/>
                      <a:pt x="3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9" name="Freeform 1007">
                <a:extLst>
                  <a:ext uri="{FF2B5EF4-FFF2-40B4-BE49-F238E27FC236}">
                    <a16:creationId xmlns:a16="http://schemas.microsoft.com/office/drawing/2014/main" id="{A7255060-93BE-44B9-A2C6-DC2EEE1DB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" y="813"/>
                <a:ext cx="19" cy="19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2 h 8"/>
                  <a:gd name="T8" fmla="*/ 1 w 8"/>
                  <a:gd name="T9" fmla="*/ 0 h 8"/>
                  <a:gd name="T10" fmla="*/ 3 w 8"/>
                  <a:gd name="T11" fmla="*/ 0 h 8"/>
                  <a:gd name="T12" fmla="*/ 7 w 8"/>
                  <a:gd name="T13" fmla="*/ 2 h 8"/>
                  <a:gd name="T14" fmla="*/ 8 w 8"/>
                  <a:gd name="T15" fmla="*/ 4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5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0" name="Freeform 1008">
                <a:extLst>
                  <a:ext uri="{FF2B5EF4-FFF2-40B4-BE49-F238E27FC236}">
                    <a16:creationId xmlns:a16="http://schemas.microsoft.com/office/drawing/2014/main" id="{9C6A3537-91F4-49EA-B47D-44373FF79A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31" y="1280"/>
                <a:ext cx="252" cy="400"/>
              </a:xfrm>
              <a:custGeom>
                <a:avLst/>
                <a:gdLst>
                  <a:gd name="T0" fmla="*/ 36 w 107"/>
                  <a:gd name="T1" fmla="*/ 169 h 169"/>
                  <a:gd name="T2" fmla="*/ 35 w 107"/>
                  <a:gd name="T3" fmla="*/ 169 h 169"/>
                  <a:gd name="T4" fmla="*/ 16 w 107"/>
                  <a:gd name="T5" fmla="*/ 158 h 169"/>
                  <a:gd name="T6" fmla="*/ 15 w 107"/>
                  <a:gd name="T7" fmla="*/ 156 h 169"/>
                  <a:gd name="T8" fmla="*/ 16 w 107"/>
                  <a:gd name="T9" fmla="*/ 154 h 169"/>
                  <a:gd name="T10" fmla="*/ 26 w 107"/>
                  <a:gd name="T11" fmla="*/ 149 h 169"/>
                  <a:gd name="T12" fmla="*/ 1 w 107"/>
                  <a:gd name="T13" fmla="*/ 135 h 169"/>
                  <a:gd name="T14" fmla="*/ 0 w 107"/>
                  <a:gd name="T15" fmla="*/ 133 h 169"/>
                  <a:gd name="T16" fmla="*/ 0 w 107"/>
                  <a:gd name="T17" fmla="*/ 2 h 169"/>
                  <a:gd name="T18" fmla="*/ 1 w 107"/>
                  <a:gd name="T19" fmla="*/ 0 h 169"/>
                  <a:gd name="T20" fmla="*/ 3 w 107"/>
                  <a:gd name="T21" fmla="*/ 0 h 169"/>
                  <a:gd name="T22" fmla="*/ 106 w 107"/>
                  <a:gd name="T23" fmla="*/ 60 h 169"/>
                  <a:gd name="T24" fmla="*/ 107 w 107"/>
                  <a:gd name="T25" fmla="*/ 62 h 169"/>
                  <a:gd name="T26" fmla="*/ 107 w 107"/>
                  <a:gd name="T27" fmla="*/ 119 h 169"/>
                  <a:gd name="T28" fmla="*/ 106 w 107"/>
                  <a:gd name="T29" fmla="*/ 120 h 169"/>
                  <a:gd name="T30" fmla="*/ 45 w 107"/>
                  <a:gd name="T31" fmla="*/ 156 h 169"/>
                  <a:gd name="T32" fmla="*/ 49 w 107"/>
                  <a:gd name="T33" fmla="*/ 158 h 169"/>
                  <a:gd name="T34" fmla="*/ 50 w 107"/>
                  <a:gd name="T35" fmla="*/ 160 h 169"/>
                  <a:gd name="T36" fmla="*/ 49 w 107"/>
                  <a:gd name="T37" fmla="*/ 162 h 169"/>
                  <a:gd name="T38" fmla="*/ 37 w 107"/>
                  <a:gd name="T39" fmla="*/ 169 h 169"/>
                  <a:gd name="T40" fmla="*/ 36 w 107"/>
                  <a:gd name="T41" fmla="*/ 169 h 169"/>
                  <a:gd name="T42" fmla="*/ 21 w 107"/>
                  <a:gd name="T43" fmla="*/ 156 h 169"/>
                  <a:gd name="T44" fmla="*/ 36 w 107"/>
                  <a:gd name="T45" fmla="*/ 164 h 169"/>
                  <a:gd name="T46" fmla="*/ 44 w 107"/>
                  <a:gd name="T47" fmla="*/ 160 h 169"/>
                  <a:gd name="T48" fmla="*/ 40 w 107"/>
                  <a:gd name="T49" fmla="*/ 157 h 169"/>
                  <a:gd name="T50" fmla="*/ 39 w 107"/>
                  <a:gd name="T51" fmla="*/ 156 h 169"/>
                  <a:gd name="T52" fmla="*/ 40 w 107"/>
                  <a:gd name="T53" fmla="*/ 154 h 169"/>
                  <a:gd name="T54" fmla="*/ 103 w 107"/>
                  <a:gd name="T55" fmla="*/ 118 h 169"/>
                  <a:gd name="T56" fmla="*/ 103 w 107"/>
                  <a:gd name="T57" fmla="*/ 63 h 169"/>
                  <a:gd name="T58" fmla="*/ 4 w 107"/>
                  <a:gd name="T59" fmla="*/ 6 h 169"/>
                  <a:gd name="T60" fmla="*/ 4 w 107"/>
                  <a:gd name="T61" fmla="*/ 132 h 169"/>
                  <a:gd name="T62" fmla="*/ 31 w 107"/>
                  <a:gd name="T63" fmla="*/ 147 h 169"/>
                  <a:gd name="T64" fmla="*/ 32 w 107"/>
                  <a:gd name="T65" fmla="*/ 149 h 169"/>
                  <a:gd name="T66" fmla="*/ 31 w 107"/>
                  <a:gd name="T67" fmla="*/ 151 h 169"/>
                  <a:gd name="T68" fmla="*/ 21 w 107"/>
                  <a:gd name="T69" fmla="*/ 156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169">
                    <a:moveTo>
                      <a:pt x="36" y="169"/>
                    </a:moveTo>
                    <a:cubicBezTo>
                      <a:pt x="36" y="169"/>
                      <a:pt x="35" y="169"/>
                      <a:pt x="35" y="16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16" y="157"/>
                      <a:pt x="15" y="157"/>
                      <a:pt x="15" y="156"/>
                    </a:cubicBezTo>
                    <a:cubicBezTo>
                      <a:pt x="15" y="155"/>
                      <a:pt x="16" y="155"/>
                      <a:pt x="16" y="154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4"/>
                      <a:pt x="0" y="133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06" y="60"/>
                      <a:pt x="106" y="60"/>
                      <a:pt x="106" y="60"/>
                    </a:cubicBezTo>
                    <a:cubicBezTo>
                      <a:pt x="106" y="60"/>
                      <a:pt x="107" y="61"/>
                      <a:pt x="107" y="62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19"/>
                      <a:pt x="106" y="120"/>
                      <a:pt x="106" y="120"/>
                    </a:cubicBezTo>
                    <a:cubicBezTo>
                      <a:pt x="45" y="156"/>
                      <a:pt x="45" y="156"/>
                      <a:pt x="45" y="156"/>
                    </a:cubicBezTo>
                    <a:cubicBezTo>
                      <a:pt x="49" y="158"/>
                      <a:pt x="49" y="158"/>
                      <a:pt x="49" y="158"/>
                    </a:cubicBezTo>
                    <a:cubicBezTo>
                      <a:pt x="50" y="158"/>
                      <a:pt x="50" y="159"/>
                      <a:pt x="50" y="160"/>
                    </a:cubicBezTo>
                    <a:cubicBezTo>
                      <a:pt x="50" y="161"/>
                      <a:pt x="50" y="161"/>
                      <a:pt x="49" y="162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7" y="169"/>
                      <a:pt x="36" y="169"/>
                      <a:pt x="36" y="169"/>
                    </a:cubicBezTo>
                    <a:close/>
                    <a:moveTo>
                      <a:pt x="21" y="156"/>
                    </a:moveTo>
                    <a:cubicBezTo>
                      <a:pt x="36" y="164"/>
                      <a:pt x="36" y="164"/>
                      <a:pt x="36" y="164"/>
                    </a:cubicBezTo>
                    <a:cubicBezTo>
                      <a:pt x="44" y="160"/>
                      <a:pt x="44" y="160"/>
                      <a:pt x="44" y="160"/>
                    </a:cubicBezTo>
                    <a:cubicBezTo>
                      <a:pt x="40" y="157"/>
                      <a:pt x="40" y="157"/>
                      <a:pt x="40" y="157"/>
                    </a:cubicBezTo>
                    <a:cubicBezTo>
                      <a:pt x="39" y="157"/>
                      <a:pt x="39" y="156"/>
                      <a:pt x="39" y="156"/>
                    </a:cubicBezTo>
                    <a:cubicBezTo>
                      <a:pt x="39" y="155"/>
                      <a:pt x="39" y="154"/>
                      <a:pt x="40" y="154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3" y="63"/>
                      <a:pt x="103" y="63"/>
                      <a:pt x="103" y="6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31" y="147"/>
                      <a:pt x="31" y="147"/>
                      <a:pt x="31" y="147"/>
                    </a:cubicBezTo>
                    <a:cubicBezTo>
                      <a:pt x="31" y="148"/>
                      <a:pt x="32" y="148"/>
                      <a:pt x="32" y="149"/>
                    </a:cubicBezTo>
                    <a:cubicBezTo>
                      <a:pt x="32" y="150"/>
                      <a:pt x="31" y="150"/>
                      <a:pt x="31" y="151"/>
                    </a:cubicBezTo>
                    <a:lnTo>
                      <a:pt x="21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1" name="Freeform 1009">
                <a:extLst>
                  <a:ext uri="{FF2B5EF4-FFF2-40B4-BE49-F238E27FC236}">
                    <a16:creationId xmlns:a16="http://schemas.microsoft.com/office/drawing/2014/main" id="{747BB532-6CCD-4E01-980F-295FD12A79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76" y="1540"/>
                <a:ext cx="71" cy="232"/>
              </a:xfrm>
              <a:custGeom>
                <a:avLst/>
                <a:gdLst>
                  <a:gd name="T0" fmla="*/ 28 w 30"/>
                  <a:gd name="T1" fmla="*/ 98 h 98"/>
                  <a:gd name="T2" fmla="*/ 27 w 30"/>
                  <a:gd name="T3" fmla="*/ 98 h 98"/>
                  <a:gd name="T4" fmla="*/ 1 w 30"/>
                  <a:gd name="T5" fmla="*/ 83 h 98"/>
                  <a:gd name="T6" fmla="*/ 0 w 30"/>
                  <a:gd name="T7" fmla="*/ 82 h 98"/>
                  <a:gd name="T8" fmla="*/ 0 w 30"/>
                  <a:gd name="T9" fmla="*/ 10 h 98"/>
                  <a:gd name="T10" fmla="*/ 1 w 30"/>
                  <a:gd name="T11" fmla="*/ 8 h 98"/>
                  <a:gd name="T12" fmla="*/ 14 w 30"/>
                  <a:gd name="T13" fmla="*/ 1 h 98"/>
                  <a:gd name="T14" fmla="*/ 16 w 30"/>
                  <a:gd name="T15" fmla="*/ 1 h 98"/>
                  <a:gd name="T16" fmla="*/ 17 w 30"/>
                  <a:gd name="T17" fmla="*/ 3 h 98"/>
                  <a:gd name="T18" fmla="*/ 17 w 30"/>
                  <a:gd name="T19" fmla="*/ 83 h 98"/>
                  <a:gd name="T20" fmla="*/ 27 w 30"/>
                  <a:gd name="T21" fmla="*/ 77 h 98"/>
                  <a:gd name="T22" fmla="*/ 29 w 30"/>
                  <a:gd name="T23" fmla="*/ 77 h 98"/>
                  <a:gd name="T24" fmla="*/ 30 w 30"/>
                  <a:gd name="T25" fmla="*/ 79 h 98"/>
                  <a:gd name="T26" fmla="*/ 30 w 30"/>
                  <a:gd name="T27" fmla="*/ 96 h 98"/>
                  <a:gd name="T28" fmla="*/ 29 w 30"/>
                  <a:gd name="T29" fmla="*/ 98 h 98"/>
                  <a:gd name="T30" fmla="*/ 28 w 30"/>
                  <a:gd name="T31" fmla="*/ 98 h 98"/>
                  <a:gd name="T32" fmla="*/ 17 w 30"/>
                  <a:gd name="T33" fmla="*/ 88 h 98"/>
                  <a:gd name="T34" fmla="*/ 26 w 30"/>
                  <a:gd name="T35" fmla="*/ 93 h 98"/>
                  <a:gd name="T36" fmla="*/ 26 w 30"/>
                  <a:gd name="T37" fmla="*/ 83 h 98"/>
                  <a:gd name="T38" fmla="*/ 17 w 30"/>
                  <a:gd name="T39" fmla="*/ 88 h 98"/>
                  <a:gd name="T40" fmla="*/ 17 w 30"/>
                  <a:gd name="T41" fmla="*/ 88 h 98"/>
                  <a:gd name="T42" fmla="*/ 4 w 30"/>
                  <a:gd name="T43" fmla="*/ 80 h 98"/>
                  <a:gd name="T44" fmla="*/ 13 w 30"/>
                  <a:gd name="T45" fmla="*/ 85 h 98"/>
                  <a:gd name="T46" fmla="*/ 13 w 30"/>
                  <a:gd name="T47" fmla="*/ 6 h 98"/>
                  <a:gd name="T48" fmla="*/ 4 w 30"/>
                  <a:gd name="T49" fmla="*/ 11 h 98"/>
                  <a:gd name="T50" fmla="*/ 4 w 30"/>
                  <a:gd name="T51" fmla="*/ 8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98">
                    <a:moveTo>
                      <a:pt x="28" y="98"/>
                    </a:moveTo>
                    <a:cubicBezTo>
                      <a:pt x="28" y="98"/>
                      <a:pt x="27" y="98"/>
                      <a:pt x="27" y="98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2"/>
                      <a:pt x="0" y="8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7" y="3"/>
                    </a:cubicBezTo>
                    <a:cubicBezTo>
                      <a:pt x="17" y="83"/>
                      <a:pt x="17" y="83"/>
                      <a:pt x="17" y="83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8" y="77"/>
                      <a:pt x="28" y="77"/>
                      <a:pt x="29" y="77"/>
                    </a:cubicBezTo>
                    <a:cubicBezTo>
                      <a:pt x="30" y="78"/>
                      <a:pt x="30" y="78"/>
                      <a:pt x="30" y="79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7"/>
                      <a:pt x="30" y="98"/>
                      <a:pt x="29" y="98"/>
                    </a:cubicBezTo>
                    <a:cubicBezTo>
                      <a:pt x="29" y="98"/>
                      <a:pt x="28" y="98"/>
                      <a:pt x="28" y="98"/>
                    </a:cubicBezTo>
                    <a:close/>
                    <a:moveTo>
                      <a:pt x="17" y="88"/>
                    </a:moveTo>
                    <a:cubicBezTo>
                      <a:pt x="26" y="93"/>
                      <a:pt x="26" y="93"/>
                      <a:pt x="26" y="93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17" y="88"/>
                      <a:pt x="17" y="88"/>
                      <a:pt x="17" y="88"/>
                    </a:cubicBezTo>
                    <a:cubicBezTo>
                      <a:pt x="17" y="88"/>
                      <a:pt x="17" y="88"/>
                      <a:pt x="17" y="88"/>
                    </a:cubicBezTo>
                    <a:close/>
                    <a:moveTo>
                      <a:pt x="4" y="80"/>
                    </a:move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2" name="Freeform 1010">
                <a:extLst>
                  <a:ext uri="{FF2B5EF4-FFF2-40B4-BE49-F238E27FC236}">
                    <a16:creationId xmlns:a16="http://schemas.microsoft.com/office/drawing/2014/main" id="{19EF5A69-3BC0-48B8-AF70-8DAFC7717A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72" y="1710"/>
                <a:ext cx="149" cy="199"/>
              </a:xfrm>
              <a:custGeom>
                <a:avLst/>
                <a:gdLst>
                  <a:gd name="T0" fmla="*/ 61 w 63"/>
                  <a:gd name="T1" fmla="*/ 84 h 84"/>
                  <a:gd name="T2" fmla="*/ 60 w 63"/>
                  <a:gd name="T3" fmla="*/ 83 h 84"/>
                  <a:gd name="T4" fmla="*/ 1 w 63"/>
                  <a:gd name="T5" fmla="*/ 49 h 84"/>
                  <a:gd name="T6" fmla="*/ 0 w 63"/>
                  <a:gd name="T7" fmla="*/ 48 h 84"/>
                  <a:gd name="T8" fmla="*/ 0 w 63"/>
                  <a:gd name="T9" fmla="*/ 2 h 84"/>
                  <a:gd name="T10" fmla="*/ 1 w 63"/>
                  <a:gd name="T11" fmla="*/ 0 h 84"/>
                  <a:gd name="T12" fmla="*/ 3 w 63"/>
                  <a:gd name="T13" fmla="*/ 0 h 84"/>
                  <a:gd name="T14" fmla="*/ 44 w 63"/>
                  <a:gd name="T15" fmla="*/ 24 h 84"/>
                  <a:gd name="T16" fmla="*/ 44 w 63"/>
                  <a:gd name="T17" fmla="*/ 23 h 84"/>
                  <a:gd name="T18" fmla="*/ 45 w 63"/>
                  <a:gd name="T19" fmla="*/ 21 h 84"/>
                  <a:gd name="T20" fmla="*/ 47 w 63"/>
                  <a:gd name="T21" fmla="*/ 21 h 84"/>
                  <a:gd name="T22" fmla="*/ 62 w 63"/>
                  <a:gd name="T23" fmla="*/ 30 h 84"/>
                  <a:gd name="T24" fmla="*/ 63 w 63"/>
                  <a:gd name="T25" fmla="*/ 31 h 84"/>
                  <a:gd name="T26" fmla="*/ 63 w 63"/>
                  <a:gd name="T27" fmla="*/ 82 h 84"/>
                  <a:gd name="T28" fmla="*/ 62 w 63"/>
                  <a:gd name="T29" fmla="*/ 83 h 84"/>
                  <a:gd name="T30" fmla="*/ 61 w 63"/>
                  <a:gd name="T31" fmla="*/ 84 h 84"/>
                  <a:gd name="T32" fmla="*/ 4 w 63"/>
                  <a:gd name="T33" fmla="*/ 46 h 84"/>
                  <a:gd name="T34" fmla="*/ 59 w 63"/>
                  <a:gd name="T35" fmla="*/ 78 h 84"/>
                  <a:gd name="T36" fmla="*/ 59 w 63"/>
                  <a:gd name="T37" fmla="*/ 33 h 84"/>
                  <a:gd name="T38" fmla="*/ 48 w 63"/>
                  <a:gd name="T39" fmla="*/ 26 h 84"/>
                  <a:gd name="T40" fmla="*/ 48 w 63"/>
                  <a:gd name="T41" fmla="*/ 27 h 84"/>
                  <a:gd name="T42" fmla="*/ 47 w 63"/>
                  <a:gd name="T43" fmla="*/ 29 h 84"/>
                  <a:gd name="T44" fmla="*/ 45 w 63"/>
                  <a:gd name="T45" fmla="*/ 29 h 84"/>
                  <a:gd name="T46" fmla="*/ 4 w 63"/>
                  <a:gd name="T47" fmla="*/ 5 h 84"/>
                  <a:gd name="T48" fmla="*/ 4 w 63"/>
                  <a:gd name="T49" fmla="*/ 4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84">
                    <a:moveTo>
                      <a:pt x="61" y="84"/>
                    </a:moveTo>
                    <a:cubicBezTo>
                      <a:pt x="61" y="84"/>
                      <a:pt x="61" y="84"/>
                      <a:pt x="60" y="83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49"/>
                      <a:pt x="0" y="48"/>
                      <a:pt x="0" y="4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2"/>
                      <a:pt x="45" y="21"/>
                      <a:pt x="45" y="21"/>
                    </a:cubicBezTo>
                    <a:cubicBezTo>
                      <a:pt x="46" y="21"/>
                      <a:pt x="47" y="21"/>
                      <a:pt x="47" y="21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3" y="31"/>
                      <a:pt x="63" y="31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63" y="82"/>
                      <a:pt x="63" y="83"/>
                      <a:pt x="62" y="83"/>
                    </a:cubicBezTo>
                    <a:cubicBezTo>
                      <a:pt x="62" y="84"/>
                      <a:pt x="62" y="84"/>
                      <a:pt x="61" y="84"/>
                    </a:cubicBezTo>
                    <a:close/>
                    <a:moveTo>
                      <a:pt x="4" y="46"/>
                    </a:moveTo>
                    <a:cubicBezTo>
                      <a:pt x="59" y="78"/>
                      <a:pt x="59" y="78"/>
                      <a:pt x="59" y="78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8" y="28"/>
                      <a:pt x="48" y="29"/>
                      <a:pt x="47" y="29"/>
                    </a:cubicBezTo>
                    <a:cubicBezTo>
                      <a:pt x="47" y="29"/>
                      <a:pt x="46" y="29"/>
                      <a:pt x="45" y="2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3" name="Freeform 1011">
                <a:extLst>
                  <a:ext uri="{FF2B5EF4-FFF2-40B4-BE49-F238E27FC236}">
                    <a16:creationId xmlns:a16="http://schemas.microsoft.com/office/drawing/2014/main" id="{05685BF3-E5DE-4029-A817-91049E73EF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16" y="1732"/>
                <a:ext cx="593" cy="571"/>
              </a:xfrm>
              <a:custGeom>
                <a:avLst/>
                <a:gdLst>
                  <a:gd name="T0" fmla="*/ 213 w 251"/>
                  <a:gd name="T1" fmla="*/ 242 h 242"/>
                  <a:gd name="T2" fmla="*/ 13 w 251"/>
                  <a:gd name="T3" fmla="*/ 239 h 242"/>
                  <a:gd name="T4" fmla="*/ 1 w 251"/>
                  <a:gd name="T5" fmla="*/ 234 h 242"/>
                  <a:gd name="T6" fmla="*/ 1 w 251"/>
                  <a:gd name="T7" fmla="*/ 230 h 242"/>
                  <a:gd name="T8" fmla="*/ 68 w 251"/>
                  <a:gd name="T9" fmla="*/ 193 h 242"/>
                  <a:gd name="T10" fmla="*/ 69 w 251"/>
                  <a:gd name="T11" fmla="*/ 195 h 242"/>
                  <a:gd name="T12" fmla="*/ 127 w 251"/>
                  <a:gd name="T13" fmla="*/ 82 h 242"/>
                  <a:gd name="T14" fmla="*/ 132 w 251"/>
                  <a:gd name="T15" fmla="*/ 78 h 242"/>
                  <a:gd name="T16" fmla="*/ 127 w 251"/>
                  <a:gd name="T17" fmla="*/ 74 h 242"/>
                  <a:gd name="T18" fmla="*/ 111 w 251"/>
                  <a:gd name="T19" fmla="*/ 14 h 242"/>
                  <a:gd name="T20" fmla="*/ 110 w 251"/>
                  <a:gd name="T21" fmla="*/ 3 h 242"/>
                  <a:gd name="T22" fmla="*/ 113 w 251"/>
                  <a:gd name="T23" fmla="*/ 1 h 242"/>
                  <a:gd name="T24" fmla="*/ 140 w 251"/>
                  <a:gd name="T25" fmla="*/ 17 h 242"/>
                  <a:gd name="T26" fmla="*/ 250 w 251"/>
                  <a:gd name="T27" fmla="*/ 211 h 242"/>
                  <a:gd name="T28" fmla="*/ 251 w 251"/>
                  <a:gd name="T29" fmla="*/ 228 h 242"/>
                  <a:gd name="T30" fmla="*/ 248 w 251"/>
                  <a:gd name="T31" fmla="*/ 230 h 242"/>
                  <a:gd name="T32" fmla="*/ 215 w 251"/>
                  <a:gd name="T33" fmla="*/ 242 h 242"/>
                  <a:gd name="T34" fmla="*/ 111 w 251"/>
                  <a:gd name="T35" fmla="*/ 178 h 242"/>
                  <a:gd name="T36" fmla="*/ 214 w 251"/>
                  <a:gd name="T37" fmla="*/ 238 h 242"/>
                  <a:gd name="T38" fmla="*/ 243 w 251"/>
                  <a:gd name="T39" fmla="*/ 222 h 242"/>
                  <a:gd name="T40" fmla="*/ 247 w 251"/>
                  <a:gd name="T41" fmla="*/ 214 h 242"/>
                  <a:gd name="T42" fmla="*/ 136 w 251"/>
                  <a:gd name="T43" fmla="*/ 149 h 242"/>
                  <a:gd name="T44" fmla="*/ 131 w 251"/>
                  <a:gd name="T45" fmla="*/ 83 h 242"/>
                  <a:gd name="T46" fmla="*/ 130 w 251"/>
                  <a:gd name="T47" fmla="*/ 164 h 242"/>
                  <a:gd name="T48" fmla="*/ 66 w 251"/>
                  <a:gd name="T49" fmla="*/ 200 h 242"/>
                  <a:gd name="T50" fmla="*/ 65 w 251"/>
                  <a:gd name="T51" fmla="*/ 198 h 242"/>
                  <a:gd name="T52" fmla="*/ 12 w 251"/>
                  <a:gd name="T53" fmla="*/ 235 h 242"/>
                  <a:gd name="T54" fmla="*/ 111 w 251"/>
                  <a:gd name="T55" fmla="*/ 178 h 242"/>
                  <a:gd name="T56" fmla="*/ 136 w 251"/>
                  <a:gd name="T57" fmla="*/ 75 h 242"/>
                  <a:gd name="T58" fmla="*/ 114 w 251"/>
                  <a:gd name="T59" fmla="*/ 6 h 242"/>
                  <a:gd name="T60" fmla="*/ 130 w 251"/>
                  <a:gd name="T61" fmla="*/ 20 h 242"/>
                  <a:gd name="T62" fmla="*/ 131 w 251"/>
                  <a:gd name="T63" fmla="*/ 7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1" h="242">
                    <a:moveTo>
                      <a:pt x="214" y="242"/>
                    </a:moveTo>
                    <a:cubicBezTo>
                      <a:pt x="214" y="242"/>
                      <a:pt x="214" y="242"/>
                      <a:pt x="213" y="242"/>
                    </a:cubicBezTo>
                    <a:cubicBezTo>
                      <a:pt x="111" y="183"/>
                      <a:pt x="111" y="183"/>
                      <a:pt x="111" y="183"/>
                    </a:cubicBezTo>
                    <a:cubicBezTo>
                      <a:pt x="13" y="239"/>
                      <a:pt x="13" y="239"/>
                      <a:pt x="13" y="239"/>
                    </a:cubicBezTo>
                    <a:cubicBezTo>
                      <a:pt x="13" y="240"/>
                      <a:pt x="12" y="240"/>
                      <a:pt x="11" y="239"/>
                    </a:cubicBezTo>
                    <a:cubicBezTo>
                      <a:pt x="1" y="234"/>
                      <a:pt x="1" y="234"/>
                      <a:pt x="1" y="234"/>
                    </a:cubicBezTo>
                    <a:cubicBezTo>
                      <a:pt x="1" y="233"/>
                      <a:pt x="0" y="233"/>
                      <a:pt x="0" y="232"/>
                    </a:cubicBezTo>
                    <a:cubicBezTo>
                      <a:pt x="0" y="231"/>
                      <a:pt x="1" y="231"/>
                      <a:pt x="1" y="230"/>
                    </a:cubicBezTo>
                    <a:cubicBezTo>
                      <a:pt x="66" y="193"/>
                      <a:pt x="66" y="193"/>
                      <a:pt x="66" y="193"/>
                    </a:cubicBezTo>
                    <a:cubicBezTo>
                      <a:pt x="66" y="193"/>
                      <a:pt x="67" y="193"/>
                      <a:pt x="68" y="193"/>
                    </a:cubicBezTo>
                    <a:cubicBezTo>
                      <a:pt x="68" y="193"/>
                      <a:pt x="69" y="194"/>
                      <a:pt x="69" y="195"/>
                    </a:cubicBezTo>
                    <a:cubicBezTo>
                      <a:pt x="69" y="195"/>
                      <a:pt x="69" y="195"/>
                      <a:pt x="69" y="195"/>
                    </a:cubicBezTo>
                    <a:cubicBezTo>
                      <a:pt x="127" y="161"/>
                      <a:pt x="127" y="161"/>
                      <a:pt x="127" y="161"/>
                    </a:cubicBezTo>
                    <a:cubicBezTo>
                      <a:pt x="127" y="82"/>
                      <a:pt x="127" y="82"/>
                      <a:pt x="127" y="82"/>
                    </a:cubicBezTo>
                    <a:cubicBezTo>
                      <a:pt x="127" y="81"/>
                      <a:pt x="127" y="80"/>
                      <a:pt x="128" y="80"/>
                    </a:cubicBezTo>
                    <a:cubicBezTo>
                      <a:pt x="132" y="78"/>
                      <a:pt x="132" y="78"/>
                      <a:pt x="132" y="78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7" y="75"/>
                      <a:pt x="127" y="74"/>
                      <a:pt x="127" y="74"/>
                    </a:cubicBezTo>
                    <a:cubicBezTo>
                      <a:pt x="127" y="23"/>
                      <a:pt x="127" y="23"/>
                      <a:pt x="127" y="23"/>
                    </a:cubicBezTo>
                    <a:cubicBezTo>
                      <a:pt x="111" y="14"/>
                      <a:pt x="111" y="14"/>
                      <a:pt x="111" y="14"/>
                    </a:cubicBezTo>
                    <a:cubicBezTo>
                      <a:pt x="111" y="13"/>
                      <a:pt x="110" y="13"/>
                      <a:pt x="110" y="12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10" y="2"/>
                      <a:pt x="111" y="1"/>
                      <a:pt x="111" y="1"/>
                    </a:cubicBezTo>
                    <a:cubicBezTo>
                      <a:pt x="112" y="0"/>
                      <a:pt x="113" y="0"/>
                      <a:pt x="113" y="1"/>
                    </a:cubicBezTo>
                    <a:cubicBezTo>
                      <a:pt x="139" y="16"/>
                      <a:pt x="139" y="16"/>
                      <a:pt x="139" y="16"/>
                    </a:cubicBezTo>
                    <a:cubicBezTo>
                      <a:pt x="140" y="16"/>
                      <a:pt x="140" y="17"/>
                      <a:pt x="140" y="17"/>
                    </a:cubicBezTo>
                    <a:cubicBezTo>
                      <a:pt x="140" y="147"/>
                      <a:pt x="140" y="147"/>
                      <a:pt x="140" y="147"/>
                    </a:cubicBezTo>
                    <a:cubicBezTo>
                      <a:pt x="250" y="211"/>
                      <a:pt x="250" y="211"/>
                      <a:pt x="250" y="211"/>
                    </a:cubicBezTo>
                    <a:cubicBezTo>
                      <a:pt x="250" y="211"/>
                      <a:pt x="251" y="212"/>
                      <a:pt x="251" y="212"/>
                    </a:cubicBezTo>
                    <a:cubicBezTo>
                      <a:pt x="251" y="228"/>
                      <a:pt x="251" y="228"/>
                      <a:pt x="251" y="228"/>
                    </a:cubicBezTo>
                    <a:cubicBezTo>
                      <a:pt x="251" y="229"/>
                      <a:pt x="250" y="229"/>
                      <a:pt x="250" y="230"/>
                    </a:cubicBezTo>
                    <a:cubicBezTo>
                      <a:pt x="249" y="230"/>
                      <a:pt x="248" y="230"/>
                      <a:pt x="248" y="230"/>
                    </a:cubicBezTo>
                    <a:cubicBezTo>
                      <a:pt x="242" y="226"/>
                      <a:pt x="242" y="226"/>
                      <a:pt x="242" y="226"/>
                    </a:cubicBezTo>
                    <a:cubicBezTo>
                      <a:pt x="215" y="242"/>
                      <a:pt x="215" y="242"/>
                      <a:pt x="215" y="242"/>
                    </a:cubicBezTo>
                    <a:cubicBezTo>
                      <a:pt x="215" y="242"/>
                      <a:pt x="215" y="242"/>
                      <a:pt x="214" y="242"/>
                    </a:cubicBezTo>
                    <a:close/>
                    <a:moveTo>
                      <a:pt x="111" y="178"/>
                    </a:moveTo>
                    <a:cubicBezTo>
                      <a:pt x="112" y="178"/>
                      <a:pt x="112" y="178"/>
                      <a:pt x="112" y="179"/>
                    </a:cubicBezTo>
                    <a:cubicBezTo>
                      <a:pt x="214" y="238"/>
                      <a:pt x="214" y="238"/>
                      <a:pt x="214" y="238"/>
                    </a:cubicBezTo>
                    <a:cubicBezTo>
                      <a:pt x="241" y="222"/>
                      <a:pt x="241" y="222"/>
                      <a:pt x="241" y="222"/>
                    </a:cubicBezTo>
                    <a:cubicBezTo>
                      <a:pt x="241" y="222"/>
                      <a:pt x="242" y="222"/>
                      <a:pt x="243" y="222"/>
                    </a:cubicBezTo>
                    <a:cubicBezTo>
                      <a:pt x="247" y="225"/>
                      <a:pt x="247" y="225"/>
                      <a:pt x="247" y="225"/>
                    </a:cubicBezTo>
                    <a:cubicBezTo>
                      <a:pt x="247" y="214"/>
                      <a:pt x="247" y="214"/>
                      <a:pt x="247" y="214"/>
                    </a:cubicBezTo>
                    <a:cubicBezTo>
                      <a:pt x="137" y="150"/>
                      <a:pt x="137" y="150"/>
                      <a:pt x="137" y="150"/>
                    </a:cubicBezTo>
                    <a:cubicBezTo>
                      <a:pt x="136" y="150"/>
                      <a:pt x="136" y="149"/>
                      <a:pt x="136" y="149"/>
                    </a:cubicBezTo>
                    <a:cubicBezTo>
                      <a:pt x="136" y="80"/>
                      <a:pt x="136" y="80"/>
                      <a:pt x="136" y="80"/>
                    </a:cubicBezTo>
                    <a:cubicBezTo>
                      <a:pt x="131" y="83"/>
                      <a:pt x="131" y="83"/>
                      <a:pt x="131" y="83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131" y="163"/>
                      <a:pt x="131" y="164"/>
                      <a:pt x="130" y="164"/>
                    </a:cubicBezTo>
                    <a:cubicBezTo>
                      <a:pt x="68" y="200"/>
                      <a:pt x="68" y="200"/>
                      <a:pt x="68" y="200"/>
                    </a:cubicBezTo>
                    <a:cubicBezTo>
                      <a:pt x="67" y="200"/>
                      <a:pt x="66" y="200"/>
                      <a:pt x="66" y="200"/>
                    </a:cubicBezTo>
                    <a:cubicBezTo>
                      <a:pt x="65" y="200"/>
                      <a:pt x="65" y="199"/>
                      <a:pt x="65" y="198"/>
                    </a:cubicBezTo>
                    <a:cubicBezTo>
                      <a:pt x="65" y="198"/>
                      <a:pt x="65" y="198"/>
                      <a:pt x="65" y="198"/>
                    </a:cubicBezTo>
                    <a:cubicBezTo>
                      <a:pt x="6" y="232"/>
                      <a:pt x="6" y="232"/>
                      <a:pt x="6" y="232"/>
                    </a:cubicBezTo>
                    <a:cubicBezTo>
                      <a:pt x="12" y="235"/>
                      <a:pt x="12" y="235"/>
                      <a:pt x="12" y="235"/>
                    </a:cubicBezTo>
                    <a:cubicBezTo>
                      <a:pt x="110" y="179"/>
                      <a:pt x="110" y="179"/>
                      <a:pt x="110" y="179"/>
                    </a:cubicBezTo>
                    <a:cubicBezTo>
                      <a:pt x="111" y="178"/>
                      <a:pt x="111" y="178"/>
                      <a:pt x="111" y="178"/>
                    </a:cubicBezTo>
                    <a:close/>
                    <a:moveTo>
                      <a:pt x="131" y="72"/>
                    </a:moveTo>
                    <a:cubicBezTo>
                      <a:pt x="136" y="75"/>
                      <a:pt x="136" y="75"/>
                      <a:pt x="136" y="75"/>
                    </a:cubicBezTo>
                    <a:cubicBezTo>
                      <a:pt x="136" y="18"/>
                      <a:pt x="136" y="18"/>
                      <a:pt x="136" y="18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1" y="20"/>
                      <a:pt x="131" y="21"/>
                      <a:pt x="131" y="21"/>
                    </a:cubicBezTo>
                    <a:lnTo>
                      <a:pt x="131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4" name="Freeform 1012">
                <a:extLst>
                  <a:ext uri="{FF2B5EF4-FFF2-40B4-BE49-F238E27FC236}">
                    <a16:creationId xmlns:a16="http://schemas.microsoft.com/office/drawing/2014/main" id="{ADD01C77-ADB9-49AA-91DE-72A48CE399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09" y="1469"/>
                <a:ext cx="300" cy="274"/>
              </a:xfrm>
              <a:custGeom>
                <a:avLst/>
                <a:gdLst>
                  <a:gd name="T0" fmla="*/ 2 w 127"/>
                  <a:gd name="T1" fmla="*/ 116 h 116"/>
                  <a:gd name="T2" fmla="*/ 1 w 127"/>
                  <a:gd name="T3" fmla="*/ 116 h 116"/>
                  <a:gd name="T4" fmla="*/ 0 w 127"/>
                  <a:gd name="T5" fmla="*/ 114 h 116"/>
                  <a:gd name="T6" fmla="*/ 0 w 127"/>
                  <a:gd name="T7" fmla="*/ 32 h 116"/>
                  <a:gd name="T8" fmla="*/ 1 w 127"/>
                  <a:gd name="T9" fmla="*/ 30 h 116"/>
                  <a:gd name="T10" fmla="*/ 52 w 127"/>
                  <a:gd name="T11" fmla="*/ 0 h 116"/>
                  <a:gd name="T12" fmla="*/ 54 w 127"/>
                  <a:gd name="T13" fmla="*/ 0 h 116"/>
                  <a:gd name="T14" fmla="*/ 126 w 127"/>
                  <a:gd name="T15" fmla="*/ 42 h 116"/>
                  <a:gd name="T16" fmla="*/ 127 w 127"/>
                  <a:gd name="T17" fmla="*/ 43 h 116"/>
                  <a:gd name="T18" fmla="*/ 126 w 127"/>
                  <a:gd name="T19" fmla="*/ 45 h 116"/>
                  <a:gd name="T20" fmla="*/ 17 w 127"/>
                  <a:gd name="T21" fmla="*/ 108 h 116"/>
                  <a:gd name="T22" fmla="*/ 16 w 127"/>
                  <a:gd name="T23" fmla="*/ 108 h 116"/>
                  <a:gd name="T24" fmla="*/ 15 w 127"/>
                  <a:gd name="T25" fmla="*/ 109 h 116"/>
                  <a:gd name="T26" fmla="*/ 3 w 127"/>
                  <a:gd name="T27" fmla="*/ 116 h 116"/>
                  <a:gd name="T28" fmla="*/ 2 w 127"/>
                  <a:gd name="T29" fmla="*/ 116 h 116"/>
                  <a:gd name="T30" fmla="*/ 4 w 127"/>
                  <a:gd name="T31" fmla="*/ 33 h 116"/>
                  <a:gd name="T32" fmla="*/ 4 w 127"/>
                  <a:gd name="T33" fmla="*/ 110 h 116"/>
                  <a:gd name="T34" fmla="*/ 12 w 127"/>
                  <a:gd name="T35" fmla="*/ 106 h 116"/>
                  <a:gd name="T36" fmla="*/ 12 w 127"/>
                  <a:gd name="T37" fmla="*/ 105 h 116"/>
                  <a:gd name="T38" fmla="*/ 13 w 127"/>
                  <a:gd name="T39" fmla="*/ 104 h 116"/>
                  <a:gd name="T40" fmla="*/ 15 w 127"/>
                  <a:gd name="T41" fmla="*/ 104 h 116"/>
                  <a:gd name="T42" fmla="*/ 16 w 127"/>
                  <a:gd name="T43" fmla="*/ 104 h 116"/>
                  <a:gd name="T44" fmla="*/ 121 w 127"/>
                  <a:gd name="T45" fmla="*/ 43 h 116"/>
                  <a:gd name="T46" fmla="*/ 53 w 127"/>
                  <a:gd name="T47" fmla="*/ 5 h 116"/>
                  <a:gd name="T48" fmla="*/ 4 w 127"/>
                  <a:gd name="T49" fmla="*/ 3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7" h="116">
                    <a:moveTo>
                      <a:pt x="2" y="116"/>
                    </a:moveTo>
                    <a:cubicBezTo>
                      <a:pt x="2" y="116"/>
                      <a:pt x="2" y="116"/>
                      <a:pt x="1" y="116"/>
                    </a:cubicBezTo>
                    <a:cubicBezTo>
                      <a:pt x="1" y="115"/>
                      <a:pt x="0" y="115"/>
                      <a:pt x="0" y="11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4" y="0"/>
                      <a:pt x="54" y="0"/>
                    </a:cubicBezTo>
                    <a:cubicBezTo>
                      <a:pt x="126" y="42"/>
                      <a:pt x="126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27" y="44"/>
                      <a:pt x="126" y="45"/>
                      <a:pt x="126" y="45"/>
                    </a:cubicBezTo>
                    <a:cubicBezTo>
                      <a:pt x="17" y="108"/>
                      <a:pt x="17" y="108"/>
                      <a:pt x="17" y="108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3" y="116"/>
                      <a:pt x="3" y="116"/>
                      <a:pt x="3" y="116"/>
                    </a:cubicBezTo>
                    <a:cubicBezTo>
                      <a:pt x="3" y="116"/>
                      <a:pt x="3" y="116"/>
                      <a:pt x="2" y="116"/>
                    </a:cubicBezTo>
                    <a:close/>
                    <a:moveTo>
                      <a:pt x="4" y="33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12" y="106"/>
                      <a:pt x="12" y="106"/>
                      <a:pt x="12" y="106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2" y="105"/>
                      <a:pt x="12" y="104"/>
                      <a:pt x="13" y="104"/>
                    </a:cubicBezTo>
                    <a:cubicBezTo>
                      <a:pt x="14" y="103"/>
                      <a:pt x="14" y="103"/>
                      <a:pt x="15" y="104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21" y="43"/>
                      <a:pt x="121" y="43"/>
                      <a:pt x="121" y="43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4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5" name="Freeform 1013">
                <a:extLst>
                  <a:ext uri="{FF2B5EF4-FFF2-40B4-BE49-F238E27FC236}">
                    <a16:creationId xmlns:a16="http://schemas.microsoft.com/office/drawing/2014/main" id="{BADC1ACC-00FC-40D3-A66B-05D208BE7C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35" y="1089"/>
                <a:ext cx="191" cy="130"/>
              </a:xfrm>
              <a:custGeom>
                <a:avLst/>
                <a:gdLst>
                  <a:gd name="T0" fmla="*/ 69 w 81"/>
                  <a:gd name="T1" fmla="*/ 55 h 55"/>
                  <a:gd name="T2" fmla="*/ 68 w 81"/>
                  <a:gd name="T3" fmla="*/ 54 h 55"/>
                  <a:gd name="T4" fmla="*/ 1 w 81"/>
                  <a:gd name="T5" fmla="*/ 15 h 55"/>
                  <a:gd name="T6" fmla="*/ 0 w 81"/>
                  <a:gd name="T7" fmla="*/ 13 h 55"/>
                  <a:gd name="T8" fmla="*/ 1 w 81"/>
                  <a:gd name="T9" fmla="*/ 12 h 55"/>
                  <a:gd name="T10" fmla="*/ 21 w 81"/>
                  <a:gd name="T11" fmla="*/ 0 h 55"/>
                  <a:gd name="T12" fmla="*/ 23 w 81"/>
                  <a:gd name="T13" fmla="*/ 0 h 55"/>
                  <a:gd name="T14" fmla="*/ 80 w 81"/>
                  <a:gd name="T15" fmla="*/ 34 h 55"/>
                  <a:gd name="T16" fmla="*/ 81 w 81"/>
                  <a:gd name="T17" fmla="*/ 35 h 55"/>
                  <a:gd name="T18" fmla="*/ 81 w 81"/>
                  <a:gd name="T19" fmla="*/ 47 h 55"/>
                  <a:gd name="T20" fmla="*/ 80 w 81"/>
                  <a:gd name="T21" fmla="*/ 49 h 55"/>
                  <a:gd name="T22" fmla="*/ 70 w 81"/>
                  <a:gd name="T23" fmla="*/ 54 h 55"/>
                  <a:gd name="T24" fmla="*/ 69 w 81"/>
                  <a:gd name="T25" fmla="*/ 55 h 55"/>
                  <a:gd name="T26" fmla="*/ 6 w 81"/>
                  <a:gd name="T27" fmla="*/ 13 h 55"/>
                  <a:gd name="T28" fmla="*/ 69 w 81"/>
                  <a:gd name="T29" fmla="*/ 50 h 55"/>
                  <a:gd name="T30" fmla="*/ 77 w 81"/>
                  <a:gd name="T31" fmla="*/ 46 h 55"/>
                  <a:gd name="T32" fmla="*/ 77 w 81"/>
                  <a:gd name="T33" fmla="*/ 36 h 55"/>
                  <a:gd name="T34" fmla="*/ 22 w 81"/>
                  <a:gd name="T35" fmla="*/ 4 h 55"/>
                  <a:gd name="T36" fmla="*/ 6 w 81"/>
                  <a:gd name="T3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1" h="55">
                    <a:moveTo>
                      <a:pt x="69" y="55"/>
                    </a:moveTo>
                    <a:cubicBezTo>
                      <a:pt x="69" y="55"/>
                      <a:pt x="69" y="54"/>
                      <a:pt x="68" y="5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80" y="34"/>
                      <a:pt x="80" y="34"/>
                      <a:pt x="80" y="34"/>
                    </a:cubicBezTo>
                    <a:cubicBezTo>
                      <a:pt x="81" y="34"/>
                      <a:pt x="81" y="35"/>
                      <a:pt x="81" y="35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48"/>
                      <a:pt x="81" y="48"/>
                      <a:pt x="80" y="49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70" y="54"/>
                      <a:pt x="70" y="55"/>
                      <a:pt x="69" y="55"/>
                    </a:cubicBezTo>
                    <a:close/>
                    <a:moveTo>
                      <a:pt x="6" y="13"/>
                    </a:moveTo>
                    <a:cubicBezTo>
                      <a:pt x="69" y="50"/>
                      <a:pt x="69" y="50"/>
                      <a:pt x="69" y="50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22" y="4"/>
                      <a:pt x="22" y="4"/>
                      <a:pt x="22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6" name="Freeform 1014">
                <a:extLst>
                  <a:ext uri="{FF2B5EF4-FFF2-40B4-BE49-F238E27FC236}">
                    <a16:creationId xmlns:a16="http://schemas.microsoft.com/office/drawing/2014/main" id="{CC6739D1-3AEC-4E3B-8B35-B9EE982C05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09" y="1214"/>
                <a:ext cx="317" cy="357"/>
              </a:xfrm>
              <a:custGeom>
                <a:avLst/>
                <a:gdLst>
                  <a:gd name="T0" fmla="*/ 125 w 134"/>
                  <a:gd name="T1" fmla="*/ 151 h 151"/>
                  <a:gd name="T2" fmla="*/ 124 w 134"/>
                  <a:gd name="T3" fmla="*/ 151 h 151"/>
                  <a:gd name="T4" fmla="*/ 53 w 134"/>
                  <a:gd name="T5" fmla="*/ 111 h 151"/>
                  <a:gd name="T6" fmla="*/ 3 w 134"/>
                  <a:gd name="T7" fmla="*/ 139 h 151"/>
                  <a:gd name="T8" fmla="*/ 1 w 134"/>
                  <a:gd name="T9" fmla="*/ 139 h 151"/>
                  <a:gd name="T10" fmla="*/ 0 w 134"/>
                  <a:gd name="T11" fmla="*/ 138 h 151"/>
                  <a:gd name="T12" fmla="*/ 0 w 134"/>
                  <a:gd name="T13" fmla="*/ 72 h 151"/>
                  <a:gd name="T14" fmla="*/ 1 w 134"/>
                  <a:gd name="T15" fmla="*/ 70 h 151"/>
                  <a:gd name="T16" fmla="*/ 123 w 134"/>
                  <a:gd name="T17" fmla="*/ 0 h 151"/>
                  <a:gd name="T18" fmla="*/ 125 w 134"/>
                  <a:gd name="T19" fmla="*/ 0 h 151"/>
                  <a:gd name="T20" fmla="*/ 133 w 134"/>
                  <a:gd name="T21" fmla="*/ 5 h 151"/>
                  <a:gd name="T22" fmla="*/ 134 w 134"/>
                  <a:gd name="T23" fmla="*/ 7 h 151"/>
                  <a:gd name="T24" fmla="*/ 134 w 134"/>
                  <a:gd name="T25" fmla="*/ 34 h 151"/>
                  <a:gd name="T26" fmla="*/ 133 w 134"/>
                  <a:gd name="T27" fmla="*/ 36 h 151"/>
                  <a:gd name="T28" fmla="*/ 131 w 134"/>
                  <a:gd name="T29" fmla="*/ 36 h 151"/>
                  <a:gd name="T30" fmla="*/ 127 w 134"/>
                  <a:gd name="T31" fmla="*/ 33 h 151"/>
                  <a:gd name="T32" fmla="*/ 127 w 134"/>
                  <a:gd name="T33" fmla="*/ 149 h 151"/>
                  <a:gd name="T34" fmla="*/ 126 w 134"/>
                  <a:gd name="T35" fmla="*/ 151 h 151"/>
                  <a:gd name="T36" fmla="*/ 125 w 134"/>
                  <a:gd name="T37" fmla="*/ 151 h 151"/>
                  <a:gd name="T38" fmla="*/ 53 w 134"/>
                  <a:gd name="T39" fmla="*/ 106 h 151"/>
                  <a:gd name="T40" fmla="*/ 54 w 134"/>
                  <a:gd name="T41" fmla="*/ 107 h 151"/>
                  <a:gd name="T42" fmla="*/ 123 w 134"/>
                  <a:gd name="T43" fmla="*/ 146 h 151"/>
                  <a:gd name="T44" fmla="*/ 123 w 134"/>
                  <a:gd name="T45" fmla="*/ 30 h 151"/>
                  <a:gd name="T46" fmla="*/ 124 w 134"/>
                  <a:gd name="T47" fmla="*/ 28 h 151"/>
                  <a:gd name="T48" fmla="*/ 126 w 134"/>
                  <a:gd name="T49" fmla="*/ 28 h 151"/>
                  <a:gd name="T50" fmla="*/ 130 w 134"/>
                  <a:gd name="T51" fmla="*/ 30 h 151"/>
                  <a:gd name="T52" fmla="*/ 130 w 134"/>
                  <a:gd name="T53" fmla="*/ 8 h 151"/>
                  <a:gd name="T54" fmla="*/ 124 w 134"/>
                  <a:gd name="T55" fmla="*/ 4 h 151"/>
                  <a:gd name="T56" fmla="*/ 4 w 134"/>
                  <a:gd name="T57" fmla="*/ 73 h 151"/>
                  <a:gd name="T58" fmla="*/ 4 w 134"/>
                  <a:gd name="T59" fmla="*/ 134 h 151"/>
                  <a:gd name="T60" fmla="*/ 52 w 134"/>
                  <a:gd name="T61" fmla="*/ 107 h 151"/>
                  <a:gd name="T62" fmla="*/ 53 w 134"/>
                  <a:gd name="T63" fmla="*/ 106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4" h="151">
                    <a:moveTo>
                      <a:pt x="125" y="151"/>
                    </a:moveTo>
                    <a:cubicBezTo>
                      <a:pt x="124" y="151"/>
                      <a:pt x="124" y="151"/>
                      <a:pt x="124" y="151"/>
                    </a:cubicBezTo>
                    <a:cubicBezTo>
                      <a:pt x="53" y="111"/>
                      <a:pt x="53" y="111"/>
                      <a:pt x="53" y="11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3" y="140"/>
                      <a:pt x="2" y="140"/>
                      <a:pt x="1" y="139"/>
                    </a:cubicBezTo>
                    <a:cubicBezTo>
                      <a:pt x="1" y="139"/>
                      <a:pt x="0" y="138"/>
                      <a:pt x="0" y="138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1"/>
                      <a:pt x="1" y="71"/>
                      <a:pt x="1" y="7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24" y="0"/>
                      <a:pt x="125" y="0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134" y="6"/>
                      <a:pt x="134" y="6"/>
                      <a:pt x="134" y="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5"/>
                      <a:pt x="134" y="35"/>
                      <a:pt x="133" y="36"/>
                    </a:cubicBezTo>
                    <a:cubicBezTo>
                      <a:pt x="133" y="36"/>
                      <a:pt x="132" y="36"/>
                      <a:pt x="131" y="36"/>
                    </a:cubicBezTo>
                    <a:cubicBezTo>
                      <a:pt x="127" y="33"/>
                      <a:pt x="127" y="33"/>
                      <a:pt x="127" y="33"/>
                    </a:cubicBezTo>
                    <a:cubicBezTo>
                      <a:pt x="127" y="149"/>
                      <a:pt x="127" y="149"/>
                      <a:pt x="127" y="149"/>
                    </a:cubicBezTo>
                    <a:cubicBezTo>
                      <a:pt x="127" y="150"/>
                      <a:pt x="126" y="151"/>
                      <a:pt x="126" y="151"/>
                    </a:cubicBezTo>
                    <a:cubicBezTo>
                      <a:pt x="125" y="151"/>
                      <a:pt x="125" y="151"/>
                      <a:pt x="125" y="151"/>
                    </a:cubicBezTo>
                    <a:close/>
                    <a:moveTo>
                      <a:pt x="53" y="106"/>
                    </a:moveTo>
                    <a:cubicBezTo>
                      <a:pt x="54" y="106"/>
                      <a:pt x="54" y="106"/>
                      <a:pt x="54" y="107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23" y="30"/>
                      <a:pt x="123" y="30"/>
                      <a:pt x="123" y="30"/>
                    </a:cubicBezTo>
                    <a:cubicBezTo>
                      <a:pt x="123" y="29"/>
                      <a:pt x="123" y="28"/>
                      <a:pt x="124" y="28"/>
                    </a:cubicBezTo>
                    <a:cubicBezTo>
                      <a:pt x="124" y="27"/>
                      <a:pt x="125" y="27"/>
                      <a:pt x="126" y="28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24" y="4"/>
                      <a:pt x="124" y="4"/>
                      <a:pt x="124" y="4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52" y="107"/>
                      <a:pt x="52" y="107"/>
                      <a:pt x="52" y="107"/>
                    </a:cubicBezTo>
                    <a:cubicBezTo>
                      <a:pt x="53" y="106"/>
                      <a:pt x="53" y="106"/>
                      <a:pt x="53" y="1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7" name="Freeform 1015">
                <a:extLst>
                  <a:ext uri="{FF2B5EF4-FFF2-40B4-BE49-F238E27FC236}">
                    <a16:creationId xmlns:a16="http://schemas.microsoft.com/office/drawing/2014/main" id="{1F389EF7-7D18-41BE-BAC6-B2E590CB77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15" y="3187"/>
                <a:ext cx="149" cy="184"/>
              </a:xfrm>
              <a:custGeom>
                <a:avLst/>
                <a:gdLst>
                  <a:gd name="T0" fmla="*/ 61 w 63"/>
                  <a:gd name="T1" fmla="*/ 78 h 78"/>
                  <a:gd name="T2" fmla="*/ 60 w 63"/>
                  <a:gd name="T3" fmla="*/ 78 h 78"/>
                  <a:gd name="T4" fmla="*/ 41 w 63"/>
                  <a:gd name="T5" fmla="*/ 67 h 78"/>
                  <a:gd name="T6" fmla="*/ 40 w 63"/>
                  <a:gd name="T7" fmla="*/ 69 h 78"/>
                  <a:gd name="T8" fmla="*/ 38 w 63"/>
                  <a:gd name="T9" fmla="*/ 69 h 78"/>
                  <a:gd name="T10" fmla="*/ 1 w 63"/>
                  <a:gd name="T11" fmla="*/ 47 h 78"/>
                  <a:gd name="T12" fmla="*/ 0 w 63"/>
                  <a:gd name="T13" fmla="*/ 45 h 78"/>
                  <a:gd name="T14" fmla="*/ 0 w 63"/>
                  <a:gd name="T15" fmla="*/ 2 h 78"/>
                  <a:gd name="T16" fmla="*/ 1 w 63"/>
                  <a:gd name="T17" fmla="*/ 1 h 78"/>
                  <a:gd name="T18" fmla="*/ 3 w 63"/>
                  <a:gd name="T19" fmla="*/ 1 h 78"/>
                  <a:gd name="T20" fmla="*/ 62 w 63"/>
                  <a:gd name="T21" fmla="*/ 35 h 78"/>
                  <a:gd name="T22" fmla="*/ 63 w 63"/>
                  <a:gd name="T23" fmla="*/ 36 h 78"/>
                  <a:gd name="T24" fmla="*/ 63 w 63"/>
                  <a:gd name="T25" fmla="*/ 76 h 78"/>
                  <a:gd name="T26" fmla="*/ 62 w 63"/>
                  <a:gd name="T27" fmla="*/ 78 h 78"/>
                  <a:gd name="T28" fmla="*/ 61 w 63"/>
                  <a:gd name="T29" fmla="*/ 78 h 78"/>
                  <a:gd name="T30" fmla="*/ 39 w 63"/>
                  <a:gd name="T31" fmla="*/ 62 h 78"/>
                  <a:gd name="T32" fmla="*/ 40 w 63"/>
                  <a:gd name="T33" fmla="*/ 62 h 78"/>
                  <a:gd name="T34" fmla="*/ 59 w 63"/>
                  <a:gd name="T35" fmla="*/ 73 h 78"/>
                  <a:gd name="T36" fmla="*/ 59 w 63"/>
                  <a:gd name="T37" fmla="*/ 38 h 78"/>
                  <a:gd name="T38" fmla="*/ 4 w 63"/>
                  <a:gd name="T39" fmla="*/ 6 h 78"/>
                  <a:gd name="T40" fmla="*/ 4 w 63"/>
                  <a:gd name="T41" fmla="*/ 44 h 78"/>
                  <a:gd name="T42" fmla="*/ 37 w 63"/>
                  <a:gd name="T43" fmla="*/ 64 h 78"/>
                  <a:gd name="T44" fmla="*/ 38 w 63"/>
                  <a:gd name="T45" fmla="*/ 62 h 78"/>
                  <a:gd name="T46" fmla="*/ 39 w 63"/>
                  <a:gd name="T47" fmla="*/ 6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61" y="78"/>
                    </a:moveTo>
                    <a:cubicBezTo>
                      <a:pt x="60" y="78"/>
                      <a:pt x="60" y="78"/>
                      <a:pt x="60" y="78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68"/>
                      <a:pt x="41" y="68"/>
                      <a:pt x="40" y="69"/>
                    </a:cubicBezTo>
                    <a:cubicBezTo>
                      <a:pt x="40" y="69"/>
                      <a:pt x="39" y="69"/>
                      <a:pt x="38" y="6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7"/>
                      <a:pt x="0" y="46"/>
                      <a:pt x="0" y="4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5"/>
                      <a:pt x="63" y="36"/>
                      <a:pt x="63" y="3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63" y="77"/>
                      <a:pt x="62" y="77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lose/>
                    <a:moveTo>
                      <a:pt x="39" y="62"/>
                    </a:moveTo>
                    <a:cubicBezTo>
                      <a:pt x="40" y="62"/>
                      <a:pt x="40" y="62"/>
                      <a:pt x="40" y="62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37" y="64"/>
                      <a:pt x="37" y="64"/>
                      <a:pt x="37" y="64"/>
                    </a:cubicBezTo>
                    <a:cubicBezTo>
                      <a:pt x="37" y="63"/>
                      <a:pt x="38" y="62"/>
                      <a:pt x="38" y="62"/>
                    </a:cubicBezTo>
                    <a:cubicBezTo>
                      <a:pt x="39" y="62"/>
                      <a:pt x="39" y="62"/>
                      <a:pt x="3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8" name="Freeform 1016">
                <a:extLst>
                  <a:ext uri="{FF2B5EF4-FFF2-40B4-BE49-F238E27FC236}">
                    <a16:creationId xmlns:a16="http://schemas.microsoft.com/office/drawing/2014/main" id="{477BD624-9BFD-41D5-B22E-7CE5AE8F1E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781"/>
                <a:ext cx="43" cy="45"/>
              </a:xfrm>
              <a:custGeom>
                <a:avLst/>
                <a:gdLst>
                  <a:gd name="T0" fmla="*/ 4 w 18"/>
                  <a:gd name="T1" fmla="*/ 19 h 19"/>
                  <a:gd name="T2" fmla="*/ 3 w 18"/>
                  <a:gd name="T3" fmla="*/ 19 h 19"/>
                  <a:gd name="T4" fmla="*/ 1 w 18"/>
                  <a:gd name="T5" fmla="*/ 17 h 19"/>
                  <a:gd name="T6" fmla="*/ 0 w 18"/>
                  <a:gd name="T7" fmla="*/ 16 h 19"/>
                  <a:gd name="T8" fmla="*/ 0 w 18"/>
                  <a:gd name="T9" fmla="*/ 2 h 19"/>
                  <a:gd name="T10" fmla="*/ 1 w 18"/>
                  <a:gd name="T11" fmla="*/ 1 h 19"/>
                  <a:gd name="T12" fmla="*/ 3 w 18"/>
                  <a:gd name="T13" fmla="*/ 1 h 19"/>
                  <a:gd name="T14" fmla="*/ 17 w 18"/>
                  <a:gd name="T15" fmla="*/ 9 h 19"/>
                  <a:gd name="T16" fmla="*/ 18 w 18"/>
                  <a:gd name="T17" fmla="*/ 10 h 19"/>
                  <a:gd name="T18" fmla="*/ 17 w 18"/>
                  <a:gd name="T19" fmla="*/ 12 h 19"/>
                  <a:gd name="T20" fmla="*/ 5 w 18"/>
                  <a:gd name="T21" fmla="*/ 19 h 19"/>
                  <a:gd name="T22" fmla="*/ 4 w 18"/>
                  <a:gd name="T23" fmla="*/ 19 h 19"/>
                  <a:gd name="T24" fmla="*/ 4 w 18"/>
                  <a:gd name="T25" fmla="*/ 14 h 19"/>
                  <a:gd name="T26" fmla="*/ 4 w 18"/>
                  <a:gd name="T27" fmla="*/ 15 h 19"/>
                  <a:gd name="T28" fmla="*/ 12 w 18"/>
                  <a:gd name="T29" fmla="*/ 10 h 19"/>
                  <a:gd name="T30" fmla="*/ 4 w 18"/>
                  <a:gd name="T31" fmla="*/ 6 h 19"/>
                  <a:gd name="T32" fmla="*/ 4 w 18"/>
                  <a:gd name="T3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9">
                    <a:moveTo>
                      <a:pt x="4" y="19"/>
                    </a:moveTo>
                    <a:cubicBezTo>
                      <a:pt x="4" y="19"/>
                      <a:pt x="3" y="19"/>
                      <a:pt x="3" y="1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9"/>
                      <a:pt x="18" y="10"/>
                      <a:pt x="18" y="10"/>
                    </a:cubicBezTo>
                    <a:cubicBezTo>
                      <a:pt x="18" y="11"/>
                      <a:pt x="17" y="12"/>
                      <a:pt x="17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9"/>
                      <a:pt x="4" y="19"/>
                    </a:cubicBezTo>
                    <a:close/>
                    <a:moveTo>
                      <a:pt x="4" y="14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9" name="Freeform 1017">
                <a:extLst>
                  <a:ext uri="{FF2B5EF4-FFF2-40B4-BE49-F238E27FC236}">
                    <a16:creationId xmlns:a16="http://schemas.microsoft.com/office/drawing/2014/main" id="{7AE5A691-345D-42A8-9693-6B0B66A9E6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09" y="2145"/>
                <a:ext cx="156" cy="121"/>
              </a:xfrm>
              <a:custGeom>
                <a:avLst/>
                <a:gdLst>
                  <a:gd name="T0" fmla="*/ 64 w 66"/>
                  <a:gd name="T1" fmla="*/ 51 h 51"/>
                  <a:gd name="T2" fmla="*/ 63 w 66"/>
                  <a:gd name="T3" fmla="*/ 50 h 51"/>
                  <a:gd name="T4" fmla="*/ 1 w 66"/>
                  <a:gd name="T5" fmla="*/ 15 h 51"/>
                  <a:gd name="T6" fmla="*/ 0 w 66"/>
                  <a:gd name="T7" fmla="*/ 13 h 51"/>
                  <a:gd name="T8" fmla="*/ 1 w 66"/>
                  <a:gd name="T9" fmla="*/ 11 h 51"/>
                  <a:gd name="T10" fmla="*/ 20 w 66"/>
                  <a:gd name="T11" fmla="*/ 0 h 51"/>
                  <a:gd name="T12" fmla="*/ 22 w 66"/>
                  <a:gd name="T13" fmla="*/ 0 h 51"/>
                  <a:gd name="T14" fmla="*/ 65 w 66"/>
                  <a:gd name="T15" fmla="*/ 25 h 51"/>
                  <a:gd name="T16" fmla="*/ 66 w 66"/>
                  <a:gd name="T17" fmla="*/ 27 h 51"/>
                  <a:gd name="T18" fmla="*/ 66 w 66"/>
                  <a:gd name="T19" fmla="*/ 49 h 51"/>
                  <a:gd name="T20" fmla="*/ 65 w 66"/>
                  <a:gd name="T21" fmla="*/ 50 h 51"/>
                  <a:gd name="T22" fmla="*/ 64 w 66"/>
                  <a:gd name="T23" fmla="*/ 51 h 51"/>
                  <a:gd name="T24" fmla="*/ 6 w 66"/>
                  <a:gd name="T25" fmla="*/ 13 h 51"/>
                  <a:gd name="T26" fmla="*/ 62 w 66"/>
                  <a:gd name="T27" fmla="*/ 45 h 51"/>
                  <a:gd name="T28" fmla="*/ 62 w 66"/>
                  <a:gd name="T29" fmla="*/ 28 h 51"/>
                  <a:gd name="T30" fmla="*/ 21 w 66"/>
                  <a:gd name="T31" fmla="*/ 4 h 51"/>
                  <a:gd name="T32" fmla="*/ 6 w 66"/>
                  <a:gd name="T33" fmla="*/ 1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" h="51">
                    <a:moveTo>
                      <a:pt x="64" y="51"/>
                    </a:moveTo>
                    <a:cubicBezTo>
                      <a:pt x="63" y="51"/>
                      <a:pt x="63" y="51"/>
                      <a:pt x="63" y="5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4"/>
                      <a:pt x="0" y="14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1" y="0"/>
                      <a:pt x="22" y="0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5" y="25"/>
                      <a:pt x="66" y="26"/>
                      <a:pt x="66" y="27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6" y="49"/>
                      <a:pt x="65" y="50"/>
                      <a:pt x="65" y="50"/>
                    </a:cubicBezTo>
                    <a:cubicBezTo>
                      <a:pt x="64" y="51"/>
                      <a:pt x="64" y="51"/>
                      <a:pt x="64" y="51"/>
                    </a:cubicBezTo>
                    <a:close/>
                    <a:moveTo>
                      <a:pt x="6" y="13"/>
                    </a:move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28"/>
                      <a:pt x="62" y="28"/>
                      <a:pt x="62" y="28"/>
                    </a:cubicBezTo>
                    <a:cubicBezTo>
                      <a:pt x="21" y="4"/>
                      <a:pt x="21" y="4"/>
                      <a:pt x="21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0" name="Freeform 1018">
                <a:extLst>
                  <a:ext uri="{FF2B5EF4-FFF2-40B4-BE49-F238E27FC236}">
                    <a16:creationId xmlns:a16="http://schemas.microsoft.com/office/drawing/2014/main" id="{4CEA29F0-18E7-4A5F-BB17-7CD6DB380B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803"/>
                <a:ext cx="201" cy="347"/>
              </a:xfrm>
              <a:custGeom>
                <a:avLst/>
                <a:gdLst>
                  <a:gd name="T0" fmla="*/ 25 w 85"/>
                  <a:gd name="T1" fmla="*/ 147 h 147"/>
                  <a:gd name="T2" fmla="*/ 24 w 85"/>
                  <a:gd name="T3" fmla="*/ 147 h 147"/>
                  <a:gd name="T4" fmla="*/ 1 w 85"/>
                  <a:gd name="T5" fmla="*/ 133 h 147"/>
                  <a:gd name="T6" fmla="*/ 0 w 85"/>
                  <a:gd name="T7" fmla="*/ 131 h 147"/>
                  <a:gd name="T8" fmla="*/ 0 w 85"/>
                  <a:gd name="T9" fmla="*/ 9 h 147"/>
                  <a:gd name="T10" fmla="*/ 1 w 85"/>
                  <a:gd name="T11" fmla="*/ 7 h 147"/>
                  <a:gd name="T12" fmla="*/ 3 w 85"/>
                  <a:gd name="T13" fmla="*/ 7 h 147"/>
                  <a:gd name="T14" fmla="*/ 4 w 85"/>
                  <a:gd name="T15" fmla="*/ 8 h 147"/>
                  <a:gd name="T16" fmla="*/ 16 w 85"/>
                  <a:gd name="T17" fmla="*/ 1 h 147"/>
                  <a:gd name="T18" fmla="*/ 18 w 85"/>
                  <a:gd name="T19" fmla="*/ 1 h 147"/>
                  <a:gd name="T20" fmla="*/ 84 w 85"/>
                  <a:gd name="T21" fmla="*/ 39 h 147"/>
                  <a:gd name="T22" fmla="*/ 85 w 85"/>
                  <a:gd name="T23" fmla="*/ 41 h 147"/>
                  <a:gd name="T24" fmla="*/ 84 w 85"/>
                  <a:gd name="T25" fmla="*/ 42 h 147"/>
                  <a:gd name="T26" fmla="*/ 70 w 85"/>
                  <a:gd name="T27" fmla="*/ 51 h 147"/>
                  <a:gd name="T28" fmla="*/ 70 w 85"/>
                  <a:gd name="T29" fmla="*/ 120 h 147"/>
                  <a:gd name="T30" fmla="*/ 69 w 85"/>
                  <a:gd name="T31" fmla="*/ 122 h 147"/>
                  <a:gd name="T32" fmla="*/ 26 w 85"/>
                  <a:gd name="T33" fmla="*/ 147 h 147"/>
                  <a:gd name="T34" fmla="*/ 25 w 85"/>
                  <a:gd name="T35" fmla="*/ 147 h 147"/>
                  <a:gd name="T36" fmla="*/ 4 w 85"/>
                  <a:gd name="T37" fmla="*/ 130 h 147"/>
                  <a:gd name="T38" fmla="*/ 25 w 85"/>
                  <a:gd name="T39" fmla="*/ 143 h 147"/>
                  <a:gd name="T40" fmla="*/ 66 w 85"/>
                  <a:gd name="T41" fmla="*/ 119 h 147"/>
                  <a:gd name="T42" fmla="*/ 66 w 85"/>
                  <a:gd name="T43" fmla="*/ 50 h 147"/>
                  <a:gd name="T44" fmla="*/ 67 w 85"/>
                  <a:gd name="T45" fmla="*/ 48 h 147"/>
                  <a:gd name="T46" fmla="*/ 79 w 85"/>
                  <a:gd name="T47" fmla="*/ 41 h 147"/>
                  <a:gd name="T48" fmla="*/ 17 w 85"/>
                  <a:gd name="T49" fmla="*/ 5 h 147"/>
                  <a:gd name="T50" fmla="*/ 5 w 85"/>
                  <a:gd name="T51" fmla="*/ 12 h 147"/>
                  <a:gd name="T52" fmla="*/ 4 w 85"/>
                  <a:gd name="T53" fmla="*/ 12 h 147"/>
                  <a:gd name="T54" fmla="*/ 4 w 85"/>
                  <a:gd name="T55" fmla="*/ 13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147">
                    <a:moveTo>
                      <a:pt x="25" y="147"/>
                    </a:moveTo>
                    <a:cubicBezTo>
                      <a:pt x="25" y="147"/>
                      <a:pt x="24" y="147"/>
                      <a:pt x="24" y="147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" y="6"/>
                      <a:pt x="2" y="6"/>
                      <a:pt x="3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0"/>
                      <a:pt x="18" y="0"/>
                      <a:pt x="18" y="1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5" y="39"/>
                      <a:pt x="85" y="40"/>
                      <a:pt x="85" y="41"/>
                    </a:cubicBezTo>
                    <a:cubicBezTo>
                      <a:pt x="85" y="41"/>
                      <a:pt x="85" y="42"/>
                      <a:pt x="84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70" y="121"/>
                      <a:pt x="69" y="122"/>
                      <a:pt x="69" y="122"/>
                    </a:cubicBezTo>
                    <a:cubicBezTo>
                      <a:pt x="26" y="147"/>
                      <a:pt x="26" y="147"/>
                      <a:pt x="26" y="147"/>
                    </a:cubicBezTo>
                    <a:cubicBezTo>
                      <a:pt x="26" y="147"/>
                      <a:pt x="25" y="147"/>
                      <a:pt x="25" y="147"/>
                    </a:cubicBezTo>
                    <a:close/>
                    <a:moveTo>
                      <a:pt x="4" y="130"/>
                    </a:moveTo>
                    <a:cubicBezTo>
                      <a:pt x="25" y="143"/>
                      <a:pt x="25" y="143"/>
                      <a:pt x="25" y="143"/>
                    </a:cubicBezTo>
                    <a:cubicBezTo>
                      <a:pt x="66" y="119"/>
                      <a:pt x="66" y="119"/>
                      <a:pt x="66" y="11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49"/>
                      <a:pt x="66" y="48"/>
                      <a:pt x="67" y="48"/>
                    </a:cubicBezTo>
                    <a:cubicBezTo>
                      <a:pt x="79" y="41"/>
                      <a:pt x="79" y="41"/>
                      <a:pt x="79" y="41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4" y="12"/>
                      <a:pt x="4" y="12"/>
                    </a:cubicBezTo>
                    <a:lnTo>
                      <a:pt x="4" y="1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1" name="Freeform 1019">
                <a:extLst>
                  <a:ext uri="{FF2B5EF4-FFF2-40B4-BE49-F238E27FC236}">
                    <a16:creationId xmlns:a16="http://schemas.microsoft.com/office/drawing/2014/main" id="{E894A67E-BDE5-4079-97C9-119C60695E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349"/>
                <a:ext cx="182" cy="224"/>
              </a:xfrm>
              <a:custGeom>
                <a:avLst/>
                <a:gdLst>
                  <a:gd name="T0" fmla="*/ 75 w 77"/>
                  <a:gd name="T1" fmla="*/ 95 h 95"/>
                  <a:gd name="T2" fmla="*/ 74 w 77"/>
                  <a:gd name="T3" fmla="*/ 94 h 95"/>
                  <a:gd name="T4" fmla="*/ 4 w 77"/>
                  <a:gd name="T5" fmla="*/ 54 h 95"/>
                  <a:gd name="T6" fmla="*/ 3 w 77"/>
                  <a:gd name="T7" fmla="*/ 55 h 95"/>
                  <a:gd name="T8" fmla="*/ 1 w 77"/>
                  <a:gd name="T9" fmla="*/ 55 h 95"/>
                  <a:gd name="T10" fmla="*/ 0 w 77"/>
                  <a:gd name="T11" fmla="*/ 53 h 95"/>
                  <a:gd name="T12" fmla="*/ 0 w 77"/>
                  <a:gd name="T13" fmla="*/ 44 h 95"/>
                  <a:gd name="T14" fmla="*/ 1 w 77"/>
                  <a:gd name="T15" fmla="*/ 43 h 95"/>
                  <a:gd name="T16" fmla="*/ 74 w 77"/>
                  <a:gd name="T17" fmla="*/ 0 h 95"/>
                  <a:gd name="T18" fmla="*/ 76 w 77"/>
                  <a:gd name="T19" fmla="*/ 0 h 95"/>
                  <a:gd name="T20" fmla="*/ 77 w 77"/>
                  <a:gd name="T21" fmla="*/ 2 h 95"/>
                  <a:gd name="T22" fmla="*/ 77 w 77"/>
                  <a:gd name="T23" fmla="*/ 93 h 95"/>
                  <a:gd name="T24" fmla="*/ 76 w 77"/>
                  <a:gd name="T25" fmla="*/ 94 h 95"/>
                  <a:gd name="T26" fmla="*/ 75 w 77"/>
                  <a:gd name="T27" fmla="*/ 95 h 95"/>
                  <a:gd name="T28" fmla="*/ 4 w 77"/>
                  <a:gd name="T29" fmla="*/ 49 h 95"/>
                  <a:gd name="T30" fmla="*/ 5 w 77"/>
                  <a:gd name="T31" fmla="*/ 50 h 95"/>
                  <a:gd name="T32" fmla="*/ 73 w 77"/>
                  <a:gd name="T33" fmla="*/ 89 h 95"/>
                  <a:gd name="T34" fmla="*/ 73 w 77"/>
                  <a:gd name="T35" fmla="*/ 5 h 95"/>
                  <a:gd name="T36" fmla="*/ 4 w 77"/>
                  <a:gd name="T37" fmla="*/ 46 h 95"/>
                  <a:gd name="T38" fmla="*/ 4 w 77"/>
                  <a:gd name="T39" fmla="*/ 49 h 95"/>
                  <a:gd name="T40" fmla="*/ 4 w 77"/>
                  <a:gd name="T41" fmla="*/ 4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7" h="95">
                    <a:moveTo>
                      <a:pt x="75" y="95"/>
                    </a:moveTo>
                    <a:cubicBezTo>
                      <a:pt x="75" y="95"/>
                      <a:pt x="75" y="94"/>
                      <a:pt x="74" y="9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2" y="55"/>
                      <a:pt x="1" y="55"/>
                      <a:pt x="1" y="55"/>
                    </a:cubicBezTo>
                    <a:cubicBezTo>
                      <a:pt x="0" y="54"/>
                      <a:pt x="0" y="54"/>
                      <a:pt x="0" y="5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4"/>
                      <a:pt x="76" y="94"/>
                    </a:cubicBezTo>
                    <a:cubicBezTo>
                      <a:pt x="76" y="94"/>
                      <a:pt x="76" y="95"/>
                      <a:pt x="75" y="95"/>
                    </a:cubicBezTo>
                    <a:close/>
                    <a:moveTo>
                      <a:pt x="4" y="49"/>
                    </a:moveTo>
                    <a:cubicBezTo>
                      <a:pt x="4" y="49"/>
                      <a:pt x="5" y="49"/>
                      <a:pt x="5" y="50"/>
                    </a:cubicBezTo>
                    <a:cubicBezTo>
                      <a:pt x="73" y="89"/>
                      <a:pt x="73" y="89"/>
                      <a:pt x="73" y="8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2" name="Freeform 1020">
                <a:extLst>
                  <a:ext uri="{FF2B5EF4-FFF2-40B4-BE49-F238E27FC236}">
                    <a16:creationId xmlns:a16="http://schemas.microsoft.com/office/drawing/2014/main" id="{5E86F75E-E276-4B59-911B-73A7377AF3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09" y="1108"/>
                <a:ext cx="148" cy="90"/>
              </a:xfrm>
              <a:custGeom>
                <a:avLst/>
                <a:gdLst>
                  <a:gd name="T0" fmla="*/ 55 w 63"/>
                  <a:gd name="T1" fmla="*/ 38 h 38"/>
                  <a:gd name="T2" fmla="*/ 54 w 63"/>
                  <a:gd name="T3" fmla="*/ 38 h 38"/>
                  <a:gd name="T4" fmla="*/ 1 w 63"/>
                  <a:gd name="T5" fmla="*/ 7 h 38"/>
                  <a:gd name="T6" fmla="*/ 0 w 63"/>
                  <a:gd name="T7" fmla="*/ 5 h 38"/>
                  <a:gd name="T8" fmla="*/ 1 w 63"/>
                  <a:gd name="T9" fmla="*/ 4 h 38"/>
                  <a:gd name="T10" fmla="*/ 6 w 63"/>
                  <a:gd name="T11" fmla="*/ 1 h 38"/>
                  <a:gd name="T12" fmla="*/ 8 w 63"/>
                  <a:gd name="T13" fmla="*/ 1 h 38"/>
                  <a:gd name="T14" fmla="*/ 62 w 63"/>
                  <a:gd name="T15" fmla="*/ 31 h 38"/>
                  <a:gd name="T16" fmla="*/ 63 w 63"/>
                  <a:gd name="T17" fmla="*/ 33 h 38"/>
                  <a:gd name="T18" fmla="*/ 62 w 63"/>
                  <a:gd name="T19" fmla="*/ 35 h 38"/>
                  <a:gd name="T20" fmla="*/ 56 w 63"/>
                  <a:gd name="T21" fmla="*/ 38 h 38"/>
                  <a:gd name="T22" fmla="*/ 55 w 63"/>
                  <a:gd name="T23" fmla="*/ 38 h 38"/>
                  <a:gd name="T24" fmla="*/ 6 w 63"/>
                  <a:gd name="T25" fmla="*/ 5 h 38"/>
                  <a:gd name="T26" fmla="*/ 55 w 63"/>
                  <a:gd name="T27" fmla="*/ 34 h 38"/>
                  <a:gd name="T28" fmla="*/ 57 w 63"/>
                  <a:gd name="T29" fmla="*/ 33 h 38"/>
                  <a:gd name="T30" fmla="*/ 7 w 63"/>
                  <a:gd name="T31" fmla="*/ 5 h 38"/>
                  <a:gd name="T32" fmla="*/ 6 w 63"/>
                  <a:gd name="T33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8">
                    <a:moveTo>
                      <a:pt x="55" y="38"/>
                    </a:moveTo>
                    <a:cubicBezTo>
                      <a:pt x="55" y="38"/>
                      <a:pt x="54" y="38"/>
                      <a:pt x="54" y="3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32"/>
                      <a:pt x="63" y="32"/>
                      <a:pt x="63" y="33"/>
                    </a:cubicBezTo>
                    <a:cubicBezTo>
                      <a:pt x="63" y="34"/>
                      <a:pt x="62" y="34"/>
                      <a:pt x="62" y="35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6" y="38"/>
                      <a:pt x="55" y="38"/>
                      <a:pt x="55" y="38"/>
                    </a:cubicBezTo>
                    <a:close/>
                    <a:moveTo>
                      <a:pt x="6" y="5"/>
                    </a:moveTo>
                    <a:cubicBezTo>
                      <a:pt x="55" y="34"/>
                      <a:pt x="55" y="34"/>
                      <a:pt x="55" y="34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3" name="Freeform 1021">
                <a:extLst>
                  <a:ext uri="{FF2B5EF4-FFF2-40B4-BE49-F238E27FC236}">
                    <a16:creationId xmlns:a16="http://schemas.microsoft.com/office/drawing/2014/main" id="{E20C1176-F5AD-47A3-B48A-28857FD5EE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10" y="1193"/>
                <a:ext cx="71" cy="59"/>
              </a:xfrm>
              <a:custGeom>
                <a:avLst/>
                <a:gdLst>
                  <a:gd name="T0" fmla="*/ 28 w 30"/>
                  <a:gd name="T1" fmla="*/ 25 h 25"/>
                  <a:gd name="T2" fmla="*/ 27 w 30"/>
                  <a:gd name="T3" fmla="*/ 25 h 25"/>
                  <a:gd name="T4" fmla="*/ 1 w 30"/>
                  <a:gd name="T5" fmla="*/ 10 h 25"/>
                  <a:gd name="T6" fmla="*/ 0 w 30"/>
                  <a:gd name="T7" fmla="*/ 8 h 25"/>
                  <a:gd name="T8" fmla="*/ 1 w 30"/>
                  <a:gd name="T9" fmla="*/ 6 h 25"/>
                  <a:gd name="T10" fmla="*/ 11 w 30"/>
                  <a:gd name="T11" fmla="*/ 0 h 25"/>
                  <a:gd name="T12" fmla="*/ 13 w 30"/>
                  <a:gd name="T13" fmla="*/ 0 h 25"/>
                  <a:gd name="T14" fmla="*/ 29 w 30"/>
                  <a:gd name="T15" fmla="*/ 10 h 25"/>
                  <a:gd name="T16" fmla="*/ 30 w 30"/>
                  <a:gd name="T17" fmla="*/ 12 h 25"/>
                  <a:gd name="T18" fmla="*/ 30 w 30"/>
                  <a:gd name="T19" fmla="*/ 23 h 25"/>
                  <a:gd name="T20" fmla="*/ 29 w 30"/>
                  <a:gd name="T21" fmla="*/ 25 h 25"/>
                  <a:gd name="T22" fmla="*/ 28 w 30"/>
                  <a:gd name="T23" fmla="*/ 25 h 25"/>
                  <a:gd name="T24" fmla="*/ 6 w 30"/>
                  <a:gd name="T25" fmla="*/ 8 h 25"/>
                  <a:gd name="T26" fmla="*/ 26 w 30"/>
                  <a:gd name="T27" fmla="*/ 20 h 25"/>
                  <a:gd name="T28" fmla="*/ 26 w 30"/>
                  <a:gd name="T29" fmla="*/ 13 h 25"/>
                  <a:gd name="T30" fmla="*/ 12 w 30"/>
                  <a:gd name="T31" fmla="*/ 5 h 25"/>
                  <a:gd name="T32" fmla="*/ 6 w 30"/>
                  <a:gd name="T3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5">
                    <a:moveTo>
                      <a:pt x="28" y="25"/>
                    </a:moveTo>
                    <a:cubicBezTo>
                      <a:pt x="28" y="25"/>
                      <a:pt x="28" y="25"/>
                      <a:pt x="27" y="25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0"/>
                      <a:pt x="30" y="11"/>
                      <a:pt x="30" y="12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4"/>
                      <a:pt x="30" y="25"/>
                      <a:pt x="29" y="25"/>
                    </a:cubicBezTo>
                    <a:cubicBezTo>
                      <a:pt x="29" y="25"/>
                      <a:pt x="29" y="25"/>
                      <a:pt x="28" y="25"/>
                    </a:cubicBezTo>
                    <a:close/>
                    <a:moveTo>
                      <a:pt x="6" y="8"/>
                    </a:move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2" y="5"/>
                      <a:pt x="12" y="5"/>
                      <a:pt x="12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4" name="Freeform 1022">
                <a:extLst>
                  <a:ext uri="{FF2B5EF4-FFF2-40B4-BE49-F238E27FC236}">
                    <a16:creationId xmlns:a16="http://schemas.microsoft.com/office/drawing/2014/main" id="{1F3BCB42-33B4-4A55-8888-423BC5EBE4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25" y="1021"/>
                <a:ext cx="156" cy="200"/>
              </a:xfrm>
              <a:custGeom>
                <a:avLst/>
                <a:gdLst>
                  <a:gd name="T0" fmla="*/ 64 w 66"/>
                  <a:gd name="T1" fmla="*/ 85 h 85"/>
                  <a:gd name="T2" fmla="*/ 63 w 66"/>
                  <a:gd name="T3" fmla="*/ 84 h 85"/>
                  <a:gd name="T4" fmla="*/ 49 w 66"/>
                  <a:gd name="T5" fmla="*/ 76 h 85"/>
                  <a:gd name="T6" fmla="*/ 48 w 66"/>
                  <a:gd name="T7" fmla="*/ 74 h 85"/>
                  <a:gd name="T8" fmla="*/ 49 w 66"/>
                  <a:gd name="T9" fmla="*/ 73 h 85"/>
                  <a:gd name="T10" fmla="*/ 53 w 66"/>
                  <a:gd name="T11" fmla="*/ 70 h 85"/>
                  <a:gd name="T12" fmla="*/ 1 w 66"/>
                  <a:gd name="T13" fmla="*/ 40 h 85"/>
                  <a:gd name="T14" fmla="*/ 0 w 66"/>
                  <a:gd name="T15" fmla="*/ 38 h 85"/>
                  <a:gd name="T16" fmla="*/ 1 w 66"/>
                  <a:gd name="T17" fmla="*/ 37 h 85"/>
                  <a:gd name="T18" fmla="*/ 63 w 66"/>
                  <a:gd name="T19" fmla="*/ 0 h 85"/>
                  <a:gd name="T20" fmla="*/ 65 w 66"/>
                  <a:gd name="T21" fmla="*/ 0 h 85"/>
                  <a:gd name="T22" fmla="*/ 66 w 66"/>
                  <a:gd name="T23" fmla="*/ 2 h 85"/>
                  <a:gd name="T24" fmla="*/ 66 w 66"/>
                  <a:gd name="T25" fmla="*/ 83 h 85"/>
                  <a:gd name="T26" fmla="*/ 65 w 66"/>
                  <a:gd name="T27" fmla="*/ 84 h 85"/>
                  <a:gd name="T28" fmla="*/ 64 w 66"/>
                  <a:gd name="T29" fmla="*/ 85 h 85"/>
                  <a:gd name="T30" fmla="*/ 54 w 66"/>
                  <a:gd name="T31" fmla="*/ 74 h 85"/>
                  <a:gd name="T32" fmla="*/ 62 w 66"/>
                  <a:gd name="T33" fmla="*/ 79 h 85"/>
                  <a:gd name="T34" fmla="*/ 62 w 66"/>
                  <a:gd name="T35" fmla="*/ 6 h 85"/>
                  <a:gd name="T36" fmla="*/ 6 w 66"/>
                  <a:gd name="T37" fmla="*/ 38 h 85"/>
                  <a:gd name="T38" fmla="*/ 58 w 66"/>
                  <a:gd name="T39" fmla="*/ 68 h 85"/>
                  <a:gd name="T40" fmla="*/ 59 w 66"/>
                  <a:gd name="T41" fmla="*/ 70 h 85"/>
                  <a:gd name="T42" fmla="*/ 58 w 66"/>
                  <a:gd name="T43" fmla="*/ 72 h 85"/>
                  <a:gd name="T44" fmla="*/ 54 w 66"/>
                  <a:gd name="T45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" h="85">
                    <a:moveTo>
                      <a:pt x="64" y="85"/>
                    </a:moveTo>
                    <a:cubicBezTo>
                      <a:pt x="64" y="85"/>
                      <a:pt x="64" y="85"/>
                      <a:pt x="63" y="84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6"/>
                      <a:pt x="48" y="75"/>
                      <a:pt x="48" y="74"/>
                    </a:cubicBezTo>
                    <a:cubicBezTo>
                      <a:pt x="48" y="74"/>
                      <a:pt x="48" y="73"/>
                      <a:pt x="49" y="73"/>
                    </a:cubicBezTo>
                    <a:cubicBezTo>
                      <a:pt x="53" y="70"/>
                      <a:pt x="53" y="70"/>
                      <a:pt x="53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8"/>
                      <a:pt x="0" y="37"/>
                      <a:pt x="1" y="37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4" y="0"/>
                      <a:pt x="65" y="0"/>
                      <a:pt x="65" y="0"/>
                    </a:cubicBezTo>
                    <a:cubicBezTo>
                      <a:pt x="66" y="1"/>
                      <a:pt x="66" y="1"/>
                      <a:pt x="66" y="2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83"/>
                      <a:pt x="66" y="84"/>
                      <a:pt x="65" y="84"/>
                    </a:cubicBezTo>
                    <a:cubicBezTo>
                      <a:pt x="65" y="85"/>
                      <a:pt x="65" y="85"/>
                      <a:pt x="64" y="85"/>
                    </a:cubicBezTo>
                    <a:close/>
                    <a:moveTo>
                      <a:pt x="54" y="74"/>
                    </a:moveTo>
                    <a:cubicBezTo>
                      <a:pt x="62" y="79"/>
                      <a:pt x="62" y="79"/>
                      <a:pt x="62" y="7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9" y="69"/>
                      <a:pt x="59" y="69"/>
                      <a:pt x="59" y="70"/>
                    </a:cubicBezTo>
                    <a:cubicBezTo>
                      <a:pt x="59" y="71"/>
                      <a:pt x="59" y="71"/>
                      <a:pt x="58" y="72"/>
                    </a:cubicBezTo>
                    <a:lnTo>
                      <a:pt x="54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5" name="Freeform 1023">
                <a:extLst>
                  <a:ext uri="{FF2B5EF4-FFF2-40B4-BE49-F238E27FC236}">
                    <a16:creationId xmlns:a16="http://schemas.microsoft.com/office/drawing/2014/main" id="{976C57BF-D8B2-4B2C-B91E-76225F45D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2341"/>
                <a:ext cx="210" cy="437"/>
              </a:xfrm>
              <a:custGeom>
                <a:avLst/>
                <a:gdLst>
                  <a:gd name="T0" fmla="*/ 2 w 89"/>
                  <a:gd name="T1" fmla="*/ 185 h 185"/>
                  <a:gd name="T2" fmla="*/ 1 w 89"/>
                  <a:gd name="T3" fmla="*/ 184 h 185"/>
                  <a:gd name="T4" fmla="*/ 0 w 89"/>
                  <a:gd name="T5" fmla="*/ 183 h 185"/>
                  <a:gd name="T6" fmla="*/ 0 w 89"/>
                  <a:gd name="T7" fmla="*/ 44 h 185"/>
                  <a:gd name="T8" fmla="*/ 1 w 89"/>
                  <a:gd name="T9" fmla="*/ 43 h 185"/>
                  <a:gd name="T10" fmla="*/ 74 w 89"/>
                  <a:gd name="T11" fmla="*/ 0 h 185"/>
                  <a:gd name="T12" fmla="*/ 76 w 89"/>
                  <a:gd name="T13" fmla="*/ 0 h 185"/>
                  <a:gd name="T14" fmla="*/ 77 w 89"/>
                  <a:gd name="T15" fmla="*/ 2 h 185"/>
                  <a:gd name="T16" fmla="*/ 77 w 89"/>
                  <a:gd name="T17" fmla="*/ 125 h 185"/>
                  <a:gd name="T18" fmla="*/ 88 w 89"/>
                  <a:gd name="T19" fmla="*/ 131 h 185"/>
                  <a:gd name="T20" fmla="*/ 89 w 89"/>
                  <a:gd name="T21" fmla="*/ 133 h 185"/>
                  <a:gd name="T22" fmla="*/ 88 w 89"/>
                  <a:gd name="T23" fmla="*/ 135 h 185"/>
                  <a:gd name="T24" fmla="*/ 3 w 89"/>
                  <a:gd name="T25" fmla="*/ 184 h 185"/>
                  <a:gd name="T26" fmla="*/ 2 w 89"/>
                  <a:gd name="T27" fmla="*/ 185 h 185"/>
                  <a:gd name="T28" fmla="*/ 4 w 89"/>
                  <a:gd name="T29" fmla="*/ 46 h 185"/>
                  <a:gd name="T30" fmla="*/ 4 w 89"/>
                  <a:gd name="T31" fmla="*/ 179 h 185"/>
                  <a:gd name="T32" fmla="*/ 83 w 89"/>
                  <a:gd name="T33" fmla="*/ 133 h 185"/>
                  <a:gd name="T34" fmla="*/ 74 w 89"/>
                  <a:gd name="T35" fmla="*/ 128 h 185"/>
                  <a:gd name="T36" fmla="*/ 73 w 89"/>
                  <a:gd name="T37" fmla="*/ 126 h 185"/>
                  <a:gd name="T38" fmla="*/ 73 w 89"/>
                  <a:gd name="T39" fmla="*/ 5 h 185"/>
                  <a:gd name="T40" fmla="*/ 4 w 89"/>
                  <a:gd name="T41" fmla="*/ 46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9" h="185">
                    <a:moveTo>
                      <a:pt x="2" y="185"/>
                    </a:moveTo>
                    <a:cubicBezTo>
                      <a:pt x="1" y="185"/>
                      <a:pt x="1" y="184"/>
                      <a:pt x="1" y="184"/>
                    </a:cubicBezTo>
                    <a:cubicBezTo>
                      <a:pt x="0" y="184"/>
                      <a:pt x="0" y="183"/>
                      <a:pt x="0" y="18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125"/>
                      <a:pt x="77" y="125"/>
                      <a:pt x="77" y="125"/>
                    </a:cubicBezTo>
                    <a:cubicBezTo>
                      <a:pt x="88" y="131"/>
                      <a:pt x="88" y="131"/>
                      <a:pt x="88" y="131"/>
                    </a:cubicBezTo>
                    <a:cubicBezTo>
                      <a:pt x="89" y="132"/>
                      <a:pt x="89" y="132"/>
                      <a:pt x="89" y="133"/>
                    </a:cubicBezTo>
                    <a:cubicBezTo>
                      <a:pt x="89" y="134"/>
                      <a:pt x="89" y="134"/>
                      <a:pt x="88" y="135"/>
                    </a:cubicBezTo>
                    <a:cubicBezTo>
                      <a:pt x="3" y="184"/>
                      <a:pt x="3" y="184"/>
                      <a:pt x="3" y="184"/>
                    </a:cubicBezTo>
                    <a:cubicBezTo>
                      <a:pt x="2" y="184"/>
                      <a:pt x="2" y="185"/>
                      <a:pt x="2" y="185"/>
                    </a:cubicBezTo>
                    <a:close/>
                    <a:moveTo>
                      <a:pt x="4" y="46"/>
                    </a:moveTo>
                    <a:cubicBezTo>
                      <a:pt x="4" y="179"/>
                      <a:pt x="4" y="179"/>
                      <a:pt x="4" y="179"/>
                    </a:cubicBezTo>
                    <a:cubicBezTo>
                      <a:pt x="83" y="133"/>
                      <a:pt x="83" y="133"/>
                      <a:pt x="83" y="133"/>
                    </a:cubicBezTo>
                    <a:cubicBezTo>
                      <a:pt x="74" y="128"/>
                      <a:pt x="74" y="128"/>
                      <a:pt x="74" y="128"/>
                    </a:cubicBezTo>
                    <a:cubicBezTo>
                      <a:pt x="74" y="128"/>
                      <a:pt x="73" y="127"/>
                      <a:pt x="73" y="126"/>
                    </a:cubicBezTo>
                    <a:cubicBezTo>
                      <a:pt x="73" y="5"/>
                      <a:pt x="73" y="5"/>
                      <a:pt x="73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6" name="Freeform 1024">
                <a:extLst>
                  <a:ext uri="{FF2B5EF4-FFF2-40B4-BE49-F238E27FC236}">
                    <a16:creationId xmlns:a16="http://schemas.microsoft.com/office/drawing/2014/main" id="{97754274-37DD-4111-9235-F5DB40226E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1" y="2306"/>
                <a:ext cx="69" cy="49"/>
              </a:xfrm>
              <a:custGeom>
                <a:avLst/>
                <a:gdLst>
                  <a:gd name="T0" fmla="*/ 27 w 29"/>
                  <a:gd name="T1" fmla="*/ 21 h 21"/>
                  <a:gd name="T2" fmla="*/ 26 w 29"/>
                  <a:gd name="T3" fmla="*/ 21 h 21"/>
                  <a:gd name="T4" fmla="*/ 1 w 29"/>
                  <a:gd name="T5" fmla="*/ 6 h 21"/>
                  <a:gd name="T6" fmla="*/ 0 w 29"/>
                  <a:gd name="T7" fmla="*/ 5 h 21"/>
                  <a:gd name="T8" fmla="*/ 1 w 29"/>
                  <a:gd name="T9" fmla="*/ 3 h 21"/>
                  <a:gd name="T10" fmla="*/ 6 w 29"/>
                  <a:gd name="T11" fmla="*/ 0 h 21"/>
                  <a:gd name="T12" fmla="*/ 8 w 29"/>
                  <a:gd name="T13" fmla="*/ 0 h 21"/>
                  <a:gd name="T14" fmla="*/ 28 w 29"/>
                  <a:gd name="T15" fmla="*/ 12 h 21"/>
                  <a:gd name="T16" fmla="*/ 29 w 29"/>
                  <a:gd name="T17" fmla="*/ 13 h 21"/>
                  <a:gd name="T18" fmla="*/ 29 w 29"/>
                  <a:gd name="T19" fmla="*/ 19 h 21"/>
                  <a:gd name="T20" fmla="*/ 28 w 29"/>
                  <a:gd name="T21" fmla="*/ 21 h 21"/>
                  <a:gd name="T22" fmla="*/ 27 w 29"/>
                  <a:gd name="T23" fmla="*/ 21 h 21"/>
                  <a:gd name="T24" fmla="*/ 6 w 29"/>
                  <a:gd name="T25" fmla="*/ 5 h 21"/>
                  <a:gd name="T26" fmla="*/ 25 w 29"/>
                  <a:gd name="T27" fmla="*/ 15 h 21"/>
                  <a:gd name="T28" fmla="*/ 25 w 29"/>
                  <a:gd name="T29" fmla="*/ 15 h 21"/>
                  <a:gd name="T30" fmla="*/ 7 w 29"/>
                  <a:gd name="T31" fmla="*/ 4 h 21"/>
                  <a:gd name="T32" fmla="*/ 6 w 29"/>
                  <a:gd name="T33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21">
                    <a:moveTo>
                      <a:pt x="27" y="21"/>
                    </a:moveTo>
                    <a:cubicBezTo>
                      <a:pt x="27" y="21"/>
                      <a:pt x="26" y="21"/>
                      <a:pt x="26" y="21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9" y="12"/>
                      <a:pt x="29" y="13"/>
                      <a:pt x="29" y="13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20"/>
                      <a:pt x="29" y="20"/>
                      <a:pt x="28" y="21"/>
                    </a:cubicBezTo>
                    <a:cubicBezTo>
                      <a:pt x="28" y="21"/>
                      <a:pt x="27" y="21"/>
                      <a:pt x="27" y="21"/>
                    </a:cubicBezTo>
                    <a:close/>
                    <a:moveTo>
                      <a:pt x="6" y="5"/>
                    </a:moveTo>
                    <a:cubicBezTo>
                      <a:pt x="25" y="15"/>
                      <a:pt x="25" y="15"/>
                      <a:pt x="25" y="1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7" y="4"/>
                      <a:pt x="7" y="4"/>
                      <a:pt x="7" y="4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7" name="Freeform 1025">
                <a:extLst>
                  <a:ext uri="{FF2B5EF4-FFF2-40B4-BE49-F238E27FC236}">
                    <a16:creationId xmlns:a16="http://schemas.microsoft.com/office/drawing/2014/main" id="{6D3147E1-B71B-4CDB-99AC-336E7838A7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2313"/>
                <a:ext cx="114" cy="345"/>
              </a:xfrm>
              <a:custGeom>
                <a:avLst/>
                <a:gdLst>
                  <a:gd name="T0" fmla="*/ 14 w 48"/>
                  <a:gd name="T1" fmla="*/ 146 h 146"/>
                  <a:gd name="T2" fmla="*/ 13 w 48"/>
                  <a:gd name="T3" fmla="*/ 146 h 146"/>
                  <a:gd name="T4" fmla="*/ 1 w 48"/>
                  <a:gd name="T5" fmla="*/ 139 h 146"/>
                  <a:gd name="T6" fmla="*/ 0 w 48"/>
                  <a:gd name="T7" fmla="*/ 137 h 146"/>
                  <a:gd name="T8" fmla="*/ 0 w 48"/>
                  <a:gd name="T9" fmla="*/ 13 h 146"/>
                  <a:gd name="T10" fmla="*/ 1 w 48"/>
                  <a:gd name="T11" fmla="*/ 11 h 146"/>
                  <a:gd name="T12" fmla="*/ 19 w 48"/>
                  <a:gd name="T13" fmla="*/ 1 h 146"/>
                  <a:gd name="T14" fmla="*/ 21 w 48"/>
                  <a:gd name="T15" fmla="*/ 1 h 146"/>
                  <a:gd name="T16" fmla="*/ 47 w 48"/>
                  <a:gd name="T17" fmla="*/ 16 h 146"/>
                  <a:gd name="T18" fmla="*/ 48 w 48"/>
                  <a:gd name="T19" fmla="*/ 18 h 146"/>
                  <a:gd name="T20" fmla="*/ 48 w 48"/>
                  <a:gd name="T21" fmla="*/ 125 h 146"/>
                  <a:gd name="T22" fmla="*/ 47 w 48"/>
                  <a:gd name="T23" fmla="*/ 127 h 146"/>
                  <a:gd name="T24" fmla="*/ 15 w 48"/>
                  <a:gd name="T25" fmla="*/ 146 h 146"/>
                  <a:gd name="T26" fmla="*/ 14 w 48"/>
                  <a:gd name="T27" fmla="*/ 146 h 146"/>
                  <a:gd name="T28" fmla="*/ 4 w 48"/>
                  <a:gd name="T29" fmla="*/ 136 h 146"/>
                  <a:gd name="T30" fmla="*/ 14 w 48"/>
                  <a:gd name="T31" fmla="*/ 142 h 146"/>
                  <a:gd name="T32" fmla="*/ 44 w 48"/>
                  <a:gd name="T33" fmla="*/ 124 h 146"/>
                  <a:gd name="T34" fmla="*/ 44 w 48"/>
                  <a:gd name="T35" fmla="*/ 19 h 146"/>
                  <a:gd name="T36" fmla="*/ 20 w 48"/>
                  <a:gd name="T37" fmla="*/ 5 h 146"/>
                  <a:gd name="T38" fmla="*/ 4 w 48"/>
                  <a:gd name="T39" fmla="*/ 14 h 146"/>
                  <a:gd name="T40" fmla="*/ 4 w 48"/>
                  <a:gd name="T41" fmla="*/ 13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146">
                    <a:moveTo>
                      <a:pt x="14" y="146"/>
                    </a:moveTo>
                    <a:cubicBezTo>
                      <a:pt x="14" y="146"/>
                      <a:pt x="13" y="146"/>
                      <a:pt x="13" y="146"/>
                    </a:cubicBezTo>
                    <a:cubicBezTo>
                      <a:pt x="1" y="139"/>
                      <a:pt x="1" y="139"/>
                      <a:pt x="1" y="139"/>
                    </a:cubicBezTo>
                    <a:cubicBezTo>
                      <a:pt x="0" y="139"/>
                      <a:pt x="0" y="138"/>
                      <a:pt x="0" y="137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0"/>
                      <a:pt x="20" y="0"/>
                      <a:pt x="21" y="1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8" y="16"/>
                      <a:pt x="48" y="17"/>
                      <a:pt x="48" y="18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8" y="126"/>
                      <a:pt x="48" y="127"/>
                      <a:pt x="47" y="127"/>
                    </a:cubicBezTo>
                    <a:cubicBezTo>
                      <a:pt x="15" y="146"/>
                      <a:pt x="15" y="146"/>
                      <a:pt x="15" y="146"/>
                    </a:cubicBezTo>
                    <a:cubicBezTo>
                      <a:pt x="15" y="146"/>
                      <a:pt x="14" y="146"/>
                      <a:pt x="14" y="146"/>
                    </a:cubicBezTo>
                    <a:close/>
                    <a:moveTo>
                      <a:pt x="4" y="136"/>
                    </a:moveTo>
                    <a:cubicBezTo>
                      <a:pt x="14" y="142"/>
                      <a:pt x="14" y="142"/>
                      <a:pt x="14" y="142"/>
                    </a:cubicBezTo>
                    <a:cubicBezTo>
                      <a:pt x="44" y="124"/>
                      <a:pt x="44" y="124"/>
                      <a:pt x="44" y="124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8" name="Freeform 1026">
                <a:extLst>
                  <a:ext uri="{FF2B5EF4-FFF2-40B4-BE49-F238E27FC236}">
                    <a16:creationId xmlns:a16="http://schemas.microsoft.com/office/drawing/2014/main" id="{217B422F-26CE-4388-951E-90339940C7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2289"/>
                <a:ext cx="48" cy="55"/>
              </a:xfrm>
              <a:custGeom>
                <a:avLst/>
                <a:gdLst>
                  <a:gd name="T0" fmla="*/ 2 w 20"/>
                  <a:gd name="T1" fmla="*/ 23 h 23"/>
                  <a:gd name="T2" fmla="*/ 1 w 20"/>
                  <a:gd name="T3" fmla="*/ 23 h 23"/>
                  <a:gd name="T4" fmla="*/ 0 w 20"/>
                  <a:gd name="T5" fmla="*/ 21 h 23"/>
                  <a:gd name="T6" fmla="*/ 0 w 20"/>
                  <a:gd name="T7" fmla="*/ 2 h 23"/>
                  <a:gd name="T8" fmla="*/ 1 w 20"/>
                  <a:gd name="T9" fmla="*/ 1 h 23"/>
                  <a:gd name="T10" fmla="*/ 3 w 20"/>
                  <a:gd name="T11" fmla="*/ 1 h 23"/>
                  <a:gd name="T12" fmla="*/ 19 w 20"/>
                  <a:gd name="T13" fmla="*/ 10 h 23"/>
                  <a:gd name="T14" fmla="*/ 20 w 20"/>
                  <a:gd name="T15" fmla="*/ 12 h 23"/>
                  <a:gd name="T16" fmla="*/ 19 w 20"/>
                  <a:gd name="T17" fmla="*/ 13 h 23"/>
                  <a:gd name="T18" fmla="*/ 3 w 20"/>
                  <a:gd name="T19" fmla="*/ 23 h 23"/>
                  <a:gd name="T20" fmla="*/ 2 w 20"/>
                  <a:gd name="T21" fmla="*/ 23 h 23"/>
                  <a:gd name="T22" fmla="*/ 4 w 20"/>
                  <a:gd name="T23" fmla="*/ 6 h 23"/>
                  <a:gd name="T24" fmla="*/ 4 w 20"/>
                  <a:gd name="T25" fmla="*/ 17 h 23"/>
                  <a:gd name="T26" fmla="*/ 14 w 20"/>
                  <a:gd name="T27" fmla="*/ 12 h 23"/>
                  <a:gd name="T28" fmla="*/ 4 w 20"/>
                  <a:gd name="T29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23">
                    <a:moveTo>
                      <a:pt x="2" y="23"/>
                    </a:moveTo>
                    <a:cubicBezTo>
                      <a:pt x="2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20" y="10"/>
                      <a:pt x="20" y="11"/>
                      <a:pt x="20" y="12"/>
                    </a:cubicBezTo>
                    <a:cubicBezTo>
                      <a:pt x="20" y="12"/>
                      <a:pt x="20" y="13"/>
                      <a:pt x="19" y="1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  <a:moveTo>
                      <a:pt x="4" y="6"/>
                    </a:moveTo>
                    <a:cubicBezTo>
                      <a:pt x="4" y="17"/>
                      <a:pt x="4" y="17"/>
                      <a:pt x="4" y="17"/>
                    </a:cubicBezTo>
                    <a:cubicBezTo>
                      <a:pt x="14" y="12"/>
                      <a:pt x="14" y="12"/>
                      <a:pt x="14" y="12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9" name="Freeform 1027">
                <a:extLst>
                  <a:ext uri="{FF2B5EF4-FFF2-40B4-BE49-F238E27FC236}">
                    <a16:creationId xmlns:a16="http://schemas.microsoft.com/office/drawing/2014/main" id="{E3D3CC89-5BDF-495E-AE7E-1AFE91D2D2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24" y="1002"/>
                <a:ext cx="589" cy="368"/>
              </a:xfrm>
              <a:custGeom>
                <a:avLst/>
                <a:gdLst>
                  <a:gd name="T0" fmla="*/ 134 w 249"/>
                  <a:gd name="T1" fmla="*/ 156 h 156"/>
                  <a:gd name="T2" fmla="*/ 133 w 249"/>
                  <a:gd name="T3" fmla="*/ 156 h 156"/>
                  <a:gd name="T4" fmla="*/ 1 w 249"/>
                  <a:gd name="T5" fmla="*/ 80 h 156"/>
                  <a:gd name="T6" fmla="*/ 0 w 249"/>
                  <a:gd name="T7" fmla="*/ 78 h 156"/>
                  <a:gd name="T8" fmla="*/ 1 w 249"/>
                  <a:gd name="T9" fmla="*/ 76 h 156"/>
                  <a:gd name="T10" fmla="*/ 133 w 249"/>
                  <a:gd name="T11" fmla="*/ 0 h 156"/>
                  <a:gd name="T12" fmla="*/ 135 w 249"/>
                  <a:gd name="T13" fmla="*/ 0 h 156"/>
                  <a:gd name="T14" fmla="*/ 150 w 249"/>
                  <a:gd name="T15" fmla="*/ 9 h 156"/>
                  <a:gd name="T16" fmla="*/ 151 w 249"/>
                  <a:gd name="T17" fmla="*/ 11 h 156"/>
                  <a:gd name="T18" fmla="*/ 151 w 249"/>
                  <a:gd name="T19" fmla="*/ 32 h 156"/>
                  <a:gd name="T20" fmla="*/ 248 w 249"/>
                  <a:gd name="T21" fmla="*/ 87 h 156"/>
                  <a:gd name="T22" fmla="*/ 249 w 249"/>
                  <a:gd name="T23" fmla="*/ 89 h 156"/>
                  <a:gd name="T24" fmla="*/ 248 w 249"/>
                  <a:gd name="T25" fmla="*/ 91 h 156"/>
                  <a:gd name="T26" fmla="*/ 135 w 249"/>
                  <a:gd name="T27" fmla="*/ 156 h 156"/>
                  <a:gd name="T28" fmla="*/ 134 w 249"/>
                  <a:gd name="T29" fmla="*/ 156 h 156"/>
                  <a:gd name="T30" fmla="*/ 6 w 249"/>
                  <a:gd name="T31" fmla="*/ 78 h 156"/>
                  <a:gd name="T32" fmla="*/ 134 w 249"/>
                  <a:gd name="T33" fmla="*/ 152 h 156"/>
                  <a:gd name="T34" fmla="*/ 243 w 249"/>
                  <a:gd name="T35" fmla="*/ 89 h 156"/>
                  <a:gd name="T36" fmla="*/ 148 w 249"/>
                  <a:gd name="T37" fmla="*/ 35 h 156"/>
                  <a:gd name="T38" fmla="*/ 147 w 249"/>
                  <a:gd name="T39" fmla="*/ 33 h 156"/>
                  <a:gd name="T40" fmla="*/ 147 w 249"/>
                  <a:gd name="T41" fmla="*/ 12 h 156"/>
                  <a:gd name="T42" fmla="*/ 134 w 249"/>
                  <a:gd name="T43" fmla="*/ 4 h 156"/>
                  <a:gd name="T44" fmla="*/ 6 w 249"/>
                  <a:gd name="T45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9" h="156">
                    <a:moveTo>
                      <a:pt x="134" y="156"/>
                    </a:moveTo>
                    <a:cubicBezTo>
                      <a:pt x="133" y="156"/>
                      <a:pt x="133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77"/>
                      <a:pt x="0" y="77"/>
                      <a:pt x="1" y="76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134" y="0"/>
                      <a:pt x="135" y="0"/>
                    </a:cubicBezTo>
                    <a:cubicBezTo>
                      <a:pt x="150" y="9"/>
                      <a:pt x="150" y="9"/>
                      <a:pt x="150" y="9"/>
                    </a:cubicBezTo>
                    <a:cubicBezTo>
                      <a:pt x="151" y="10"/>
                      <a:pt x="151" y="10"/>
                      <a:pt x="151" y="11"/>
                    </a:cubicBezTo>
                    <a:cubicBezTo>
                      <a:pt x="151" y="32"/>
                      <a:pt x="151" y="32"/>
                      <a:pt x="151" y="32"/>
                    </a:cubicBezTo>
                    <a:cubicBezTo>
                      <a:pt x="248" y="87"/>
                      <a:pt x="248" y="87"/>
                      <a:pt x="248" y="87"/>
                    </a:cubicBezTo>
                    <a:cubicBezTo>
                      <a:pt x="248" y="88"/>
                      <a:pt x="249" y="88"/>
                      <a:pt x="249" y="89"/>
                    </a:cubicBezTo>
                    <a:cubicBezTo>
                      <a:pt x="249" y="90"/>
                      <a:pt x="248" y="90"/>
                      <a:pt x="248" y="91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4" y="156"/>
                      <a:pt x="134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3" y="89"/>
                      <a:pt x="243" y="89"/>
                      <a:pt x="243" y="89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8" y="34"/>
                      <a:pt x="147" y="34"/>
                      <a:pt x="147" y="33"/>
                    </a:cubicBezTo>
                    <a:cubicBezTo>
                      <a:pt x="147" y="12"/>
                      <a:pt x="147" y="12"/>
                      <a:pt x="147" y="12"/>
                    </a:cubicBezTo>
                    <a:cubicBezTo>
                      <a:pt x="134" y="4"/>
                      <a:pt x="134" y="4"/>
                      <a:pt x="134" y="4"/>
                    </a:cubicBezTo>
                    <a:lnTo>
                      <a:pt x="6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0" name="Freeform 1028">
                <a:extLst>
                  <a:ext uri="{FF2B5EF4-FFF2-40B4-BE49-F238E27FC236}">
                    <a16:creationId xmlns:a16="http://schemas.microsoft.com/office/drawing/2014/main" id="{E23DF5CC-D47F-4950-8E51-A21AC99D1A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56" y="2086"/>
                <a:ext cx="109" cy="123"/>
              </a:xfrm>
              <a:custGeom>
                <a:avLst/>
                <a:gdLst>
                  <a:gd name="T0" fmla="*/ 44 w 46"/>
                  <a:gd name="T1" fmla="*/ 52 h 52"/>
                  <a:gd name="T2" fmla="*/ 43 w 46"/>
                  <a:gd name="T3" fmla="*/ 51 h 52"/>
                  <a:gd name="T4" fmla="*/ 1 w 46"/>
                  <a:gd name="T5" fmla="*/ 28 h 52"/>
                  <a:gd name="T6" fmla="*/ 0 w 46"/>
                  <a:gd name="T7" fmla="*/ 26 h 52"/>
                  <a:gd name="T8" fmla="*/ 1 w 46"/>
                  <a:gd name="T9" fmla="*/ 24 h 52"/>
                  <a:gd name="T10" fmla="*/ 43 w 46"/>
                  <a:gd name="T11" fmla="*/ 0 h 52"/>
                  <a:gd name="T12" fmla="*/ 45 w 46"/>
                  <a:gd name="T13" fmla="*/ 0 h 52"/>
                  <a:gd name="T14" fmla="*/ 46 w 46"/>
                  <a:gd name="T15" fmla="*/ 2 h 52"/>
                  <a:gd name="T16" fmla="*/ 46 w 46"/>
                  <a:gd name="T17" fmla="*/ 50 h 52"/>
                  <a:gd name="T18" fmla="*/ 45 w 46"/>
                  <a:gd name="T19" fmla="*/ 51 h 52"/>
                  <a:gd name="T20" fmla="*/ 44 w 46"/>
                  <a:gd name="T21" fmla="*/ 52 h 52"/>
                  <a:gd name="T22" fmla="*/ 6 w 46"/>
                  <a:gd name="T23" fmla="*/ 26 h 52"/>
                  <a:gd name="T24" fmla="*/ 42 w 46"/>
                  <a:gd name="T25" fmla="*/ 46 h 52"/>
                  <a:gd name="T26" fmla="*/ 42 w 46"/>
                  <a:gd name="T27" fmla="*/ 6 h 52"/>
                  <a:gd name="T28" fmla="*/ 6 w 46"/>
                  <a:gd name="T29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2">
                    <a:moveTo>
                      <a:pt x="44" y="52"/>
                    </a:moveTo>
                    <a:cubicBezTo>
                      <a:pt x="43" y="52"/>
                      <a:pt x="43" y="52"/>
                      <a:pt x="43" y="51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7"/>
                      <a:pt x="0" y="27"/>
                      <a:pt x="0" y="26"/>
                    </a:cubicBezTo>
                    <a:cubicBezTo>
                      <a:pt x="0" y="25"/>
                      <a:pt x="1" y="24"/>
                      <a:pt x="1" y="24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1"/>
                      <a:pt x="46" y="1"/>
                      <a:pt x="46" y="2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6" y="50"/>
                      <a:pt x="45" y="51"/>
                      <a:pt x="45" y="51"/>
                    </a:cubicBezTo>
                    <a:cubicBezTo>
                      <a:pt x="44" y="52"/>
                      <a:pt x="44" y="52"/>
                      <a:pt x="44" y="52"/>
                    </a:cubicBezTo>
                    <a:close/>
                    <a:moveTo>
                      <a:pt x="6" y="26"/>
                    </a:move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6"/>
                      <a:pt x="42" y="6"/>
                      <a:pt x="42" y="6"/>
                    </a:cubicBezTo>
                    <a:lnTo>
                      <a:pt x="6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1" name="Freeform 1029">
                <a:extLst>
                  <a:ext uri="{FF2B5EF4-FFF2-40B4-BE49-F238E27FC236}">
                    <a16:creationId xmlns:a16="http://schemas.microsoft.com/office/drawing/2014/main" id="{07150D0F-C521-4FE6-931A-70E52FAD8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7" y="2261"/>
                <a:ext cx="19" cy="19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3 h 8"/>
                  <a:gd name="T8" fmla="*/ 1 w 8"/>
                  <a:gd name="T9" fmla="*/ 1 h 8"/>
                  <a:gd name="T10" fmla="*/ 3 w 8"/>
                  <a:gd name="T11" fmla="*/ 1 h 8"/>
                  <a:gd name="T12" fmla="*/ 7 w 8"/>
                  <a:gd name="T13" fmla="*/ 3 h 8"/>
                  <a:gd name="T14" fmla="*/ 8 w 8"/>
                  <a:gd name="T15" fmla="*/ 5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2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4"/>
                      <a:pt x="8" y="5"/>
                    </a:cubicBezTo>
                    <a:cubicBezTo>
                      <a:pt x="8" y="5"/>
                      <a:pt x="7" y="6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2" name="Freeform 1030">
                <a:extLst>
                  <a:ext uri="{FF2B5EF4-FFF2-40B4-BE49-F238E27FC236}">
                    <a16:creationId xmlns:a16="http://schemas.microsoft.com/office/drawing/2014/main" id="{9D8DFC55-6806-489A-8966-84399AEE35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7" y="2204"/>
                <a:ext cx="69" cy="71"/>
              </a:xfrm>
              <a:custGeom>
                <a:avLst/>
                <a:gdLst>
                  <a:gd name="T0" fmla="*/ 7 w 29"/>
                  <a:gd name="T1" fmla="*/ 30 h 30"/>
                  <a:gd name="T2" fmla="*/ 6 w 29"/>
                  <a:gd name="T3" fmla="*/ 29 h 30"/>
                  <a:gd name="T4" fmla="*/ 1 w 29"/>
                  <a:gd name="T5" fmla="*/ 26 h 30"/>
                  <a:gd name="T6" fmla="*/ 0 w 29"/>
                  <a:gd name="T7" fmla="*/ 25 h 30"/>
                  <a:gd name="T8" fmla="*/ 0 w 29"/>
                  <a:gd name="T9" fmla="*/ 2 h 30"/>
                  <a:gd name="T10" fmla="*/ 1 w 29"/>
                  <a:gd name="T11" fmla="*/ 1 h 30"/>
                  <a:gd name="T12" fmla="*/ 3 w 29"/>
                  <a:gd name="T13" fmla="*/ 1 h 30"/>
                  <a:gd name="T14" fmla="*/ 28 w 29"/>
                  <a:gd name="T15" fmla="*/ 15 h 30"/>
                  <a:gd name="T16" fmla="*/ 29 w 29"/>
                  <a:gd name="T17" fmla="*/ 16 h 30"/>
                  <a:gd name="T18" fmla="*/ 28 w 29"/>
                  <a:gd name="T19" fmla="*/ 18 h 30"/>
                  <a:gd name="T20" fmla="*/ 8 w 29"/>
                  <a:gd name="T21" fmla="*/ 29 h 30"/>
                  <a:gd name="T22" fmla="*/ 7 w 29"/>
                  <a:gd name="T23" fmla="*/ 30 h 30"/>
                  <a:gd name="T24" fmla="*/ 4 w 29"/>
                  <a:gd name="T25" fmla="*/ 23 h 30"/>
                  <a:gd name="T26" fmla="*/ 7 w 29"/>
                  <a:gd name="T27" fmla="*/ 25 h 30"/>
                  <a:gd name="T28" fmla="*/ 23 w 29"/>
                  <a:gd name="T29" fmla="*/ 16 h 30"/>
                  <a:gd name="T30" fmla="*/ 4 w 29"/>
                  <a:gd name="T31" fmla="*/ 6 h 30"/>
                  <a:gd name="T32" fmla="*/ 4 w 29"/>
                  <a:gd name="T33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30">
                    <a:moveTo>
                      <a:pt x="7" y="30"/>
                    </a:moveTo>
                    <a:cubicBezTo>
                      <a:pt x="7" y="30"/>
                      <a:pt x="7" y="29"/>
                      <a:pt x="6" y="29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0" y="25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8" y="15"/>
                      <a:pt x="29" y="16"/>
                      <a:pt x="29" y="16"/>
                    </a:cubicBezTo>
                    <a:cubicBezTo>
                      <a:pt x="29" y="17"/>
                      <a:pt x="28" y="18"/>
                      <a:pt x="28" y="18"/>
                    </a:cubicBezTo>
                    <a:cubicBezTo>
                      <a:pt x="8" y="29"/>
                      <a:pt x="8" y="29"/>
                      <a:pt x="8" y="29"/>
                    </a:cubicBezTo>
                    <a:cubicBezTo>
                      <a:pt x="8" y="29"/>
                      <a:pt x="8" y="30"/>
                      <a:pt x="7" y="30"/>
                    </a:cubicBezTo>
                    <a:close/>
                    <a:moveTo>
                      <a:pt x="4" y="23"/>
                    </a:moveTo>
                    <a:cubicBezTo>
                      <a:pt x="7" y="25"/>
                      <a:pt x="7" y="25"/>
                      <a:pt x="7" y="2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3" name="Freeform 1031">
                <a:extLst>
                  <a:ext uri="{FF2B5EF4-FFF2-40B4-BE49-F238E27FC236}">
                    <a16:creationId xmlns:a16="http://schemas.microsoft.com/office/drawing/2014/main" id="{397F75AF-C2EE-4B0B-A6C4-3CC1C51778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4" y="2240"/>
                <a:ext cx="113" cy="70"/>
              </a:xfrm>
              <a:custGeom>
                <a:avLst/>
                <a:gdLst>
                  <a:gd name="T0" fmla="*/ 27 w 48"/>
                  <a:gd name="T1" fmla="*/ 30 h 30"/>
                  <a:gd name="T2" fmla="*/ 26 w 48"/>
                  <a:gd name="T3" fmla="*/ 30 h 30"/>
                  <a:gd name="T4" fmla="*/ 1 w 48"/>
                  <a:gd name="T5" fmla="*/ 15 h 30"/>
                  <a:gd name="T6" fmla="*/ 0 w 48"/>
                  <a:gd name="T7" fmla="*/ 13 h 30"/>
                  <a:gd name="T8" fmla="*/ 1 w 48"/>
                  <a:gd name="T9" fmla="*/ 12 h 30"/>
                  <a:gd name="T10" fmla="*/ 20 w 48"/>
                  <a:gd name="T11" fmla="*/ 1 h 30"/>
                  <a:gd name="T12" fmla="*/ 22 w 48"/>
                  <a:gd name="T13" fmla="*/ 1 h 30"/>
                  <a:gd name="T14" fmla="*/ 47 w 48"/>
                  <a:gd name="T15" fmla="*/ 15 h 30"/>
                  <a:gd name="T16" fmla="*/ 48 w 48"/>
                  <a:gd name="T17" fmla="*/ 17 h 30"/>
                  <a:gd name="T18" fmla="*/ 47 w 48"/>
                  <a:gd name="T19" fmla="*/ 19 h 30"/>
                  <a:gd name="T20" fmla="*/ 28 w 48"/>
                  <a:gd name="T21" fmla="*/ 30 h 30"/>
                  <a:gd name="T22" fmla="*/ 27 w 48"/>
                  <a:gd name="T23" fmla="*/ 30 h 30"/>
                  <a:gd name="T24" fmla="*/ 6 w 48"/>
                  <a:gd name="T25" fmla="*/ 13 h 30"/>
                  <a:gd name="T26" fmla="*/ 27 w 48"/>
                  <a:gd name="T27" fmla="*/ 26 h 30"/>
                  <a:gd name="T28" fmla="*/ 42 w 48"/>
                  <a:gd name="T29" fmla="*/ 17 h 30"/>
                  <a:gd name="T30" fmla="*/ 21 w 48"/>
                  <a:gd name="T31" fmla="*/ 5 h 30"/>
                  <a:gd name="T32" fmla="*/ 6 w 48"/>
                  <a:gd name="T3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0">
                    <a:moveTo>
                      <a:pt x="27" y="30"/>
                    </a:moveTo>
                    <a:cubicBezTo>
                      <a:pt x="27" y="30"/>
                      <a:pt x="26" y="30"/>
                      <a:pt x="26" y="3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1" y="0"/>
                      <a:pt x="22" y="0"/>
                      <a:pt x="22" y="1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8" y="16"/>
                      <a:pt x="48" y="16"/>
                      <a:pt x="48" y="17"/>
                    </a:cubicBezTo>
                    <a:cubicBezTo>
                      <a:pt x="48" y="18"/>
                      <a:pt x="48" y="18"/>
                      <a:pt x="47" y="19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30"/>
                      <a:pt x="27" y="30"/>
                      <a:pt x="27" y="30"/>
                    </a:cubicBezTo>
                    <a:close/>
                    <a:moveTo>
                      <a:pt x="6" y="13"/>
                    </a:moveTo>
                    <a:cubicBezTo>
                      <a:pt x="27" y="26"/>
                      <a:pt x="27" y="26"/>
                      <a:pt x="27" y="26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21" y="5"/>
                      <a:pt x="21" y="5"/>
                      <a:pt x="21" y="5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4" name="Freeform 1032">
                <a:extLst>
                  <a:ext uri="{FF2B5EF4-FFF2-40B4-BE49-F238E27FC236}">
                    <a16:creationId xmlns:a16="http://schemas.microsoft.com/office/drawing/2014/main" id="{6AE8AA45-4008-482D-A668-46D4851A1D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57" y="498"/>
                <a:ext cx="245" cy="208"/>
              </a:xfrm>
              <a:custGeom>
                <a:avLst/>
                <a:gdLst>
                  <a:gd name="T0" fmla="*/ 58 w 104"/>
                  <a:gd name="T1" fmla="*/ 88 h 88"/>
                  <a:gd name="T2" fmla="*/ 57 w 104"/>
                  <a:gd name="T3" fmla="*/ 87 h 88"/>
                  <a:gd name="T4" fmla="*/ 1 w 104"/>
                  <a:gd name="T5" fmla="*/ 55 h 88"/>
                  <a:gd name="T6" fmla="*/ 0 w 104"/>
                  <a:gd name="T7" fmla="*/ 53 h 88"/>
                  <a:gd name="T8" fmla="*/ 0 w 104"/>
                  <a:gd name="T9" fmla="*/ 2 h 88"/>
                  <a:gd name="T10" fmla="*/ 1 w 104"/>
                  <a:gd name="T11" fmla="*/ 0 h 88"/>
                  <a:gd name="T12" fmla="*/ 3 w 104"/>
                  <a:gd name="T13" fmla="*/ 0 h 88"/>
                  <a:gd name="T14" fmla="*/ 103 w 104"/>
                  <a:gd name="T15" fmla="*/ 58 h 88"/>
                  <a:gd name="T16" fmla="*/ 104 w 104"/>
                  <a:gd name="T17" fmla="*/ 60 h 88"/>
                  <a:gd name="T18" fmla="*/ 103 w 104"/>
                  <a:gd name="T19" fmla="*/ 61 h 88"/>
                  <a:gd name="T20" fmla="*/ 59 w 104"/>
                  <a:gd name="T21" fmla="*/ 87 h 88"/>
                  <a:gd name="T22" fmla="*/ 58 w 104"/>
                  <a:gd name="T23" fmla="*/ 88 h 88"/>
                  <a:gd name="T24" fmla="*/ 4 w 104"/>
                  <a:gd name="T25" fmla="*/ 52 h 88"/>
                  <a:gd name="T26" fmla="*/ 58 w 104"/>
                  <a:gd name="T27" fmla="*/ 83 h 88"/>
                  <a:gd name="T28" fmla="*/ 98 w 104"/>
                  <a:gd name="T29" fmla="*/ 60 h 88"/>
                  <a:gd name="T30" fmla="*/ 4 w 104"/>
                  <a:gd name="T31" fmla="*/ 5 h 88"/>
                  <a:gd name="T32" fmla="*/ 4 w 104"/>
                  <a:gd name="T33" fmla="*/ 5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88">
                    <a:moveTo>
                      <a:pt x="58" y="88"/>
                    </a:moveTo>
                    <a:cubicBezTo>
                      <a:pt x="57" y="88"/>
                      <a:pt x="57" y="87"/>
                      <a:pt x="57" y="87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4" y="58"/>
                      <a:pt x="104" y="59"/>
                      <a:pt x="104" y="60"/>
                    </a:cubicBezTo>
                    <a:cubicBezTo>
                      <a:pt x="104" y="60"/>
                      <a:pt x="104" y="61"/>
                      <a:pt x="103" y="61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58" y="87"/>
                      <a:pt x="58" y="88"/>
                      <a:pt x="58" y="88"/>
                    </a:cubicBezTo>
                    <a:close/>
                    <a:moveTo>
                      <a:pt x="4" y="52"/>
                    </a:moveTo>
                    <a:cubicBezTo>
                      <a:pt x="58" y="83"/>
                      <a:pt x="58" y="83"/>
                      <a:pt x="58" y="83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5" name="Freeform 1033">
                <a:extLst>
                  <a:ext uri="{FF2B5EF4-FFF2-40B4-BE49-F238E27FC236}">
                    <a16:creationId xmlns:a16="http://schemas.microsoft.com/office/drawing/2014/main" id="{F1E8CEDA-6FD8-4784-8392-77AF73CCEF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2" y="454"/>
                <a:ext cx="522" cy="363"/>
              </a:xfrm>
              <a:custGeom>
                <a:avLst/>
                <a:gdLst>
                  <a:gd name="T0" fmla="*/ 138 w 221"/>
                  <a:gd name="T1" fmla="*/ 154 h 154"/>
                  <a:gd name="T2" fmla="*/ 137 w 221"/>
                  <a:gd name="T3" fmla="*/ 154 h 154"/>
                  <a:gd name="T4" fmla="*/ 12 w 221"/>
                  <a:gd name="T5" fmla="*/ 82 h 154"/>
                  <a:gd name="T6" fmla="*/ 12 w 221"/>
                  <a:gd name="T7" fmla="*/ 84 h 154"/>
                  <a:gd name="T8" fmla="*/ 11 w 221"/>
                  <a:gd name="T9" fmla="*/ 86 h 154"/>
                  <a:gd name="T10" fmla="*/ 9 w 221"/>
                  <a:gd name="T11" fmla="*/ 86 h 154"/>
                  <a:gd name="T12" fmla="*/ 1 w 221"/>
                  <a:gd name="T13" fmla="*/ 80 h 154"/>
                  <a:gd name="T14" fmla="*/ 0 w 221"/>
                  <a:gd name="T15" fmla="*/ 79 h 154"/>
                  <a:gd name="T16" fmla="*/ 1 w 221"/>
                  <a:gd name="T17" fmla="*/ 77 h 154"/>
                  <a:gd name="T18" fmla="*/ 132 w 221"/>
                  <a:gd name="T19" fmla="*/ 1 h 154"/>
                  <a:gd name="T20" fmla="*/ 134 w 221"/>
                  <a:gd name="T21" fmla="*/ 1 h 154"/>
                  <a:gd name="T22" fmla="*/ 165 w 221"/>
                  <a:gd name="T23" fmla="*/ 18 h 154"/>
                  <a:gd name="T24" fmla="*/ 166 w 221"/>
                  <a:gd name="T25" fmla="*/ 20 h 154"/>
                  <a:gd name="T26" fmla="*/ 166 w 221"/>
                  <a:gd name="T27" fmla="*/ 72 h 154"/>
                  <a:gd name="T28" fmla="*/ 220 w 221"/>
                  <a:gd name="T29" fmla="*/ 104 h 154"/>
                  <a:gd name="T30" fmla="*/ 221 w 221"/>
                  <a:gd name="T31" fmla="*/ 105 h 154"/>
                  <a:gd name="T32" fmla="*/ 220 w 221"/>
                  <a:gd name="T33" fmla="*/ 107 h 154"/>
                  <a:gd name="T34" fmla="*/ 139 w 221"/>
                  <a:gd name="T35" fmla="*/ 154 h 154"/>
                  <a:gd name="T36" fmla="*/ 138 w 221"/>
                  <a:gd name="T37" fmla="*/ 154 h 154"/>
                  <a:gd name="T38" fmla="*/ 10 w 221"/>
                  <a:gd name="T39" fmla="*/ 76 h 154"/>
                  <a:gd name="T40" fmla="*/ 11 w 221"/>
                  <a:gd name="T41" fmla="*/ 77 h 154"/>
                  <a:gd name="T42" fmla="*/ 138 w 221"/>
                  <a:gd name="T43" fmla="*/ 150 h 154"/>
                  <a:gd name="T44" fmla="*/ 215 w 221"/>
                  <a:gd name="T45" fmla="*/ 105 h 154"/>
                  <a:gd name="T46" fmla="*/ 163 w 221"/>
                  <a:gd name="T47" fmla="*/ 75 h 154"/>
                  <a:gd name="T48" fmla="*/ 162 w 221"/>
                  <a:gd name="T49" fmla="*/ 73 h 154"/>
                  <a:gd name="T50" fmla="*/ 162 w 221"/>
                  <a:gd name="T51" fmla="*/ 21 h 154"/>
                  <a:gd name="T52" fmla="*/ 133 w 221"/>
                  <a:gd name="T53" fmla="*/ 5 h 154"/>
                  <a:gd name="T54" fmla="*/ 6 w 221"/>
                  <a:gd name="T55" fmla="*/ 79 h 154"/>
                  <a:gd name="T56" fmla="*/ 8 w 221"/>
                  <a:gd name="T57" fmla="*/ 80 h 154"/>
                  <a:gd name="T58" fmla="*/ 8 w 221"/>
                  <a:gd name="T59" fmla="*/ 78 h 154"/>
                  <a:gd name="T60" fmla="*/ 9 w 221"/>
                  <a:gd name="T61" fmla="*/ 77 h 154"/>
                  <a:gd name="T62" fmla="*/ 10 w 221"/>
                  <a:gd name="T63" fmla="*/ 7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54">
                    <a:moveTo>
                      <a:pt x="138" y="154"/>
                    </a:moveTo>
                    <a:cubicBezTo>
                      <a:pt x="138" y="154"/>
                      <a:pt x="137" y="154"/>
                      <a:pt x="137" y="154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5"/>
                      <a:pt x="12" y="85"/>
                      <a:pt x="11" y="86"/>
                    </a:cubicBezTo>
                    <a:cubicBezTo>
                      <a:pt x="11" y="86"/>
                      <a:pt x="10" y="86"/>
                      <a:pt x="9" y="8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80"/>
                      <a:pt x="0" y="79"/>
                      <a:pt x="0" y="79"/>
                    </a:cubicBezTo>
                    <a:cubicBezTo>
                      <a:pt x="0" y="78"/>
                      <a:pt x="0" y="77"/>
                      <a:pt x="1" y="77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3" y="0"/>
                      <a:pt x="134" y="0"/>
                      <a:pt x="134" y="1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5" y="19"/>
                      <a:pt x="166" y="19"/>
                      <a:pt x="166" y="20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1" y="104"/>
                      <a:pt x="221" y="105"/>
                      <a:pt x="221" y="105"/>
                    </a:cubicBezTo>
                    <a:cubicBezTo>
                      <a:pt x="221" y="106"/>
                      <a:pt x="221" y="107"/>
                      <a:pt x="220" y="107"/>
                    </a:cubicBezTo>
                    <a:cubicBezTo>
                      <a:pt x="139" y="154"/>
                      <a:pt x="139" y="154"/>
                      <a:pt x="139" y="154"/>
                    </a:cubicBezTo>
                    <a:cubicBezTo>
                      <a:pt x="139" y="154"/>
                      <a:pt x="139" y="154"/>
                      <a:pt x="138" y="154"/>
                    </a:cubicBezTo>
                    <a:close/>
                    <a:moveTo>
                      <a:pt x="10" y="76"/>
                    </a:moveTo>
                    <a:cubicBezTo>
                      <a:pt x="11" y="76"/>
                      <a:pt x="11" y="76"/>
                      <a:pt x="11" y="77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215" y="105"/>
                      <a:pt x="215" y="105"/>
                      <a:pt x="215" y="105"/>
                    </a:cubicBezTo>
                    <a:cubicBezTo>
                      <a:pt x="163" y="75"/>
                      <a:pt x="163" y="75"/>
                      <a:pt x="163" y="75"/>
                    </a:cubicBezTo>
                    <a:cubicBezTo>
                      <a:pt x="162" y="75"/>
                      <a:pt x="162" y="74"/>
                      <a:pt x="162" y="7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9" y="77"/>
                      <a:pt x="9" y="77"/>
                    </a:cubicBezTo>
                    <a:cubicBezTo>
                      <a:pt x="10" y="76"/>
                      <a:pt x="10" y="76"/>
                      <a:pt x="10" y="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6" name="Freeform 1034">
                <a:extLst>
                  <a:ext uri="{FF2B5EF4-FFF2-40B4-BE49-F238E27FC236}">
                    <a16:creationId xmlns:a16="http://schemas.microsoft.com/office/drawing/2014/main" id="{C4833621-1ABD-41EA-A092-78B0BFF097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09" y="834"/>
                <a:ext cx="267" cy="262"/>
              </a:xfrm>
              <a:custGeom>
                <a:avLst/>
                <a:gdLst>
                  <a:gd name="T0" fmla="*/ 111 w 113"/>
                  <a:gd name="T1" fmla="*/ 111 h 111"/>
                  <a:gd name="T2" fmla="*/ 110 w 113"/>
                  <a:gd name="T3" fmla="*/ 111 h 111"/>
                  <a:gd name="T4" fmla="*/ 1 w 113"/>
                  <a:gd name="T5" fmla="*/ 48 h 111"/>
                  <a:gd name="T6" fmla="*/ 0 w 113"/>
                  <a:gd name="T7" fmla="*/ 46 h 111"/>
                  <a:gd name="T8" fmla="*/ 1 w 113"/>
                  <a:gd name="T9" fmla="*/ 45 h 111"/>
                  <a:gd name="T10" fmla="*/ 78 w 113"/>
                  <a:gd name="T11" fmla="*/ 0 h 111"/>
                  <a:gd name="T12" fmla="*/ 80 w 113"/>
                  <a:gd name="T13" fmla="*/ 0 h 111"/>
                  <a:gd name="T14" fmla="*/ 81 w 113"/>
                  <a:gd name="T15" fmla="*/ 2 h 111"/>
                  <a:gd name="T16" fmla="*/ 81 w 113"/>
                  <a:gd name="T17" fmla="*/ 70 h 111"/>
                  <a:gd name="T18" fmla="*/ 112 w 113"/>
                  <a:gd name="T19" fmla="*/ 88 h 111"/>
                  <a:gd name="T20" fmla="*/ 113 w 113"/>
                  <a:gd name="T21" fmla="*/ 90 h 111"/>
                  <a:gd name="T22" fmla="*/ 113 w 113"/>
                  <a:gd name="T23" fmla="*/ 109 h 111"/>
                  <a:gd name="T24" fmla="*/ 112 w 113"/>
                  <a:gd name="T25" fmla="*/ 111 h 111"/>
                  <a:gd name="T26" fmla="*/ 111 w 113"/>
                  <a:gd name="T27" fmla="*/ 111 h 111"/>
                  <a:gd name="T28" fmla="*/ 6 w 113"/>
                  <a:gd name="T29" fmla="*/ 46 h 111"/>
                  <a:gd name="T30" fmla="*/ 109 w 113"/>
                  <a:gd name="T31" fmla="*/ 106 h 111"/>
                  <a:gd name="T32" fmla="*/ 109 w 113"/>
                  <a:gd name="T33" fmla="*/ 91 h 111"/>
                  <a:gd name="T34" fmla="*/ 78 w 113"/>
                  <a:gd name="T35" fmla="*/ 73 h 111"/>
                  <a:gd name="T36" fmla="*/ 77 w 113"/>
                  <a:gd name="T37" fmla="*/ 72 h 111"/>
                  <a:gd name="T38" fmla="*/ 77 w 113"/>
                  <a:gd name="T39" fmla="*/ 5 h 111"/>
                  <a:gd name="T40" fmla="*/ 6 w 113"/>
                  <a:gd name="T41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1">
                    <a:moveTo>
                      <a:pt x="111" y="111"/>
                    </a:moveTo>
                    <a:cubicBezTo>
                      <a:pt x="111" y="111"/>
                      <a:pt x="111" y="111"/>
                      <a:pt x="110" y="11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0" y="47"/>
                      <a:pt x="0" y="46"/>
                    </a:cubicBezTo>
                    <a:cubicBezTo>
                      <a:pt x="0" y="46"/>
                      <a:pt x="1" y="45"/>
                      <a:pt x="1" y="45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ubicBezTo>
                      <a:pt x="81" y="0"/>
                      <a:pt x="81" y="1"/>
                      <a:pt x="81" y="2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3" y="89"/>
                      <a:pt x="113" y="89"/>
                      <a:pt x="113" y="90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113" y="110"/>
                      <a:pt x="113" y="111"/>
                      <a:pt x="112" y="111"/>
                    </a:cubicBezTo>
                    <a:cubicBezTo>
                      <a:pt x="112" y="111"/>
                      <a:pt x="112" y="111"/>
                      <a:pt x="111" y="111"/>
                    </a:cubicBezTo>
                    <a:close/>
                    <a:moveTo>
                      <a:pt x="6" y="46"/>
                    </a:moveTo>
                    <a:cubicBezTo>
                      <a:pt x="109" y="106"/>
                      <a:pt x="109" y="106"/>
                      <a:pt x="109" y="106"/>
                    </a:cubicBezTo>
                    <a:cubicBezTo>
                      <a:pt x="109" y="91"/>
                      <a:pt x="109" y="91"/>
                      <a:pt x="109" y="9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78" y="73"/>
                      <a:pt x="77" y="72"/>
                      <a:pt x="77" y="72"/>
                    </a:cubicBezTo>
                    <a:cubicBezTo>
                      <a:pt x="77" y="5"/>
                      <a:pt x="77" y="5"/>
                      <a:pt x="77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7" name="Freeform 1035">
                <a:extLst>
                  <a:ext uri="{FF2B5EF4-FFF2-40B4-BE49-F238E27FC236}">
                    <a16:creationId xmlns:a16="http://schemas.microsoft.com/office/drawing/2014/main" id="{945700C7-A3C5-445F-A7C5-3159FB634F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57" y="293"/>
                <a:ext cx="293" cy="425"/>
              </a:xfrm>
              <a:custGeom>
                <a:avLst/>
                <a:gdLst>
                  <a:gd name="T0" fmla="*/ 67 w 124"/>
                  <a:gd name="T1" fmla="*/ 180 h 180"/>
                  <a:gd name="T2" fmla="*/ 66 w 124"/>
                  <a:gd name="T3" fmla="*/ 180 h 180"/>
                  <a:gd name="T4" fmla="*/ 58 w 124"/>
                  <a:gd name="T5" fmla="*/ 175 h 180"/>
                  <a:gd name="T6" fmla="*/ 57 w 124"/>
                  <a:gd name="T7" fmla="*/ 173 h 180"/>
                  <a:gd name="T8" fmla="*/ 58 w 124"/>
                  <a:gd name="T9" fmla="*/ 172 h 180"/>
                  <a:gd name="T10" fmla="*/ 102 w 124"/>
                  <a:gd name="T11" fmla="*/ 147 h 180"/>
                  <a:gd name="T12" fmla="*/ 1 w 124"/>
                  <a:gd name="T13" fmla="*/ 89 h 180"/>
                  <a:gd name="T14" fmla="*/ 0 w 124"/>
                  <a:gd name="T15" fmla="*/ 87 h 180"/>
                  <a:gd name="T16" fmla="*/ 0 w 124"/>
                  <a:gd name="T17" fmla="*/ 2 h 180"/>
                  <a:gd name="T18" fmla="*/ 1 w 124"/>
                  <a:gd name="T19" fmla="*/ 1 h 180"/>
                  <a:gd name="T20" fmla="*/ 3 w 124"/>
                  <a:gd name="T21" fmla="*/ 1 h 180"/>
                  <a:gd name="T22" fmla="*/ 123 w 124"/>
                  <a:gd name="T23" fmla="*/ 70 h 180"/>
                  <a:gd name="T24" fmla="*/ 124 w 124"/>
                  <a:gd name="T25" fmla="*/ 71 h 180"/>
                  <a:gd name="T26" fmla="*/ 124 w 124"/>
                  <a:gd name="T27" fmla="*/ 144 h 180"/>
                  <a:gd name="T28" fmla="*/ 123 w 124"/>
                  <a:gd name="T29" fmla="*/ 146 h 180"/>
                  <a:gd name="T30" fmla="*/ 101 w 124"/>
                  <a:gd name="T31" fmla="*/ 159 h 180"/>
                  <a:gd name="T32" fmla="*/ 101 w 124"/>
                  <a:gd name="T33" fmla="*/ 167 h 180"/>
                  <a:gd name="T34" fmla="*/ 100 w 124"/>
                  <a:gd name="T35" fmla="*/ 169 h 180"/>
                  <a:gd name="T36" fmla="*/ 98 w 124"/>
                  <a:gd name="T37" fmla="*/ 169 h 180"/>
                  <a:gd name="T38" fmla="*/ 92 w 124"/>
                  <a:gd name="T39" fmla="*/ 166 h 180"/>
                  <a:gd name="T40" fmla="*/ 68 w 124"/>
                  <a:gd name="T41" fmla="*/ 180 h 180"/>
                  <a:gd name="T42" fmla="*/ 67 w 124"/>
                  <a:gd name="T43" fmla="*/ 180 h 180"/>
                  <a:gd name="T44" fmla="*/ 63 w 124"/>
                  <a:gd name="T45" fmla="*/ 173 h 180"/>
                  <a:gd name="T46" fmla="*/ 67 w 124"/>
                  <a:gd name="T47" fmla="*/ 176 h 180"/>
                  <a:gd name="T48" fmla="*/ 91 w 124"/>
                  <a:gd name="T49" fmla="*/ 162 h 180"/>
                  <a:gd name="T50" fmla="*/ 93 w 124"/>
                  <a:gd name="T51" fmla="*/ 162 h 180"/>
                  <a:gd name="T52" fmla="*/ 97 w 124"/>
                  <a:gd name="T53" fmla="*/ 164 h 180"/>
                  <a:gd name="T54" fmla="*/ 97 w 124"/>
                  <a:gd name="T55" fmla="*/ 158 h 180"/>
                  <a:gd name="T56" fmla="*/ 98 w 124"/>
                  <a:gd name="T57" fmla="*/ 156 h 180"/>
                  <a:gd name="T58" fmla="*/ 120 w 124"/>
                  <a:gd name="T59" fmla="*/ 143 h 180"/>
                  <a:gd name="T60" fmla="*/ 120 w 124"/>
                  <a:gd name="T61" fmla="*/ 73 h 180"/>
                  <a:gd name="T62" fmla="*/ 4 w 124"/>
                  <a:gd name="T63" fmla="*/ 6 h 180"/>
                  <a:gd name="T64" fmla="*/ 4 w 124"/>
                  <a:gd name="T65" fmla="*/ 86 h 180"/>
                  <a:gd name="T66" fmla="*/ 107 w 124"/>
                  <a:gd name="T67" fmla="*/ 145 h 180"/>
                  <a:gd name="T68" fmla="*/ 108 w 124"/>
                  <a:gd name="T69" fmla="*/ 147 h 180"/>
                  <a:gd name="T70" fmla="*/ 107 w 124"/>
                  <a:gd name="T71" fmla="*/ 148 h 180"/>
                  <a:gd name="T72" fmla="*/ 63 w 124"/>
                  <a:gd name="T73" fmla="*/ 17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180">
                    <a:moveTo>
                      <a:pt x="67" y="180"/>
                    </a:moveTo>
                    <a:cubicBezTo>
                      <a:pt x="67" y="180"/>
                      <a:pt x="66" y="180"/>
                      <a:pt x="66" y="180"/>
                    </a:cubicBezTo>
                    <a:cubicBezTo>
                      <a:pt x="58" y="175"/>
                      <a:pt x="58" y="175"/>
                      <a:pt x="58" y="175"/>
                    </a:cubicBezTo>
                    <a:cubicBezTo>
                      <a:pt x="58" y="175"/>
                      <a:pt x="57" y="174"/>
                      <a:pt x="57" y="173"/>
                    </a:cubicBezTo>
                    <a:cubicBezTo>
                      <a:pt x="57" y="173"/>
                      <a:pt x="58" y="172"/>
                      <a:pt x="58" y="17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1" y="88"/>
                      <a:pt x="0" y="88"/>
                      <a:pt x="0" y="8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23" y="70"/>
                      <a:pt x="123" y="70"/>
                      <a:pt x="123" y="70"/>
                    </a:cubicBezTo>
                    <a:cubicBezTo>
                      <a:pt x="123" y="70"/>
                      <a:pt x="124" y="71"/>
                      <a:pt x="124" y="71"/>
                    </a:cubicBezTo>
                    <a:cubicBezTo>
                      <a:pt x="124" y="144"/>
                      <a:pt x="124" y="144"/>
                      <a:pt x="124" y="144"/>
                    </a:cubicBezTo>
                    <a:cubicBezTo>
                      <a:pt x="124" y="145"/>
                      <a:pt x="123" y="146"/>
                      <a:pt x="123" y="146"/>
                    </a:cubicBezTo>
                    <a:cubicBezTo>
                      <a:pt x="101" y="159"/>
                      <a:pt x="101" y="159"/>
                      <a:pt x="101" y="159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1" y="168"/>
                      <a:pt x="101" y="169"/>
                      <a:pt x="100" y="169"/>
                    </a:cubicBezTo>
                    <a:cubicBezTo>
                      <a:pt x="99" y="170"/>
                      <a:pt x="99" y="170"/>
                      <a:pt x="98" y="169"/>
                    </a:cubicBezTo>
                    <a:cubicBezTo>
                      <a:pt x="92" y="166"/>
                      <a:pt x="92" y="166"/>
                      <a:pt x="92" y="166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7" y="180"/>
                      <a:pt x="67" y="180"/>
                    </a:cubicBezTo>
                    <a:close/>
                    <a:moveTo>
                      <a:pt x="63" y="173"/>
                    </a:moveTo>
                    <a:cubicBezTo>
                      <a:pt x="67" y="176"/>
                      <a:pt x="67" y="176"/>
                      <a:pt x="67" y="176"/>
                    </a:cubicBezTo>
                    <a:cubicBezTo>
                      <a:pt x="91" y="162"/>
                      <a:pt x="91" y="162"/>
                      <a:pt x="91" y="162"/>
                    </a:cubicBezTo>
                    <a:cubicBezTo>
                      <a:pt x="92" y="161"/>
                      <a:pt x="92" y="161"/>
                      <a:pt x="93" y="162"/>
                    </a:cubicBezTo>
                    <a:cubicBezTo>
                      <a:pt x="97" y="164"/>
                      <a:pt x="97" y="164"/>
                      <a:pt x="97" y="164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57"/>
                      <a:pt x="97" y="156"/>
                      <a:pt x="98" y="156"/>
                    </a:cubicBezTo>
                    <a:cubicBezTo>
                      <a:pt x="120" y="143"/>
                      <a:pt x="120" y="143"/>
                      <a:pt x="120" y="143"/>
                    </a:cubicBezTo>
                    <a:cubicBezTo>
                      <a:pt x="120" y="73"/>
                      <a:pt x="120" y="73"/>
                      <a:pt x="120" y="7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107" y="145"/>
                      <a:pt x="107" y="145"/>
                      <a:pt x="107" y="145"/>
                    </a:cubicBezTo>
                    <a:cubicBezTo>
                      <a:pt x="107" y="145"/>
                      <a:pt x="108" y="146"/>
                      <a:pt x="108" y="147"/>
                    </a:cubicBezTo>
                    <a:cubicBezTo>
                      <a:pt x="108" y="147"/>
                      <a:pt x="107" y="148"/>
                      <a:pt x="107" y="148"/>
                    </a:cubicBezTo>
                    <a:lnTo>
                      <a:pt x="63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8" name="Freeform 1036">
                <a:extLst>
                  <a:ext uri="{FF2B5EF4-FFF2-40B4-BE49-F238E27FC236}">
                    <a16:creationId xmlns:a16="http://schemas.microsoft.com/office/drawing/2014/main" id="{BDC82774-C593-43FA-A4EC-81AFC575DD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943"/>
                <a:ext cx="90" cy="182"/>
              </a:xfrm>
              <a:custGeom>
                <a:avLst/>
                <a:gdLst>
                  <a:gd name="T0" fmla="*/ 36 w 38"/>
                  <a:gd name="T1" fmla="*/ 77 h 77"/>
                  <a:gd name="T2" fmla="*/ 35 w 38"/>
                  <a:gd name="T3" fmla="*/ 77 h 77"/>
                  <a:gd name="T4" fmla="*/ 1 w 38"/>
                  <a:gd name="T5" fmla="*/ 57 h 77"/>
                  <a:gd name="T6" fmla="*/ 0 w 38"/>
                  <a:gd name="T7" fmla="*/ 55 h 77"/>
                  <a:gd name="T8" fmla="*/ 0 w 38"/>
                  <a:gd name="T9" fmla="*/ 2 h 77"/>
                  <a:gd name="T10" fmla="*/ 1 w 38"/>
                  <a:gd name="T11" fmla="*/ 0 h 77"/>
                  <a:gd name="T12" fmla="*/ 3 w 38"/>
                  <a:gd name="T13" fmla="*/ 0 h 77"/>
                  <a:gd name="T14" fmla="*/ 37 w 38"/>
                  <a:gd name="T15" fmla="*/ 20 h 77"/>
                  <a:gd name="T16" fmla="*/ 38 w 38"/>
                  <a:gd name="T17" fmla="*/ 21 h 77"/>
                  <a:gd name="T18" fmla="*/ 38 w 38"/>
                  <a:gd name="T19" fmla="*/ 75 h 77"/>
                  <a:gd name="T20" fmla="*/ 37 w 38"/>
                  <a:gd name="T21" fmla="*/ 77 h 77"/>
                  <a:gd name="T22" fmla="*/ 36 w 38"/>
                  <a:gd name="T23" fmla="*/ 77 h 77"/>
                  <a:gd name="T24" fmla="*/ 4 w 38"/>
                  <a:gd name="T25" fmla="*/ 54 h 77"/>
                  <a:gd name="T26" fmla="*/ 34 w 38"/>
                  <a:gd name="T27" fmla="*/ 71 h 77"/>
                  <a:gd name="T28" fmla="*/ 34 w 38"/>
                  <a:gd name="T29" fmla="*/ 22 h 77"/>
                  <a:gd name="T30" fmla="*/ 4 w 38"/>
                  <a:gd name="T31" fmla="*/ 5 h 77"/>
                  <a:gd name="T32" fmla="*/ 4 w 38"/>
                  <a:gd name="T33" fmla="*/ 5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77">
                    <a:moveTo>
                      <a:pt x="36" y="77"/>
                    </a:moveTo>
                    <a:cubicBezTo>
                      <a:pt x="36" y="77"/>
                      <a:pt x="35" y="77"/>
                      <a:pt x="35" y="77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7"/>
                      <a:pt x="0" y="56"/>
                      <a:pt x="0" y="5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0"/>
                      <a:pt x="38" y="21"/>
                      <a:pt x="38" y="21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8" y="76"/>
                      <a:pt x="38" y="76"/>
                      <a:pt x="37" y="77"/>
                    </a:cubicBezTo>
                    <a:cubicBezTo>
                      <a:pt x="37" y="77"/>
                      <a:pt x="36" y="77"/>
                      <a:pt x="36" y="77"/>
                    </a:cubicBezTo>
                    <a:close/>
                    <a:moveTo>
                      <a:pt x="4" y="54"/>
                    </a:move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9" name="Freeform 1037">
                <a:extLst>
                  <a:ext uri="{FF2B5EF4-FFF2-40B4-BE49-F238E27FC236}">
                    <a16:creationId xmlns:a16="http://schemas.microsoft.com/office/drawing/2014/main" id="{4C45657F-459E-4972-95F6-2EBC6FA6AB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25" y="1115"/>
                <a:ext cx="265" cy="158"/>
              </a:xfrm>
              <a:custGeom>
                <a:avLst/>
                <a:gdLst>
                  <a:gd name="T0" fmla="*/ 17 w 112"/>
                  <a:gd name="T1" fmla="*/ 67 h 67"/>
                  <a:gd name="T2" fmla="*/ 16 w 112"/>
                  <a:gd name="T3" fmla="*/ 67 h 67"/>
                  <a:gd name="T4" fmla="*/ 1 w 112"/>
                  <a:gd name="T5" fmla="*/ 58 h 67"/>
                  <a:gd name="T6" fmla="*/ 0 w 112"/>
                  <a:gd name="T7" fmla="*/ 57 h 67"/>
                  <a:gd name="T8" fmla="*/ 1 w 112"/>
                  <a:gd name="T9" fmla="*/ 55 h 67"/>
                  <a:gd name="T10" fmla="*/ 92 w 112"/>
                  <a:gd name="T11" fmla="*/ 2 h 67"/>
                  <a:gd name="T12" fmla="*/ 93 w 112"/>
                  <a:gd name="T13" fmla="*/ 0 h 67"/>
                  <a:gd name="T14" fmla="*/ 95 w 112"/>
                  <a:gd name="T15" fmla="*/ 0 h 67"/>
                  <a:gd name="T16" fmla="*/ 111 w 112"/>
                  <a:gd name="T17" fmla="*/ 10 h 67"/>
                  <a:gd name="T18" fmla="*/ 112 w 112"/>
                  <a:gd name="T19" fmla="*/ 11 h 67"/>
                  <a:gd name="T20" fmla="*/ 111 w 112"/>
                  <a:gd name="T21" fmla="*/ 13 h 67"/>
                  <a:gd name="T22" fmla="*/ 18 w 112"/>
                  <a:gd name="T23" fmla="*/ 67 h 67"/>
                  <a:gd name="T24" fmla="*/ 17 w 112"/>
                  <a:gd name="T25" fmla="*/ 67 h 67"/>
                  <a:gd name="T26" fmla="*/ 6 w 112"/>
                  <a:gd name="T27" fmla="*/ 57 h 67"/>
                  <a:gd name="T28" fmla="*/ 17 w 112"/>
                  <a:gd name="T29" fmla="*/ 63 h 67"/>
                  <a:gd name="T30" fmla="*/ 106 w 112"/>
                  <a:gd name="T31" fmla="*/ 11 h 67"/>
                  <a:gd name="T32" fmla="*/ 95 w 112"/>
                  <a:gd name="T33" fmla="*/ 5 h 67"/>
                  <a:gd name="T34" fmla="*/ 95 w 112"/>
                  <a:gd name="T35" fmla="*/ 5 h 67"/>
                  <a:gd name="T36" fmla="*/ 6 w 112"/>
                  <a:gd name="T37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" h="67">
                    <a:moveTo>
                      <a:pt x="17" y="67"/>
                    </a:moveTo>
                    <a:cubicBezTo>
                      <a:pt x="17" y="67"/>
                      <a:pt x="16" y="67"/>
                      <a:pt x="16" y="67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1" y="55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3" y="1"/>
                      <a:pt x="93" y="0"/>
                    </a:cubicBezTo>
                    <a:cubicBezTo>
                      <a:pt x="94" y="0"/>
                      <a:pt x="95" y="0"/>
                      <a:pt x="95" y="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2" y="10"/>
                      <a:pt x="112" y="11"/>
                      <a:pt x="112" y="11"/>
                    </a:cubicBezTo>
                    <a:cubicBezTo>
                      <a:pt x="112" y="12"/>
                      <a:pt x="112" y="13"/>
                      <a:pt x="111" y="13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7"/>
                      <a:pt x="17" y="67"/>
                      <a:pt x="17" y="67"/>
                    </a:cubicBezTo>
                    <a:close/>
                    <a:moveTo>
                      <a:pt x="6" y="57"/>
                    </a:moveTo>
                    <a:cubicBezTo>
                      <a:pt x="17" y="63"/>
                      <a:pt x="17" y="63"/>
                      <a:pt x="17" y="63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5" y="5"/>
                      <a:pt x="95" y="5"/>
                      <a:pt x="95" y="5"/>
                    </a:cubicBezTo>
                    <a:lnTo>
                      <a:pt x="6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0" name="Freeform 1038">
                <a:extLst>
                  <a:ext uri="{FF2B5EF4-FFF2-40B4-BE49-F238E27FC236}">
                    <a16:creationId xmlns:a16="http://schemas.microsoft.com/office/drawing/2014/main" id="{909F35AB-BDB5-4F6F-BA93-CFB54643B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073"/>
                <a:ext cx="85" cy="70"/>
              </a:xfrm>
              <a:custGeom>
                <a:avLst/>
                <a:gdLst>
                  <a:gd name="T0" fmla="*/ 20 w 36"/>
                  <a:gd name="T1" fmla="*/ 30 h 30"/>
                  <a:gd name="T2" fmla="*/ 19 w 36"/>
                  <a:gd name="T3" fmla="*/ 30 h 30"/>
                  <a:gd name="T4" fmla="*/ 1 w 36"/>
                  <a:gd name="T5" fmla="*/ 20 h 30"/>
                  <a:gd name="T6" fmla="*/ 0 w 36"/>
                  <a:gd name="T7" fmla="*/ 18 h 30"/>
                  <a:gd name="T8" fmla="*/ 0 w 36"/>
                  <a:gd name="T9" fmla="*/ 2 h 30"/>
                  <a:gd name="T10" fmla="*/ 1 w 36"/>
                  <a:gd name="T11" fmla="*/ 1 h 30"/>
                  <a:gd name="T12" fmla="*/ 3 w 36"/>
                  <a:gd name="T13" fmla="*/ 1 h 30"/>
                  <a:gd name="T14" fmla="*/ 35 w 36"/>
                  <a:gd name="T15" fmla="*/ 19 h 30"/>
                  <a:gd name="T16" fmla="*/ 36 w 36"/>
                  <a:gd name="T17" fmla="*/ 20 h 30"/>
                  <a:gd name="T18" fmla="*/ 35 w 36"/>
                  <a:gd name="T19" fmla="*/ 22 h 30"/>
                  <a:gd name="T20" fmla="*/ 21 w 36"/>
                  <a:gd name="T21" fmla="*/ 30 h 30"/>
                  <a:gd name="T22" fmla="*/ 20 w 36"/>
                  <a:gd name="T23" fmla="*/ 30 h 30"/>
                  <a:gd name="T24" fmla="*/ 4 w 36"/>
                  <a:gd name="T25" fmla="*/ 17 h 30"/>
                  <a:gd name="T26" fmla="*/ 20 w 36"/>
                  <a:gd name="T27" fmla="*/ 26 h 30"/>
                  <a:gd name="T28" fmla="*/ 30 w 36"/>
                  <a:gd name="T29" fmla="*/ 20 h 30"/>
                  <a:gd name="T30" fmla="*/ 4 w 36"/>
                  <a:gd name="T31" fmla="*/ 6 h 30"/>
                  <a:gd name="T32" fmla="*/ 4 w 36"/>
                  <a:gd name="T33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30">
                    <a:moveTo>
                      <a:pt x="20" y="30"/>
                    </a:moveTo>
                    <a:cubicBezTo>
                      <a:pt x="20" y="30"/>
                      <a:pt x="19" y="30"/>
                      <a:pt x="1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6" y="20"/>
                      <a:pt x="36" y="20"/>
                    </a:cubicBezTo>
                    <a:cubicBezTo>
                      <a:pt x="36" y="21"/>
                      <a:pt x="35" y="22"/>
                      <a:pt x="35" y="22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0" y="30"/>
                      <a:pt x="20" y="30"/>
                    </a:cubicBezTo>
                    <a:close/>
                    <a:moveTo>
                      <a:pt x="4" y="17"/>
                    </a:moveTo>
                    <a:cubicBezTo>
                      <a:pt x="20" y="26"/>
                      <a:pt x="20" y="26"/>
                      <a:pt x="20" y="26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1" name="Freeform 1039">
                <a:extLst>
                  <a:ext uri="{FF2B5EF4-FFF2-40B4-BE49-F238E27FC236}">
                    <a16:creationId xmlns:a16="http://schemas.microsoft.com/office/drawing/2014/main" id="{549FB504-E579-4DDB-B173-DDC32AE26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73" y="1314"/>
                <a:ext cx="201" cy="439"/>
              </a:xfrm>
              <a:custGeom>
                <a:avLst/>
                <a:gdLst>
                  <a:gd name="T0" fmla="*/ 71 w 85"/>
                  <a:gd name="T1" fmla="*/ 186 h 186"/>
                  <a:gd name="T2" fmla="*/ 70 w 85"/>
                  <a:gd name="T3" fmla="*/ 185 h 186"/>
                  <a:gd name="T4" fmla="*/ 8 w 85"/>
                  <a:gd name="T5" fmla="*/ 149 h 186"/>
                  <a:gd name="T6" fmla="*/ 7 w 85"/>
                  <a:gd name="T7" fmla="*/ 147 h 186"/>
                  <a:gd name="T8" fmla="*/ 8 w 85"/>
                  <a:gd name="T9" fmla="*/ 146 h 186"/>
                  <a:gd name="T10" fmla="*/ 15 w 85"/>
                  <a:gd name="T11" fmla="*/ 142 h 186"/>
                  <a:gd name="T12" fmla="*/ 1 w 85"/>
                  <a:gd name="T13" fmla="*/ 134 h 186"/>
                  <a:gd name="T14" fmla="*/ 0 w 85"/>
                  <a:gd name="T15" fmla="*/ 132 h 186"/>
                  <a:gd name="T16" fmla="*/ 1 w 85"/>
                  <a:gd name="T17" fmla="*/ 130 h 186"/>
                  <a:gd name="T18" fmla="*/ 5 w 85"/>
                  <a:gd name="T19" fmla="*/ 128 h 186"/>
                  <a:gd name="T20" fmla="*/ 5 w 85"/>
                  <a:gd name="T21" fmla="*/ 2 h 186"/>
                  <a:gd name="T22" fmla="*/ 6 w 85"/>
                  <a:gd name="T23" fmla="*/ 0 h 186"/>
                  <a:gd name="T24" fmla="*/ 8 w 85"/>
                  <a:gd name="T25" fmla="*/ 0 h 186"/>
                  <a:gd name="T26" fmla="*/ 84 w 85"/>
                  <a:gd name="T27" fmla="*/ 44 h 186"/>
                  <a:gd name="T28" fmla="*/ 85 w 85"/>
                  <a:gd name="T29" fmla="*/ 46 h 186"/>
                  <a:gd name="T30" fmla="*/ 85 w 85"/>
                  <a:gd name="T31" fmla="*/ 179 h 186"/>
                  <a:gd name="T32" fmla="*/ 84 w 85"/>
                  <a:gd name="T33" fmla="*/ 181 h 186"/>
                  <a:gd name="T34" fmla="*/ 82 w 85"/>
                  <a:gd name="T35" fmla="*/ 181 h 186"/>
                  <a:gd name="T36" fmla="*/ 81 w 85"/>
                  <a:gd name="T37" fmla="*/ 180 h 186"/>
                  <a:gd name="T38" fmla="*/ 72 w 85"/>
                  <a:gd name="T39" fmla="*/ 185 h 186"/>
                  <a:gd name="T40" fmla="*/ 71 w 85"/>
                  <a:gd name="T41" fmla="*/ 186 h 186"/>
                  <a:gd name="T42" fmla="*/ 13 w 85"/>
                  <a:gd name="T43" fmla="*/ 147 h 186"/>
                  <a:gd name="T44" fmla="*/ 71 w 85"/>
                  <a:gd name="T45" fmla="*/ 181 h 186"/>
                  <a:gd name="T46" fmla="*/ 80 w 85"/>
                  <a:gd name="T47" fmla="*/ 176 h 186"/>
                  <a:gd name="T48" fmla="*/ 81 w 85"/>
                  <a:gd name="T49" fmla="*/ 176 h 186"/>
                  <a:gd name="T50" fmla="*/ 81 w 85"/>
                  <a:gd name="T51" fmla="*/ 47 h 186"/>
                  <a:gd name="T52" fmla="*/ 9 w 85"/>
                  <a:gd name="T53" fmla="*/ 5 h 186"/>
                  <a:gd name="T54" fmla="*/ 9 w 85"/>
                  <a:gd name="T55" fmla="*/ 129 h 186"/>
                  <a:gd name="T56" fmla="*/ 8 w 85"/>
                  <a:gd name="T57" fmla="*/ 131 h 186"/>
                  <a:gd name="T58" fmla="*/ 6 w 85"/>
                  <a:gd name="T59" fmla="*/ 132 h 186"/>
                  <a:gd name="T60" fmla="*/ 20 w 85"/>
                  <a:gd name="T61" fmla="*/ 140 h 186"/>
                  <a:gd name="T62" fmla="*/ 21 w 85"/>
                  <a:gd name="T63" fmla="*/ 142 h 186"/>
                  <a:gd name="T64" fmla="*/ 20 w 85"/>
                  <a:gd name="T65" fmla="*/ 143 h 186"/>
                  <a:gd name="T66" fmla="*/ 13 w 85"/>
                  <a:gd name="T67" fmla="*/ 147 h 186"/>
                  <a:gd name="T68" fmla="*/ 7 w 85"/>
                  <a:gd name="T69" fmla="*/ 129 h 186"/>
                  <a:gd name="T70" fmla="*/ 7 w 85"/>
                  <a:gd name="T7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86">
                    <a:moveTo>
                      <a:pt x="71" y="186"/>
                    </a:moveTo>
                    <a:cubicBezTo>
                      <a:pt x="71" y="186"/>
                      <a:pt x="71" y="186"/>
                      <a:pt x="70" y="185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7" y="149"/>
                      <a:pt x="7" y="148"/>
                      <a:pt x="7" y="147"/>
                    </a:cubicBezTo>
                    <a:cubicBezTo>
                      <a:pt x="7" y="147"/>
                      <a:pt x="7" y="146"/>
                      <a:pt x="8" y="146"/>
                    </a:cubicBezTo>
                    <a:cubicBezTo>
                      <a:pt x="15" y="142"/>
                      <a:pt x="15" y="142"/>
                      <a:pt x="15" y="14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0" y="133"/>
                      <a:pt x="0" y="133"/>
                      <a:pt x="0" y="132"/>
                    </a:cubicBezTo>
                    <a:cubicBezTo>
                      <a:pt x="0" y="131"/>
                      <a:pt x="0" y="131"/>
                      <a:pt x="1" y="130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85" y="44"/>
                      <a:pt x="85" y="45"/>
                      <a:pt x="85" y="46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5" y="180"/>
                      <a:pt x="85" y="180"/>
                      <a:pt x="84" y="181"/>
                    </a:cubicBezTo>
                    <a:cubicBezTo>
                      <a:pt x="84" y="181"/>
                      <a:pt x="83" y="181"/>
                      <a:pt x="82" y="181"/>
                    </a:cubicBezTo>
                    <a:cubicBezTo>
                      <a:pt x="81" y="180"/>
                      <a:pt x="81" y="180"/>
                      <a:pt x="81" y="180"/>
                    </a:cubicBezTo>
                    <a:cubicBezTo>
                      <a:pt x="72" y="185"/>
                      <a:pt x="72" y="185"/>
                      <a:pt x="72" y="185"/>
                    </a:cubicBezTo>
                    <a:cubicBezTo>
                      <a:pt x="72" y="186"/>
                      <a:pt x="72" y="186"/>
                      <a:pt x="71" y="186"/>
                    </a:cubicBezTo>
                    <a:close/>
                    <a:moveTo>
                      <a:pt x="13" y="147"/>
                    </a:moveTo>
                    <a:cubicBezTo>
                      <a:pt x="71" y="181"/>
                      <a:pt x="71" y="181"/>
                      <a:pt x="71" y="181"/>
                    </a:cubicBezTo>
                    <a:cubicBezTo>
                      <a:pt x="80" y="176"/>
                      <a:pt x="80" y="176"/>
                      <a:pt x="80" y="176"/>
                    </a:cubicBezTo>
                    <a:cubicBezTo>
                      <a:pt x="81" y="176"/>
                      <a:pt x="81" y="176"/>
                      <a:pt x="81" y="176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129"/>
                      <a:pt x="9" y="129"/>
                      <a:pt x="9" y="129"/>
                    </a:cubicBezTo>
                    <a:cubicBezTo>
                      <a:pt x="9" y="130"/>
                      <a:pt x="8" y="131"/>
                      <a:pt x="8" y="131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0" y="140"/>
                      <a:pt x="21" y="141"/>
                      <a:pt x="21" y="142"/>
                    </a:cubicBezTo>
                    <a:cubicBezTo>
                      <a:pt x="21" y="142"/>
                      <a:pt x="20" y="143"/>
                      <a:pt x="20" y="143"/>
                    </a:cubicBezTo>
                    <a:lnTo>
                      <a:pt x="13" y="147"/>
                    </a:lnTo>
                    <a:close/>
                    <a:moveTo>
                      <a:pt x="7" y="129"/>
                    </a:moveTo>
                    <a:cubicBezTo>
                      <a:pt x="7" y="129"/>
                      <a:pt x="7" y="129"/>
                      <a:pt x="7" y="1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2" name="Freeform 1040">
                <a:extLst>
                  <a:ext uri="{FF2B5EF4-FFF2-40B4-BE49-F238E27FC236}">
                    <a16:creationId xmlns:a16="http://schemas.microsoft.com/office/drawing/2014/main" id="{065B85C0-2B5C-4200-95F3-3D4725A4D7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5" y="943"/>
                <a:ext cx="291" cy="345"/>
              </a:xfrm>
              <a:custGeom>
                <a:avLst/>
                <a:gdLst>
                  <a:gd name="T0" fmla="*/ 3 w 123"/>
                  <a:gd name="T1" fmla="*/ 146 h 146"/>
                  <a:gd name="T2" fmla="*/ 2 w 123"/>
                  <a:gd name="T3" fmla="*/ 146 h 146"/>
                  <a:gd name="T4" fmla="*/ 1 w 123"/>
                  <a:gd name="T5" fmla="*/ 145 h 146"/>
                  <a:gd name="T6" fmla="*/ 0 w 123"/>
                  <a:gd name="T7" fmla="*/ 143 h 146"/>
                  <a:gd name="T8" fmla="*/ 0 w 123"/>
                  <a:gd name="T9" fmla="*/ 8 h 146"/>
                  <a:gd name="T10" fmla="*/ 1 w 123"/>
                  <a:gd name="T11" fmla="*/ 6 h 146"/>
                  <a:gd name="T12" fmla="*/ 11 w 123"/>
                  <a:gd name="T13" fmla="*/ 0 h 146"/>
                  <a:gd name="T14" fmla="*/ 13 w 123"/>
                  <a:gd name="T15" fmla="*/ 0 h 146"/>
                  <a:gd name="T16" fmla="*/ 122 w 123"/>
                  <a:gd name="T17" fmla="*/ 63 h 146"/>
                  <a:gd name="T18" fmla="*/ 123 w 123"/>
                  <a:gd name="T19" fmla="*/ 65 h 146"/>
                  <a:gd name="T20" fmla="*/ 123 w 123"/>
                  <a:gd name="T21" fmla="*/ 75 h 146"/>
                  <a:gd name="T22" fmla="*/ 122 w 123"/>
                  <a:gd name="T23" fmla="*/ 77 h 146"/>
                  <a:gd name="T24" fmla="*/ 4 w 123"/>
                  <a:gd name="T25" fmla="*/ 146 h 146"/>
                  <a:gd name="T26" fmla="*/ 3 w 123"/>
                  <a:gd name="T27" fmla="*/ 146 h 146"/>
                  <a:gd name="T28" fmla="*/ 4 w 123"/>
                  <a:gd name="T29" fmla="*/ 9 h 146"/>
                  <a:gd name="T30" fmla="*/ 4 w 123"/>
                  <a:gd name="T31" fmla="*/ 141 h 146"/>
                  <a:gd name="T32" fmla="*/ 119 w 123"/>
                  <a:gd name="T33" fmla="*/ 74 h 146"/>
                  <a:gd name="T34" fmla="*/ 119 w 123"/>
                  <a:gd name="T35" fmla="*/ 66 h 146"/>
                  <a:gd name="T36" fmla="*/ 12 w 123"/>
                  <a:gd name="T37" fmla="*/ 4 h 146"/>
                  <a:gd name="T38" fmla="*/ 4 w 123"/>
                  <a:gd name="T39" fmla="*/ 9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3" h="146">
                    <a:moveTo>
                      <a:pt x="3" y="146"/>
                    </a:moveTo>
                    <a:cubicBezTo>
                      <a:pt x="3" y="146"/>
                      <a:pt x="2" y="146"/>
                      <a:pt x="2" y="146"/>
                    </a:cubicBezTo>
                    <a:cubicBezTo>
                      <a:pt x="1" y="145"/>
                      <a:pt x="1" y="145"/>
                      <a:pt x="1" y="145"/>
                    </a:cubicBezTo>
                    <a:cubicBezTo>
                      <a:pt x="0" y="144"/>
                      <a:pt x="0" y="144"/>
                      <a:pt x="0" y="14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4"/>
                      <a:pt x="123" y="64"/>
                      <a:pt x="123" y="65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23" y="76"/>
                      <a:pt x="123" y="77"/>
                      <a:pt x="122" y="77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4" y="146"/>
                      <a:pt x="3" y="146"/>
                      <a:pt x="3" y="146"/>
                    </a:cubicBezTo>
                    <a:close/>
                    <a:moveTo>
                      <a:pt x="4" y="9"/>
                    </a:moveTo>
                    <a:cubicBezTo>
                      <a:pt x="4" y="141"/>
                      <a:pt x="4" y="141"/>
                      <a:pt x="4" y="141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2" y="4"/>
                      <a:pt x="12" y="4"/>
                      <a:pt x="12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3" name="Freeform 1041">
                <a:extLst>
                  <a:ext uri="{FF2B5EF4-FFF2-40B4-BE49-F238E27FC236}">
                    <a16:creationId xmlns:a16="http://schemas.microsoft.com/office/drawing/2014/main" id="{96B211DC-C32C-4C87-88AF-4AD556CE1F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1217"/>
                <a:ext cx="114" cy="87"/>
              </a:xfrm>
              <a:custGeom>
                <a:avLst/>
                <a:gdLst>
                  <a:gd name="T0" fmla="*/ 37 w 48"/>
                  <a:gd name="T1" fmla="*/ 37 h 37"/>
                  <a:gd name="T2" fmla="*/ 36 w 48"/>
                  <a:gd name="T3" fmla="*/ 36 h 37"/>
                  <a:gd name="T4" fmla="*/ 1 w 48"/>
                  <a:gd name="T5" fmla="*/ 16 h 37"/>
                  <a:gd name="T6" fmla="*/ 0 w 48"/>
                  <a:gd name="T7" fmla="*/ 14 h 37"/>
                  <a:gd name="T8" fmla="*/ 0 w 48"/>
                  <a:gd name="T9" fmla="*/ 3 h 37"/>
                  <a:gd name="T10" fmla="*/ 1 w 48"/>
                  <a:gd name="T11" fmla="*/ 1 h 37"/>
                  <a:gd name="T12" fmla="*/ 3 w 48"/>
                  <a:gd name="T13" fmla="*/ 1 h 37"/>
                  <a:gd name="T14" fmla="*/ 47 w 48"/>
                  <a:gd name="T15" fmla="*/ 26 h 37"/>
                  <a:gd name="T16" fmla="*/ 48 w 48"/>
                  <a:gd name="T17" fmla="*/ 28 h 37"/>
                  <a:gd name="T18" fmla="*/ 48 w 48"/>
                  <a:gd name="T19" fmla="*/ 29 h 37"/>
                  <a:gd name="T20" fmla="*/ 47 w 48"/>
                  <a:gd name="T21" fmla="*/ 31 h 37"/>
                  <a:gd name="T22" fmla="*/ 38 w 48"/>
                  <a:gd name="T23" fmla="*/ 36 h 37"/>
                  <a:gd name="T24" fmla="*/ 37 w 48"/>
                  <a:gd name="T25" fmla="*/ 37 h 37"/>
                  <a:gd name="T26" fmla="*/ 4 w 48"/>
                  <a:gd name="T27" fmla="*/ 13 h 37"/>
                  <a:gd name="T28" fmla="*/ 37 w 48"/>
                  <a:gd name="T29" fmla="*/ 32 h 37"/>
                  <a:gd name="T30" fmla="*/ 43 w 48"/>
                  <a:gd name="T31" fmla="*/ 29 h 37"/>
                  <a:gd name="T32" fmla="*/ 4 w 48"/>
                  <a:gd name="T33" fmla="*/ 6 h 37"/>
                  <a:gd name="T34" fmla="*/ 4 w 48"/>
                  <a:gd name="T35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7">
                    <a:moveTo>
                      <a:pt x="37" y="37"/>
                    </a:moveTo>
                    <a:cubicBezTo>
                      <a:pt x="37" y="37"/>
                      <a:pt x="36" y="37"/>
                      <a:pt x="36" y="3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7"/>
                      <a:pt x="48" y="27"/>
                      <a:pt x="48" y="28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30"/>
                      <a:pt x="48" y="31"/>
                      <a:pt x="47" y="31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7" y="37"/>
                      <a:pt x="37" y="37"/>
                    </a:cubicBezTo>
                    <a:close/>
                    <a:moveTo>
                      <a:pt x="4" y="13"/>
                    </a:moveTo>
                    <a:cubicBezTo>
                      <a:pt x="37" y="32"/>
                      <a:pt x="37" y="32"/>
                      <a:pt x="37" y="32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4" name="Freeform 1042">
                <a:extLst>
                  <a:ext uri="{FF2B5EF4-FFF2-40B4-BE49-F238E27FC236}">
                    <a16:creationId xmlns:a16="http://schemas.microsoft.com/office/drawing/2014/main" id="{A74F6A42-BCB2-4E50-8D13-8C490CAE23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76" y="730"/>
                <a:ext cx="305" cy="383"/>
              </a:xfrm>
              <a:custGeom>
                <a:avLst/>
                <a:gdLst>
                  <a:gd name="T0" fmla="*/ 63 w 129"/>
                  <a:gd name="T1" fmla="*/ 162 h 162"/>
                  <a:gd name="T2" fmla="*/ 62 w 129"/>
                  <a:gd name="T3" fmla="*/ 162 h 162"/>
                  <a:gd name="T4" fmla="*/ 1 w 129"/>
                  <a:gd name="T5" fmla="*/ 127 h 162"/>
                  <a:gd name="T6" fmla="*/ 0 w 129"/>
                  <a:gd name="T7" fmla="*/ 125 h 162"/>
                  <a:gd name="T8" fmla="*/ 0 w 129"/>
                  <a:gd name="T9" fmla="*/ 2 h 162"/>
                  <a:gd name="T10" fmla="*/ 1 w 129"/>
                  <a:gd name="T11" fmla="*/ 0 h 162"/>
                  <a:gd name="T12" fmla="*/ 3 w 129"/>
                  <a:gd name="T13" fmla="*/ 0 h 162"/>
                  <a:gd name="T14" fmla="*/ 128 w 129"/>
                  <a:gd name="T15" fmla="*/ 73 h 162"/>
                  <a:gd name="T16" fmla="*/ 129 w 129"/>
                  <a:gd name="T17" fmla="*/ 75 h 162"/>
                  <a:gd name="T18" fmla="*/ 129 w 129"/>
                  <a:gd name="T19" fmla="*/ 123 h 162"/>
                  <a:gd name="T20" fmla="*/ 128 w 129"/>
                  <a:gd name="T21" fmla="*/ 125 h 162"/>
                  <a:gd name="T22" fmla="*/ 64 w 129"/>
                  <a:gd name="T23" fmla="*/ 162 h 162"/>
                  <a:gd name="T24" fmla="*/ 63 w 129"/>
                  <a:gd name="T25" fmla="*/ 162 h 162"/>
                  <a:gd name="T26" fmla="*/ 4 w 129"/>
                  <a:gd name="T27" fmla="*/ 124 h 162"/>
                  <a:gd name="T28" fmla="*/ 63 w 129"/>
                  <a:gd name="T29" fmla="*/ 158 h 162"/>
                  <a:gd name="T30" fmla="*/ 125 w 129"/>
                  <a:gd name="T31" fmla="*/ 122 h 162"/>
                  <a:gd name="T32" fmla="*/ 125 w 129"/>
                  <a:gd name="T33" fmla="*/ 76 h 162"/>
                  <a:gd name="T34" fmla="*/ 4 w 129"/>
                  <a:gd name="T35" fmla="*/ 6 h 162"/>
                  <a:gd name="T36" fmla="*/ 4 w 129"/>
                  <a:gd name="T37" fmla="*/ 12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9" h="162">
                    <a:moveTo>
                      <a:pt x="63" y="162"/>
                    </a:moveTo>
                    <a:cubicBezTo>
                      <a:pt x="63" y="162"/>
                      <a:pt x="63" y="162"/>
                      <a:pt x="62" y="16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0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4"/>
                      <a:pt x="129" y="125"/>
                      <a:pt x="128" y="125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4" y="162"/>
                      <a:pt x="64" y="162"/>
                      <a:pt x="63" y="162"/>
                    </a:cubicBezTo>
                    <a:close/>
                    <a:moveTo>
                      <a:pt x="4" y="124"/>
                    </a:moveTo>
                    <a:cubicBezTo>
                      <a:pt x="63" y="158"/>
                      <a:pt x="63" y="158"/>
                      <a:pt x="63" y="158"/>
                    </a:cubicBezTo>
                    <a:cubicBezTo>
                      <a:pt x="125" y="122"/>
                      <a:pt x="125" y="122"/>
                      <a:pt x="125" y="122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5" name="Freeform 1043">
                <a:extLst>
                  <a:ext uri="{FF2B5EF4-FFF2-40B4-BE49-F238E27FC236}">
                    <a16:creationId xmlns:a16="http://schemas.microsoft.com/office/drawing/2014/main" id="{D894388E-9B10-4DB7-8857-89888FC21D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469"/>
                <a:ext cx="253" cy="317"/>
              </a:xfrm>
              <a:custGeom>
                <a:avLst/>
                <a:gdLst>
                  <a:gd name="T0" fmla="*/ 2 w 107"/>
                  <a:gd name="T1" fmla="*/ 134 h 134"/>
                  <a:gd name="T2" fmla="*/ 1 w 107"/>
                  <a:gd name="T3" fmla="*/ 133 h 134"/>
                  <a:gd name="T4" fmla="*/ 0 w 107"/>
                  <a:gd name="T5" fmla="*/ 132 h 134"/>
                  <a:gd name="T6" fmla="*/ 0 w 107"/>
                  <a:gd name="T7" fmla="*/ 4 h 134"/>
                  <a:gd name="T8" fmla="*/ 1 w 107"/>
                  <a:gd name="T9" fmla="*/ 2 h 134"/>
                  <a:gd name="T10" fmla="*/ 3 w 107"/>
                  <a:gd name="T11" fmla="*/ 0 h 134"/>
                  <a:gd name="T12" fmla="*/ 5 w 107"/>
                  <a:gd name="T13" fmla="*/ 0 h 134"/>
                  <a:gd name="T14" fmla="*/ 76 w 107"/>
                  <a:gd name="T15" fmla="*/ 42 h 134"/>
                  <a:gd name="T16" fmla="*/ 77 w 107"/>
                  <a:gd name="T17" fmla="*/ 43 h 134"/>
                  <a:gd name="T18" fmla="*/ 77 w 107"/>
                  <a:gd name="T19" fmla="*/ 54 h 134"/>
                  <a:gd name="T20" fmla="*/ 106 w 107"/>
                  <a:gd name="T21" fmla="*/ 70 h 134"/>
                  <a:gd name="T22" fmla="*/ 107 w 107"/>
                  <a:gd name="T23" fmla="*/ 72 h 134"/>
                  <a:gd name="T24" fmla="*/ 106 w 107"/>
                  <a:gd name="T25" fmla="*/ 74 h 134"/>
                  <a:gd name="T26" fmla="*/ 3 w 107"/>
                  <a:gd name="T27" fmla="*/ 133 h 134"/>
                  <a:gd name="T28" fmla="*/ 2 w 107"/>
                  <a:gd name="T29" fmla="*/ 134 h 134"/>
                  <a:gd name="T30" fmla="*/ 4 w 107"/>
                  <a:gd name="T31" fmla="*/ 5 h 134"/>
                  <a:gd name="T32" fmla="*/ 4 w 107"/>
                  <a:gd name="T33" fmla="*/ 128 h 134"/>
                  <a:gd name="T34" fmla="*/ 101 w 107"/>
                  <a:gd name="T35" fmla="*/ 72 h 134"/>
                  <a:gd name="T36" fmla="*/ 74 w 107"/>
                  <a:gd name="T37" fmla="*/ 57 h 134"/>
                  <a:gd name="T38" fmla="*/ 73 w 107"/>
                  <a:gd name="T39" fmla="*/ 55 h 134"/>
                  <a:gd name="T40" fmla="*/ 73 w 107"/>
                  <a:gd name="T41" fmla="*/ 45 h 134"/>
                  <a:gd name="T42" fmla="*/ 4 w 107"/>
                  <a:gd name="T43" fmla="*/ 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34">
                    <a:moveTo>
                      <a:pt x="2" y="134"/>
                    </a:moveTo>
                    <a:cubicBezTo>
                      <a:pt x="1" y="134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7" y="42"/>
                      <a:pt x="77" y="43"/>
                      <a:pt x="77" y="43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1"/>
                      <a:pt x="107" y="71"/>
                      <a:pt x="107" y="72"/>
                    </a:cubicBezTo>
                    <a:cubicBezTo>
                      <a:pt x="107" y="73"/>
                      <a:pt x="106" y="73"/>
                      <a:pt x="106" y="74"/>
                    </a:cubicBezTo>
                    <a:cubicBezTo>
                      <a:pt x="3" y="133"/>
                      <a:pt x="3" y="133"/>
                      <a:pt x="3" y="133"/>
                    </a:cubicBezTo>
                    <a:cubicBezTo>
                      <a:pt x="2" y="133"/>
                      <a:pt x="2" y="134"/>
                      <a:pt x="2" y="134"/>
                    </a:cubicBezTo>
                    <a:close/>
                    <a:moveTo>
                      <a:pt x="4" y="5"/>
                    </a:moveTo>
                    <a:cubicBezTo>
                      <a:pt x="4" y="128"/>
                      <a:pt x="4" y="128"/>
                      <a:pt x="4" y="128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74" y="57"/>
                      <a:pt x="74" y="57"/>
                      <a:pt x="74" y="57"/>
                    </a:cubicBezTo>
                    <a:cubicBezTo>
                      <a:pt x="74" y="56"/>
                      <a:pt x="73" y="56"/>
                      <a:pt x="73" y="55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6" name="Freeform 1044">
                <a:extLst>
                  <a:ext uri="{FF2B5EF4-FFF2-40B4-BE49-F238E27FC236}">
                    <a16:creationId xmlns:a16="http://schemas.microsoft.com/office/drawing/2014/main" id="{13C5C637-4033-4E28-A85B-561AD13D6C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959"/>
                <a:ext cx="114" cy="324"/>
              </a:xfrm>
              <a:custGeom>
                <a:avLst/>
                <a:gdLst>
                  <a:gd name="T0" fmla="*/ 46 w 48"/>
                  <a:gd name="T1" fmla="*/ 137 h 137"/>
                  <a:gd name="T2" fmla="*/ 45 w 48"/>
                  <a:gd name="T3" fmla="*/ 137 h 137"/>
                  <a:gd name="T4" fmla="*/ 1 w 48"/>
                  <a:gd name="T5" fmla="*/ 111 h 137"/>
                  <a:gd name="T6" fmla="*/ 0 w 48"/>
                  <a:gd name="T7" fmla="*/ 110 h 137"/>
                  <a:gd name="T8" fmla="*/ 0 w 48"/>
                  <a:gd name="T9" fmla="*/ 27 h 137"/>
                  <a:gd name="T10" fmla="*/ 1 w 48"/>
                  <a:gd name="T11" fmla="*/ 26 h 137"/>
                  <a:gd name="T12" fmla="*/ 45 w 48"/>
                  <a:gd name="T13" fmla="*/ 0 h 137"/>
                  <a:gd name="T14" fmla="*/ 47 w 48"/>
                  <a:gd name="T15" fmla="*/ 0 h 137"/>
                  <a:gd name="T16" fmla="*/ 48 w 48"/>
                  <a:gd name="T17" fmla="*/ 2 h 137"/>
                  <a:gd name="T18" fmla="*/ 48 w 48"/>
                  <a:gd name="T19" fmla="*/ 135 h 137"/>
                  <a:gd name="T20" fmla="*/ 47 w 48"/>
                  <a:gd name="T21" fmla="*/ 137 h 137"/>
                  <a:gd name="T22" fmla="*/ 46 w 48"/>
                  <a:gd name="T23" fmla="*/ 137 h 137"/>
                  <a:gd name="T24" fmla="*/ 4 w 48"/>
                  <a:gd name="T25" fmla="*/ 109 h 137"/>
                  <a:gd name="T26" fmla="*/ 44 w 48"/>
                  <a:gd name="T27" fmla="*/ 132 h 137"/>
                  <a:gd name="T28" fmla="*/ 44 w 48"/>
                  <a:gd name="T29" fmla="*/ 5 h 137"/>
                  <a:gd name="T30" fmla="*/ 4 w 48"/>
                  <a:gd name="T31" fmla="*/ 28 h 137"/>
                  <a:gd name="T32" fmla="*/ 4 w 48"/>
                  <a:gd name="T33" fmla="*/ 10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137">
                    <a:moveTo>
                      <a:pt x="46" y="137"/>
                    </a:moveTo>
                    <a:cubicBezTo>
                      <a:pt x="46" y="137"/>
                      <a:pt x="45" y="137"/>
                      <a:pt x="45" y="137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6"/>
                      <a:pt x="1" y="2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6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6"/>
                      <a:pt x="47" y="137"/>
                    </a:cubicBezTo>
                    <a:cubicBezTo>
                      <a:pt x="47" y="137"/>
                      <a:pt x="46" y="137"/>
                      <a:pt x="46" y="137"/>
                    </a:cubicBezTo>
                    <a:close/>
                    <a:moveTo>
                      <a:pt x="4" y="109"/>
                    </a:moveTo>
                    <a:cubicBezTo>
                      <a:pt x="44" y="132"/>
                      <a:pt x="44" y="132"/>
                      <a:pt x="44" y="132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7" name="Freeform 1045">
                <a:extLst>
                  <a:ext uri="{FF2B5EF4-FFF2-40B4-BE49-F238E27FC236}">
                    <a16:creationId xmlns:a16="http://schemas.microsoft.com/office/drawing/2014/main" id="{E99A5BEB-EAF9-4127-9E78-29DFCC2FD7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5" y="1117"/>
                <a:ext cx="487" cy="305"/>
              </a:xfrm>
              <a:custGeom>
                <a:avLst/>
                <a:gdLst>
                  <a:gd name="T0" fmla="*/ 78 w 206"/>
                  <a:gd name="T1" fmla="*/ 129 h 129"/>
                  <a:gd name="T2" fmla="*/ 77 w 206"/>
                  <a:gd name="T3" fmla="*/ 129 h 129"/>
                  <a:gd name="T4" fmla="*/ 1 w 206"/>
                  <a:gd name="T5" fmla="*/ 84 h 129"/>
                  <a:gd name="T6" fmla="*/ 0 w 206"/>
                  <a:gd name="T7" fmla="*/ 83 h 129"/>
                  <a:gd name="T8" fmla="*/ 0 w 206"/>
                  <a:gd name="T9" fmla="*/ 72 h 129"/>
                  <a:gd name="T10" fmla="*/ 1 w 206"/>
                  <a:gd name="T11" fmla="*/ 71 h 129"/>
                  <a:gd name="T12" fmla="*/ 2 w 206"/>
                  <a:gd name="T13" fmla="*/ 70 h 129"/>
                  <a:gd name="T14" fmla="*/ 4 w 206"/>
                  <a:gd name="T15" fmla="*/ 70 h 129"/>
                  <a:gd name="T16" fmla="*/ 12 w 206"/>
                  <a:gd name="T17" fmla="*/ 75 h 129"/>
                  <a:gd name="T18" fmla="*/ 140 w 206"/>
                  <a:gd name="T19" fmla="*/ 1 h 129"/>
                  <a:gd name="T20" fmla="*/ 142 w 206"/>
                  <a:gd name="T21" fmla="*/ 1 h 129"/>
                  <a:gd name="T22" fmla="*/ 205 w 206"/>
                  <a:gd name="T23" fmla="*/ 37 h 129"/>
                  <a:gd name="T24" fmla="*/ 206 w 206"/>
                  <a:gd name="T25" fmla="*/ 39 h 129"/>
                  <a:gd name="T26" fmla="*/ 205 w 206"/>
                  <a:gd name="T27" fmla="*/ 41 h 129"/>
                  <a:gd name="T28" fmla="*/ 80 w 206"/>
                  <a:gd name="T29" fmla="*/ 113 h 129"/>
                  <a:gd name="T30" fmla="*/ 80 w 206"/>
                  <a:gd name="T31" fmla="*/ 127 h 129"/>
                  <a:gd name="T32" fmla="*/ 79 w 206"/>
                  <a:gd name="T33" fmla="*/ 129 h 129"/>
                  <a:gd name="T34" fmla="*/ 78 w 206"/>
                  <a:gd name="T35" fmla="*/ 129 h 129"/>
                  <a:gd name="T36" fmla="*/ 4 w 206"/>
                  <a:gd name="T37" fmla="*/ 82 h 129"/>
                  <a:gd name="T38" fmla="*/ 76 w 206"/>
                  <a:gd name="T39" fmla="*/ 123 h 129"/>
                  <a:gd name="T40" fmla="*/ 76 w 206"/>
                  <a:gd name="T41" fmla="*/ 112 h 129"/>
                  <a:gd name="T42" fmla="*/ 77 w 206"/>
                  <a:gd name="T43" fmla="*/ 110 h 129"/>
                  <a:gd name="T44" fmla="*/ 200 w 206"/>
                  <a:gd name="T45" fmla="*/ 39 h 129"/>
                  <a:gd name="T46" fmla="*/ 141 w 206"/>
                  <a:gd name="T47" fmla="*/ 5 h 129"/>
                  <a:gd name="T48" fmla="*/ 13 w 206"/>
                  <a:gd name="T49" fmla="*/ 79 h 129"/>
                  <a:gd name="T50" fmla="*/ 11 w 206"/>
                  <a:gd name="T51" fmla="*/ 79 h 129"/>
                  <a:gd name="T52" fmla="*/ 4 w 206"/>
                  <a:gd name="T53" fmla="*/ 74 h 129"/>
                  <a:gd name="T54" fmla="*/ 4 w 206"/>
                  <a:gd name="T55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6" h="129">
                    <a:moveTo>
                      <a:pt x="78" y="129"/>
                    </a:moveTo>
                    <a:cubicBezTo>
                      <a:pt x="78" y="129"/>
                      <a:pt x="77" y="129"/>
                      <a:pt x="77" y="129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0" y="84"/>
                      <a:pt x="0" y="83"/>
                      <a:pt x="0" y="83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3" y="70"/>
                      <a:pt x="3" y="70"/>
                      <a:pt x="4" y="70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40" y="0"/>
                      <a:pt x="141" y="0"/>
                      <a:pt x="142" y="1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6" y="38"/>
                      <a:pt x="206" y="38"/>
                      <a:pt x="206" y="39"/>
                    </a:cubicBezTo>
                    <a:cubicBezTo>
                      <a:pt x="206" y="40"/>
                      <a:pt x="206" y="41"/>
                      <a:pt x="205" y="41"/>
                    </a:cubicBezTo>
                    <a:cubicBezTo>
                      <a:pt x="80" y="113"/>
                      <a:pt x="80" y="113"/>
                      <a:pt x="80" y="113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8"/>
                      <a:pt x="80" y="128"/>
                      <a:pt x="79" y="129"/>
                    </a:cubicBezTo>
                    <a:cubicBezTo>
                      <a:pt x="79" y="129"/>
                      <a:pt x="78" y="129"/>
                      <a:pt x="78" y="129"/>
                    </a:cubicBezTo>
                    <a:close/>
                    <a:moveTo>
                      <a:pt x="4" y="82"/>
                    </a:moveTo>
                    <a:cubicBezTo>
                      <a:pt x="76" y="123"/>
                      <a:pt x="76" y="123"/>
                      <a:pt x="76" y="123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1"/>
                      <a:pt x="77" y="111"/>
                      <a:pt x="77" y="110"/>
                    </a:cubicBezTo>
                    <a:cubicBezTo>
                      <a:pt x="200" y="39"/>
                      <a:pt x="200" y="39"/>
                      <a:pt x="200" y="39"/>
                    </a:cubicBezTo>
                    <a:cubicBezTo>
                      <a:pt x="141" y="5"/>
                      <a:pt x="141" y="5"/>
                      <a:pt x="141" y="5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12" y="79"/>
                      <a:pt x="12" y="79"/>
                      <a:pt x="11" y="79"/>
                    </a:cubicBezTo>
                    <a:cubicBezTo>
                      <a:pt x="4" y="74"/>
                      <a:pt x="4" y="74"/>
                      <a:pt x="4" y="74"/>
                    </a:cubicBezTo>
                    <a:lnTo>
                      <a:pt x="4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8" name="Freeform 1046">
                <a:extLst>
                  <a:ext uri="{FF2B5EF4-FFF2-40B4-BE49-F238E27FC236}">
                    <a16:creationId xmlns:a16="http://schemas.microsoft.com/office/drawing/2014/main" id="{19D77256-BECF-4430-BB84-582F76155D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76" y="1025"/>
                <a:ext cx="263" cy="189"/>
              </a:xfrm>
              <a:custGeom>
                <a:avLst/>
                <a:gdLst>
                  <a:gd name="T0" fmla="*/ 99 w 111"/>
                  <a:gd name="T1" fmla="*/ 80 h 80"/>
                  <a:gd name="T2" fmla="*/ 98 w 111"/>
                  <a:gd name="T3" fmla="*/ 80 h 80"/>
                  <a:gd name="T4" fmla="*/ 1 w 111"/>
                  <a:gd name="T5" fmla="*/ 24 h 80"/>
                  <a:gd name="T6" fmla="*/ 0 w 111"/>
                  <a:gd name="T7" fmla="*/ 22 h 80"/>
                  <a:gd name="T8" fmla="*/ 0 w 111"/>
                  <a:gd name="T9" fmla="*/ 2 h 80"/>
                  <a:gd name="T10" fmla="*/ 1 w 111"/>
                  <a:gd name="T11" fmla="*/ 0 h 80"/>
                  <a:gd name="T12" fmla="*/ 3 w 111"/>
                  <a:gd name="T13" fmla="*/ 0 h 80"/>
                  <a:gd name="T14" fmla="*/ 63 w 111"/>
                  <a:gd name="T15" fmla="*/ 35 h 80"/>
                  <a:gd name="T16" fmla="*/ 64 w 111"/>
                  <a:gd name="T17" fmla="*/ 36 h 80"/>
                  <a:gd name="T18" fmla="*/ 63 w 111"/>
                  <a:gd name="T19" fmla="*/ 38 h 80"/>
                  <a:gd name="T20" fmla="*/ 58 w 111"/>
                  <a:gd name="T21" fmla="*/ 40 h 80"/>
                  <a:gd name="T22" fmla="*/ 110 w 111"/>
                  <a:gd name="T23" fmla="*/ 71 h 80"/>
                  <a:gd name="T24" fmla="*/ 111 w 111"/>
                  <a:gd name="T25" fmla="*/ 72 h 80"/>
                  <a:gd name="T26" fmla="*/ 110 w 111"/>
                  <a:gd name="T27" fmla="*/ 74 h 80"/>
                  <a:gd name="T28" fmla="*/ 100 w 111"/>
                  <a:gd name="T29" fmla="*/ 80 h 80"/>
                  <a:gd name="T30" fmla="*/ 99 w 111"/>
                  <a:gd name="T31" fmla="*/ 80 h 80"/>
                  <a:gd name="T32" fmla="*/ 4 w 111"/>
                  <a:gd name="T33" fmla="*/ 21 h 80"/>
                  <a:gd name="T34" fmla="*/ 99 w 111"/>
                  <a:gd name="T35" fmla="*/ 76 h 80"/>
                  <a:gd name="T36" fmla="*/ 105 w 111"/>
                  <a:gd name="T37" fmla="*/ 72 h 80"/>
                  <a:gd name="T38" fmla="*/ 53 w 111"/>
                  <a:gd name="T39" fmla="*/ 42 h 80"/>
                  <a:gd name="T40" fmla="*/ 52 w 111"/>
                  <a:gd name="T41" fmla="*/ 40 h 80"/>
                  <a:gd name="T42" fmla="*/ 53 w 111"/>
                  <a:gd name="T43" fmla="*/ 39 h 80"/>
                  <a:gd name="T44" fmla="*/ 58 w 111"/>
                  <a:gd name="T45" fmla="*/ 36 h 80"/>
                  <a:gd name="T46" fmla="*/ 4 w 111"/>
                  <a:gd name="T47" fmla="*/ 5 h 80"/>
                  <a:gd name="T48" fmla="*/ 4 w 111"/>
                  <a:gd name="T49" fmla="*/ 2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1" h="80">
                    <a:moveTo>
                      <a:pt x="99" y="80"/>
                    </a:moveTo>
                    <a:cubicBezTo>
                      <a:pt x="99" y="80"/>
                      <a:pt x="99" y="80"/>
                      <a:pt x="98" y="80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4" y="36"/>
                      <a:pt x="64" y="36"/>
                    </a:cubicBezTo>
                    <a:cubicBezTo>
                      <a:pt x="64" y="37"/>
                      <a:pt x="63" y="38"/>
                      <a:pt x="63" y="38"/>
                    </a:cubicBezTo>
                    <a:cubicBezTo>
                      <a:pt x="58" y="40"/>
                      <a:pt x="58" y="40"/>
                      <a:pt x="58" y="40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1" y="71"/>
                      <a:pt x="111" y="72"/>
                      <a:pt x="111" y="72"/>
                    </a:cubicBezTo>
                    <a:cubicBezTo>
                      <a:pt x="111" y="73"/>
                      <a:pt x="111" y="74"/>
                      <a:pt x="110" y="74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80"/>
                      <a:pt x="100" y="80"/>
                      <a:pt x="99" y="80"/>
                    </a:cubicBezTo>
                    <a:close/>
                    <a:moveTo>
                      <a:pt x="4" y="21"/>
                    </a:moveTo>
                    <a:cubicBezTo>
                      <a:pt x="99" y="76"/>
                      <a:pt x="99" y="76"/>
                      <a:pt x="99" y="76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3" y="42"/>
                      <a:pt x="52" y="41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9" name="Freeform 1047">
                <a:extLst>
                  <a:ext uri="{FF2B5EF4-FFF2-40B4-BE49-F238E27FC236}">
                    <a16:creationId xmlns:a16="http://schemas.microsoft.com/office/drawing/2014/main" id="{1372E9CC-0D3E-4F0A-81DE-42E1A0C34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16" y="2622"/>
                <a:ext cx="400" cy="246"/>
              </a:xfrm>
              <a:custGeom>
                <a:avLst/>
                <a:gdLst>
                  <a:gd name="T0" fmla="*/ 59 w 169"/>
                  <a:gd name="T1" fmla="*/ 104 h 104"/>
                  <a:gd name="T2" fmla="*/ 58 w 169"/>
                  <a:gd name="T3" fmla="*/ 104 h 104"/>
                  <a:gd name="T4" fmla="*/ 13 w 169"/>
                  <a:gd name="T5" fmla="*/ 78 h 104"/>
                  <a:gd name="T6" fmla="*/ 13 w 169"/>
                  <a:gd name="T7" fmla="*/ 85 h 104"/>
                  <a:gd name="T8" fmla="*/ 12 w 169"/>
                  <a:gd name="T9" fmla="*/ 87 h 104"/>
                  <a:gd name="T10" fmla="*/ 10 w 169"/>
                  <a:gd name="T11" fmla="*/ 87 h 104"/>
                  <a:gd name="T12" fmla="*/ 1 w 169"/>
                  <a:gd name="T13" fmla="*/ 81 h 104"/>
                  <a:gd name="T14" fmla="*/ 0 w 169"/>
                  <a:gd name="T15" fmla="*/ 80 h 104"/>
                  <a:gd name="T16" fmla="*/ 0 w 169"/>
                  <a:gd name="T17" fmla="*/ 65 h 104"/>
                  <a:gd name="T18" fmla="*/ 1 w 169"/>
                  <a:gd name="T19" fmla="*/ 64 h 104"/>
                  <a:gd name="T20" fmla="*/ 110 w 169"/>
                  <a:gd name="T21" fmla="*/ 1 h 104"/>
                  <a:gd name="T22" fmla="*/ 112 w 169"/>
                  <a:gd name="T23" fmla="*/ 1 h 104"/>
                  <a:gd name="T24" fmla="*/ 113 w 169"/>
                  <a:gd name="T25" fmla="*/ 3 h 104"/>
                  <a:gd name="T26" fmla="*/ 113 w 169"/>
                  <a:gd name="T27" fmla="*/ 6 h 104"/>
                  <a:gd name="T28" fmla="*/ 168 w 169"/>
                  <a:gd name="T29" fmla="*/ 38 h 104"/>
                  <a:gd name="T30" fmla="*/ 169 w 169"/>
                  <a:gd name="T31" fmla="*/ 40 h 104"/>
                  <a:gd name="T32" fmla="*/ 168 w 169"/>
                  <a:gd name="T33" fmla="*/ 42 h 104"/>
                  <a:gd name="T34" fmla="*/ 60 w 169"/>
                  <a:gd name="T35" fmla="*/ 104 h 104"/>
                  <a:gd name="T36" fmla="*/ 59 w 169"/>
                  <a:gd name="T37" fmla="*/ 104 h 104"/>
                  <a:gd name="T38" fmla="*/ 11 w 169"/>
                  <a:gd name="T39" fmla="*/ 72 h 104"/>
                  <a:gd name="T40" fmla="*/ 12 w 169"/>
                  <a:gd name="T41" fmla="*/ 73 h 104"/>
                  <a:gd name="T42" fmla="*/ 59 w 169"/>
                  <a:gd name="T43" fmla="*/ 100 h 104"/>
                  <a:gd name="T44" fmla="*/ 163 w 169"/>
                  <a:gd name="T45" fmla="*/ 40 h 104"/>
                  <a:gd name="T46" fmla="*/ 110 w 169"/>
                  <a:gd name="T47" fmla="*/ 9 h 104"/>
                  <a:gd name="T48" fmla="*/ 109 w 169"/>
                  <a:gd name="T49" fmla="*/ 7 h 104"/>
                  <a:gd name="T50" fmla="*/ 109 w 169"/>
                  <a:gd name="T51" fmla="*/ 6 h 104"/>
                  <a:gd name="T52" fmla="*/ 4 w 169"/>
                  <a:gd name="T53" fmla="*/ 67 h 104"/>
                  <a:gd name="T54" fmla="*/ 4 w 169"/>
                  <a:gd name="T55" fmla="*/ 78 h 104"/>
                  <a:gd name="T56" fmla="*/ 9 w 169"/>
                  <a:gd name="T57" fmla="*/ 81 h 104"/>
                  <a:gd name="T58" fmla="*/ 9 w 169"/>
                  <a:gd name="T59" fmla="*/ 74 h 104"/>
                  <a:gd name="T60" fmla="*/ 10 w 169"/>
                  <a:gd name="T61" fmla="*/ 73 h 104"/>
                  <a:gd name="T62" fmla="*/ 11 w 169"/>
                  <a:gd name="T63" fmla="*/ 7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04">
                    <a:moveTo>
                      <a:pt x="59" y="104"/>
                    </a:moveTo>
                    <a:cubicBezTo>
                      <a:pt x="59" y="104"/>
                      <a:pt x="59" y="104"/>
                      <a:pt x="58" y="104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86"/>
                      <a:pt x="13" y="86"/>
                      <a:pt x="12" y="87"/>
                    </a:cubicBezTo>
                    <a:cubicBezTo>
                      <a:pt x="11" y="87"/>
                      <a:pt x="11" y="87"/>
                      <a:pt x="10" y="87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0" y="81"/>
                      <a:pt x="0" y="80"/>
                      <a:pt x="0" y="8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4"/>
                      <a:pt x="1" y="64"/>
                    </a:cubicBezTo>
                    <a:cubicBezTo>
                      <a:pt x="110" y="1"/>
                      <a:pt x="110" y="1"/>
                      <a:pt x="110" y="1"/>
                    </a:cubicBezTo>
                    <a:cubicBezTo>
                      <a:pt x="110" y="0"/>
                      <a:pt x="111" y="0"/>
                      <a:pt x="112" y="1"/>
                    </a:cubicBezTo>
                    <a:cubicBezTo>
                      <a:pt x="112" y="1"/>
                      <a:pt x="113" y="2"/>
                      <a:pt x="113" y="3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69" y="39"/>
                      <a:pt x="169" y="39"/>
                      <a:pt x="169" y="40"/>
                    </a:cubicBezTo>
                    <a:cubicBezTo>
                      <a:pt x="169" y="41"/>
                      <a:pt x="169" y="41"/>
                      <a:pt x="168" y="42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0" y="104"/>
                      <a:pt x="60" y="104"/>
                      <a:pt x="59" y="104"/>
                    </a:cubicBezTo>
                    <a:close/>
                    <a:moveTo>
                      <a:pt x="11" y="72"/>
                    </a:moveTo>
                    <a:cubicBezTo>
                      <a:pt x="11" y="72"/>
                      <a:pt x="12" y="72"/>
                      <a:pt x="12" y="73"/>
                    </a:cubicBezTo>
                    <a:cubicBezTo>
                      <a:pt x="59" y="100"/>
                      <a:pt x="59" y="100"/>
                      <a:pt x="59" y="100"/>
                    </a:cubicBezTo>
                    <a:cubicBezTo>
                      <a:pt x="163" y="40"/>
                      <a:pt x="163" y="40"/>
                      <a:pt x="163" y="40"/>
                    </a:cubicBezTo>
                    <a:cubicBezTo>
                      <a:pt x="110" y="9"/>
                      <a:pt x="110" y="9"/>
                      <a:pt x="110" y="9"/>
                    </a:cubicBezTo>
                    <a:cubicBezTo>
                      <a:pt x="109" y="9"/>
                      <a:pt x="109" y="8"/>
                      <a:pt x="109" y="7"/>
                    </a:cubicBezTo>
                    <a:cubicBezTo>
                      <a:pt x="109" y="6"/>
                      <a:pt x="109" y="6"/>
                      <a:pt x="109" y="6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9" y="74"/>
                      <a:pt x="9" y="73"/>
                      <a:pt x="10" y="73"/>
                    </a:cubicBezTo>
                    <a:cubicBezTo>
                      <a:pt x="10" y="72"/>
                      <a:pt x="11" y="72"/>
                      <a:pt x="11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0" name="Freeform 1048">
                <a:extLst>
                  <a:ext uri="{FF2B5EF4-FFF2-40B4-BE49-F238E27FC236}">
                    <a16:creationId xmlns:a16="http://schemas.microsoft.com/office/drawing/2014/main" id="{C5F8CD00-74E5-46D9-9CE2-197E82794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6" y="2707"/>
                <a:ext cx="16" cy="19"/>
              </a:xfrm>
              <a:custGeom>
                <a:avLst/>
                <a:gdLst>
                  <a:gd name="T0" fmla="*/ 5 w 7"/>
                  <a:gd name="T1" fmla="*/ 8 h 8"/>
                  <a:gd name="T2" fmla="*/ 4 w 7"/>
                  <a:gd name="T3" fmla="*/ 8 h 8"/>
                  <a:gd name="T4" fmla="*/ 1 w 7"/>
                  <a:gd name="T5" fmla="*/ 6 h 8"/>
                  <a:gd name="T6" fmla="*/ 0 w 7"/>
                  <a:gd name="T7" fmla="*/ 4 h 8"/>
                  <a:gd name="T8" fmla="*/ 1 w 7"/>
                  <a:gd name="T9" fmla="*/ 2 h 8"/>
                  <a:gd name="T10" fmla="*/ 4 w 7"/>
                  <a:gd name="T11" fmla="*/ 0 h 8"/>
                  <a:gd name="T12" fmla="*/ 6 w 7"/>
                  <a:gd name="T13" fmla="*/ 0 h 8"/>
                  <a:gd name="T14" fmla="*/ 7 w 7"/>
                  <a:gd name="T15" fmla="*/ 2 h 8"/>
                  <a:gd name="T16" fmla="*/ 7 w 7"/>
                  <a:gd name="T17" fmla="*/ 6 h 8"/>
                  <a:gd name="T18" fmla="*/ 6 w 7"/>
                  <a:gd name="T19" fmla="*/ 8 h 8"/>
                  <a:gd name="T20" fmla="*/ 5 w 7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8">
                    <a:moveTo>
                      <a:pt x="5" y="8"/>
                    </a:moveTo>
                    <a:cubicBezTo>
                      <a:pt x="5" y="8"/>
                      <a:pt x="5" y="8"/>
                      <a:pt x="4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0"/>
                    </a:cubicBezTo>
                    <a:cubicBezTo>
                      <a:pt x="7" y="0"/>
                      <a:pt x="7" y="1"/>
                      <a:pt x="7" y="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7"/>
                      <a:pt x="7" y="7"/>
                      <a:pt x="6" y="8"/>
                    </a:cubicBezTo>
                    <a:cubicBezTo>
                      <a:pt x="6" y="8"/>
                      <a:pt x="6" y="8"/>
                      <a:pt x="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1" name="Freeform 1049">
                <a:extLst>
                  <a:ext uri="{FF2B5EF4-FFF2-40B4-BE49-F238E27FC236}">
                    <a16:creationId xmlns:a16="http://schemas.microsoft.com/office/drawing/2014/main" id="{3E5E1B89-38CA-4AA8-B4E6-829EB33BFD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76" y="2615"/>
                <a:ext cx="156" cy="104"/>
              </a:xfrm>
              <a:custGeom>
                <a:avLst/>
                <a:gdLst>
                  <a:gd name="T0" fmla="*/ 59 w 66"/>
                  <a:gd name="T1" fmla="*/ 44 h 44"/>
                  <a:gd name="T2" fmla="*/ 58 w 66"/>
                  <a:gd name="T3" fmla="*/ 44 h 44"/>
                  <a:gd name="T4" fmla="*/ 1 w 66"/>
                  <a:gd name="T5" fmla="*/ 11 h 44"/>
                  <a:gd name="T6" fmla="*/ 0 w 66"/>
                  <a:gd name="T7" fmla="*/ 9 h 44"/>
                  <a:gd name="T8" fmla="*/ 0 w 66"/>
                  <a:gd name="T9" fmla="*/ 5 h 44"/>
                  <a:gd name="T10" fmla="*/ 1 w 66"/>
                  <a:gd name="T11" fmla="*/ 3 h 44"/>
                  <a:gd name="T12" fmla="*/ 6 w 66"/>
                  <a:gd name="T13" fmla="*/ 0 h 44"/>
                  <a:gd name="T14" fmla="*/ 8 w 66"/>
                  <a:gd name="T15" fmla="*/ 0 h 44"/>
                  <a:gd name="T16" fmla="*/ 65 w 66"/>
                  <a:gd name="T17" fmla="*/ 33 h 44"/>
                  <a:gd name="T18" fmla="*/ 66 w 66"/>
                  <a:gd name="T19" fmla="*/ 35 h 44"/>
                  <a:gd name="T20" fmla="*/ 66 w 66"/>
                  <a:gd name="T21" fmla="*/ 39 h 44"/>
                  <a:gd name="T22" fmla="*/ 65 w 66"/>
                  <a:gd name="T23" fmla="*/ 41 h 44"/>
                  <a:gd name="T24" fmla="*/ 60 w 66"/>
                  <a:gd name="T25" fmla="*/ 44 h 44"/>
                  <a:gd name="T26" fmla="*/ 59 w 66"/>
                  <a:gd name="T27" fmla="*/ 44 h 44"/>
                  <a:gd name="T28" fmla="*/ 4 w 66"/>
                  <a:gd name="T29" fmla="*/ 8 h 44"/>
                  <a:gd name="T30" fmla="*/ 59 w 66"/>
                  <a:gd name="T31" fmla="*/ 40 h 44"/>
                  <a:gd name="T32" fmla="*/ 62 w 66"/>
                  <a:gd name="T33" fmla="*/ 38 h 44"/>
                  <a:gd name="T34" fmla="*/ 62 w 66"/>
                  <a:gd name="T35" fmla="*/ 36 h 44"/>
                  <a:gd name="T36" fmla="*/ 7 w 66"/>
                  <a:gd name="T37" fmla="*/ 4 h 44"/>
                  <a:gd name="T38" fmla="*/ 4 w 66"/>
                  <a:gd name="T39" fmla="*/ 6 h 44"/>
                  <a:gd name="T40" fmla="*/ 4 w 66"/>
                  <a:gd name="T41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" h="44">
                    <a:moveTo>
                      <a:pt x="59" y="44"/>
                    </a:moveTo>
                    <a:cubicBezTo>
                      <a:pt x="59" y="44"/>
                      <a:pt x="58" y="44"/>
                      <a:pt x="58" y="44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65" y="33"/>
                      <a:pt x="65" y="33"/>
                      <a:pt x="65" y="33"/>
                    </a:cubicBezTo>
                    <a:cubicBezTo>
                      <a:pt x="66" y="34"/>
                      <a:pt x="66" y="35"/>
                      <a:pt x="66" y="35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66" y="40"/>
                      <a:pt x="66" y="40"/>
                      <a:pt x="65" y="41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60" y="44"/>
                      <a:pt x="59" y="44"/>
                      <a:pt x="59" y="44"/>
                    </a:cubicBezTo>
                    <a:close/>
                    <a:moveTo>
                      <a:pt x="4" y="8"/>
                    </a:moveTo>
                    <a:cubicBezTo>
                      <a:pt x="59" y="40"/>
                      <a:pt x="59" y="40"/>
                      <a:pt x="59" y="40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2" name="Freeform 1050">
                <a:extLst>
                  <a:ext uri="{FF2B5EF4-FFF2-40B4-BE49-F238E27FC236}">
                    <a16:creationId xmlns:a16="http://schemas.microsoft.com/office/drawing/2014/main" id="{816CC65B-31E9-467A-AE80-49F7180B53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0" y="2478"/>
                <a:ext cx="142" cy="220"/>
              </a:xfrm>
              <a:custGeom>
                <a:avLst/>
                <a:gdLst>
                  <a:gd name="T0" fmla="*/ 58 w 60"/>
                  <a:gd name="T1" fmla="*/ 93 h 93"/>
                  <a:gd name="T2" fmla="*/ 57 w 60"/>
                  <a:gd name="T3" fmla="*/ 93 h 93"/>
                  <a:gd name="T4" fmla="*/ 1 w 60"/>
                  <a:gd name="T5" fmla="*/ 61 h 93"/>
                  <a:gd name="T6" fmla="*/ 0 w 60"/>
                  <a:gd name="T7" fmla="*/ 59 h 93"/>
                  <a:gd name="T8" fmla="*/ 1 w 60"/>
                  <a:gd name="T9" fmla="*/ 57 h 93"/>
                  <a:gd name="T10" fmla="*/ 5 w 60"/>
                  <a:gd name="T11" fmla="*/ 55 h 93"/>
                  <a:gd name="T12" fmla="*/ 5 w 60"/>
                  <a:gd name="T13" fmla="*/ 2 h 93"/>
                  <a:gd name="T14" fmla="*/ 6 w 60"/>
                  <a:gd name="T15" fmla="*/ 0 h 93"/>
                  <a:gd name="T16" fmla="*/ 8 w 60"/>
                  <a:gd name="T17" fmla="*/ 0 h 93"/>
                  <a:gd name="T18" fmla="*/ 59 w 60"/>
                  <a:gd name="T19" fmla="*/ 30 h 93"/>
                  <a:gd name="T20" fmla="*/ 60 w 60"/>
                  <a:gd name="T21" fmla="*/ 31 h 93"/>
                  <a:gd name="T22" fmla="*/ 60 w 60"/>
                  <a:gd name="T23" fmla="*/ 91 h 93"/>
                  <a:gd name="T24" fmla="*/ 59 w 60"/>
                  <a:gd name="T25" fmla="*/ 93 h 93"/>
                  <a:gd name="T26" fmla="*/ 58 w 60"/>
                  <a:gd name="T27" fmla="*/ 93 h 93"/>
                  <a:gd name="T28" fmla="*/ 6 w 60"/>
                  <a:gd name="T29" fmla="*/ 59 h 93"/>
                  <a:gd name="T30" fmla="*/ 56 w 60"/>
                  <a:gd name="T31" fmla="*/ 88 h 93"/>
                  <a:gd name="T32" fmla="*/ 56 w 60"/>
                  <a:gd name="T33" fmla="*/ 33 h 93"/>
                  <a:gd name="T34" fmla="*/ 9 w 60"/>
                  <a:gd name="T35" fmla="*/ 5 h 93"/>
                  <a:gd name="T36" fmla="*/ 9 w 60"/>
                  <a:gd name="T37" fmla="*/ 56 h 93"/>
                  <a:gd name="T38" fmla="*/ 8 w 60"/>
                  <a:gd name="T39" fmla="*/ 58 h 93"/>
                  <a:gd name="T40" fmla="*/ 6 w 60"/>
                  <a:gd name="T41" fmla="*/ 5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93">
                    <a:moveTo>
                      <a:pt x="58" y="93"/>
                    </a:moveTo>
                    <a:cubicBezTo>
                      <a:pt x="58" y="93"/>
                      <a:pt x="58" y="93"/>
                      <a:pt x="57" y="93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1" y="60"/>
                      <a:pt x="0" y="60"/>
                      <a:pt x="0" y="59"/>
                    </a:cubicBezTo>
                    <a:cubicBezTo>
                      <a:pt x="0" y="58"/>
                      <a:pt x="1" y="58"/>
                      <a:pt x="1" y="57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6" y="1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59" y="30"/>
                      <a:pt x="59" y="30"/>
                      <a:pt x="59" y="30"/>
                    </a:cubicBezTo>
                    <a:cubicBezTo>
                      <a:pt x="60" y="30"/>
                      <a:pt x="60" y="31"/>
                      <a:pt x="60" y="31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60" y="92"/>
                      <a:pt x="60" y="93"/>
                      <a:pt x="59" y="93"/>
                    </a:cubicBezTo>
                    <a:cubicBezTo>
                      <a:pt x="59" y="93"/>
                      <a:pt x="59" y="93"/>
                      <a:pt x="58" y="93"/>
                    </a:cubicBezTo>
                    <a:close/>
                    <a:moveTo>
                      <a:pt x="6" y="59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9" y="57"/>
                      <a:pt x="9" y="58"/>
                      <a:pt x="8" y="58"/>
                    </a:cubicBezTo>
                    <a:lnTo>
                      <a:pt x="6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3" name="Freeform 1051">
                <a:extLst>
                  <a:ext uri="{FF2B5EF4-FFF2-40B4-BE49-F238E27FC236}">
                    <a16:creationId xmlns:a16="http://schemas.microsoft.com/office/drawing/2014/main" id="{FCFD1B43-4DE3-44EC-8F85-2BB3C670C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1788"/>
                <a:ext cx="229" cy="463"/>
              </a:xfrm>
              <a:custGeom>
                <a:avLst/>
                <a:gdLst>
                  <a:gd name="T0" fmla="*/ 2 w 97"/>
                  <a:gd name="T1" fmla="*/ 196 h 196"/>
                  <a:gd name="T2" fmla="*/ 1 w 97"/>
                  <a:gd name="T3" fmla="*/ 196 h 196"/>
                  <a:gd name="T4" fmla="*/ 0 w 97"/>
                  <a:gd name="T5" fmla="*/ 194 h 196"/>
                  <a:gd name="T6" fmla="*/ 0 w 97"/>
                  <a:gd name="T7" fmla="*/ 56 h 196"/>
                  <a:gd name="T8" fmla="*/ 1 w 97"/>
                  <a:gd name="T9" fmla="*/ 54 h 196"/>
                  <a:gd name="T10" fmla="*/ 94 w 97"/>
                  <a:gd name="T11" fmla="*/ 0 h 196"/>
                  <a:gd name="T12" fmla="*/ 96 w 97"/>
                  <a:gd name="T13" fmla="*/ 0 h 196"/>
                  <a:gd name="T14" fmla="*/ 97 w 97"/>
                  <a:gd name="T15" fmla="*/ 2 h 196"/>
                  <a:gd name="T16" fmla="*/ 97 w 97"/>
                  <a:gd name="T17" fmla="*/ 140 h 196"/>
                  <a:gd name="T18" fmla="*/ 97 w 97"/>
                  <a:gd name="T19" fmla="*/ 140 h 196"/>
                  <a:gd name="T20" fmla="*/ 96 w 97"/>
                  <a:gd name="T21" fmla="*/ 142 h 196"/>
                  <a:gd name="T22" fmla="*/ 3 w 97"/>
                  <a:gd name="T23" fmla="*/ 196 h 196"/>
                  <a:gd name="T24" fmla="*/ 2 w 97"/>
                  <a:gd name="T25" fmla="*/ 196 h 196"/>
                  <a:gd name="T26" fmla="*/ 4 w 97"/>
                  <a:gd name="T27" fmla="*/ 57 h 196"/>
                  <a:gd name="T28" fmla="*/ 4 w 97"/>
                  <a:gd name="T29" fmla="*/ 191 h 196"/>
                  <a:gd name="T30" fmla="*/ 93 w 97"/>
                  <a:gd name="T31" fmla="*/ 139 h 196"/>
                  <a:gd name="T32" fmla="*/ 93 w 97"/>
                  <a:gd name="T33" fmla="*/ 6 h 196"/>
                  <a:gd name="T34" fmla="*/ 4 w 97"/>
                  <a:gd name="T35" fmla="*/ 57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196">
                    <a:moveTo>
                      <a:pt x="2" y="196"/>
                    </a:moveTo>
                    <a:cubicBezTo>
                      <a:pt x="1" y="196"/>
                      <a:pt x="1" y="196"/>
                      <a:pt x="1" y="196"/>
                    </a:cubicBezTo>
                    <a:cubicBezTo>
                      <a:pt x="0" y="196"/>
                      <a:pt x="0" y="195"/>
                      <a:pt x="0" y="19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5"/>
                      <a:pt x="0" y="55"/>
                      <a:pt x="1" y="54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95" y="0"/>
                      <a:pt x="96" y="0"/>
                    </a:cubicBezTo>
                    <a:cubicBezTo>
                      <a:pt x="96" y="1"/>
                      <a:pt x="97" y="2"/>
                      <a:pt x="97" y="2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1"/>
                      <a:pt x="97" y="142"/>
                      <a:pt x="96" y="142"/>
                    </a:cubicBezTo>
                    <a:cubicBezTo>
                      <a:pt x="3" y="196"/>
                      <a:pt x="3" y="196"/>
                      <a:pt x="3" y="196"/>
                    </a:cubicBezTo>
                    <a:cubicBezTo>
                      <a:pt x="2" y="196"/>
                      <a:pt x="2" y="196"/>
                      <a:pt x="2" y="196"/>
                    </a:cubicBezTo>
                    <a:close/>
                    <a:moveTo>
                      <a:pt x="4" y="57"/>
                    </a:moveTo>
                    <a:cubicBezTo>
                      <a:pt x="4" y="191"/>
                      <a:pt x="4" y="191"/>
                      <a:pt x="4" y="191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93" y="6"/>
                      <a:pt x="93" y="6"/>
                      <a:pt x="93" y="6"/>
                    </a:cubicBezTo>
                    <a:lnTo>
                      <a:pt x="4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4" name="Freeform 1052">
                <a:extLst>
                  <a:ext uri="{FF2B5EF4-FFF2-40B4-BE49-F238E27FC236}">
                    <a16:creationId xmlns:a16="http://schemas.microsoft.com/office/drawing/2014/main" id="{F86DFFB8-E838-45C4-B383-D82FAD75E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45" y="2157"/>
                <a:ext cx="479" cy="295"/>
              </a:xfrm>
              <a:custGeom>
                <a:avLst/>
                <a:gdLst>
                  <a:gd name="T0" fmla="*/ 113 w 203"/>
                  <a:gd name="T1" fmla="*/ 125 h 125"/>
                  <a:gd name="T2" fmla="*/ 112 w 203"/>
                  <a:gd name="T3" fmla="*/ 124 h 125"/>
                  <a:gd name="T4" fmla="*/ 1 w 203"/>
                  <a:gd name="T5" fmla="*/ 60 h 125"/>
                  <a:gd name="T6" fmla="*/ 0 w 203"/>
                  <a:gd name="T7" fmla="*/ 59 h 125"/>
                  <a:gd name="T8" fmla="*/ 1 w 203"/>
                  <a:gd name="T9" fmla="*/ 57 h 125"/>
                  <a:gd name="T10" fmla="*/ 98 w 203"/>
                  <a:gd name="T11" fmla="*/ 0 h 125"/>
                  <a:gd name="T12" fmla="*/ 100 w 203"/>
                  <a:gd name="T13" fmla="*/ 0 h 125"/>
                  <a:gd name="T14" fmla="*/ 202 w 203"/>
                  <a:gd name="T15" fmla="*/ 59 h 125"/>
                  <a:gd name="T16" fmla="*/ 203 w 203"/>
                  <a:gd name="T17" fmla="*/ 61 h 125"/>
                  <a:gd name="T18" fmla="*/ 202 w 203"/>
                  <a:gd name="T19" fmla="*/ 62 h 125"/>
                  <a:gd name="T20" fmla="*/ 168 w 203"/>
                  <a:gd name="T21" fmla="*/ 82 h 125"/>
                  <a:gd name="T22" fmla="*/ 174 w 203"/>
                  <a:gd name="T23" fmla="*/ 86 h 125"/>
                  <a:gd name="T24" fmla="*/ 175 w 203"/>
                  <a:gd name="T25" fmla="*/ 88 h 125"/>
                  <a:gd name="T26" fmla="*/ 174 w 203"/>
                  <a:gd name="T27" fmla="*/ 90 h 125"/>
                  <a:gd name="T28" fmla="*/ 117 w 203"/>
                  <a:gd name="T29" fmla="*/ 123 h 125"/>
                  <a:gd name="T30" fmla="*/ 117 w 203"/>
                  <a:gd name="T31" fmla="*/ 123 h 125"/>
                  <a:gd name="T32" fmla="*/ 114 w 203"/>
                  <a:gd name="T33" fmla="*/ 124 h 125"/>
                  <a:gd name="T34" fmla="*/ 113 w 203"/>
                  <a:gd name="T35" fmla="*/ 125 h 125"/>
                  <a:gd name="T36" fmla="*/ 116 w 203"/>
                  <a:gd name="T37" fmla="*/ 121 h 125"/>
                  <a:gd name="T38" fmla="*/ 116 w 203"/>
                  <a:gd name="T39" fmla="*/ 121 h 125"/>
                  <a:gd name="T40" fmla="*/ 6 w 203"/>
                  <a:gd name="T41" fmla="*/ 59 h 125"/>
                  <a:gd name="T42" fmla="*/ 113 w 203"/>
                  <a:gd name="T43" fmla="*/ 120 h 125"/>
                  <a:gd name="T44" fmla="*/ 169 w 203"/>
                  <a:gd name="T45" fmla="*/ 88 h 125"/>
                  <a:gd name="T46" fmla="*/ 163 w 203"/>
                  <a:gd name="T47" fmla="*/ 84 h 125"/>
                  <a:gd name="T48" fmla="*/ 162 w 203"/>
                  <a:gd name="T49" fmla="*/ 82 h 125"/>
                  <a:gd name="T50" fmla="*/ 163 w 203"/>
                  <a:gd name="T51" fmla="*/ 81 h 125"/>
                  <a:gd name="T52" fmla="*/ 197 w 203"/>
                  <a:gd name="T53" fmla="*/ 61 h 125"/>
                  <a:gd name="T54" fmla="*/ 99 w 203"/>
                  <a:gd name="T55" fmla="*/ 4 h 125"/>
                  <a:gd name="T56" fmla="*/ 6 w 203"/>
                  <a:gd name="T57" fmla="*/ 5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3" h="125">
                    <a:moveTo>
                      <a:pt x="113" y="125"/>
                    </a:moveTo>
                    <a:cubicBezTo>
                      <a:pt x="113" y="125"/>
                      <a:pt x="112" y="125"/>
                      <a:pt x="112" y="124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0"/>
                      <a:pt x="0" y="59"/>
                      <a:pt x="0" y="59"/>
                    </a:cubicBezTo>
                    <a:cubicBezTo>
                      <a:pt x="0" y="58"/>
                      <a:pt x="0" y="57"/>
                      <a:pt x="1" y="57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9" y="0"/>
                      <a:pt x="100" y="0"/>
                      <a:pt x="100" y="0"/>
                    </a:cubicBezTo>
                    <a:cubicBezTo>
                      <a:pt x="202" y="59"/>
                      <a:pt x="202" y="59"/>
                      <a:pt x="202" y="59"/>
                    </a:cubicBezTo>
                    <a:cubicBezTo>
                      <a:pt x="202" y="59"/>
                      <a:pt x="203" y="60"/>
                      <a:pt x="203" y="61"/>
                    </a:cubicBezTo>
                    <a:cubicBezTo>
                      <a:pt x="203" y="61"/>
                      <a:pt x="202" y="62"/>
                      <a:pt x="202" y="62"/>
                    </a:cubicBezTo>
                    <a:cubicBezTo>
                      <a:pt x="168" y="82"/>
                      <a:pt x="168" y="82"/>
                      <a:pt x="168" y="82"/>
                    </a:cubicBezTo>
                    <a:cubicBezTo>
                      <a:pt x="174" y="86"/>
                      <a:pt x="174" y="86"/>
                      <a:pt x="174" y="86"/>
                    </a:cubicBezTo>
                    <a:cubicBezTo>
                      <a:pt x="175" y="87"/>
                      <a:pt x="175" y="87"/>
                      <a:pt x="175" y="88"/>
                    </a:cubicBezTo>
                    <a:cubicBezTo>
                      <a:pt x="175" y="89"/>
                      <a:pt x="175" y="89"/>
                      <a:pt x="174" y="90"/>
                    </a:cubicBezTo>
                    <a:cubicBezTo>
                      <a:pt x="117" y="123"/>
                      <a:pt x="117" y="123"/>
                      <a:pt x="117" y="123"/>
                    </a:cubicBezTo>
                    <a:cubicBezTo>
                      <a:pt x="117" y="123"/>
                      <a:pt x="117" y="123"/>
                      <a:pt x="117" y="123"/>
                    </a:cubicBezTo>
                    <a:cubicBezTo>
                      <a:pt x="114" y="124"/>
                      <a:pt x="114" y="124"/>
                      <a:pt x="114" y="124"/>
                    </a:cubicBezTo>
                    <a:cubicBezTo>
                      <a:pt x="114" y="125"/>
                      <a:pt x="113" y="125"/>
                      <a:pt x="113" y="125"/>
                    </a:cubicBezTo>
                    <a:close/>
                    <a:moveTo>
                      <a:pt x="116" y="121"/>
                    </a:moveTo>
                    <a:cubicBezTo>
                      <a:pt x="116" y="121"/>
                      <a:pt x="116" y="121"/>
                      <a:pt x="116" y="121"/>
                    </a:cubicBezTo>
                    <a:close/>
                    <a:moveTo>
                      <a:pt x="6" y="59"/>
                    </a:move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63" y="84"/>
                      <a:pt x="163" y="84"/>
                      <a:pt x="163" y="84"/>
                    </a:cubicBezTo>
                    <a:cubicBezTo>
                      <a:pt x="162" y="84"/>
                      <a:pt x="162" y="83"/>
                      <a:pt x="162" y="82"/>
                    </a:cubicBezTo>
                    <a:cubicBezTo>
                      <a:pt x="162" y="82"/>
                      <a:pt x="162" y="81"/>
                      <a:pt x="163" y="81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99" y="4"/>
                      <a:pt x="99" y="4"/>
                      <a:pt x="99" y="4"/>
                    </a:cubicBezTo>
                    <a:lnTo>
                      <a:pt x="6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5" name="Freeform 1053">
                <a:extLst>
                  <a:ext uri="{FF2B5EF4-FFF2-40B4-BE49-F238E27FC236}">
                    <a16:creationId xmlns:a16="http://schemas.microsoft.com/office/drawing/2014/main" id="{6426E7BD-25A5-47F6-B8C3-9407FC9F70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7" y="1297"/>
                <a:ext cx="288" cy="482"/>
              </a:xfrm>
              <a:custGeom>
                <a:avLst/>
                <a:gdLst>
                  <a:gd name="T0" fmla="*/ 120 w 122"/>
                  <a:gd name="T1" fmla="*/ 204 h 204"/>
                  <a:gd name="T2" fmla="*/ 119 w 122"/>
                  <a:gd name="T3" fmla="*/ 204 h 204"/>
                  <a:gd name="T4" fmla="*/ 116 w 122"/>
                  <a:gd name="T5" fmla="*/ 203 h 204"/>
                  <a:gd name="T6" fmla="*/ 116 w 122"/>
                  <a:gd name="T7" fmla="*/ 203 h 204"/>
                  <a:gd name="T8" fmla="*/ 114 w 122"/>
                  <a:gd name="T9" fmla="*/ 203 h 204"/>
                  <a:gd name="T10" fmla="*/ 39 w 122"/>
                  <a:gd name="T11" fmla="*/ 160 h 204"/>
                  <a:gd name="T12" fmla="*/ 38 w 122"/>
                  <a:gd name="T13" fmla="*/ 159 h 204"/>
                  <a:gd name="T14" fmla="*/ 39 w 122"/>
                  <a:gd name="T15" fmla="*/ 157 h 204"/>
                  <a:gd name="T16" fmla="*/ 54 w 122"/>
                  <a:gd name="T17" fmla="*/ 149 h 204"/>
                  <a:gd name="T18" fmla="*/ 1 w 122"/>
                  <a:gd name="T19" fmla="*/ 118 h 204"/>
                  <a:gd name="T20" fmla="*/ 0 w 122"/>
                  <a:gd name="T21" fmla="*/ 116 h 204"/>
                  <a:gd name="T22" fmla="*/ 1 w 122"/>
                  <a:gd name="T23" fmla="*/ 115 h 204"/>
                  <a:gd name="T24" fmla="*/ 6 w 122"/>
                  <a:gd name="T25" fmla="*/ 112 h 204"/>
                  <a:gd name="T26" fmla="*/ 6 w 122"/>
                  <a:gd name="T27" fmla="*/ 2 h 204"/>
                  <a:gd name="T28" fmla="*/ 7 w 122"/>
                  <a:gd name="T29" fmla="*/ 0 h 204"/>
                  <a:gd name="T30" fmla="*/ 9 w 122"/>
                  <a:gd name="T31" fmla="*/ 0 h 204"/>
                  <a:gd name="T32" fmla="*/ 121 w 122"/>
                  <a:gd name="T33" fmla="*/ 65 h 204"/>
                  <a:gd name="T34" fmla="*/ 122 w 122"/>
                  <a:gd name="T35" fmla="*/ 66 h 204"/>
                  <a:gd name="T36" fmla="*/ 122 w 122"/>
                  <a:gd name="T37" fmla="*/ 202 h 204"/>
                  <a:gd name="T38" fmla="*/ 121 w 122"/>
                  <a:gd name="T39" fmla="*/ 204 h 204"/>
                  <a:gd name="T40" fmla="*/ 120 w 122"/>
                  <a:gd name="T41" fmla="*/ 204 h 204"/>
                  <a:gd name="T42" fmla="*/ 115 w 122"/>
                  <a:gd name="T43" fmla="*/ 197 h 204"/>
                  <a:gd name="T44" fmla="*/ 116 w 122"/>
                  <a:gd name="T45" fmla="*/ 198 h 204"/>
                  <a:gd name="T46" fmla="*/ 118 w 122"/>
                  <a:gd name="T47" fmla="*/ 199 h 204"/>
                  <a:gd name="T48" fmla="*/ 118 w 122"/>
                  <a:gd name="T49" fmla="*/ 68 h 204"/>
                  <a:gd name="T50" fmla="*/ 10 w 122"/>
                  <a:gd name="T51" fmla="*/ 5 h 204"/>
                  <a:gd name="T52" fmla="*/ 10 w 122"/>
                  <a:gd name="T53" fmla="*/ 113 h 204"/>
                  <a:gd name="T54" fmla="*/ 9 w 122"/>
                  <a:gd name="T55" fmla="*/ 115 h 204"/>
                  <a:gd name="T56" fmla="*/ 6 w 122"/>
                  <a:gd name="T57" fmla="*/ 116 h 204"/>
                  <a:gd name="T58" fmla="*/ 59 w 122"/>
                  <a:gd name="T59" fmla="*/ 147 h 204"/>
                  <a:gd name="T60" fmla="*/ 60 w 122"/>
                  <a:gd name="T61" fmla="*/ 149 h 204"/>
                  <a:gd name="T62" fmla="*/ 59 w 122"/>
                  <a:gd name="T63" fmla="*/ 150 h 204"/>
                  <a:gd name="T64" fmla="*/ 44 w 122"/>
                  <a:gd name="T65" fmla="*/ 159 h 204"/>
                  <a:gd name="T66" fmla="*/ 113 w 122"/>
                  <a:gd name="T67" fmla="*/ 198 h 204"/>
                  <a:gd name="T68" fmla="*/ 114 w 122"/>
                  <a:gd name="T69" fmla="*/ 198 h 204"/>
                  <a:gd name="T70" fmla="*/ 115 w 122"/>
                  <a:gd name="T71" fmla="*/ 19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2" h="204">
                    <a:moveTo>
                      <a:pt x="120" y="204"/>
                    </a:moveTo>
                    <a:cubicBezTo>
                      <a:pt x="119" y="204"/>
                      <a:pt x="119" y="204"/>
                      <a:pt x="119" y="204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5" y="204"/>
                      <a:pt x="114" y="204"/>
                      <a:pt x="114" y="203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60"/>
                      <a:pt x="38" y="159"/>
                      <a:pt x="38" y="159"/>
                    </a:cubicBezTo>
                    <a:cubicBezTo>
                      <a:pt x="38" y="158"/>
                      <a:pt x="39" y="157"/>
                      <a:pt x="39" y="157"/>
                    </a:cubicBezTo>
                    <a:cubicBezTo>
                      <a:pt x="54" y="149"/>
                      <a:pt x="54" y="149"/>
                      <a:pt x="54" y="149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8"/>
                      <a:pt x="0" y="117"/>
                      <a:pt x="0" y="116"/>
                    </a:cubicBezTo>
                    <a:cubicBezTo>
                      <a:pt x="0" y="116"/>
                      <a:pt x="0" y="115"/>
                      <a:pt x="1" y="115"/>
                    </a:cubicBezTo>
                    <a:cubicBezTo>
                      <a:pt x="6" y="112"/>
                      <a:pt x="6" y="112"/>
                      <a:pt x="6" y="11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6" y="0"/>
                      <a:pt x="7" y="0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121" y="65"/>
                      <a:pt x="121" y="65"/>
                      <a:pt x="121" y="65"/>
                    </a:cubicBezTo>
                    <a:cubicBezTo>
                      <a:pt x="121" y="65"/>
                      <a:pt x="122" y="66"/>
                      <a:pt x="122" y="66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2" y="203"/>
                      <a:pt x="121" y="204"/>
                      <a:pt x="121" y="204"/>
                    </a:cubicBezTo>
                    <a:cubicBezTo>
                      <a:pt x="120" y="204"/>
                      <a:pt x="120" y="204"/>
                      <a:pt x="120" y="204"/>
                    </a:cubicBezTo>
                    <a:close/>
                    <a:moveTo>
                      <a:pt x="115" y="197"/>
                    </a:moveTo>
                    <a:cubicBezTo>
                      <a:pt x="115" y="197"/>
                      <a:pt x="115" y="198"/>
                      <a:pt x="116" y="198"/>
                    </a:cubicBezTo>
                    <a:cubicBezTo>
                      <a:pt x="118" y="199"/>
                      <a:pt x="118" y="199"/>
                      <a:pt x="118" y="199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4"/>
                      <a:pt x="9" y="114"/>
                      <a:pt x="9" y="11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59" y="147"/>
                      <a:pt x="60" y="148"/>
                      <a:pt x="60" y="149"/>
                    </a:cubicBezTo>
                    <a:cubicBezTo>
                      <a:pt x="60" y="149"/>
                      <a:pt x="59" y="150"/>
                      <a:pt x="59" y="150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113" y="198"/>
                      <a:pt x="113" y="198"/>
                      <a:pt x="113" y="198"/>
                    </a:cubicBezTo>
                    <a:cubicBezTo>
                      <a:pt x="113" y="198"/>
                      <a:pt x="114" y="198"/>
                      <a:pt x="114" y="198"/>
                    </a:cubicBezTo>
                    <a:cubicBezTo>
                      <a:pt x="114" y="198"/>
                      <a:pt x="114" y="197"/>
                      <a:pt x="115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6" name="Freeform 1054">
                <a:extLst>
                  <a:ext uri="{FF2B5EF4-FFF2-40B4-BE49-F238E27FC236}">
                    <a16:creationId xmlns:a16="http://schemas.microsoft.com/office/drawing/2014/main" id="{90E63ACD-EC2D-4C89-90E2-40B842E3E4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2799"/>
                <a:ext cx="116" cy="83"/>
              </a:xfrm>
              <a:custGeom>
                <a:avLst/>
                <a:gdLst>
                  <a:gd name="T0" fmla="*/ 39 w 49"/>
                  <a:gd name="T1" fmla="*/ 35 h 35"/>
                  <a:gd name="T2" fmla="*/ 38 w 49"/>
                  <a:gd name="T3" fmla="*/ 34 h 35"/>
                  <a:gd name="T4" fmla="*/ 1 w 49"/>
                  <a:gd name="T5" fmla="*/ 13 h 35"/>
                  <a:gd name="T6" fmla="*/ 0 w 49"/>
                  <a:gd name="T7" fmla="*/ 11 h 35"/>
                  <a:gd name="T8" fmla="*/ 0 w 49"/>
                  <a:gd name="T9" fmla="*/ 2 h 35"/>
                  <a:gd name="T10" fmla="*/ 1 w 49"/>
                  <a:gd name="T11" fmla="*/ 0 h 35"/>
                  <a:gd name="T12" fmla="*/ 3 w 49"/>
                  <a:gd name="T13" fmla="*/ 0 h 35"/>
                  <a:gd name="T14" fmla="*/ 48 w 49"/>
                  <a:gd name="T15" fmla="*/ 26 h 35"/>
                  <a:gd name="T16" fmla="*/ 49 w 49"/>
                  <a:gd name="T17" fmla="*/ 28 h 35"/>
                  <a:gd name="T18" fmla="*/ 48 w 49"/>
                  <a:gd name="T19" fmla="*/ 30 h 35"/>
                  <a:gd name="T20" fmla="*/ 40 w 49"/>
                  <a:gd name="T21" fmla="*/ 34 h 35"/>
                  <a:gd name="T22" fmla="*/ 39 w 49"/>
                  <a:gd name="T23" fmla="*/ 35 h 35"/>
                  <a:gd name="T24" fmla="*/ 4 w 49"/>
                  <a:gd name="T25" fmla="*/ 10 h 35"/>
                  <a:gd name="T26" fmla="*/ 39 w 49"/>
                  <a:gd name="T27" fmla="*/ 30 h 35"/>
                  <a:gd name="T28" fmla="*/ 43 w 49"/>
                  <a:gd name="T29" fmla="*/ 28 h 35"/>
                  <a:gd name="T30" fmla="*/ 4 w 49"/>
                  <a:gd name="T31" fmla="*/ 6 h 35"/>
                  <a:gd name="T32" fmla="*/ 4 w 49"/>
                  <a:gd name="T33" fmla="*/ 1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35">
                    <a:moveTo>
                      <a:pt x="39" y="35"/>
                    </a:moveTo>
                    <a:cubicBezTo>
                      <a:pt x="39" y="35"/>
                      <a:pt x="39" y="34"/>
                      <a:pt x="38" y="34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7"/>
                      <a:pt x="49" y="27"/>
                      <a:pt x="49" y="28"/>
                    </a:cubicBezTo>
                    <a:cubicBezTo>
                      <a:pt x="49" y="29"/>
                      <a:pt x="48" y="30"/>
                      <a:pt x="48" y="30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0" y="34"/>
                      <a:pt x="40" y="35"/>
                      <a:pt x="39" y="35"/>
                    </a:cubicBezTo>
                    <a:close/>
                    <a:moveTo>
                      <a:pt x="4" y="10"/>
                    </a:moveTo>
                    <a:cubicBezTo>
                      <a:pt x="39" y="30"/>
                      <a:pt x="39" y="30"/>
                      <a:pt x="39" y="30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7" name="Freeform 1055">
                <a:extLst>
                  <a:ext uri="{FF2B5EF4-FFF2-40B4-BE49-F238E27FC236}">
                    <a16:creationId xmlns:a16="http://schemas.microsoft.com/office/drawing/2014/main" id="{83EE357B-8335-4E77-BD46-A267493D59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2275"/>
                <a:ext cx="24" cy="85"/>
              </a:xfrm>
              <a:custGeom>
                <a:avLst/>
                <a:gdLst>
                  <a:gd name="T0" fmla="*/ 8 w 10"/>
                  <a:gd name="T1" fmla="*/ 36 h 36"/>
                  <a:gd name="T2" fmla="*/ 7 w 10"/>
                  <a:gd name="T3" fmla="*/ 36 h 36"/>
                  <a:gd name="T4" fmla="*/ 1 w 10"/>
                  <a:gd name="T5" fmla="*/ 32 h 36"/>
                  <a:gd name="T6" fmla="*/ 0 w 10"/>
                  <a:gd name="T7" fmla="*/ 30 h 36"/>
                  <a:gd name="T8" fmla="*/ 0 w 10"/>
                  <a:gd name="T9" fmla="*/ 2 h 36"/>
                  <a:gd name="T10" fmla="*/ 1 w 10"/>
                  <a:gd name="T11" fmla="*/ 1 h 36"/>
                  <a:gd name="T12" fmla="*/ 2 w 10"/>
                  <a:gd name="T13" fmla="*/ 0 h 36"/>
                  <a:gd name="T14" fmla="*/ 4 w 10"/>
                  <a:gd name="T15" fmla="*/ 0 h 36"/>
                  <a:gd name="T16" fmla="*/ 9 w 10"/>
                  <a:gd name="T17" fmla="*/ 3 h 36"/>
                  <a:gd name="T18" fmla="*/ 10 w 10"/>
                  <a:gd name="T19" fmla="*/ 4 h 36"/>
                  <a:gd name="T20" fmla="*/ 10 w 10"/>
                  <a:gd name="T21" fmla="*/ 34 h 36"/>
                  <a:gd name="T22" fmla="*/ 9 w 10"/>
                  <a:gd name="T23" fmla="*/ 36 h 36"/>
                  <a:gd name="T24" fmla="*/ 8 w 10"/>
                  <a:gd name="T25" fmla="*/ 36 h 36"/>
                  <a:gd name="T26" fmla="*/ 4 w 10"/>
                  <a:gd name="T27" fmla="*/ 29 h 36"/>
                  <a:gd name="T28" fmla="*/ 6 w 10"/>
                  <a:gd name="T29" fmla="*/ 30 h 36"/>
                  <a:gd name="T30" fmla="*/ 6 w 10"/>
                  <a:gd name="T31" fmla="*/ 6 h 36"/>
                  <a:gd name="T32" fmla="*/ 4 w 10"/>
                  <a:gd name="T33" fmla="*/ 4 h 36"/>
                  <a:gd name="T34" fmla="*/ 4 w 10"/>
                  <a:gd name="T35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36">
                    <a:moveTo>
                      <a:pt x="8" y="36"/>
                    </a:moveTo>
                    <a:cubicBezTo>
                      <a:pt x="8" y="36"/>
                      <a:pt x="7" y="36"/>
                      <a:pt x="7" y="36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3"/>
                      <a:pt x="10" y="4"/>
                      <a:pt x="10" y="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0" y="35"/>
                      <a:pt x="10" y="35"/>
                      <a:pt x="9" y="36"/>
                    </a:cubicBezTo>
                    <a:cubicBezTo>
                      <a:pt x="9" y="36"/>
                      <a:pt x="9" y="36"/>
                      <a:pt x="8" y="36"/>
                    </a:cubicBezTo>
                    <a:close/>
                    <a:moveTo>
                      <a:pt x="4" y="29"/>
                    </a:moveTo>
                    <a:cubicBezTo>
                      <a:pt x="6" y="30"/>
                      <a:pt x="6" y="30"/>
                      <a:pt x="6" y="3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8" name="Freeform 1056">
                <a:extLst>
                  <a:ext uri="{FF2B5EF4-FFF2-40B4-BE49-F238E27FC236}">
                    <a16:creationId xmlns:a16="http://schemas.microsoft.com/office/drawing/2014/main" id="{7C67D571-8346-46BA-8613-84D2D0009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2" y="2443"/>
                <a:ext cx="9" cy="12"/>
              </a:xfrm>
              <a:custGeom>
                <a:avLst/>
                <a:gdLst>
                  <a:gd name="T0" fmla="*/ 2 w 4"/>
                  <a:gd name="T1" fmla="*/ 5 h 5"/>
                  <a:gd name="T2" fmla="*/ 1 w 4"/>
                  <a:gd name="T3" fmla="*/ 5 h 5"/>
                  <a:gd name="T4" fmla="*/ 1 w 4"/>
                  <a:gd name="T5" fmla="*/ 4 h 5"/>
                  <a:gd name="T6" fmla="*/ 0 w 4"/>
                  <a:gd name="T7" fmla="*/ 3 h 5"/>
                  <a:gd name="T8" fmla="*/ 1 w 4"/>
                  <a:gd name="T9" fmla="*/ 1 h 5"/>
                  <a:gd name="T10" fmla="*/ 1 w 4"/>
                  <a:gd name="T11" fmla="*/ 1 h 5"/>
                  <a:gd name="T12" fmla="*/ 3 w 4"/>
                  <a:gd name="T13" fmla="*/ 1 h 5"/>
                  <a:gd name="T14" fmla="*/ 4 w 4"/>
                  <a:gd name="T15" fmla="*/ 2 h 5"/>
                  <a:gd name="T16" fmla="*/ 4 w 4"/>
                  <a:gd name="T17" fmla="*/ 3 h 5"/>
                  <a:gd name="T18" fmla="*/ 3 w 4"/>
                  <a:gd name="T19" fmla="*/ 5 h 5"/>
                  <a:gd name="T20" fmla="*/ 2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2" y="5"/>
                      <a:pt x="1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3" y="5"/>
                    </a:cubicBezTo>
                    <a:cubicBezTo>
                      <a:pt x="3" y="5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9" name="Freeform 1057">
                <a:extLst>
                  <a:ext uri="{FF2B5EF4-FFF2-40B4-BE49-F238E27FC236}">
                    <a16:creationId xmlns:a16="http://schemas.microsoft.com/office/drawing/2014/main" id="{D541E66B-CC36-4EA2-B87C-21B3D82562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7" y="1670"/>
                <a:ext cx="406" cy="251"/>
              </a:xfrm>
              <a:custGeom>
                <a:avLst/>
                <a:gdLst>
                  <a:gd name="T0" fmla="*/ 77 w 172"/>
                  <a:gd name="T1" fmla="*/ 106 h 106"/>
                  <a:gd name="T2" fmla="*/ 76 w 172"/>
                  <a:gd name="T3" fmla="*/ 106 h 106"/>
                  <a:gd name="T4" fmla="*/ 75 w 172"/>
                  <a:gd name="T5" fmla="*/ 104 h 106"/>
                  <a:gd name="T6" fmla="*/ 75 w 172"/>
                  <a:gd name="T7" fmla="*/ 99 h 106"/>
                  <a:gd name="T8" fmla="*/ 1 w 172"/>
                  <a:gd name="T9" fmla="*/ 56 h 106"/>
                  <a:gd name="T10" fmla="*/ 0 w 172"/>
                  <a:gd name="T11" fmla="*/ 55 h 106"/>
                  <a:gd name="T12" fmla="*/ 1 w 172"/>
                  <a:gd name="T13" fmla="*/ 53 h 106"/>
                  <a:gd name="T14" fmla="*/ 93 w 172"/>
                  <a:gd name="T15" fmla="*/ 0 h 106"/>
                  <a:gd name="T16" fmla="*/ 95 w 172"/>
                  <a:gd name="T17" fmla="*/ 0 h 106"/>
                  <a:gd name="T18" fmla="*/ 171 w 172"/>
                  <a:gd name="T19" fmla="*/ 44 h 106"/>
                  <a:gd name="T20" fmla="*/ 172 w 172"/>
                  <a:gd name="T21" fmla="*/ 45 h 106"/>
                  <a:gd name="T22" fmla="*/ 172 w 172"/>
                  <a:gd name="T23" fmla="*/ 50 h 106"/>
                  <a:gd name="T24" fmla="*/ 171 w 172"/>
                  <a:gd name="T25" fmla="*/ 52 h 106"/>
                  <a:gd name="T26" fmla="*/ 78 w 172"/>
                  <a:gd name="T27" fmla="*/ 106 h 106"/>
                  <a:gd name="T28" fmla="*/ 77 w 172"/>
                  <a:gd name="T29" fmla="*/ 106 h 106"/>
                  <a:gd name="T30" fmla="*/ 6 w 172"/>
                  <a:gd name="T31" fmla="*/ 55 h 106"/>
                  <a:gd name="T32" fmla="*/ 78 w 172"/>
                  <a:gd name="T33" fmla="*/ 96 h 106"/>
                  <a:gd name="T34" fmla="*/ 79 w 172"/>
                  <a:gd name="T35" fmla="*/ 97 h 106"/>
                  <a:gd name="T36" fmla="*/ 79 w 172"/>
                  <a:gd name="T37" fmla="*/ 101 h 106"/>
                  <a:gd name="T38" fmla="*/ 168 w 172"/>
                  <a:gd name="T39" fmla="*/ 49 h 106"/>
                  <a:gd name="T40" fmla="*/ 168 w 172"/>
                  <a:gd name="T41" fmla="*/ 47 h 106"/>
                  <a:gd name="T42" fmla="*/ 94 w 172"/>
                  <a:gd name="T43" fmla="*/ 4 h 106"/>
                  <a:gd name="T44" fmla="*/ 6 w 172"/>
                  <a:gd name="T45" fmla="*/ 5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2" h="106">
                    <a:moveTo>
                      <a:pt x="77" y="106"/>
                    </a:moveTo>
                    <a:cubicBezTo>
                      <a:pt x="76" y="106"/>
                      <a:pt x="76" y="106"/>
                      <a:pt x="76" y="106"/>
                    </a:cubicBezTo>
                    <a:cubicBezTo>
                      <a:pt x="75" y="106"/>
                      <a:pt x="75" y="105"/>
                      <a:pt x="75" y="104"/>
                    </a:cubicBezTo>
                    <a:cubicBezTo>
                      <a:pt x="75" y="99"/>
                      <a:pt x="75" y="99"/>
                      <a:pt x="75" y="99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" y="56"/>
                      <a:pt x="0" y="55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4" y="0"/>
                      <a:pt x="95" y="0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1" y="44"/>
                      <a:pt x="172" y="45"/>
                      <a:pt x="172" y="45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1"/>
                      <a:pt x="171" y="52"/>
                      <a:pt x="171" y="52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7" y="106"/>
                      <a:pt x="77" y="106"/>
                      <a:pt x="77" y="106"/>
                    </a:cubicBezTo>
                    <a:close/>
                    <a:moveTo>
                      <a:pt x="6" y="55"/>
                    </a:move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6"/>
                      <a:pt x="79" y="97"/>
                      <a:pt x="79" y="97"/>
                    </a:cubicBezTo>
                    <a:cubicBezTo>
                      <a:pt x="79" y="101"/>
                      <a:pt x="79" y="101"/>
                      <a:pt x="79" y="101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94" y="4"/>
                      <a:pt x="94" y="4"/>
                      <a:pt x="94" y="4"/>
                    </a:cubicBezTo>
                    <a:lnTo>
                      <a:pt x="6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0" name="Freeform 1058">
                <a:extLst>
                  <a:ext uri="{FF2B5EF4-FFF2-40B4-BE49-F238E27FC236}">
                    <a16:creationId xmlns:a16="http://schemas.microsoft.com/office/drawing/2014/main" id="{C7E4F491-E075-4208-BFD4-7A43F7661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2381"/>
                <a:ext cx="24" cy="50"/>
              </a:xfrm>
              <a:custGeom>
                <a:avLst/>
                <a:gdLst>
                  <a:gd name="T0" fmla="*/ 2 w 10"/>
                  <a:gd name="T1" fmla="*/ 21 h 21"/>
                  <a:gd name="T2" fmla="*/ 1 w 10"/>
                  <a:gd name="T3" fmla="*/ 20 h 21"/>
                  <a:gd name="T4" fmla="*/ 0 w 10"/>
                  <a:gd name="T5" fmla="*/ 19 h 21"/>
                  <a:gd name="T6" fmla="*/ 0 w 10"/>
                  <a:gd name="T7" fmla="*/ 6 h 21"/>
                  <a:gd name="T8" fmla="*/ 1 w 10"/>
                  <a:gd name="T9" fmla="*/ 4 h 21"/>
                  <a:gd name="T10" fmla="*/ 7 w 10"/>
                  <a:gd name="T11" fmla="*/ 1 h 21"/>
                  <a:gd name="T12" fmla="*/ 9 w 10"/>
                  <a:gd name="T13" fmla="*/ 1 h 21"/>
                  <a:gd name="T14" fmla="*/ 10 w 10"/>
                  <a:gd name="T15" fmla="*/ 2 h 21"/>
                  <a:gd name="T16" fmla="*/ 10 w 10"/>
                  <a:gd name="T17" fmla="*/ 15 h 21"/>
                  <a:gd name="T18" fmla="*/ 9 w 10"/>
                  <a:gd name="T19" fmla="*/ 17 h 21"/>
                  <a:gd name="T20" fmla="*/ 3 w 10"/>
                  <a:gd name="T21" fmla="*/ 20 h 21"/>
                  <a:gd name="T22" fmla="*/ 2 w 10"/>
                  <a:gd name="T23" fmla="*/ 21 h 21"/>
                  <a:gd name="T24" fmla="*/ 4 w 10"/>
                  <a:gd name="T25" fmla="*/ 7 h 21"/>
                  <a:gd name="T26" fmla="*/ 4 w 10"/>
                  <a:gd name="T27" fmla="*/ 15 h 21"/>
                  <a:gd name="T28" fmla="*/ 6 w 10"/>
                  <a:gd name="T29" fmla="*/ 14 h 21"/>
                  <a:gd name="T30" fmla="*/ 6 w 10"/>
                  <a:gd name="T31" fmla="*/ 6 h 21"/>
                  <a:gd name="T32" fmla="*/ 4 w 10"/>
                  <a:gd name="T33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21">
                    <a:moveTo>
                      <a:pt x="2" y="21"/>
                    </a:moveTo>
                    <a:cubicBezTo>
                      <a:pt x="2" y="21"/>
                      <a:pt x="1" y="21"/>
                      <a:pt x="1" y="20"/>
                    </a:cubicBezTo>
                    <a:cubicBezTo>
                      <a:pt x="1" y="20"/>
                      <a:pt x="0" y="19"/>
                      <a:pt x="0" y="19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0"/>
                      <a:pt x="9" y="0"/>
                      <a:pt x="9" y="1"/>
                    </a:cubicBezTo>
                    <a:cubicBezTo>
                      <a:pt x="10" y="1"/>
                      <a:pt x="10" y="2"/>
                      <a:pt x="10" y="2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0" y="17"/>
                      <a:pt x="9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3" y="21"/>
                      <a:pt x="2" y="21"/>
                    </a:cubicBezTo>
                    <a:close/>
                    <a:moveTo>
                      <a:pt x="4" y="7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6"/>
                      <a:pt x="6" y="6"/>
                      <a:pt x="6" y="6"/>
                    </a:cubicBez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1" name="Freeform 1059">
                <a:extLst>
                  <a:ext uri="{FF2B5EF4-FFF2-40B4-BE49-F238E27FC236}">
                    <a16:creationId xmlns:a16="http://schemas.microsoft.com/office/drawing/2014/main" id="{36E31724-8161-473D-8A06-F041AE6AA0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2346"/>
                <a:ext cx="24" cy="50"/>
              </a:xfrm>
              <a:custGeom>
                <a:avLst/>
                <a:gdLst>
                  <a:gd name="T0" fmla="*/ 2 w 10"/>
                  <a:gd name="T1" fmla="*/ 21 h 21"/>
                  <a:gd name="T2" fmla="*/ 1 w 10"/>
                  <a:gd name="T3" fmla="*/ 21 h 21"/>
                  <a:gd name="T4" fmla="*/ 0 w 10"/>
                  <a:gd name="T5" fmla="*/ 19 h 21"/>
                  <a:gd name="T6" fmla="*/ 0 w 10"/>
                  <a:gd name="T7" fmla="*/ 2 h 21"/>
                  <a:gd name="T8" fmla="*/ 1 w 10"/>
                  <a:gd name="T9" fmla="*/ 1 h 21"/>
                  <a:gd name="T10" fmla="*/ 3 w 10"/>
                  <a:gd name="T11" fmla="*/ 1 h 21"/>
                  <a:gd name="T12" fmla="*/ 9 w 10"/>
                  <a:gd name="T13" fmla="*/ 4 h 21"/>
                  <a:gd name="T14" fmla="*/ 10 w 10"/>
                  <a:gd name="T15" fmla="*/ 6 h 21"/>
                  <a:gd name="T16" fmla="*/ 10 w 10"/>
                  <a:gd name="T17" fmla="*/ 15 h 21"/>
                  <a:gd name="T18" fmla="*/ 9 w 10"/>
                  <a:gd name="T19" fmla="*/ 17 h 21"/>
                  <a:gd name="T20" fmla="*/ 3 w 10"/>
                  <a:gd name="T21" fmla="*/ 21 h 21"/>
                  <a:gd name="T22" fmla="*/ 2 w 10"/>
                  <a:gd name="T23" fmla="*/ 21 h 21"/>
                  <a:gd name="T24" fmla="*/ 4 w 10"/>
                  <a:gd name="T25" fmla="*/ 6 h 21"/>
                  <a:gd name="T26" fmla="*/ 4 w 10"/>
                  <a:gd name="T27" fmla="*/ 15 h 21"/>
                  <a:gd name="T28" fmla="*/ 6 w 10"/>
                  <a:gd name="T29" fmla="*/ 14 h 21"/>
                  <a:gd name="T30" fmla="*/ 6 w 10"/>
                  <a:gd name="T31" fmla="*/ 7 h 21"/>
                  <a:gd name="T32" fmla="*/ 4 w 10"/>
                  <a:gd name="T33" fmla="*/ 6 h 21"/>
                  <a:gd name="T34" fmla="*/ 8 w 10"/>
                  <a:gd name="T35" fmla="*/ 15 h 21"/>
                  <a:gd name="T36" fmla="*/ 8 w 10"/>
                  <a:gd name="T37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21">
                    <a:moveTo>
                      <a:pt x="2" y="21"/>
                    </a:moveTo>
                    <a:cubicBezTo>
                      <a:pt x="2" y="21"/>
                      <a:pt x="1" y="21"/>
                      <a:pt x="1" y="21"/>
                    </a:cubicBezTo>
                    <a:cubicBezTo>
                      <a:pt x="1" y="20"/>
                      <a:pt x="0" y="20"/>
                      <a:pt x="0" y="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0" y="17"/>
                      <a:pt x="9" y="17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1"/>
                      <a:pt x="2" y="21"/>
                    </a:cubicBezTo>
                    <a:close/>
                    <a:moveTo>
                      <a:pt x="4" y="6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  <a:moveTo>
                      <a:pt x="8" y="15"/>
                    </a:moveTo>
                    <a:cubicBezTo>
                      <a:pt x="8" y="15"/>
                      <a:pt x="8" y="15"/>
                      <a:pt x="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2" name="Freeform 1060">
                <a:extLst>
                  <a:ext uri="{FF2B5EF4-FFF2-40B4-BE49-F238E27FC236}">
                    <a16:creationId xmlns:a16="http://schemas.microsoft.com/office/drawing/2014/main" id="{C7529899-401A-47C1-BF2D-4CE2926075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09" y="2353"/>
                <a:ext cx="272" cy="461"/>
              </a:xfrm>
              <a:custGeom>
                <a:avLst/>
                <a:gdLst>
                  <a:gd name="T0" fmla="*/ 113 w 115"/>
                  <a:gd name="T1" fmla="*/ 195 h 195"/>
                  <a:gd name="T2" fmla="*/ 112 w 115"/>
                  <a:gd name="T3" fmla="*/ 194 h 195"/>
                  <a:gd name="T4" fmla="*/ 1 w 115"/>
                  <a:gd name="T5" fmla="*/ 130 h 195"/>
                  <a:gd name="T6" fmla="*/ 0 w 115"/>
                  <a:gd name="T7" fmla="*/ 128 h 195"/>
                  <a:gd name="T8" fmla="*/ 1 w 115"/>
                  <a:gd name="T9" fmla="*/ 126 h 195"/>
                  <a:gd name="T10" fmla="*/ 32 w 115"/>
                  <a:gd name="T11" fmla="*/ 108 h 195"/>
                  <a:gd name="T12" fmla="*/ 32 w 115"/>
                  <a:gd name="T13" fmla="*/ 2 h 195"/>
                  <a:gd name="T14" fmla="*/ 33 w 115"/>
                  <a:gd name="T15" fmla="*/ 0 h 195"/>
                  <a:gd name="T16" fmla="*/ 35 w 115"/>
                  <a:gd name="T17" fmla="*/ 0 h 195"/>
                  <a:gd name="T18" fmla="*/ 111 w 115"/>
                  <a:gd name="T19" fmla="*/ 44 h 195"/>
                  <a:gd name="T20" fmla="*/ 112 w 115"/>
                  <a:gd name="T21" fmla="*/ 45 h 195"/>
                  <a:gd name="T22" fmla="*/ 114 w 115"/>
                  <a:gd name="T23" fmla="*/ 47 h 195"/>
                  <a:gd name="T24" fmla="*/ 115 w 115"/>
                  <a:gd name="T25" fmla="*/ 48 h 195"/>
                  <a:gd name="T26" fmla="*/ 115 w 115"/>
                  <a:gd name="T27" fmla="*/ 193 h 195"/>
                  <a:gd name="T28" fmla="*/ 114 w 115"/>
                  <a:gd name="T29" fmla="*/ 194 h 195"/>
                  <a:gd name="T30" fmla="*/ 113 w 115"/>
                  <a:gd name="T31" fmla="*/ 195 h 195"/>
                  <a:gd name="T32" fmla="*/ 6 w 115"/>
                  <a:gd name="T33" fmla="*/ 128 h 195"/>
                  <a:gd name="T34" fmla="*/ 111 w 115"/>
                  <a:gd name="T35" fmla="*/ 189 h 195"/>
                  <a:gd name="T36" fmla="*/ 111 w 115"/>
                  <a:gd name="T37" fmla="*/ 50 h 195"/>
                  <a:gd name="T38" fmla="*/ 108 w 115"/>
                  <a:gd name="T39" fmla="*/ 48 h 195"/>
                  <a:gd name="T40" fmla="*/ 107 w 115"/>
                  <a:gd name="T41" fmla="*/ 47 h 195"/>
                  <a:gd name="T42" fmla="*/ 36 w 115"/>
                  <a:gd name="T43" fmla="*/ 5 h 195"/>
                  <a:gd name="T44" fmla="*/ 36 w 115"/>
                  <a:gd name="T45" fmla="*/ 109 h 195"/>
                  <a:gd name="T46" fmla="*/ 35 w 115"/>
                  <a:gd name="T47" fmla="*/ 111 h 195"/>
                  <a:gd name="T48" fmla="*/ 6 w 115"/>
                  <a:gd name="T49" fmla="*/ 12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5" h="195">
                    <a:moveTo>
                      <a:pt x="113" y="195"/>
                    </a:moveTo>
                    <a:cubicBezTo>
                      <a:pt x="113" y="195"/>
                      <a:pt x="113" y="195"/>
                      <a:pt x="112" y="194"/>
                    </a:cubicBezTo>
                    <a:cubicBezTo>
                      <a:pt x="1" y="130"/>
                      <a:pt x="1" y="130"/>
                      <a:pt x="1" y="130"/>
                    </a:cubicBezTo>
                    <a:cubicBezTo>
                      <a:pt x="0" y="129"/>
                      <a:pt x="0" y="129"/>
                      <a:pt x="0" y="128"/>
                    </a:cubicBezTo>
                    <a:cubicBezTo>
                      <a:pt x="0" y="127"/>
                      <a:pt x="0" y="127"/>
                      <a:pt x="1" y="126"/>
                    </a:cubicBezTo>
                    <a:cubicBezTo>
                      <a:pt x="32" y="108"/>
                      <a:pt x="32" y="108"/>
                      <a:pt x="32" y="108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1"/>
                      <a:pt x="32" y="0"/>
                      <a:pt x="33" y="0"/>
                    </a:cubicBezTo>
                    <a:cubicBezTo>
                      <a:pt x="33" y="0"/>
                      <a:pt x="34" y="0"/>
                      <a:pt x="35" y="0"/>
                    </a:cubicBezTo>
                    <a:cubicBezTo>
                      <a:pt x="111" y="44"/>
                      <a:pt x="111" y="44"/>
                      <a:pt x="111" y="44"/>
                    </a:cubicBezTo>
                    <a:cubicBezTo>
                      <a:pt x="111" y="44"/>
                      <a:pt x="112" y="45"/>
                      <a:pt x="112" y="45"/>
                    </a:cubicBezTo>
                    <a:cubicBezTo>
                      <a:pt x="114" y="47"/>
                      <a:pt x="114" y="47"/>
                      <a:pt x="114" y="47"/>
                    </a:cubicBezTo>
                    <a:cubicBezTo>
                      <a:pt x="115" y="47"/>
                      <a:pt x="115" y="48"/>
                      <a:pt x="115" y="48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5" y="194"/>
                      <a:pt x="114" y="194"/>
                    </a:cubicBezTo>
                    <a:cubicBezTo>
                      <a:pt x="114" y="195"/>
                      <a:pt x="114" y="195"/>
                      <a:pt x="113" y="195"/>
                    </a:cubicBezTo>
                    <a:close/>
                    <a:moveTo>
                      <a:pt x="6" y="128"/>
                    </a:move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50"/>
                      <a:pt x="111" y="50"/>
                      <a:pt x="111" y="50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8" y="48"/>
                      <a:pt x="107" y="47"/>
                      <a:pt x="107" y="47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6" y="110"/>
                      <a:pt x="35" y="111"/>
                      <a:pt x="35" y="111"/>
                    </a:cubicBezTo>
                    <a:lnTo>
                      <a:pt x="6" y="1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3" name="Freeform 1061">
                <a:extLst>
                  <a:ext uri="{FF2B5EF4-FFF2-40B4-BE49-F238E27FC236}">
                    <a16:creationId xmlns:a16="http://schemas.microsoft.com/office/drawing/2014/main" id="{750050F3-FCA6-4569-9C2A-3E19465CC5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21" y="2188"/>
                <a:ext cx="161" cy="271"/>
              </a:xfrm>
              <a:custGeom>
                <a:avLst/>
                <a:gdLst>
                  <a:gd name="T0" fmla="*/ 2 w 68"/>
                  <a:gd name="T1" fmla="*/ 115 h 115"/>
                  <a:gd name="T2" fmla="*/ 1 w 68"/>
                  <a:gd name="T3" fmla="*/ 115 h 115"/>
                  <a:gd name="T4" fmla="*/ 0 w 68"/>
                  <a:gd name="T5" fmla="*/ 113 h 115"/>
                  <a:gd name="T6" fmla="*/ 0 w 68"/>
                  <a:gd name="T7" fmla="*/ 98 h 115"/>
                  <a:gd name="T8" fmla="*/ 1 w 68"/>
                  <a:gd name="T9" fmla="*/ 96 h 115"/>
                  <a:gd name="T10" fmla="*/ 48 w 68"/>
                  <a:gd name="T11" fmla="*/ 69 h 115"/>
                  <a:gd name="T12" fmla="*/ 1 w 68"/>
                  <a:gd name="T13" fmla="*/ 42 h 115"/>
                  <a:gd name="T14" fmla="*/ 0 w 68"/>
                  <a:gd name="T15" fmla="*/ 40 h 115"/>
                  <a:gd name="T16" fmla="*/ 0 w 68"/>
                  <a:gd name="T17" fmla="*/ 39 h 115"/>
                  <a:gd name="T18" fmla="*/ 1 w 68"/>
                  <a:gd name="T19" fmla="*/ 38 h 115"/>
                  <a:gd name="T20" fmla="*/ 13 w 68"/>
                  <a:gd name="T21" fmla="*/ 30 h 115"/>
                  <a:gd name="T22" fmla="*/ 14 w 68"/>
                  <a:gd name="T23" fmla="*/ 30 h 115"/>
                  <a:gd name="T24" fmla="*/ 15 w 68"/>
                  <a:gd name="T25" fmla="*/ 30 h 115"/>
                  <a:gd name="T26" fmla="*/ 65 w 68"/>
                  <a:gd name="T27" fmla="*/ 1 h 115"/>
                  <a:gd name="T28" fmla="*/ 67 w 68"/>
                  <a:gd name="T29" fmla="*/ 1 h 115"/>
                  <a:gd name="T30" fmla="*/ 68 w 68"/>
                  <a:gd name="T31" fmla="*/ 2 h 115"/>
                  <a:gd name="T32" fmla="*/ 68 w 68"/>
                  <a:gd name="T33" fmla="*/ 76 h 115"/>
                  <a:gd name="T34" fmla="*/ 67 w 68"/>
                  <a:gd name="T35" fmla="*/ 78 h 115"/>
                  <a:gd name="T36" fmla="*/ 3 w 68"/>
                  <a:gd name="T37" fmla="*/ 115 h 115"/>
                  <a:gd name="T38" fmla="*/ 2 w 68"/>
                  <a:gd name="T39" fmla="*/ 115 h 115"/>
                  <a:gd name="T40" fmla="*/ 4 w 68"/>
                  <a:gd name="T41" fmla="*/ 99 h 115"/>
                  <a:gd name="T42" fmla="*/ 4 w 68"/>
                  <a:gd name="T43" fmla="*/ 110 h 115"/>
                  <a:gd name="T44" fmla="*/ 64 w 68"/>
                  <a:gd name="T45" fmla="*/ 75 h 115"/>
                  <a:gd name="T46" fmla="*/ 64 w 68"/>
                  <a:gd name="T47" fmla="*/ 6 h 115"/>
                  <a:gd name="T48" fmla="*/ 18 w 68"/>
                  <a:gd name="T49" fmla="*/ 33 h 115"/>
                  <a:gd name="T50" fmla="*/ 17 w 68"/>
                  <a:gd name="T51" fmla="*/ 34 h 115"/>
                  <a:gd name="T52" fmla="*/ 15 w 68"/>
                  <a:gd name="T53" fmla="*/ 34 h 115"/>
                  <a:gd name="T54" fmla="*/ 15 w 68"/>
                  <a:gd name="T55" fmla="*/ 34 h 115"/>
                  <a:gd name="T56" fmla="*/ 5 w 68"/>
                  <a:gd name="T57" fmla="*/ 40 h 115"/>
                  <a:gd name="T58" fmla="*/ 53 w 68"/>
                  <a:gd name="T59" fmla="*/ 68 h 115"/>
                  <a:gd name="T60" fmla="*/ 54 w 68"/>
                  <a:gd name="T61" fmla="*/ 69 h 115"/>
                  <a:gd name="T62" fmla="*/ 53 w 68"/>
                  <a:gd name="T63" fmla="*/ 71 h 115"/>
                  <a:gd name="T64" fmla="*/ 4 w 68"/>
                  <a:gd name="T65" fmla="*/ 9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8" h="115">
                    <a:moveTo>
                      <a:pt x="2" y="115"/>
                    </a:moveTo>
                    <a:cubicBezTo>
                      <a:pt x="1" y="115"/>
                      <a:pt x="1" y="115"/>
                      <a:pt x="1" y="115"/>
                    </a:cubicBezTo>
                    <a:cubicBezTo>
                      <a:pt x="0" y="115"/>
                      <a:pt x="0" y="114"/>
                      <a:pt x="0" y="113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97"/>
                      <a:pt x="0" y="97"/>
                      <a:pt x="1" y="96"/>
                    </a:cubicBezTo>
                    <a:cubicBezTo>
                      <a:pt x="48" y="69"/>
                      <a:pt x="48" y="69"/>
                      <a:pt x="48" y="69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1"/>
                      <a:pt x="0" y="4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8"/>
                      <a:pt x="1" y="3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30"/>
                      <a:pt x="15" y="30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6" y="0"/>
                      <a:pt x="67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68" y="77"/>
                      <a:pt x="68" y="78"/>
                      <a:pt x="67" y="78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2" y="115"/>
                      <a:pt x="2" y="115"/>
                      <a:pt x="2" y="115"/>
                    </a:cubicBezTo>
                    <a:close/>
                    <a:moveTo>
                      <a:pt x="4" y="99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64" y="75"/>
                      <a:pt x="64" y="75"/>
                      <a:pt x="64" y="75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8" y="33"/>
                      <a:pt x="17" y="34"/>
                      <a:pt x="17" y="34"/>
                    </a:cubicBezTo>
                    <a:cubicBezTo>
                      <a:pt x="16" y="35"/>
                      <a:pt x="15" y="35"/>
                      <a:pt x="15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3" y="68"/>
                      <a:pt x="54" y="69"/>
                      <a:pt x="54" y="69"/>
                    </a:cubicBezTo>
                    <a:cubicBezTo>
                      <a:pt x="54" y="70"/>
                      <a:pt x="53" y="71"/>
                      <a:pt x="53" y="71"/>
                    </a:cubicBezTo>
                    <a:lnTo>
                      <a:pt x="4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4" name="Freeform 1062">
                <a:extLst>
                  <a:ext uri="{FF2B5EF4-FFF2-40B4-BE49-F238E27FC236}">
                    <a16:creationId xmlns:a16="http://schemas.microsoft.com/office/drawing/2014/main" id="{4FFA86C9-8233-4995-9904-AB7BC85BF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9" y="2254"/>
                <a:ext cx="48" cy="30"/>
              </a:xfrm>
              <a:custGeom>
                <a:avLst/>
                <a:gdLst>
                  <a:gd name="T0" fmla="*/ 5 w 20"/>
                  <a:gd name="T1" fmla="*/ 13 h 13"/>
                  <a:gd name="T2" fmla="*/ 4 w 20"/>
                  <a:gd name="T3" fmla="*/ 13 h 13"/>
                  <a:gd name="T4" fmla="*/ 1 w 20"/>
                  <a:gd name="T5" fmla="*/ 11 h 13"/>
                  <a:gd name="T6" fmla="*/ 0 w 20"/>
                  <a:gd name="T7" fmla="*/ 10 h 13"/>
                  <a:gd name="T8" fmla="*/ 1 w 20"/>
                  <a:gd name="T9" fmla="*/ 8 h 13"/>
                  <a:gd name="T10" fmla="*/ 15 w 20"/>
                  <a:gd name="T11" fmla="*/ 0 h 13"/>
                  <a:gd name="T12" fmla="*/ 17 w 20"/>
                  <a:gd name="T13" fmla="*/ 0 h 13"/>
                  <a:gd name="T14" fmla="*/ 19 w 20"/>
                  <a:gd name="T15" fmla="*/ 1 h 13"/>
                  <a:gd name="T16" fmla="*/ 20 w 20"/>
                  <a:gd name="T17" fmla="*/ 3 h 13"/>
                  <a:gd name="T18" fmla="*/ 19 w 20"/>
                  <a:gd name="T19" fmla="*/ 5 h 13"/>
                  <a:gd name="T20" fmla="*/ 7 w 20"/>
                  <a:gd name="T21" fmla="*/ 12 h 13"/>
                  <a:gd name="T22" fmla="*/ 6 w 20"/>
                  <a:gd name="T23" fmla="*/ 13 h 13"/>
                  <a:gd name="T24" fmla="*/ 5 w 20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3">
                    <a:moveTo>
                      <a:pt x="5" y="13"/>
                    </a:moveTo>
                    <a:cubicBezTo>
                      <a:pt x="5" y="13"/>
                      <a:pt x="4" y="13"/>
                      <a:pt x="4" y="13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0"/>
                      <a:pt x="0" y="10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2"/>
                      <a:pt x="20" y="2"/>
                      <a:pt x="20" y="3"/>
                    </a:cubicBezTo>
                    <a:cubicBezTo>
                      <a:pt x="20" y="4"/>
                      <a:pt x="19" y="4"/>
                      <a:pt x="19" y="5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3"/>
                      <a:pt x="6" y="13"/>
                    </a:cubicBezTo>
                    <a:cubicBezTo>
                      <a:pt x="6" y="13"/>
                      <a:pt x="6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5" name="Freeform 1063">
                <a:extLst>
                  <a:ext uri="{FF2B5EF4-FFF2-40B4-BE49-F238E27FC236}">
                    <a16:creationId xmlns:a16="http://schemas.microsoft.com/office/drawing/2014/main" id="{DD486739-8459-4874-982A-F344AED6F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1769"/>
                <a:ext cx="317" cy="464"/>
              </a:xfrm>
              <a:custGeom>
                <a:avLst/>
                <a:gdLst>
                  <a:gd name="T0" fmla="*/ 111 w 134"/>
                  <a:gd name="T1" fmla="*/ 196 h 196"/>
                  <a:gd name="T2" fmla="*/ 110 w 134"/>
                  <a:gd name="T3" fmla="*/ 196 h 196"/>
                  <a:gd name="T4" fmla="*/ 1 w 134"/>
                  <a:gd name="T5" fmla="*/ 133 h 196"/>
                  <a:gd name="T6" fmla="*/ 0 w 134"/>
                  <a:gd name="T7" fmla="*/ 132 h 196"/>
                  <a:gd name="T8" fmla="*/ 0 w 134"/>
                  <a:gd name="T9" fmla="*/ 2 h 196"/>
                  <a:gd name="T10" fmla="*/ 1 w 134"/>
                  <a:gd name="T11" fmla="*/ 1 h 196"/>
                  <a:gd name="T12" fmla="*/ 3 w 134"/>
                  <a:gd name="T13" fmla="*/ 1 h 196"/>
                  <a:gd name="T14" fmla="*/ 39 w 134"/>
                  <a:gd name="T15" fmla="*/ 22 h 196"/>
                  <a:gd name="T16" fmla="*/ 57 w 134"/>
                  <a:gd name="T17" fmla="*/ 12 h 196"/>
                  <a:gd name="T18" fmla="*/ 59 w 134"/>
                  <a:gd name="T19" fmla="*/ 12 h 196"/>
                  <a:gd name="T20" fmla="*/ 133 w 134"/>
                  <a:gd name="T21" fmla="*/ 55 h 196"/>
                  <a:gd name="T22" fmla="*/ 134 w 134"/>
                  <a:gd name="T23" fmla="*/ 56 h 196"/>
                  <a:gd name="T24" fmla="*/ 134 w 134"/>
                  <a:gd name="T25" fmla="*/ 63 h 196"/>
                  <a:gd name="T26" fmla="*/ 133 w 134"/>
                  <a:gd name="T27" fmla="*/ 65 h 196"/>
                  <a:gd name="T28" fmla="*/ 113 w 134"/>
                  <a:gd name="T29" fmla="*/ 77 h 196"/>
                  <a:gd name="T30" fmla="*/ 113 w 134"/>
                  <a:gd name="T31" fmla="*/ 194 h 196"/>
                  <a:gd name="T32" fmla="*/ 112 w 134"/>
                  <a:gd name="T33" fmla="*/ 196 h 196"/>
                  <a:gd name="T34" fmla="*/ 111 w 134"/>
                  <a:gd name="T35" fmla="*/ 196 h 196"/>
                  <a:gd name="T36" fmla="*/ 4 w 134"/>
                  <a:gd name="T37" fmla="*/ 130 h 196"/>
                  <a:gd name="T38" fmla="*/ 109 w 134"/>
                  <a:gd name="T39" fmla="*/ 191 h 196"/>
                  <a:gd name="T40" fmla="*/ 109 w 134"/>
                  <a:gd name="T41" fmla="*/ 75 h 196"/>
                  <a:gd name="T42" fmla="*/ 110 w 134"/>
                  <a:gd name="T43" fmla="*/ 74 h 196"/>
                  <a:gd name="T44" fmla="*/ 130 w 134"/>
                  <a:gd name="T45" fmla="*/ 62 h 196"/>
                  <a:gd name="T46" fmla="*/ 130 w 134"/>
                  <a:gd name="T47" fmla="*/ 58 h 196"/>
                  <a:gd name="T48" fmla="*/ 58 w 134"/>
                  <a:gd name="T49" fmla="*/ 16 h 196"/>
                  <a:gd name="T50" fmla="*/ 40 w 134"/>
                  <a:gd name="T51" fmla="*/ 26 h 196"/>
                  <a:gd name="T52" fmla="*/ 38 w 134"/>
                  <a:gd name="T53" fmla="*/ 26 h 196"/>
                  <a:gd name="T54" fmla="*/ 4 w 134"/>
                  <a:gd name="T55" fmla="*/ 6 h 196"/>
                  <a:gd name="T56" fmla="*/ 4 w 134"/>
                  <a:gd name="T57" fmla="*/ 130 h 196"/>
                  <a:gd name="T58" fmla="*/ 132 w 134"/>
                  <a:gd name="T59" fmla="*/ 63 h 196"/>
                  <a:gd name="T60" fmla="*/ 132 w 134"/>
                  <a:gd name="T61" fmla="*/ 63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4" h="196">
                    <a:moveTo>
                      <a:pt x="111" y="196"/>
                    </a:moveTo>
                    <a:cubicBezTo>
                      <a:pt x="110" y="196"/>
                      <a:pt x="110" y="196"/>
                      <a:pt x="110" y="196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57" y="12"/>
                      <a:pt x="57" y="12"/>
                      <a:pt x="57" y="12"/>
                    </a:cubicBezTo>
                    <a:cubicBezTo>
                      <a:pt x="57" y="11"/>
                      <a:pt x="58" y="11"/>
                      <a:pt x="59" y="12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4" y="56"/>
                      <a:pt x="134" y="56"/>
                    </a:cubicBezTo>
                    <a:cubicBezTo>
                      <a:pt x="134" y="63"/>
                      <a:pt x="134" y="63"/>
                      <a:pt x="134" y="63"/>
                    </a:cubicBezTo>
                    <a:cubicBezTo>
                      <a:pt x="134" y="64"/>
                      <a:pt x="133" y="64"/>
                      <a:pt x="133" y="65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3" y="194"/>
                      <a:pt x="113" y="194"/>
                      <a:pt x="113" y="194"/>
                    </a:cubicBezTo>
                    <a:cubicBezTo>
                      <a:pt x="113" y="195"/>
                      <a:pt x="112" y="196"/>
                      <a:pt x="112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lose/>
                    <a:moveTo>
                      <a:pt x="4" y="130"/>
                    </a:moveTo>
                    <a:cubicBezTo>
                      <a:pt x="109" y="191"/>
                      <a:pt x="109" y="191"/>
                      <a:pt x="109" y="191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09" y="75"/>
                      <a:pt x="109" y="74"/>
                      <a:pt x="110" y="74"/>
                    </a:cubicBezTo>
                    <a:cubicBezTo>
                      <a:pt x="130" y="62"/>
                      <a:pt x="130" y="62"/>
                      <a:pt x="130" y="62"/>
                    </a:cubicBezTo>
                    <a:cubicBezTo>
                      <a:pt x="130" y="58"/>
                      <a:pt x="130" y="58"/>
                      <a:pt x="130" y="58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39" y="26"/>
                      <a:pt x="38" y="2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0"/>
                    </a:lnTo>
                    <a:close/>
                    <a:moveTo>
                      <a:pt x="132" y="63"/>
                    </a:moveTo>
                    <a:cubicBezTo>
                      <a:pt x="132" y="63"/>
                      <a:pt x="132" y="63"/>
                      <a:pt x="132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6" name="Freeform 1064">
                <a:extLst>
                  <a:ext uri="{FF2B5EF4-FFF2-40B4-BE49-F238E27FC236}">
                    <a16:creationId xmlns:a16="http://schemas.microsoft.com/office/drawing/2014/main" id="{6A9F9208-5539-4597-8A76-A7860B64B6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15" y="3293"/>
                <a:ext cx="97" cy="116"/>
              </a:xfrm>
              <a:custGeom>
                <a:avLst/>
                <a:gdLst>
                  <a:gd name="T0" fmla="*/ 39 w 41"/>
                  <a:gd name="T1" fmla="*/ 49 h 49"/>
                  <a:gd name="T2" fmla="*/ 38 w 41"/>
                  <a:gd name="T3" fmla="*/ 49 h 49"/>
                  <a:gd name="T4" fmla="*/ 1 w 41"/>
                  <a:gd name="T5" fmla="*/ 27 h 49"/>
                  <a:gd name="T6" fmla="*/ 0 w 41"/>
                  <a:gd name="T7" fmla="*/ 25 h 49"/>
                  <a:gd name="T8" fmla="*/ 0 w 41"/>
                  <a:gd name="T9" fmla="*/ 2 h 49"/>
                  <a:gd name="T10" fmla="*/ 1 w 41"/>
                  <a:gd name="T11" fmla="*/ 0 h 49"/>
                  <a:gd name="T12" fmla="*/ 3 w 41"/>
                  <a:gd name="T13" fmla="*/ 0 h 49"/>
                  <a:gd name="T14" fmla="*/ 40 w 41"/>
                  <a:gd name="T15" fmla="*/ 22 h 49"/>
                  <a:gd name="T16" fmla="*/ 41 w 41"/>
                  <a:gd name="T17" fmla="*/ 24 h 49"/>
                  <a:gd name="T18" fmla="*/ 41 w 41"/>
                  <a:gd name="T19" fmla="*/ 47 h 49"/>
                  <a:gd name="T20" fmla="*/ 40 w 41"/>
                  <a:gd name="T21" fmla="*/ 49 h 49"/>
                  <a:gd name="T22" fmla="*/ 39 w 41"/>
                  <a:gd name="T23" fmla="*/ 49 h 49"/>
                  <a:gd name="T24" fmla="*/ 4 w 41"/>
                  <a:gd name="T25" fmla="*/ 24 h 49"/>
                  <a:gd name="T26" fmla="*/ 37 w 41"/>
                  <a:gd name="T27" fmla="*/ 44 h 49"/>
                  <a:gd name="T28" fmla="*/ 37 w 41"/>
                  <a:gd name="T29" fmla="*/ 25 h 49"/>
                  <a:gd name="T30" fmla="*/ 4 w 41"/>
                  <a:gd name="T31" fmla="*/ 6 h 49"/>
                  <a:gd name="T32" fmla="*/ 4 w 41"/>
                  <a:gd name="T33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" h="49">
                    <a:moveTo>
                      <a:pt x="39" y="49"/>
                    </a:moveTo>
                    <a:cubicBezTo>
                      <a:pt x="39" y="49"/>
                      <a:pt x="39" y="49"/>
                      <a:pt x="38" y="49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7"/>
                      <a:pt x="0" y="26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3"/>
                      <a:pt x="41" y="23"/>
                      <a:pt x="41" y="24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8"/>
                      <a:pt x="41" y="49"/>
                      <a:pt x="40" y="49"/>
                    </a:cubicBezTo>
                    <a:cubicBezTo>
                      <a:pt x="40" y="49"/>
                      <a:pt x="40" y="49"/>
                      <a:pt x="39" y="49"/>
                    </a:cubicBezTo>
                    <a:close/>
                    <a:moveTo>
                      <a:pt x="4" y="24"/>
                    </a:moveTo>
                    <a:cubicBezTo>
                      <a:pt x="37" y="44"/>
                      <a:pt x="37" y="44"/>
                      <a:pt x="37" y="44"/>
                    </a:cubicBezTo>
                    <a:cubicBezTo>
                      <a:pt x="37" y="25"/>
                      <a:pt x="37" y="25"/>
                      <a:pt x="37" y="25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7" name="Freeform 1065">
                <a:extLst>
                  <a:ext uri="{FF2B5EF4-FFF2-40B4-BE49-F238E27FC236}">
                    <a16:creationId xmlns:a16="http://schemas.microsoft.com/office/drawing/2014/main" id="{41B62772-F8C4-4453-B314-96323DF42A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65" y="713"/>
                <a:ext cx="773" cy="1014"/>
              </a:xfrm>
              <a:custGeom>
                <a:avLst/>
                <a:gdLst>
                  <a:gd name="T0" fmla="*/ 66 w 327"/>
                  <a:gd name="T1" fmla="*/ 429 h 429"/>
                  <a:gd name="T2" fmla="*/ 65 w 327"/>
                  <a:gd name="T3" fmla="*/ 275 h 429"/>
                  <a:gd name="T4" fmla="*/ 0 w 327"/>
                  <a:gd name="T5" fmla="*/ 236 h 429"/>
                  <a:gd name="T6" fmla="*/ 94 w 327"/>
                  <a:gd name="T7" fmla="*/ 181 h 429"/>
                  <a:gd name="T8" fmla="*/ 111 w 327"/>
                  <a:gd name="T9" fmla="*/ 189 h 429"/>
                  <a:gd name="T10" fmla="*/ 76 w 327"/>
                  <a:gd name="T11" fmla="*/ 99 h 429"/>
                  <a:gd name="T12" fmla="*/ 75 w 327"/>
                  <a:gd name="T13" fmla="*/ 44 h 429"/>
                  <a:gd name="T14" fmla="*/ 110 w 327"/>
                  <a:gd name="T15" fmla="*/ 23 h 429"/>
                  <a:gd name="T16" fmla="*/ 118 w 327"/>
                  <a:gd name="T17" fmla="*/ 17 h 429"/>
                  <a:gd name="T18" fmla="*/ 119 w 327"/>
                  <a:gd name="T19" fmla="*/ 7 h 429"/>
                  <a:gd name="T20" fmla="*/ 132 w 327"/>
                  <a:gd name="T21" fmla="*/ 1 h 429"/>
                  <a:gd name="T22" fmla="*/ 133 w 327"/>
                  <a:gd name="T23" fmla="*/ 7 h 429"/>
                  <a:gd name="T24" fmla="*/ 186 w 327"/>
                  <a:gd name="T25" fmla="*/ 39 h 429"/>
                  <a:gd name="T26" fmla="*/ 185 w 327"/>
                  <a:gd name="T27" fmla="*/ 57 h 429"/>
                  <a:gd name="T28" fmla="*/ 121 w 327"/>
                  <a:gd name="T29" fmla="*/ 168 h 429"/>
                  <a:gd name="T30" fmla="*/ 130 w 327"/>
                  <a:gd name="T31" fmla="*/ 163 h 429"/>
                  <a:gd name="T32" fmla="*/ 327 w 327"/>
                  <a:gd name="T33" fmla="*/ 278 h 429"/>
                  <a:gd name="T34" fmla="*/ 318 w 327"/>
                  <a:gd name="T35" fmla="*/ 284 h 429"/>
                  <a:gd name="T36" fmla="*/ 317 w 327"/>
                  <a:gd name="T37" fmla="*/ 352 h 429"/>
                  <a:gd name="T38" fmla="*/ 302 w 327"/>
                  <a:gd name="T39" fmla="*/ 360 h 429"/>
                  <a:gd name="T40" fmla="*/ 301 w 327"/>
                  <a:gd name="T41" fmla="*/ 302 h 429"/>
                  <a:gd name="T42" fmla="*/ 177 w 327"/>
                  <a:gd name="T43" fmla="*/ 255 h 429"/>
                  <a:gd name="T44" fmla="*/ 78 w 327"/>
                  <a:gd name="T45" fmla="*/ 314 h 429"/>
                  <a:gd name="T46" fmla="*/ 77 w 327"/>
                  <a:gd name="T47" fmla="*/ 387 h 429"/>
                  <a:gd name="T48" fmla="*/ 77 w 327"/>
                  <a:gd name="T49" fmla="*/ 391 h 429"/>
                  <a:gd name="T50" fmla="*/ 78 w 327"/>
                  <a:gd name="T51" fmla="*/ 422 h 429"/>
                  <a:gd name="T52" fmla="*/ 68 w 327"/>
                  <a:gd name="T53" fmla="*/ 429 h 429"/>
                  <a:gd name="T54" fmla="*/ 69 w 327"/>
                  <a:gd name="T55" fmla="*/ 391 h 429"/>
                  <a:gd name="T56" fmla="*/ 74 w 327"/>
                  <a:gd name="T57" fmla="*/ 420 h 429"/>
                  <a:gd name="T58" fmla="*/ 69 w 327"/>
                  <a:gd name="T59" fmla="*/ 391 h 429"/>
                  <a:gd name="T60" fmla="*/ 68 w 327"/>
                  <a:gd name="T61" fmla="*/ 272 h 429"/>
                  <a:gd name="T62" fmla="*/ 69 w 327"/>
                  <a:gd name="T63" fmla="*/ 387 h 429"/>
                  <a:gd name="T64" fmla="*/ 74 w 327"/>
                  <a:gd name="T65" fmla="*/ 312 h 429"/>
                  <a:gd name="T66" fmla="*/ 173 w 327"/>
                  <a:gd name="T67" fmla="*/ 254 h 429"/>
                  <a:gd name="T68" fmla="*/ 174 w 327"/>
                  <a:gd name="T69" fmla="*/ 225 h 429"/>
                  <a:gd name="T70" fmla="*/ 304 w 327"/>
                  <a:gd name="T71" fmla="*/ 299 h 429"/>
                  <a:gd name="T72" fmla="*/ 305 w 327"/>
                  <a:gd name="T73" fmla="*/ 354 h 429"/>
                  <a:gd name="T74" fmla="*/ 314 w 327"/>
                  <a:gd name="T75" fmla="*/ 283 h 429"/>
                  <a:gd name="T76" fmla="*/ 321 w 327"/>
                  <a:gd name="T77" fmla="*/ 278 h 429"/>
                  <a:gd name="T78" fmla="*/ 120 w 327"/>
                  <a:gd name="T79" fmla="*/ 173 h 429"/>
                  <a:gd name="T80" fmla="*/ 117 w 327"/>
                  <a:gd name="T81" fmla="*/ 171 h 429"/>
                  <a:gd name="T82" fmla="*/ 118 w 327"/>
                  <a:gd name="T83" fmla="*/ 92 h 429"/>
                  <a:gd name="T84" fmla="*/ 182 w 327"/>
                  <a:gd name="T85" fmla="*/ 40 h 429"/>
                  <a:gd name="T86" fmla="*/ 129 w 327"/>
                  <a:gd name="T87" fmla="*/ 8 h 429"/>
                  <a:gd name="T88" fmla="*/ 122 w 327"/>
                  <a:gd name="T89" fmla="*/ 10 h 429"/>
                  <a:gd name="T90" fmla="*/ 121 w 327"/>
                  <a:gd name="T91" fmla="*/ 20 h 429"/>
                  <a:gd name="T92" fmla="*/ 113 w 327"/>
                  <a:gd name="T93" fmla="*/ 25 h 429"/>
                  <a:gd name="T94" fmla="*/ 79 w 327"/>
                  <a:gd name="T95" fmla="*/ 96 h 429"/>
                  <a:gd name="T96" fmla="*/ 115 w 327"/>
                  <a:gd name="T97" fmla="*/ 117 h 429"/>
                  <a:gd name="T98" fmla="*/ 114 w 327"/>
                  <a:gd name="T99" fmla="*/ 194 h 429"/>
                  <a:gd name="T100" fmla="*/ 95 w 327"/>
                  <a:gd name="T101" fmla="*/ 185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7" h="429">
                    <a:moveTo>
                      <a:pt x="67" y="429"/>
                    </a:move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8"/>
                      <a:pt x="65" y="428"/>
                      <a:pt x="65" y="427"/>
                    </a:cubicBezTo>
                    <a:cubicBezTo>
                      <a:pt x="65" y="275"/>
                      <a:pt x="65" y="275"/>
                      <a:pt x="65" y="275"/>
                    </a:cubicBezTo>
                    <a:cubicBezTo>
                      <a:pt x="1" y="238"/>
                      <a:pt x="1" y="238"/>
                      <a:pt x="1" y="238"/>
                    </a:cubicBezTo>
                    <a:cubicBezTo>
                      <a:pt x="0" y="238"/>
                      <a:pt x="0" y="237"/>
                      <a:pt x="0" y="236"/>
                    </a:cubicBezTo>
                    <a:cubicBezTo>
                      <a:pt x="0" y="236"/>
                      <a:pt x="0" y="235"/>
                      <a:pt x="1" y="235"/>
                    </a:cubicBezTo>
                    <a:cubicBezTo>
                      <a:pt x="94" y="181"/>
                      <a:pt x="94" y="181"/>
                      <a:pt x="94" y="181"/>
                    </a:cubicBezTo>
                    <a:cubicBezTo>
                      <a:pt x="95" y="180"/>
                      <a:pt x="95" y="180"/>
                      <a:pt x="96" y="181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118"/>
                      <a:pt x="111" y="118"/>
                      <a:pt x="111" y="118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98"/>
                      <a:pt x="75" y="98"/>
                      <a:pt x="75" y="97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5" y="43"/>
                      <a:pt x="76" y="42"/>
                      <a:pt x="76" y="42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0" y="22"/>
                      <a:pt x="110" y="22"/>
                      <a:pt x="111" y="22"/>
                    </a:cubicBezTo>
                    <a:cubicBezTo>
                      <a:pt x="118" y="17"/>
                      <a:pt x="118" y="17"/>
                      <a:pt x="118" y="17"/>
                    </a:cubicBezTo>
                    <a:cubicBezTo>
                      <a:pt x="118" y="9"/>
                      <a:pt x="118" y="9"/>
                      <a:pt x="118" y="9"/>
                    </a:cubicBezTo>
                    <a:cubicBezTo>
                      <a:pt x="118" y="8"/>
                      <a:pt x="119" y="7"/>
                      <a:pt x="119" y="7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1" y="0"/>
                      <a:pt x="132" y="1"/>
                    </a:cubicBezTo>
                    <a:cubicBezTo>
                      <a:pt x="133" y="1"/>
                      <a:pt x="133" y="2"/>
                      <a:pt x="133" y="2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6" y="38"/>
                      <a:pt x="186" y="38"/>
                      <a:pt x="186" y="39"/>
                    </a:cubicBezTo>
                    <a:cubicBezTo>
                      <a:pt x="186" y="55"/>
                      <a:pt x="186" y="55"/>
                      <a:pt x="186" y="55"/>
                    </a:cubicBezTo>
                    <a:cubicBezTo>
                      <a:pt x="186" y="56"/>
                      <a:pt x="186" y="57"/>
                      <a:pt x="185" y="57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68"/>
                      <a:pt x="121" y="168"/>
                      <a:pt x="121" y="168"/>
                    </a:cubicBezTo>
                    <a:cubicBezTo>
                      <a:pt x="128" y="163"/>
                      <a:pt x="128" y="163"/>
                      <a:pt x="128" y="163"/>
                    </a:cubicBezTo>
                    <a:cubicBezTo>
                      <a:pt x="129" y="163"/>
                      <a:pt x="130" y="163"/>
                      <a:pt x="130" y="163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7"/>
                      <a:pt x="327" y="277"/>
                      <a:pt x="327" y="278"/>
                    </a:cubicBezTo>
                    <a:cubicBezTo>
                      <a:pt x="327" y="279"/>
                      <a:pt x="326" y="279"/>
                      <a:pt x="326" y="280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8" y="351"/>
                      <a:pt x="318" y="351"/>
                      <a:pt x="318" y="351"/>
                    </a:cubicBezTo>
                    <a:cubicBezTo>
                      <a:pt x="318" y="351"/>
                      <a:pt x="317" y="352"/>
                      <a:pt x="317" y="352"/>
                    </a:cubicBezTo>
                    <a:cubicBezTo>
                      <a:pt x="304" y="360"/>
                      <a:pt x="304" y="360"/>
                      <a:pt x="304" y="360"/>
                    </a:cubicBezTo>
                    <a:cubicBezTo>
                      <a:pt x="304" y="360"/>
                      <a:pt x="303" y="360"/>
                      <a:pt x="302" y="360"/>
                    </a:cubicBezTo>
                    <a:cubicBezTo>
                      <a:pt x="302" y="359"/>
                      <a:pt x="301" y="359"/>
                      <a:pt x="301" y="358"/>
                    </a:cubicBezTo>
                    <a:cubicBezTo>
                      <a:pt x="301" y="302"/>
                      <a:pt x="301" y="302"/>
                      <a:pt x="301" y="302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177" y="255"/>
                      <a:pt x="177" y="255"/>
                      <a:pt x="177" y="255"/>
                    </a:cubicBezTo>
                    <a:cubicBezTo>
                      <a:pt x="177" y="256"/>
                      <a:pt x="176" y="257"/>
                      <a:pt x="176" y="257"/>
                    </a:cubicBezTo>
                    <a:cubicBezTo>
                      <a:pt x="78" y="314"/>
                      <a:pt x="78" y="314"/>
                      <a:pt x="78" y="314"/>
                    </a:cubicBezTo>
                    <a:cubicBezTo>
                      <a:pt x="78" y="385"/>
                      <a:pt x="78" y="385"/>
                      <a:pt x="78" y="385"/>
                    </a:cubicBezTo>
                    <a:cubicBezTo>
                      <a:pt x="78" y="386"/>
                      <a:pt x="77" y="386"/>
                      <a:pt x="77" y="387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7" y="391"/>
                      <a:pt x="77" y="391"/>
                      <a:pt x="77" y="391"/>
                    </a:cubicBezTo>
                    <a:cubicBezTo>
                      <a:pt x="77" y="392"/>
                      <a:pt x="78" y="392"/>
                      <a:pt x="78" y="393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8" y="422"/>
                      <a:pt x="77" y="423"/>
                      <a:pt x="77" y="423"/>
                    </a:cubicBezTo>
                    <a:cubicBezTo>
                      <a:pt x="68" y="429"/>
                      <a:pt x="68" y="429"/>
                      <a:pt x="68" y="429"/>
                    </a:cubicBezTo>
                    <a:cubicBezTo>
                      <a:pt x="67" y="429"/>
                      <a:pt x="67" y="429"/>
                      <a:pt x="67" y="429"/>
                    </a:cubicBezTo>
                    <a:close/>
                    <a:moveTo>
                      <a:pt x="69" y="391"/>
                    </a:moveTo>
                    <a:cubicBezTo>
                      <a:pt x="69" y="423"/>
                      <a:pt x="69" y="423"/>
                      <a:pt x="69" y="423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4" y="394"/>
                      <a:pt x="74" y="394"/>
                      <a:pt x="74" y="394"/>
                    </a:cubicBezTo>
                    <a:lnTo>
                      <a:pt x="69" y="391"/>
                    </a:lnTo>
                    <a:close/>
                    <a:moveTo>
                      <a:pt x="6" y="236"/>
                    </a:moveTo>
                    <a:cubicBezTo>
                      <a:pt x="68" y="272"/>
                      <a:pt x="68" y="272"/>
                      <a:pt x="68" y="272"/>
                    </a:cubicBezTo>
                    <a:cubicBezTo>
                      <a:pt x="68" y="273"/>
                      <a:pt x="69" y="273"/>
                      <a:pt x="69" y="274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4" y="312"/>
                      <a:pt x="74" y="311"/>
                      <a:pt x="75" y="311"/>
                    </a:cubicBezTo>
                    <a:cubicBezTo>
                      <a:pt x="173" y="254"/>
                      <a:pt x="173" y="254"/>
                      <a:pt x="173" y="254"/>
                    </a:cubicBezTo>
                    <a:cubicBezTo>
                      <a:pt x="173" y="226"/>
                      <a:pt x="173" y="226"/>
                      <a:pt x="173" y="226"/>
                    </a:cubicBezTo>
                    <a:cubicBezTo>
                      <a:pt x="173" y="226"/>
                      <a:pt x="173" y="225"/>
                      <a:pt x="174" y="225"/>
                    </a:cubicBezTo>
                    <a:cubicBezTo>
                      <a:pt x="174" y="224"/>
                      <a:pt x="175" y="224"/>
                      <a:pt x="176" y="225"/>
                    </a:cubicBezTo>
                    <a:cubicBezTo>
                      <a:pt x="304" y="299"/>
                      <a:pt x="304" y="299"/>
                      <a:pt x="304" y="299"/>
                    </a:cubicBezTo>
                    <a:cubicBezTo>
                      <a:pt x="305" y="299"/>
                      <a:pt x="305" y="300"/>
                      <a:pt x="305" y="301"/>
                    </a:cubicBezTo>
                    <a:cubicBezTo>
                      <a:pt x="305" y="354"/>
                      <a:pt x="305" y="354"/>
                      <a:pt x="305" y="354"/>
                    </a:cubicBezTo>
                    <a:cubicBezTo>
                      <a:pt x="314" y="349"/>
                      <a:pt x="314" y="349"/>
                      <a:pt x="314" y="349"/>
                    </a:cubicBezTo>
                    <a:cubicBezTo>
                      <a:pt x="314" y="283"/>
                      <a:pt x="314" y="283"/>
                      <a:pt x="314" y="283"/>
                    </a:cubicBezTo>
                    <a:cubicBezTo>
                      <a:pt x="314" y="282"/>
                      <a:pt x="314" y="282"/>
                      <a:pt x="315" y="281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129" y="167"/>
                      <a:pt x="129" y="167"/>
                      <a:pt x="129" y="167"/>
                    </a:cubicBezTo>
                    <a:cubicBezTo>
                      <a:pt x="120" y="173"/>
                      <a:pt x="120" y="173"/>
                      <a:pt x="120" y="173"/>
                    </a:cubicBezTo>
                    <a:cubicBezTo>
                      <a:pt x="119" y="173"/>
                      <a:pt x="118" y="173"/>
                      <a:pt x="118" y="173"/>
                    </a:cubicBezTo>
                    <a:cubicBezTo>
                      <a:pt x="117" y="173"/>
                      <a:pt x="117" y="172"/>
                      <a:pt x="117" y="171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7" y="93"/>
                      <a:pt x="117" y="92"/>
                      <a:pt x="118" y="92"/>
                    </a:cubicBezTo>
                    <a:cubicBezTo>
                      <a:pt x="182" y="54"/>
                      <a:pt x="182" y="54"/>
                      <a:pt x="182" y="54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9"/>
                      <a:pt x="129" y="8"/>
                    </a:cubicBezTo>
                    <a:cubicBezTo>
                      <a:pt x="129" y="6"/>
                      <a:pt x="129" y="6"/>
                      <a:pt x="129" y="6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2" y="19"/>
                      <a:pt x="122" y="20"/>
                      <a:pt x="121" y="20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4" y="25"/>
                      <a:pt x="114" y="25"/>
                      <a:pt x="113" y="25"/>
                    </a:cubicBezTo>
                    <a:cubicBezTo>
                      <a:pt x="79" y="45"/>
                      <a:pt x="79" y="45"/>
                      <a:pt x="79" y="45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114" y="116"/>
                      <a:pt x="114" y="116"/>
                      <a:pt x="114" y="116"/>
                    </a:cubicBezTo>
                    <a:cubicBezTo>
                      <a:pt x="114" y="116"/>
                      <a:pt x="115" y="117"/>
                      <a:pt x="115" y="117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4" y="194"/>
                      <a:pt x="114" y="194"/>
                    </a:cubicBezTo>
                    <a:cubicBezTo>
                      <a:pt x="113" y="195"/>
                      <a:pt x="112" y="195"/>
                      <a:pt x="112" y="194"/>
                    </a:cubicBezTo>
                    <a:cubicBezTo>
                      <a:pt x="95" y="185"/>
                      <a:pt x="95" y="185"/>
                      <a:pt x="95" y="185"/>
                    </a:cubicBezTo>
                    <a:lnTo>
                      <a:pt x="6" y="2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8" name="Freeform 1066">
                <a:extLst>
                  <a:ext uri="{FF2B5EF4-FFF2-40B4-BE49-F238E27FC236}">
                    <a16:creationId xmlns:a16="http://schemas.microsoft.com/office/drawing/2014/main" id="{2619DDB2-1BD7-4B29-BE9C-D1CB9FE52F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6" y="2464"/>
                <a:ext cx="607" cy="1035"/>
              </a:xfrm>
              <a:custGeom>
                <a:avLst/>
                <a:gdLst>
                  <a:gd name="T0" fmla="*/ 255 w 257"/>
                  <a:gd name="T1" fmla="*/ 438 h 438"/>
                  <a:gd name="T2" fmla="*/ 254 w 257"/>
                  <a:gd name="T3" fmla="*/ 437 h 438"/>
                  <a:gd name="T4" fmla="*/ 162 w 257"/>
                  <a:gd name="T5" fmla="*/ 385 h 438"/>
                  <a:gd name="T6" fmla="*/ 161 w 257"/>
                  <a:gd name="T7" fmla="*/ 383 h 438"/>
                  <a:gd name="T8" fmla="*/ 161 w 257"/>
                  <a:gd name="T9" fmla="*/ 343 h 438"/>
                  <a:gd name="T10" fmla="*/ 103 w 257"/>
                  <a:gd name="T11" fmla="*/ 309 h 438"/>
                  <a:gd name="T12" fmla="*/ 103 w 257"/>
                  <a:gd name="T13" fmla="*/ 350 h 438"/>
                  <a:gd name="T14" fmla="*/ 102 w 257"/>
                  <a:gd name="T15" fmla="*/ 352 h 438"/>
                  <a:gd name="T16" fmla="*/ 100 w 257"/>
                  <a:gd name="T17" fmla="*/ 352 h 438"/>
                  <a:gd name="T18" fmla="*/ 3 w 257"/>
                  <a:gd name="T19" fmla="*/ 296 h 438"/>
                  <a:gd name="T20" fmla="*/ 2 w 257"/>
                  <a:gd name="T21" fmla="*/ 294 h 438"/>
                  <a:gd name="T22" fmla="*/ 3 w 257"/>
                  <a:gd name="T23" fmla="*/ 293 h 438"/>
                  <a:gd name="T24" fmla="*/ 40 w 257"/>
                  <a:gd name="T25" fmla="*/ 271 h 438"/>
                  <a:gd name="T26" fmla="*/ 40 w 257"/>
                  <a:gd name="T27" fmla="*/ 134 h 438"/>
                  <a:gd name="T28" fmla="*/ 3 w 257"/>
                  <a:gd name="T29" fmla="*/ 155 h 438"/>
                  <a:gd name="T30" fmla="*/ 1 w 257"/>
                  <a:gd name="T31" fmla="*/ 155 h 438"/>
                  <a:gd name="T32" fmla="*/ 0 w 257"/>
                  <a:gd name="T33" fmla="*/ 154 h 438"/>
                  <a:gd name="T34" fmla="*/ 0 w 257"/>
                  <a:gd name="T35" fmla="*/ 2 h 438"/>
                  <a:gd name="T36" fmla="*/ 1 w 257"/>
                  <a:gd name="T37" fmla="*/ 1 h 438"/>
                  <a:gd name="T38" fmla="*/ 3 w 257"/>
                  <a:gd name="T39" fmla="*/ 1 h 438"/>
                  <a:gd name="T40" fmla="*/ 256 w 257"/>
                  <a:gd name="T41" fmla="*/ 146 h 438"/>
                  <a:gd name="T42" fmla="*/ 257 w 257"/>
                  <a:gd name="T43" fmla="*/ 148 h 438"/>
                  <a:gd name="T44" fmla="*/ 257 w 257"/>
                  <a:gd name="T45" fmla="*/ 436 h 438"/>
                  <a:gd name="T46" fmla="*/ 256 w 257"/>
                  <a:gd name="T47" fmla="*/ 437 h 438"/>
                  <a:gd name="T48" fmla="*/ 255 w 257"/>
                  <a:gd name="T49" fmla="*/ 438 h 438"/>
                  <a:gd name="T50" fmla="*/ 165 w 257"/>
                  <a:gd name="T51" fmla="*/ 382 h 438"/>
                  <a:gd name="T52" fmla="*/ 253 w 257"/>
                  <a:gd name="T53" fmla="*/ 432 h 438"/>
                  <a:gd name="T54" fmla="*/ 253 w 257"/>
                  <a:gd name="T55" fmla="*/ 149 h 438"/>
                  <a:gd name="T56" fmla="*/ 4 w 257"/>
                  <a:gd name="T57" fmla="*/ 6 h 438"/>
                  <a:gd name="T58" fmla="*/ 4 w 257"/>
                  <a:gd name="T59" fmla="*/ 150 h 438"/>
                  <a:gd name="T60" fmla="*/ 41 w 257"/>
                  <a:gd name="T61" fmla="*/ 129 h 438"/>
                  <a:gd name="T62" fmla="*/ 43 w 257"/>
                  <a:gd name="T63" fmla="*/ 129 h 438"/>
                  <a:gd name="T64" fmla="*/ 44 w 257"/>
                  <a:gd name="T65" fmla="*/ 131 h 438"/>
                  <a:gd name="T66" fmla="*/ 44 w 257"/>
                  <a:gd name="T67" fmla="*/ 272 h 438"/>
                  <a:gd name="T68" fmla="*/ 43 w 257"/>
                  <a:gd name="T69" fmla="*/ 274 h 438"/>
                  <a:gd name="T70" fmla="*/ 8 w 257"/>
                  <a:gd name="T71" fmla="*/ 294 h 438"/>
                  <a:gd name="T72" fmla="*/ 99 w 257"/>
                  <a:gd name="T73" fmla="*/ 347 h 438"/>
                  <a:gd name="T74" fmla="*/ 99 w 257"/>
                  <a:gd name="T75" fmla="*/ 305 h 438"/>
                  <a:gd name="T76" fmla="*/ 100 w 257"/>
                  <a:gd name="T77" fmla="*/ 304 h 438"/>
                  <a:gd name="T78" fmla="*/ 102 w 257"/>
                  <a:gd name="T79" fmla="*/ 304 h 438"/>
                  <a:gd name="T80" fmla="*/ 164 w 257"/>
                  <a:gd name="T81" fmla="*/ 340 h 438"/>
                  <a:gd name="T82" fmla="*/ 165 w 257"/>
                  <a:gd name="T83" fmla="*/ 341 h 438"/>
                  <a:gd name="T84" fmla="*/ 165 w 257"/>
                  <a:gd name="T85" fmla="*/ 382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7" h="438">
                    <a:moveTo>
                      <a:pt x="255" y="438"/>
                    </a:moveTo>
                    <a:cubicBezTo>
                      <a:pt x="254" y="438"/>
                      <a:pt x="254" y="438"/>
                      <a:pt x="254" y="437"/>
                    </a:cubicBezTo>
                    <a:cubicBezTo>
                      <a:pt x="162" y="385"/>
                      <a:pt x="162" y="385"/>
                      <a:pt x="162" y="385"/>
                    </a:cubicBezTo>
                    <a:cubicBezTo>
                      <a:pt x="162" y="384"/>
                      <a:pt x="161" y="384"/>
                      <a:pt x="161" y="383"/>
                    </a:cubicBezTo>
                    <a:cubicBezTo>
                      <a:pt x="161" y="343"/>
                      <a:pt x="161" y="343"/>
                      <a:pt x="161" y="343"/>
                    </a:cubicBezTo>
                    <a:cubicBezTo>
                      <a:pt x="103" y="309"/>
                      <a:pt x="103" y="309"/>
                      <a:pt x="103" y="309"/>
                    </a:cubicBezTo>
                    <a:cubicBezTo>
                      <a:pt x="103" y="350"/>
                      <a:pt x="103" y="350"/>
                      <a:pt x="103" y="350"/>
                    </a:cubicBezTo>
                    <a:cubicBezTo>
                      <a:pt x="103" y="351"/>
                      <a:pt x="103" y="352"/>
                      <a:pt x="102" y="352"/>
                    </a:cubicBezTo>
                    <a:cubicBezTo>
                      <a:pt x="101" y="352"/>
                      <a:pt x="101" y="352"/>
                      <a:pt x="100" y="352"/>
                    </a:cubicBezTo>
                    <a:cubicBezTo>
                      <a:pt x="3" y="296"/>
                      <a:pt x="3" y="296"/>
                      <a:pt x="3" y="296"/>
                    </a:cubicBezTo>
                    <a:cubicBezTo>
                      <a:pt x="2" y="296"/>
                      <a:pt x="2" y="295"/>
                      <a:pt x="2" y="294"/>
                    </a:cubicBezTo>
                    <a:cubicBezTo>
                      <a:pt x="2" y="294"/>
                      <a:pt x="2" y="293"/>
                      <a:pt x="3" y="293"/>
                    </a:cubicBezTo>
                    <a:cubicBezTo>
                      <a:pt x="40" y="271"/>
                      <a:pt x="40" y="271"/>
                      <a:pt x="40" y="271"/>
                    </a:cubicBezTo>
                    <a:cubicBezTo>
                      <a:pt x="40" y="134"/>
                      <a:pt x="40" y="134"/>
                      <a:pt x="40" y="134"/>
                    </a:cubicBezTo>
                    <a:cubicBezTo>
                      <a:pt x="3" y="155"/>
                      <a:pt x="3" y="155"/>
                      <a:pt x="3" y="155"/>
                    </a:cubicBezTo>
                    <a:cubicBezTo>
                      <a:pt x="2" y="156"/>
                      <a:pt x="2" y="156"/>
                      <a:pt x="1" y="155"/>
                    </a:cubicBezTo>
                    <a:cubicBezTo>
                      <a:pt x="0" y="155"/>
                      <a:pt x="0" y="154"/>
                      <a:pt x="0" y="15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256" y="146"/>
                      <a:pt x="256" y="146"/>
                      <a:pt x="256" y="146"/>
                    </a:cubicBezTo>
                    <a:cubicBezTo>
                      <a:pt x="256" y="147"/>
                      <a:pt x="257" y="147"/>
                      <a:pt x="257" y="148"/>
                    </a:cubicBezTo>
                    <a:cubicBezTo>
                      <a:pt x="257" y="436"/>
                      <a:pt x="257" y="436"/>
                      <a:pt x="257" y="436"/>
                    </a:cubicBezTo>
                    <a:cubicBezTo>
                      <a:pt x="257" y="436"/>
                      <a:pt x="256" y="437"/>
                      <a:pt x="256" y="437"/>
                    </a:cubicBezTo>
                    <a:cubicBezTo>
                      <a:pt x="255" y="438"/>
                      <a:pt x="255" y="438"/>
                      <a:pt x="255" y="438"/>
                    </a:cubicBezTo>
                    <a:close/>
                    <a:moveTo>
                      <a:pt x="165" y="382"/>
                    </a:moveTo>
                    <a:cubicBezTo>
                      <a:pt x="253" y="432"/>
                      <a:pt x="253" y="432"/>
                      <a:pt x="253" y="432"/>
                    </a:cubicBezTo>
                    <a:cubicBezTo>
                      <a:pt x="253" y="149"/>
                      <a:pt x="253" y="149"/>
                      <a:pt x="253" y="149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50"/>
                      <a:pt x="4" y="150"/>
                      <a:pt x="4" y="150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2" y="128"/>
                      <a:pt x="42" y="128"/>
                      <a:pt x="43" y="129"/>
                    </a:cubicBezTo>
                    <a:cubicBezTo>
                      <a:pt x="44" y="129"/>
                      <a:pt x="44" y="130"/>
                      <a:pt x="44" y="131"/>
                    </a:cubicBezTo>
                    <a:cubicBezTo>
                      <a:pt x="44" y="272"/>
                      <a:pt x="44" y="272"/>
                      <a:pt x="44" y="272"/>
                    </a:cubicBezTo>
                    <a:cubicBezTo>
                      <a:pt x="44" y="273"/>
                      <a:pt x="44" y="274"/>
                      <a:pt x="43" y="274"/>
                    </a:cubicBezTo>
                    <a:cubicBezTo>
                      <a:pt x="8" y="294"/>
                      <a:pt x="8" y="294"/>
                      <a:pt x="8" y="294"/>
                    </a:cubicBezTo>
                    <a:cubicBezTo>
                      <a:pt x="99" y="347"/>
                      <a:pt x="99" y="347"/>
                      <a:pt x="99" y="347"/>
                    </a:cubicBezTo>
                    <a:cubicBezTo>
                      <a:pt x="99" y="305"/>
                      <a:pt x="99" y="305"/>
                      <a:pt x="99" y="305"/>
                    </a:cubicBezTo>
                    <a:cubicBezTo>
                      <a:pt x="99" y="305"/>
                      <a:pt x="99" y="304"/>
                      <a:pt x="100" y="304"/>
                    </a:cubicBezTo>
                    <a:cubicBezTo>
                      <a:pt x="101" y="303"/>
                      <a:pt x="101" y="303"/>
                      <a:pt x="102" y="304"/>
                    </a:cubicBezTo>
                    <a:cubicBezTo>
                      <a:pt x="164" y="340"/>
                      <a:pt x="164" y="340"/>
                      <a:pt x="164" y="340"/>
                    </a:cubicBezTo>
                    <a:cubicBezTo>
                      <a:pt x="165" y="340"/>
                      <a:pt x="165" y="341"/>
                      <a:pt x="165" y="341"/>
                    </a:cubicBezTo>
                    <a:lnTo>
                      <a:pt x="165" y="3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9" name="Freeform 1067">
                <a:extLst>
                  <a:ext uri="{FF2B5EF4-FFF2-40B4-BE49-F238E27FC236}">
                    <a16:creationId xmlns:a16="http://schemas.microsoft.com/office/drawing/2014/main" id="{4DEBF910-EC6B-470C-9A8D-6D383794E9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5" y="2828"/>
                <a:ext cx="198" cy="444"/>
              </a:xfrm>
              <a:custGeom>
                <a:avLst/>
                <a:gdLst>
                  <a:gd name="T0" fmla="*/ 2 w 84"/>
                  <a:gd name="T1" fmla="*/ 188 h 188"/>
                  <a:gd name="T2" fmla="*/ 1 w 84"/>
                  <a:gd name="T3" fmla="*/ 188 h 188"/>
                  <a:gd name="T4" fmla="*/ 0 w 84"/>
                  <a:gd name="T5" fmla="*/ 186 h 188"/>
                  <a:gd name="T6" fmla="*/ 0 w 84"/>
                  <a:gd name="T7" fmla="*/ 48 h 188"/>
                  <a:gd name="T8" fmla="*/ 1 w 84"/>
                  <a:gd name="T9" fmla="*/ 47 h 188"/>
                  <a:gd name="T10" fmla="*/ 80 w 84"/>
                  <a:gd name="T11" fmla="*/ 1 h 188"/>
                  <a:gd name="T12" fmla="*/ 82 w 84"/>
                  <a:gd name="T13" fmla="*/ 1 h 188"/>
                  <a:gd name="T14" fmla="*/ 83 w 84"/>
                  <a:gd name="T15" fmla="*/ 2 h 188"/>
                  <a:gd name="T16" fmla="*/ 83 w 84"/>
                  <a:gd name="T17" fmla="*/ 139 h 188"/>
                  <a:gd name="T18" fmla="*/ 84 w 84"/>
                  <a:gd name="T19" fmla="*/ 140 h 188"/>
                  <a:gd name="T20" fmla="*/ 83 w 84"/>
                  <a:gd name="T21" fmla="*/ 142 h 188"/>
                  <a:gd name="T22" fmla="*/ 3 w 84"/>
                  <a:gd name="T23" fmla="*/ 188 h 188"/>
                  <a:gd name="T24" fmla="*/ 2 w 84"/>
                  <a:gd name="T25" fmla="*/ 188 h 188"/>
                  <a:gd name="T26" fmla="*/ 4 w 84"/>
                  <a:gd name="T27" fmla="*/ 50 h 188"/>
                  <a:gd name="T28" fmla="*/ 4 w 84"/>
                  <a:gd name="T29" fmla="*/ 183 h 188"/>
                  <a:gd name="T30" fmla="*/ 79 w 84"/>
                  <a:gd name="T31" fmla="*/ 139 h 188"/>
                  <a:gd name="T32" fmla="*/ 79 w 84"/>
                  <a:gd name="T33" fmla="*/ 6 h 188"/>
                  <a:gd name="T34" fmla="*/ 4 w 84"/>
                  <a:gd name="T35" fmla="*/ 5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4" h="188">
                    <a:moveTo>
                      <a:pt x="2" y="188"/>
                    </a:moveTo>
                    <a:cubicBezTo>
                      <a:pt x="1" y="188"/>
                      <a:pt x="1" y="188"/>
                      <a:pt x="1" y="188"/>
                    </a:cubicBezTo>
                    <a:cubicBezTo>
                      <a:pt x="0" y="188"/>
                      <a:pt x="0" y="187"/>
                      <a:pt x="0" y="186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0" y="47"/>
                      <a:pt x="1" y="47"/>
                    </a:cubicBezTo>
                    <a:cubicBezTo>
                      <a:pt x="80" y="1"/>
                      <a:pt x="80" y="1"/>
                      <a:pt x="80" y="1"/>
                    </a:cubicBezTo>
                    <a:cubicBezTo>
                      <a:pt x="81" y="0"/>
                      <a:pt x="82" y="0"/>
                      <a:pt x="82" y="1"/>
                    </a:cubicBezTo>
                    <a:cubicBezTo>
                      <a:pt x="83" y="1"/>
                      <a:pt x="83" y="2"/>
                      <a:pt x="83" y="2"/>
                    </a:cubicBezTo>
                    <a:cubicBezTo>
                      <a:pt x="83" y="139"/>
                      <a:pt x="83" y="139"/>
                      <a:pt x="83" y="139"/>
                    </a:cubicBezTo>
                    <a:cubicBezTo>
                      <a:pt x="84" y="140"/>
                      <a:pt x="84" y="140"/>
                      <a:pt x="84" y="140"/>
                    </a:cubicBezTo>
                    <a:cubicBezTo>
                      <a:pt x="84" y="141"/>
                      <a:pt x="83" y="142"/>
                      <a:pt x="83" y="142"/>
                    </a:cubicBezTo>
                    <a:cubicBezTo>
                      <a:pt x="3" y="188"/>
                      <a:pt x="3" y="188"/>
                      <a:pt x="3" y="188"/>
                    </a:cubicBezTo>
                    <a:cubicBezTo>
                      <a:pt x="2" y="188"/>
                      <a:pt x="2" y="188"/>
                      <a:pt x="2" y="188"/>
                    </a:cubicBezTo>
                    <a:close/>
                    <a:moveTo>
                      <a:pt x="4" y="50"/>
                    </a:moveTo>
                    <a:cubicBezTo>
                      <a:pt x="4" y="183"/>
                      <a:pt x="4" y="183"/>
                      <a:pt x="4" y="183"/>
                    </a:cubicBezTo>
                    <a:cubicBezTo>
                      <a:pt x="79" y="139"/>
                      <a:pt x="79" y="139"/>
                      <a:pt x="79" y="139"/>
                    </a:cubicBezTo>
                    <a:cubicBezTo>
                      <a:pt x="79" y="6"/>
                      <a:pt x="79" y="6"/>
                      <a:pt x="79" y="6"/>
                    </a:cubicBezTo>
                    <a:lnTo>
                      <a:pt x="4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0" name="Freeform 1068">
                <a:extLst>
                  <a:ext uri="{FF2B5EF4-FFF2-40B4-BE49-F238E27FC236}">
                    <a16:creationId xmlns:a16="http://schemas.microsoft.com/office/drawing/2014/main" id="{C5264780-A6B9-4B4E-A5FD-2D69A438F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6" y="2774"/>
                <a:ext cx="100" cy="387"/>
              </a:xfrm>
              <a:custGeom>
                <a:avLst/>
                <a:gdLst>
                  <a:gd name="T0" fmla="*/ 2 w 42"/>
                  <a:gd name="T1" fmla="*/ 164 h 164"/>
                  <a:gd name="T2" fmla="*/ 1 w 42"/>
                  <a:gd name="T3" fmla="*/ 164 h 164"/>
                  <a:gd name="T4" fmla="*/ 0 w 42"/>
                  <a:gd name="T5" fmla="*/ 162 h 164"/>
                  <a:gd name="T6" fmla="*/ 0 w 42"/>
                  <a:gd name="T7" fmla="*/ 24 h 164"/>
                  <a:gd name="T8" fmla="*/ 1 w 42"/>
                  <a:gd name="T9" fmla="*/ 23 h 164"/>
                  <a:gd name="T10" fmla="*/ 39 w 42"/>
                  <a:gd name="T11" fmla="*/ 1 h 164"/>
                  <a:gd name="T12" fmla="*/ 41 w 42"/>
                  <a:gd name="T13" fmla="*/ 1 h 164"/>
                  <a:gd name="T14" fmla="*/ 42 w 42"/>
                  <a:gd name="T15" fmla="*/ 2 h 164"/>
                  <a:gd name="T16" fmla="*/ 42 w 42"/>
                  <a:gd name="T17" fmla="*/ 140 h 164"/>
                  <a:gd name="T18" fmla="*/ 41 w 42"/>
                  <a:gd name="T19" fmla="*/ 142 h 164"/>
                  <a:gd name="T20" fmla="*/ 3 w 42"/>
                  <a:gd name="T21" fmla="*/ 164 h 164"/>
                  <a:gd name="T22" fmla="*/ 2 w 42"/>
                  <a:gd name="T23" fmla="*/ 164 h 164"/>
                  <a:gd name="T24" fmla="*/ 4 w 42"/>
                  <a:gd name="T25" fmla="*/ 26 h 164"/>
                  <a:gd name="T26" fmla="*/ 4 w 42"/>
                  <a:gd name="T27" fmla="*/ 159 h 164"/>
                  <a:gd name="T28" fmla="*/ 38 w 42"/>
                  <a:gd name="T29" fmla="*/ 139 h 164"/>
                  <a:gd name="T30" fmla="*/ 38 w 42"/>
                  <a:gd name="T31" fmla="*/ 6 h 164"/>
                  <a:gd name="T32" fmla="*/ 4 w 42"/>
                  <a:gd name="T33" fmla="*/ 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164">
                    <a:moveTo>
                      <a:pt x="2" y="164"/>
                    </a:moveTo>
                    <a:cubicBezTo>
                      <a:pt x="2" y="164"/>
                      <a:pt x="2" y="164"/>
                      <a:pt x="1" y="164"/>
                    </a:cubicBezTo>
                    <a:cubicBezTo>
                      <a:pt x="1" y="164"/>
                      <a:pt x="0" y="163"/>
                      <a:pt x="0" y="16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3"/>
                      <a:pt x="1" y="2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40" y="0"/>
                      <a:pt x="41" y="0"/>
                      <a:pt x="41" y="1"/>
                    </a:cubicBezTo>
                    <a:cubicBezTo>
                      <a:pt x="42" y="1"/>
                      <a:pt x="42" y="2"/>
                      <a:pt x="42" y="2"/>
                    </a:cubicBezTo>
                    <a:cubicBezTo>
                      <a:pt x="42" y="140"/>
                      <a:pt x="42" y="140"/>
                      <a:pt x="42" y="140"/>
                    </a:cubicBezTo>
                    <a:cubicBezTo>
                      <a:pt x="42" y="141"/>
                      <a:pt x="42" y="142"/>
                      <a:pt x="41" y="142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3" y="164"/>
                      <a:pt x="3" y="164"/>
                      <a:pt x="2" y="164"/>
                    </a:cubicBezTo>
                    <a:close/>
                    <a:moveTo>
                      <a:pt x="4" y="26"/>
                    </a:moveTo>
                    <a:cubicBezTo>
                      <a:pt x="4" y="159"/>
                      <a:pt x="4" y="159"/>
                      <a:pt x="4" y="159"/>
                    </a:cubicBezTo>
                    <a:cubicBezTo>
                      <a:pt x="38" y="139"/>
                      <a:pt x="38" y="139"/>
                      <a:pt x="38" y="139"/>
                    </a:cubicBezTo>
                    <a:cubicBezTo>
                      <a:pt x="38" y="6"/>
                      <a:pt x="38" y="6"/>
                      <a:pt x="38" y="6"/>
                    </a:cubicBezTo>
                    <a:lnTo>
                      <a:pt x="4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1" name="Freeform 1069">
                <a:extLst>
                  <a:ext uri="{FF2B5EF4-FFF2-40B4-BE49-F238E27FC236}">
                    <a16:creationId xmlns:a16="http://schemas.microsoft.com/office/drawing/2014/main" id="{729E870D-1329-4D44-BC66-01CB4A9E05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7" y="3435"/>
                <a:ext cx="57" cy="198"/>
              </a:xfrm>
              <a:custGeom>
                <a:avLst/>
                <a:gdLst>
                  <a:gd name="T0" fmla="*/ 2 w 24"/>
                  <a:gd name="T1" fmla="*/ 84 h 84"/>
                  <a:gd name="T2" fmla="*/ 1 w 24"/>
                  <a:gd name="T3" fmla="*/ 84 h 84"/>
                  <a:gd name="T4" fmla="*/ 0 w 24"/>
                  <a:gd name="T5" fmla="*/ 82 h 84"/>
                  <a:gd name="T6" fmla="*/ 0 w 24"/>
                  <a:gd name="T7" fmla="*/ 14 h 84"/>
                  <a:gd name="T8" fmla="*/ 1 w 24"/>
                  <a:gd name="T9" fmla="*/ 12 h 84"/>
                  <a:gd name="T10" fmla="*/ 21 w 24"/>
                  <a:gd name="T11" fmla="*/ 1 h 84"/>
                  <a:gd name="T12" fmla="*/ 23 w 24"/>
                  <a:gd name="T13" fmla="*/ 1 h 84"/>
                  <a:gd name="T14" fmla="*/ 24 w 24"/>
                  <a:gd name="T15" fmla="*/ 2 h 84"/>
                  <a:gd name="T16" fmla="*/ 24 w 24"/>
                  <a:gd name="T17" fmla="*/ 70 h 84"/>
                  <a:gd name="T18" fmla="*/ 23 w 24"/>
                  <a:gd name="T19" fmla="*/ 72 h 84"/>
                  <a:gd name="T20" fmla="*/ 3 w 24"/>
                  <a:gd name="T21" fmla="*/ 84 h 84"/>
                  <a:gd name="T22" fmla="*/ 2 w 24"/>
                  <a:gd name="T23" fmla="*/ 84 h 84"/>
                  <a:gd name="T24" fmla="*/ 4 w 24"/>
                  <a:gd name="T25" fmla="*/ 15 h 84"/>
                  <a:gd name="T26" fmla="*/ 4 w 24"/>
                  <a:gd name="T27" fmla="*/ 78 h 84"/>
                  <a:gd name="T28" fmla="*/ 20 w 24"/>
                  <a:gd name="T29" fmla="*/ 69 h 84"/>
                  <a:gd name="T30" fmla="*/ 20 w 24"/>
                  <a:gd name="T31" fmla="*/ 6 h 84"/>
                  <a:gd name="T32" fmla="*/ 4 w 24"/>
                  <a:gd name="T33" fmla="*/ 1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4">
                    <a:moveTo>
                      <a:pt x="2" y="84"/>
                    </a:moveTo>
                    <a:cubicBezTo>
                      <a:pt x="2" y="84"/>
                      <a:pt x="1" y="84"/>
                      <a:pt x="1" y="84"/>
                    </a:cubicBezTo>
                    <a:cubicBezTo>
                      <a:pt x="0" y="83"/>
                      <a:pt x="0" y="83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0"/>
                      <a:pt x="22" y="0"/>
                      <a:pt x="23" y="1"/>
                    </a:cubicBezTo>
                    <a:cubicBezTo>
                      <a:pt x="23" y="1"/>
                      <a:pt x="24" y="2"/>
                      <a:pt x="24" y="2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71"/>
                      <a:pt x="23" y="72"/>
                      <a:pt x="23" y="72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84"/>
                      <a:pt x="2" y="84"/>
                      <a:pt x="2" y="84"/>
                    </a:cubicBezTo>
                    <a:close/>
                    <a:moveTo>
                      <a:pt x="4" y="15"/>
                    </a:moveTo>
                    <a:cubicBezTo>
                      <a:pt x="4" y="78"/>
                      <a:pt x="4" y="78"/>
                      <a:pt x="4" y="78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20" y="6"/>
                      <a:pt x="20" y="6"/>
                      <a:pt x="20" y="6"/>
                    </a:cubicBezTo>
                    <a:lnTo>
                      <a:pt x="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2" name="Freeform 1070">
                <a:extLst>
                  <a:ext uri="{FF2B5EF4-FFF2-40B4-BE49-F238E27FC236}">
                    <a16:creationId xmlns:a16="http://schemas.microsoft.com/office/drawing/2014/main" id="{91B2DBC7-C483-4F2A-BD13-A6791E21C7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2" y="2133"/>
                <a:ext cx="1110" cy="695"/>
              </a:xfrm>
              <a:custGeom>
                <a:avLst/>
                <a:gdLst>
                  <a:gd name="T0" fmla="*/ 267 w 470"/>
                  <a:gd name="T1" fmla="*/ 294 h 294"/>
                  <a:gd name="T2" fmla="*/ 266 w 470"/>
                  <a:gd name="T3" fmla="*/ 294 h 294"/>
                  <a:gd name="T4" fmla="*/ 257 w 470"/>
                  <a:gd name="T5" fmla="*/ 289 h 294"/>
                  <a:gd name="T6" fmla="*/ 256 w 470"/>
                  <a:gd name="T7" fmla="*/ 288 h 294"/>
                  <a:gd name="T8" fmla="*/ 1 w 470"/>
                  <a:gd name="T9" fmla="*/ 141 h 294"/>
                  <a:gd name="T10" fmla="*/ 0 w 470"/>
                  <a:gd name="T11" fmla="*/ 139 h 294"/>
                  <a:gd name="T12" fmla="*/ 1 w 470"/>
                  <a:gd name="T13" fmla="*/ 137 h 294"/>
                  <a:gd name="T14" fmla="*/ 223 w 470"/>
                  <a:gd name="T15" fmla="*/ 9 h 294"/>
                  <a:gd name="T16" fmla="*/ 225 w 470"/>
                  <a:gd name="T17" fmla="*/ 9 h 294"/>
                  <a:gd name="T18" fmla="*/ 226 w 470"/>
                  <a:gd name="T19" fmla="*/ 10 h 294"/>
                  <a:gd name="T20" fmla="*/ 226 w 470"/>
                  <a:gd name="T21" fmla="*/ 25 h 294"/>
                  <a:gd name="T22" fmla="*/ 269 w 470"/>
                  <a:gd name="T23" fmla="*/ 0 h 294"/>
                  <a:gd name="T24" fmla="*/ 271 w 470"/>
                  <a:gd name="T25" fmla="*/ 0 h 294"/>
                  <a:gd name="T26" fmla="*/ 320 w 470"/>
                  <a:gd name="T27" fmla="*/ 28 h 294"/>
                  <a:gd name="T28" fmla="*/ 320 w 470"/>
                  <a:gd name="T29" fmla="*/ 17 h 294"/>
                  <a:gd name="T30" fmla="*/ 321 w 470"/>
                  <a:gd name="T31" fmla="*/ 16 h 294"/>
                  <a:gd name="T32" fmla="*/ 323 w 470"/>
                  <a:gd name="T33" fmla="*/ 16 h 294"/>
                  <a:gd name="T34" fmla="*/ 329 w 470"/>
                  <a:gd name="T35" fmla="*/ 19 h 294"/>
                  <a:gd name="T36" fmla="*/ 330 w 470"/>
                  <a:gd name="T37" fmla="*/ 21 h 294"/>
                  <a:gd name="T38" fmla="*/ 330 w 470"/>
                  <a:gd name="T39" fmla="*/ 22 h 294"/>
                  <a:gd name="T40" fmla="*/ 331 w 470"/>
                  <a:gd name="T41" fmla="*/ 21 h 294"/>
                  <a:gd name="T42" fmla="*/ 333 w 470"/>
                  <a:gd name="T43" fmla="*/ 21 h 294"/>
                  <a:gd name="T44" fmla="*/ 412 w 470"/>
                  <a:gd name="T45" fmla="*/ 67 h 294"/>
                  <a:gd name="T46" fmla="*/ 413 w 470"/>
                  <a:gd name="T47" fmla="*/ 69 h 294"/>
                  <a:gd name="T48" fmla="*/ 412 w 470"/>
                  <a:gd name="T49" fmla="*/ 70 h 294"/>
                  <a:gd name="T50" fmla="*/ 359 w 470"/>
                  <a:gd name="T51" fmla="*/ 101 h 294"/>
                  <a:gd name="T52" fmla="*/ 469 w 470"/>
                  <a:gd name="T53" fmla="*/ 164 h 294"/>
                  <a:gd name="T54" fmla="*/ 470 w 470"/>
                  <a:gd name="T55" fmla="*/ 166 h 294"/>
                  <a:gd name="T56" fmla="*/ 469 w 470"/>
                  <a:gd name="T57" fmla="*/ 167 h 294"/>
                  <a:gd name="T58" fmla="*/ 287 w 470"/>
                  <a:gd name="T59" fmla="*/ 273 h 294"/>
                  <a:gd name="T60" fmla="*/ 287 w 470"/>
                  <a:gd name="T61" fmla="*/ 282 h 294"/>
                  <a:gd name="T62" fmla="*/ 286 w 470"/>
                  <a:gd name="T63" fmla="*/ 284 h 294"/>
                  <a:gd name="T64" fmla="*/ 268 w 470"/>
                  <a:gd name="T65" fmla="*/ 294 h 294"/>
                  <a:gd name="T66" fmla="*/ 267 w 470"/>
                  <a:gd name="T67" fmla="*/ 294 h 294"/>
                  <a:gd name="T68" fmla="*/ 260 w 470"/>
                  <a:gd name="T69" fmla="*/ 286 h 294"/>
                  <a:gd name="T70" fmla="*/ 267 w 470"/>
                  <a:gd name="T71" fmla="*/ 290 h 294"/>
                  <a:gd name="T72" fmla="*/ 283 w 470"/>
                  <a:gd name="T73" fmla="*/ 281 h 294"/>
                  <a:gd name="T74" fmla="*/ 283 w 470"/>
                  <a:gd name="T75" fmla="*/ 271 h 294"/>
                  <a:gd name="T76" fmla="*/ 284 w 470"/>
                  <a:gd name="T77" fmla="*/ 270 h 294"/>
                  <a:gd name="T78" fmla="*/ 464 w 470"/>
                  <a:gd name="T79" fmla="*/ 166 h 294"/>
                  <a:gd name="T80" fmla="*/ 354 w 470"/>
                  <a:gd name="T81" fmla="*/ 102 h 294"/>
                  <a:gd name="T82" fmla="*/ 353 w 470"/>
                  <a:gd name="T83" fmla="*/ 101 h 294"/>
                  <a:gd name="T84" fmla="*/ 354 w 470"/>
                  <a:gd name="T85" fmla="*/ 99 h 294"/>
                  <a:gd name="T86" fmla="*/ 407 w 470"/>
                  <a:gd name="T87" fmla="*/ 69 h 294"/>
                  <a:gd name="T88" fmla="*/ 332 w 470"/>
                  <a:gd name="T89" fmla="*/ 25 h 294"/>
                  <a:gd name="T90" fmla="*/ 329 w 470"/>
                  <a:gd name="T91" fmla="*/ 27 h 294"/>
                  <a:gd name="T92" fmla="*/ 327 w 470"/>
                  <a:gd name="T93" fmla="*/ 27 h 294"/>
                  <a:gd name="T94" fmla="*/ 326 w 470"/>
                  <a:gd name="T95" fmla="*/ 25 h 294"/>
                  <a:gd name="T96" fmla="*/ 326 w 470"/>
                  <a:gd name="T97" fmla="*/ 22 h 294"/>
                  <a:gd name="T98" fmla="*/ 324 w 470"/>
                  <a:gd name="T99" fmla="*/ 21 h 294"/>
                  <a:gd name="T100" fmla="*/ 324 w 470"/>
                  <a:gd name="T101" fmla="*/ 32 h 294"/>
                  <a:gd name="T102" fmla="*/ 323 w 470"/>
                  <a:gd name="T103" fmla="*/ 33 h 294"/>
                  <a:gd name="T104" fmla="*/ 321 w 470"/>
                  <a:gd name="T105" fmla="*/ 33 h 294"/>
                  <a:gd name="T106" fmla="*/ 270 w 470"/>
                  <a:gd name="T107" fmla="*/ 4 h 294"/>
                  <a:gd name="T108" fmla="*/ 225 w 470"/>
                  <a:gd name="T109" fmla="*/ 30 h 294"/>
                  <a:gd name="T110" fmla="*/ 223 w 470"/>
                  <a:gd name="T111" fmla="*/ 30 h 294"/>
                  <a:gd name="T112" fmla="*/ 222 w 470"/>
                  <a:gd name="T113" fmla="*/ 28 h 294"/>
                  <a:gd name="T114" fmla="*/ 222 w 470"/>
                  <a:gd name="T115" fmla="*/ 14 h 294"/>
                  <a:gd name="T116" fmla="*/ 6 w 470"/>
                  <a:gd name="T117" fmla="*/ 139 h 294"/>
                  <a:gd name="T118" fmla="*/ 259 w 470"/>
                  <a:gd name="T119" fmla="*/ 285 h 294"/>
                  <a:gd name="T120" fmla="*/ 260 w 470"/>
                  <a:gd name="T121" fmla="*/ 286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0" h="294">
                    <a:moveTo>
                      <a:pt x="267" y="294"/>
                    </a:moveTo>
                    <a:cubicBezTo>
                      <a:pt x="267" y="294"/>
                      <a:pt x="266" y="294"/>
                      <a:pt x="266" y="294"/>
                    </a:cubicBezTo>
                    <a:cubicBezTo>
                      <a:pt x="257" y="289"/>
                      <a:pt x="257" y="289"/>
                      <a:pt x="257" y="289"/>
                    </a:cubicBezTo>
                    <a:cubicBezTo>
                      <a:pt x="257" y="289"/>
                      <a:pt x="256" y="288"/>
                      <a:pt x="256" y="288"/>
                    </a:cubicBezTo>
                    <a:cubicBezTo>
                      <a:pt x="1" y="141"/>
                      <a:pt x="1" y="141"/>
                      <a:pt x="1" y="141"/>
                    </a:cubicBezTo>
                    <a:cubicBezTo>
                      <a:pt x="1" y="140"/>
                      <a:pt x="0" y="140"/>
                      <a:pt x="0" y="139"/>
                    </a:cubicBezTo>
                    <a:cubicBezTo>
                      <a:pt x="0" y="138"/>
                      <a:pt x="1" y="137"/>
                      <a:pt x="1" y="137"/>
                    </a:cubicBezTo>
                    <a:cubicBezTo>
                      <a:pt x="223" y="9"/>
                      <a:pt x="223" y="9"/>
                      <a:pt x="223" y="9"/>
                    </a:cubicBezTo>
                    <a:cubicBezTo>
                      <a:pt x="224" y="8"/>
                      <a:pt x="225" y="8"/>
                      <a:pt x="225" y="9"/>
                    </a:cubicBezTo>
                    <a:cubicBezTo>
                      <a:pt x="226" y="9"/>
                      <a:pt x="226" y="10"/>
                      <a:pt x="226" y="10"/>
                    </a:cubicBezTo>
                    <a:cubicBezTo>
                      <a:pt x="226" y="25"/>
                      <a:pt x="226" y="25"/>
                      <a:pt x="226" y="25"/>
                    </a:cubicBezTo>
                    <a:cubicBezTo>
                      <a:pt x="269" y="0"/>
                      <a:pt x="269" y="0"/>
                      <a:pt x="269" y="0"/>
                    </a:cubicBezTo>
                    <a:cubicBezTo>
                      <a:pt x="270" y="0"/>
                      <a:pt x="270" y="0"/>
                      <a:pt x="271" y="0"/>
                    </a:cubicBezTo>
                    <a:cubicBezTo>
                      <a:pt x="320" y="28"/>
                      <a:pt x="320" y="28"/>
                      <a:pt x="320" y="28"/>
                    </a:cubicBezTo>
                    <a:cubicBezTo>
                      <a:pt x="320" y="17"/>
                      <a:pt x="320" y="17"/>
                      <a:pt x="320" y="17"/>
                    </a:cubicBezTo>
                    <a:cubicBezTo>
                      <a:pt x="320" y="17"/>
                      <a:pt x="320" y="16"/>
                      <a:pt x="321" y="16"/>
                    </a:cubicBezTo>
                    <a:cubicBezTo>
                      <a:pt x="321" y="15"/>
                      <a:pt x="322" y="15"/>
                      <a:pt x="323" y="16"/>
                    </a:cubicBezTo>
                    <a:cubicBezTo>
                      <a:pt x="329" y="19"/>
                      <a:pt x="329" y="19"/>
                      <a:pt x="329" y="19"/>
                    </a:cubicBezTo>
                    <a:cubicBezTo>
                      <a:pt x="329" y="19"/>
                      <a:pt x="330" y="20"/>
                      <a:pt x="330" y="21"/>
                    </a:cubicBezTo>
                    <a:cubicBezTo>
                      <a:pt x="330" y="22"/>
                      <a:pt x="330" y="22"/>
                      <a:pt x="330" y="22"/>
                    </a:cubicBezTo>
                    <a:cubicBezTo>
                      <a:pt x="331" y="21"/>
                      <a:pt x="331" y="21"/>
                      <a:pt x="331" y="21"/>
                    </a:cubicBezTo>
                    <a:cubicBezTo>
                      <a:pt x="331" y="21"/>
                      <a:pt x="332" y="21"/>
                      <a:pt x="333" y="21"/>
                    </a:cubicBezTo>
                    <a:cubicBezTo>
                      <a:pt x="412" y="67"/>
                      <a:pt x="412" y="67"/>
                      <a:pt x="412" y="67"/>
                    </a:cubicBezTo>
                    <a:cubicBezTo>
                      <a:pt x="412" y="67"/>
                      <a:pt x="413" y="68"/>
                      <a:pt x="413" y="69"/>
                    </a:cubicBezTo>
                    <a:cubicBezTo>
                      <a:pt x="413" y="69"/>
                      <a:pt x="412" y="70"/>
                      <a:pt x="412" y="70"/>
                    </a:cubicBezTo>
                    <a:cubicBezTo>
                      <a:pt x="359" y="101"/>
                      <a:pt x="359" y="101"/>
                      <a:pt x="359" y="101"/>
                    </a:cubicBezTo>
                    <a:cubicBezTo>
                      <a:pt x="469" y="164"/>
                      <a:pt x="469" y="164"/>
                      <a:pt x="469" y="164"/>
                    </a:cubicBezTo>
                    <a:cubicBezTo>
                      <a:pt x="470" y="164"/>
                      <a:pt x="470" y="165"/>
                      <a:pt x="470" y="166"/>
                    </a:cubicBezTo>
                    <a:cubicBezTo>
                      <a:pt x="470" y="166"/>
                      <a:pt x="470" y="167"/>
                      <a:pt x="469" y="167"/>
                    </a:cubicBezTo>
                    <a:cubicBezTo>
                      <a:pt x="287" y="273"/>
                      <a:pt x="287" y="273"/>
                      <a:pt x="287" y="273"/>
                    </a:cubicBezTo>
                    <a:cubicBezTo>
                      <a:pt x="287" y="282"/>
                      <a:pt x="287" y="282"/>
                      <a:pt x="287" y="282"/>
                    </a:cubicBezTo>
                    <a:cubicBezTo>
                      <a:pt x="287" y="283"/>
                      <a:pt x="286" y="284"/>
                      <a:pt x="286" y="284"/>
                    </a:cubicBezTo>
                    <a:cubicBezTo>
                      <a:pt x="268" y="294"/>
                      <a:pt x="268" y="294"/>
                      <a:pt x="268" y="294"/>
                    </a:cubicBezTo>
                    <a:cubicBezTo>
                      <a:pt x="268" y="294"/>
                      <a:pt x="267" y="294"/>
                      <a:pt x="267" y="294"/>
                    </a:cubicBezTo>
                    <a:close/>
                    <a:moveTo>
                      <a:pt x="260" y="286"/>
                    </a:moveTo>
                    <a:cubicBezTo>
                      <a:pt x="267" y="290"/>
                      <a:pt x="267" y="290"/>
                      <a:pt x="267" y="290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3" y="271"/>
                      <a:pt x="283" y="271"/>
                      <a:pt x="283" y="271"/>
                    </a:cubicBezTo>
                    <a:cubicBezTo>
                      <a:pt x="283" y="271"/>
                      <a:pt x="283" y="270"/>
                      <a:pt x="284" y="270"/>
                    </a:cubicBezTo>
                    <a:cubicBezTo>
                      <a:pt x="464" y="166"/>
                      <a:pt x="464" y="166"/>
                      <a:pt x="464" y="166"/>
                    </a:cubicBezTo>
                    <a:cubicBezTo>
                      <a:pt x="354" y="102"/>
                      <a:pt x="354" y="102"/>
                      <a:pt x="354" y="102"/>
                    </a:cubicBezTo>
                    <a:cubicBezTo>
                      <a:pt x="353" y="102"/>
                      <a:pt x="353" y="101"/>
                      <a:pt x="353" y="101"/>
                    </a:cubicBezTo>
                    <a:cubicBezTo>
                      <a:pt x="353" y="100"/>
                      <a:pt x="353" y="99"/>
                      <a:pt x="354" y="99"/>
                    </a:cubicBezTo>
                    <a:cubicBezTo>
                      <a:pt x="407" y="69"/>
                      <a:pt x="407" y="69"/>
                      <a:pt x="407" y="69"/>
                    </a:cubicBezTo>
                    <a:cubicBezTo>
                      <a:pt x="332" y="25"/>
                      <a:pt x="332" y="25"/>
                      <a:pt x="332" y="25"/>
                    </a:cubicBezTo>
                    <a:cubicBezTo>
                      <a:pt x="329" y="27"/>
                      <a:pt x="329" y="27"/>
                      <a:pt x="329" y="27"/>
                    </a:cubicBezTo>
                    <a:cubicBezTo>
                      <a:pt x="328" y="27"/>
                      <a:pt x="327" y="27"/>
                      <a:pt x="327" y="27"/>
                    </a:cubicBezTo>
                    <a:cubicBezTo>
                      <a:pt x="326" y="27"/>
                      <a:pt x="326" y="26"/>
                      <a:pt x="326" y="25"/>
                    </a:cubicBezTo>
                    <a:cubicBezTo>
                      <a:pt x="326" y="22"/>
                      <a:pt x="326" y="22"/>
                      <a:pt x="326" y="22"/>
                    </a:cubicBezTo>
                    <a:cubicBezTo>
                      <a:pt x="324" y="21"/>
                      <a:pt x="324" y="21"/>
                      <a:pt x="324" y="21"/>
                    </a:cubicBezTo>
                    <a:cubicBezTo>
                      <a:pt x="324" y="32"/>
                      <a:pt x="324" y="32"/>
                      <a:pt x="324" y="32"/>
                    </a:cubicBezTo>
                    <a:cubicBezTo>
                      <a:pt x="324" y="32"/>
                      <a:pt x="323" y="33"/>
                      <a:pt x="323" y="33"/>
                    </a:cubicBezTo>
                    <a:cubicBezTo>
                      <a:pt x="322" y="34"/>
                      <a:pt x="321" y="34"/>
                      <a:pt x="321" y="33"/>
                    </a:cubicBezTo>
                    <a:cubicBezTo>
                      <a:pt x="270" y="4"/>
                      <a:pt x="270" y="4"/>
                      <a:pt x="270" y="4"/>
                    </a:cubicBezTo>
                    <a:cubicBezTo>
                      <a:pt x="225" y="30"/>
                      <a:pt x="225" y="30"/>
                      <a:pt x="225" y="30"/>
                    </a:cubicBezTo>
                    <a:cubicBezTo>
                      <a:pt x="225" y="30"/>
                      <a:pt x="224" y="30"/>
                      <a:pt x="223" y="30"/>
                    </a:cubicBezTo>
                    <a:cubicBezTo>
                      <a:pt x="223" y="30"/>
                      <a:pt x="222" y="29"/>
                      <a:pt x="222" y="28"/>
                    </a:cubicBezTo>
                    <a:cubicBezTo>
                      <a:pt x="222" y="14"/>
                      <a:pt x="222" y="14"/>
                      <a:pt x="222" y="14"/>
                    </a:cubicBezTo>
                    <a:cubicBezTo>
                      <a:pt x="6" y="139"/>
                      <a:pt x="6" y="139"/>
                      <a:pt x="6" y="139"/>
                    </a:cubicBezTo>
                    <a:cubicBezTo>
                      <a:pt x="259" y="285"/>
                      <a:pt x="259" y="285"/>
                      <a:pt x="259" y="285"/>
                    </a:cubicBezTo>
                    <a:cubicBezTo>
                      <a:pt x="260" y="285"/>
                      <a:pt x="260" y="286"/>
                      <a:pt x="260" y="2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3" name="Freeform 1071">
                <a:extLst>
                  <a:ext uri="{FF2B5EF4-FFF2-40B4-BE49-F238E27FC236}">
                    <a16:creationId xmlns:a16="http://schemas.microsoft.com/office/drawing/2014/main" id="{93D528BC-970E-4CE8-A785-7B46E3975D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7" y="3348"/>
                <a:ext cx="57" cy="89"/>
              </a:xfrm>
              <a:custGeom>
                <a:avLst/>
                <a:gdLst>
                  <a:gd name="T0" fmla="*/ 22 w 24"/>
                  <a:gd name="T1" fmla="*/ 38 h 38"/>
                  <a:gd name="T2" fmla="*/ 21 w 24"/>
                  <a:gd name="T3" fmla="*/ 38 h 38"/>
                  <a:gd name="T4" fmla="*/ 1 w 24"/>
                  <a:gd name="T5" fmla="*/ 27 h 38"/>
                  <a:gd name="T6" fmla="*/ 0 w 24"/>
                  <a:gd name="T7" fmla="*/ 25 h 38"/>
                  <a:gd name="T8" fmla="*/ 0 w 24"/>
                  <a:gd name="T9" fmla="*/ 2 h 38"/>
                  <a:gd name="T10" fmla="*/ 1 w 24"/>
                  <a:gd name="T11" fmla="*/ 0 h 38"/>
                  <a:gd name="T12" fmla="*/ 3 w 24"/>
                  <a:gd name="T13" fmla="*/ 0 h 38"/>
                  <a:gd name="T14" fmla="*/ 23 w 24"/>
                  <a:gd name="T15" fmla="*/ 11 h 38"/>
                  <a:gd name="T16" fmla="*/ 24 w 24"/>
                  <a:gd name="T17" fmla="*/ 13 h 38"/>
                  <a:gd name="T18" fmla="*/ 24 w 24"/>
                  <a:gd name="T19" fmla="*/ 36 h 38"/>
                  <a:gd name="T20" fmla="*/ 23 w 24"/>
                  <a:gd name="T21" fmla="*/ 38 h 38"/>
                  <a:gd name="T22" fmla="*/ 22 w 24"/>
                  <a:gd name="T23" fmla="*/ 38 h 38"/>
                  <a:gd name="T24" fmla="*/ 4 w 24"/>
                  <a:gd name="T25" fmla="*/ 24 h 38"/>
                  <a:gd name="T26" fmla="*/ 20 w 24"/>
                  <a:gd name="T27" fmla="*/ 33 h 38"/>
                  <a:gd name="T28" fmla="*/ 20 w 24"/>
                  <a:gd name="T29" fmla="*/ 14 h 38"/>
                  <a:gd name="T30" fmla="*/ 4 w 24"/>
                  <a:gd name="T31" fmla="*/ 5 h 38"/>
                  <a:gd name="T32" fmla="*/ 4 w 24"/>
                  <a:gd name="T33" fmla="*/ 2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8">
                    <a:moveTo>
                      <a:pt x="22" y="38"/>
                    </a:moveTo>
                    <a:cubicBezTo>
                      <a:pt x="21" y="38"/>
                      <a:pt x="21" y="38"/>
                      <a:pt x="21" y="38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6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37"/>
                      <a:pt x="23" y="38"/>
                      <a:pt x="23" y="38"/>
                    </a:cubicBezTo>
                    <a:cubicBezTo>
                      <a:pt x="22" y="38"/>
                      <a:pt x="22" y="38"/>
                      <a:pt x="22" y="38"/>
                    </a:cubicBezTo>
                    <a:close/>
                    <a:moveTo>
                      <a:pt x="4" y="24"/>
                    </a:move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4" name="Freeform 1072">
                <a:extLst>
                  <a:ext uri="{FF2B5EF4-FFF2-40B4-BE49-F238E27FC236}">
                    <a16:creationId xmlns:a16="http://schemas.microsoft.com/office/drawing/2014/main" id="{1AAF162D-8DA8-425D-B95F-7F80943B98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30" y="2592"/>
                <a:ext cx="191" cy="222"/>
              </a:xfrm>
              <a:custGeom>
                <a:avLst/>
                <a:gdLst>
                  <a:gd name="T0" fmla="*/ 79 w 81"/>
                  <a:gd name="T1" fmla="*/ 94 h 94"/>
                  <a:gd name="T2" fmla="*/ 78 w 81"/>
                  <a:gd name="T3" fmla="*/ 93 h 94"/>
                  <a:gd name="T4" fmla="*/ 1 w 81"/>
                  <a:gd name="T5" fmla="*/ 49 h 94"/>
                  <a:gd name="T6" fmla="*/ 0 w 81"/>
                  <a:gd name="T7" fmla="*/ 47 h 94"/>
                  <a:gd name="T8" fmla="*/ 1 w 81"/>
                  <a:gd name="T9" fmla="*/ 45 h 94"/>
                  <a:gd name="T10" fmla="*/ 78 w 81"/>
                  <a:gd name="T11" fmla="*/ 1 h 94"/>
                  <a:gd name="T12" fmla="*/ 80 w 81"/>
                  <a:gd name="T13" fmla="*/ 1 h 94"/>
                  <a:gd name="T14" fmla="*/ 81 w 81"/>
                  <a:gd name="T15" fmla="*/ 2 h 94"/>
                  <a:gd name="T16" fmla="*/ 81 w 81"/>
                  <a:gd name="T17" fmla="*/ 92 h 94"/>
                  <a:gd name="T18" fmla="*/ 80 w 81"/>
                  <a:gd name="T19" fmla="*/ 93 h 94"/>
                  <a:gd name="T20" fmla="*/ 79 w 81"/>
                  <a:gd name="T21" fmla="*/ 94 h 94"/>
                  <a:gd name="T22" fmla="*/ 6 w 81"/>
                  <a:gd name="T23" fmla="*/ 47 h 94"/>
                  <a:gd name="T24" fmla="*/ 77 w 81"/>
                  <a:gd name="T25" fmla="*/ 88 h 94"/>
                  <a:gd name="T26" fmla="*/ 77 w 81"/>
                  <a:gd name="T27" fmla="*/ 6 h 94"/>
                  <a:gd name="T28" fmla="*/ 6 w 81"/>
                  <a:gd name="T2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1" h="94">
                    <a:moveTo>
                      <a:pt x="79" y="94"/>
                    </a:moveTo>
                    <a:cubicBezTo>
                      <a:pt x="79" y="94"/>
                      <a:pt x="79" y="94"/>
                      <a:pt x="78" y="93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0" y="48"/>
                      <a:pt x="0" y="48"/>
                      <a:pt x="0" y="47"/>
                    </a:cubicBezTo>
                    <a:cubicBezTo>
                      <a:pt x="0" y="46"/>
                      <a:pt x="0" y="46"/>
                      <a:pt x="1" y="45"/>
                    </a:cubicBezTo>
                    <a:cubicBezTo>
                      <a:pt x="78" y="1"/>
                      <a:pt x="78" y="1"/>
                      <a:pt x="78" y="1"/>
                    </a:cubicBezTo>
                    <a:cubicBezTo>
                      <a:pt x="79" y="0"/>
                      <a:pt x="80" y="0"/>
                      <a:pt x="80" y="1"/>
                    </a:cubicBezTo>
                    <a:cubicBezTo>
                      <a:pt x="81" y="1"/>
                      <a:pt x="81" y="2"/>
                      <a:pt x="81" y="2"/>
                    </a:cubicBezTo>
                    <a:cubicBezTo>
                      <a:pt x="81" y="92"/>
                      <a:pt x="81" y="92"/>
                      <a:pt x="81" y="92"/>
                    </a:cubicBezTo>
                    <a:cubicBezTo>
                      <a:pt x="81" y="92"/>
                      <a:pt x="81" y="93"/>
                      <a:pt x="80" y="93"/>
                    </a:cubicBezTo>
                    <a:cubicBezTo>
                      <a:pt x="80" y="94"/>
                      <a:pt x="80" y="94"/>
                      <a:pt x="79" y="94"/>
                    </a:cubicBezTo>
                    <a:close/>
                    <a:moveTo>
                      <a:pt x="6" y="47"/>
                    </a:moveTo>
                    <a:cubicBezTo>
                      <a:pt x="77" y="88"/>
                      <a:pt x="77" y="88"/>
                      <a:pt x="77" y="88"/>
                    </a:cubicBezTo>
                    <a:cubicBezTo>
                      <a:pt x="77" y="6"/>
                      <a:pt x="77" y="6"/>
                      <a:pt x="77" y="6"/>
                    </a:cubicBezTo>
                    <a:lnTo>
                      <a:pt x="6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5" name="Freeform 1073">
                <a:extLst>
                  <a:ext uri="{FF2B5EF4-FFF2-40B4-BE49-F238E27FC236}">
                    <a16:creationId xmlns:a16="http://schemas.microsoft.com/office/drawing/2014/main" id="{216905E4-1854-47F3-B886-BB195D8D2B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79" y="2447"/>
                <a:ext cx="142" cy="93"/>
              </a:xfrm>
              <a:custGeom>
                <a:avLst/>
                <a:gdLst>
                  <a:gd name="T0" fmla="*/ 10 w 60"/>
                  <a:gd name="T1" fmla="*/ 39 h 39"/>
                  <a:gd name="T2" fmla="*/ 9 w 60"/>
                  <a:gd name="T3" fmla="*/ 39 h 39"/>
                  <a:gd name="T4" fmla="*/ 1 w 60"/>
                  <a:gd name="T5" fmla="*/ 34 h 39"/>
                  <a:gd name="T6" fmla="*/ 0 w 60"/>
                  <a:gd name="T7" fmla="*/ 33 h 39"/>
                  <a:gd name="T8" fmla="*/ 1 w 60"/>
                  <a:gd name="T9" fmla="*/ 31 h 39"/>
                  <a:gd name="T10" fmla="*/ 55 w 60"/>
                  <a:gd name="T11" fmla="*/ 0 h 39"/>
                  <a:gd name="T12" fmla="*/ 57 w 60"/>
                  <a:gd name="T13" fmla="*/ 0 h 39"/>
                  <a:gd name="T14" fmla="*/ 59 w 60"/>
                  <a:gd name="T15" fmla="*/ 1 h 39"/>
                  <a:gd name="T16" fmla="*/ 60 w 60"/>
                  <a:gd name="T17" fmla="*/ 3 h 39"/>
                  <a:gd name="T18" fmla="*/ 60 w 60"/>
                  <a:gd name="T19" fmla="*/ 9 h 39"/>
                  <a:gd name="T20" fmla="*/ 59 w 60"/>
                  <a:gd name="T21" fmla="*/ 11 h 39"/>
                  <a:gd name="T22" fmla="*/ 11 w 60"/>
                  <a:gd name="T23" fmla="*/ 39 h 39"/>
                  <a:gd name="T24" fmla="*/ 10 w 60"/>
                  <a:gd name="T25" fmla="*/ 39 h 39"/>
                  <a:gd name="T26" fmla="*/ 6 w 60"/>
                  <a:gd name="T27" fmla="*/ 33 h 39"/>
                  <a:gd name="T28" fmla="*/ 10 w 60"/>
                  <a:gd name="T29" fmla="*/ 35 h 39"/>
                  <a:gd name="T30" fmla="*/ 56 w 60"/>
                  <a:gd name="T31" fmla="*/ 8 h 39"/>
                  <a:gd name="T32" fmla="*/ 56 w 60"/>
                  <a:gd name="T33" fmla="*/ 4 h 39"/>
                  <a:gd name="T34" fmla="*/ 56 w 60"/>
                  <a:gd name="T35" fmla="*/ 4 h 39"/>
                  <a:gd name="T36" fmla="*/ 6 w 60"/>
                  <a:gd name="T37" fmla="*/ 33 h 39"/>
                  <a:gd name="T38" fmla="*/ 58 w 60"/>
                  <a:gd name="T39" fmla="*/ 9 h 39"/>
                  <a:gd name="T40" fmla="*/ 58 w 60"/>
                  <a:gd name="T41" fmla="*/ 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39">
                    <a:moveTo>
                      <a:pt x="10" y="39"/>
                    </a:moveTo>
                    <a:cubicBezTo>
                      <a:pt x="9" y="39"/>
                      <a:pt x="9" y="39"/>
                      <a:pt x="9" y="39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3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60" y="2"/>
                      <a:pt x="60" y="2"/>
                      <a:pt x="60" y="3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10"/>
                      <a:pt x="60" y="11"/>
                      <a:pt x="59" y="11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39"/>
                      <a:pt x="10" y="39"/>
                      <a:pt x="10" y="39"/>
                    </a:cubicBezTo>
                    <a:close/>
                    <a:moveTo>
                      <a:pt x="6" y="33"/>
                    </a:moveTo>
                    <a:cubicBezTo>
                      <a:pt x="10" y="35"/>
                      <a:pt x="10" y="35"/>
                      <a:pt x="10" y="35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lnTo>
                      <a:pt x="6" y="33"/>
                    </a:lnTo>
                    <a:close/>
                    <a:moveTo>
                      <a:pt x="58" y="9"/>
                    </a:moveTo>
                    <a:cubicBezTo>
                      <a:pt x="58" y="9"/>
                      <a:pt x="58" y="9"/>
                      <a:pt x="5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6" name="Freeform 1074">
                <a:extLst>
                  <a:ext uri="{FF2B5EF4-FFF2-40B4-BE49-F238E27FC236}">
                    <a16:creationId xmlns:a16="http://schemas.microsoft.com/office/drawing/2014/main" id="{F330ECB0-77A7-464E-861B-8BC0CD4A4D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2535"/>
                <a:ext cx="579" cy="902"/>
              </a:xfrm>
              <a:custGeom>
                <a:avLst/>
                <a:gdLst>
                  <a:gd name="T0" fmla="*/ 2 w 245"/>
                  <a:gd name="T1" fmla="*/ 382 h 382"/>
                  <a:gd name="T2" fmla="*/ 1 w 245"/>
                  <a:gd name="T3" fmla="*/ 382 h 382"/>
                  <a:gd name="T4" fmla="*/ 0 w 245"/>
                  <a:gd name="T5" fmla="*/ 380 h 382"/>
                  <a:gd name="T6" fmla="*/ 0 w 245"/>
                  <a:gd name="T7" fmla="*/ 113 h 382"/>
                  <a:gd name="T8" fmla="*/ 1 w 245"/>
                  <a:gd name="T9" fmla="*/ 111 h 382"/>
                  <a:gd name="T10" fmla="*/ 194 w 245"/>
                  <a:gd name="T11" fmla="*/ 0 h 382"/>
                  <a:gd name="T12" fmla="*/ 196 w 245"/>
                  <a:gd name="T13" fmla="*/ 0 h 382"/>
                  <a:gd name="T14" fmla="*/ 227 w 245"/>
                  <a:gd name="T15" fmla="*/ 19 h 382"/>
                  <a:gd name="T16" fmla="*/ 242 w 245"/>
                  <a:gd name="T17" fmla="*/ 10 h 382"/>
                  <a:gd name="T18" fmla="*/ 244 w 245"/>
                  <a:gd name="T19" fmla="*/ 10 h 382"/>
                  <a:gd name="T20" fmla="*/ 245 w 245"/>
                  <a:gd name="T21" fmla="*/ 12 h 382"/>
                  <a:gd name="T22" fmla="*/ 245 w 245"/>
                  <a:gd name="T23" fmla="*/ 25 h 382"/>
                  <a:gd name="T24" fmla="*/ 244 w 245"/>
                  <a:gd name="T25" fmla="*/ 26 h 382"/>
                  <a:gd name="T26" fmla="*/ 167 w 245"/>
                  <a:gd name="T27" fmla="*/ 71 h 382"/>
                  <a:gd name="T28" fmla="*/ 244 w 245"/>
                  <a:gd name="T29" fmla="*/ 116 h 382"/>
                  <a:gd name="T30" fmla="*/ 245 w 245"/>
                  <a:gd name="T31" fmla="*/ 118 h 382"/>
                  <a:gd name="T32" fmla="*/ 245 w 245"/>
                  <a:gd name="T33" fmla="*/ 241 h 382"/>
                  <a:gd name="T34" fmla="*/ 244 w 245"/>
                  <a:gd name="T35" fmla="*/ 243 h 382"/>
                  <a:gd name="T36" fmla="*/ 3 w 245"/>
                  <a:gd name="T37" fmla="*/ 382 h 382"/>
                  <a:gd name="T38" fmla="*/ 2 w 245"/>
                  <a:gd name="T39" fmla="*/ 382 h 382"/>
                  <a:gd name="T40" fmla="*/ 4 w 245"/>
                  <a:gd name="T41" fmla="*/ 114 h 382"/>
                  <a:gd name="T42" fmla="*/ 4 w 245"/>
                  <a:gd name="T43" fmla="*/ 377 h 382"/>
                  <a:gd name="T44" fmla="*/ 241 w 245"/>
                  <a:gd name="T45" fmla="*/ 240 h 382"/>
                  <a:gd name="T46" fmla="*/ 241 w 245"/>
                  <a:gd name="T47" fmla="*/ 119 h 382"/>
                  <a:gd name="T48" fmla="*/ 162 w 245"/>
                  <a:gd name="T49" fmla="*/ 73 h 382"/>
                  <a:gd name="T50" fmla="*/ 161 w 245"/>
                  <a:gd name="T51" fmla="*/ 71 h 382"/>
                  <a:gd name="T52" fmla="*/ 162 w 245"/>
                  <a:gd name="T53" fmla="*/ 69 h 382"/>
                  <a:gd name="T54" fmla="*/ 241 w 245"/>
                  <a:gd name="T55" fmla="*/ 23 h 382"/>
                  <a:gd name="T56" fmla="*/ 241 w 245"/>
                  <a:gd name="T57" fmla="*/ 15 h 382"/>
                  <a:gd name="T58" fmla="*/ 228 w 245"/>
                  <a:gd name="T59" fmla="*/ 23 h 382"/>
                  <a:gd name="T60" fmla="*/ 226 w 245"/>
                  <a:gd name="T61" fmla="*/ 23 h 382"/>
                  <a:gd name="T62" fmla="*/ 195 w 245"/>
                  <a:gd name="T63" fmla="*/ 4 h 382"/>
                  <a:gd name="T64" fmla="*/ 4 w 245"/>
                  <a:gd name="T65" fmla="*/ 114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5" h="382">
                    <a:moveTo>
                      <a:pt x="2" y="382"/>
                    </a:moveTo>
                    <a:cubicBezTo>
                      <a:pt x="2" y="382"/>
                      <a:pt x="2" y="382"/>
                      <a:pt x="1" y="382"/>
                    </a:cubicBezTo>
                    <a:cubicBezTo>
                      <a:pt x="1" y="382"/>
                      <a:pt x="0" y="381"/>
                      <a:pt x="0" y="38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2"/>
                      <a:pt x="1" y="112"/>
                      <a:pt x="1" y="111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194" y="0"/>
                      <a:pt x="195" y="0"/>
                      <a:pt x="196" y="0"/>
                    </a:cubicBezTo>
                    <a:cubicBezTo>
                      <a:pt x="227" y="19"/>
                      <a:pt x="227" y="19"/>
                      <a:pt x="227" y="19"/>
                    </a:cubicBezTo>
                    <a:cubicBezTo>
                      <a:pt x="242" y="10"/>
                      <a:pt x="242" y="10"/>
                      <a:pt x="242" y="10"/>
                    </a:cubicBezTo>
                    <a:cubicBezTo>
                      <a:pt x="243" y="10"/>
                      <a:pt x="244" y="10"/>
                      <a:pt x="244" y="10"/>
                    </a:cubicBezTo>
                    <a:cubicBezTo>
                      <a:pt x="245" y="10"/>
                      <a:pt x="245" y="11"/>
                      <a:pt x="245" y="12"/>
                    </a:cubicBezTo>
                    <a:cubicBezTo>
                      <a:pt x="245" y="25"/>
                      <a:pt x="245" y="25"/>
                      <a:pt x="245" y="25"/>
                    </a:cubicBezTo>
                    <a:cubicBezTo>
                      <a:pt x="245" y="25"/>
                      <a:pt x="245" y="26"/>
                      <a:pt x="244" y="26"/>
                    </a:cubicBezTo>
                    <a:cubicBezTo>
                      <a:pt x="167" y="71"/>
                      <a:pt x="167" y="71"/>
                      <a:pt x="167" y="71"/>
                    </a:cubicBezTo>
                    <a:cubicBezTo>
                      <a:pt x="244" y="116"/>
                      <a:pt x="244" y="116"/>
                      <a:pt x="244" y="116"/>
                    </a:cubicBezTo>
                    <a:cubicBezTo>
                      <a:pt x="245" y="116"/>
                      <a:pt x="245" y="117"/>
                      <a:pt x="245" y="118"/>
                    </a:cubicBezTo>
                    <a:cubicBezTo>
                      <a:pt x="245" y="241"/>
                      <a:pt x="245" y="241"/>
                      <a:pt x="245" y="241"/>
                    </a:cubicBezTo>
                    <a:cubicBezTo>
                      <a:pt x="245" y="242"/>
                      <a:pt x="245" y="243"/>
                      <a:pt x="244" y="243"/>
                    </a:cubicBezTo>
                    <a:cubicBezTo>
                      <a:pt x="3" y="382"/>
                      <a:pt x="3" y="382"/>
                      <a:pt x="3" y="382"/>
                    </a:cubicBezTo>
                    <a:cubicBezTo>
                      <a:pt x="3" y="382"/>
                      <a:pt x="3" y="382"/>
                      <a:pt x="2" y="382"/>
                    </a:cubicBezTo>
                    <a:close/>
                    <a:moveTo>
                      <a:pt x="4" y="114"/>
                    </a:moveTo>
                    <a:cubicBezTo>
                      <a:pt x="4" y="377"/>
                      <a:pt x="4" y="377"/>
                      <a:pt x="4" y="377"/>
                    </a:cubicBezTo>
                    <a:cubicBezTo>
                      <a:pt x="241" y="240"/>
                      <a:pt x="241" y="240"/>
                      <a:pt x="241" y="240"/>
                    </a:cubicBezTo>
                    <a:cubicBezTo>
                      <a:pt x="241" y="119"/>
                      <a:pt x="241" y="119"/>
                      <a:pt x="241" y="119"/>
                    </a:cubicBezTo>
                    <a:cubicBezTo>
                      <a:pt x="162" y="73"/>
                      <a:pt x="162" y="73"/>
                      <a:pt x="162" y="73"/>
                    </a:cubicBezTo>
                    <a:cubicBezTo>
                      <a:pt x="161" y="72"/>
                      <a:pt x="161" y="72"/>
                      <a:pt x="161" y="71"/>
                    </a:cubicBezTo>
                    <a:cubicBezTo>
                      <a:pt x="161" y="70"/>
                      <a:pt x="161" y="70"/>
                      <a:pt x="162" y="69"/>
                    </a:cubicBezTo>
                    <a:cubicBezTo>
                      <a:pt x="241" y="23"/>
                      <a:pt x="241" y="23"/>
                      <a:pt x="241" y="23"/>
                    </a:cubicBezTo>
                    <a:cubicBezTo>
                      <a:pt x="241" y="15"/>
                      <a:pt x="241" y="15"/>
                      <a:pt x="241" y="15"/>
                    </a:cubicBezTo>
                    <a:cubicBezTo>
                      <a:pt x="228" y="23"/>
                      <a:pt x="228" y="23"/>
                      <a:pt x="228" y="23"/>
                    </a:cubicBezTo>
                    <a:cubicBezTo>
                      <a:pt x="228" y="23"/>
                      <a:pt x="227" y="23"/>
                      <a:pt x="226" y="23"/>
                    </a:cubicBezTo>
                    <a:cubicBezTo>
                      <a:pt x="195" y="4"/>
                      <a:pt x="195" y="4"/>
                      <a:pt x="195" y="4"/>
                    </a:cubicBezTo>
                    <a:lnTo>
                      <a:pt x="4" y="1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7" name="Freeform 1075">
                <a:extLst>
                  <a:ext uri="{FF2B5EF4-FFF2-40B4-BE49-F238E27FC236}">
                    <a16:creationId xmlns:a16="http://schemas.microsoft.com/office/drawing/2014/main" id="{0FD639CF-2E0F-4579-AA1E-E848DE3804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01" y="2469"/>
                <a:ext cx="120" cy="116"/>
              </a:xfrm>
              <a:custGeom>
                <a:avLst/>
                <a:gdLst>
                  <a:gd name="T0" fmla="*/ 33 w 51"/>
                  <a:gd name="T1" fmla="*/ 49 h 49"/>
                  <a:gd name="T2" fmla="*/ 32 w 51"/>
                  <a:gd name="T3" fmla="*/ 49 h 49"/>
                  <a:gd name="T4" fmla="*/ 1 w 51"/>
                  <a:gd name="T5" fmla="*/ 31 h 49"/>
                  <a:gd name="T6" fmla="*/ 0 w 51"/>
                  <a:gd name="T7" fmla="*/ 29 h 49"/>
                  <a:gd name="T8" fmla="*/ 1 w 51"/>
                  <a:gd name="T9" fmla="*/ 27 h 49"/>
                  <a:gd name="T10" fmla="*/ 48 w 51"/>
                  <a:gd name="T11" fmla="*/ 0 h 49"/>
                  <a:gd name="T12" fmla="*/ 50 w 51"/>
                  <a:gd name="T13" fmla="*/ 0 h 49"/>
                  <a:gd name="T14" fmla="*/ 51 w 51"/>
                  <a:gd name="T15" fmla="*/ 2 h 49"/>
                  <a:gd name="T16" fmla="*/ 51 w 51"/>
                  <a:gd name="T17" fmla="*/ 38 h 49"/>
                  <a:gd name="T18" fmla="*/ 50 w 51"/>
                  <a:gd name="T19" fmla="*/ 39 h 49"/>
                  <a:gd name="T20" fmla="*/ 34 w 51"/>
                  <a:gd name="T21" fmla="*/ 49 h 49"/>
                  <a:gd name="T22" fmla="*/ 33 w 51"/>
                  <a:gd name="T23" fmla="*/ 49 h 49"/>
                  <a:gd name="T24" fmla="*/ 6 w 51"/>
                  <a:gd name="T25" fmla="*/ 29 h 49"/>
                  <a:gd name="T26" fmla="*/ 33 w 51"/>
                  <a:gd name="T27" fmla="*/ 45 h 49"/>
                  <a:gd name="T28" fmla="*/ 47 w 51"/>
                  <a:gd name="T29" fmla="*/ 37 h 49"/>
                  <a:gd name="T30" fmla="*/ 47 w 51"/>
                  <a:gd name="T31" fmla="*/ 6 h 49"/>
                  <a:gd name="T32" fmla="*/ 6 w 51"/>
                  <a:gd name="T33" fmla="*/ 29 h 49"/>
                  <a:gd name="T34" fmla="*/ 49 w 51"/>
                  <a:gd name="T35" fmla="*/ 38 h 49"/>
                  <a:gd name="T36" fmla="*/ 49 w 51"/>
                  <a:gd name="T37" fmla="*/ 3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49">
                    <a:moveTo>
                      <a:pt x="33" y="49"/>
                    </a:moveTo>
                    <a:cubicBezTo>
                      <a:pt x="33" y="49"/>
                      <a:pt x="33" y="49"/>
                      <a:pt x="32" y="49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0"/>
                      <a:pt x="0" y="30"/>
                      <a:pt x="0" y="29"/>
                    </a:cubicBezTo>
                    <a:cubicBezTo>
                      <a:pt x="0" y="28"/>
                      <a:pt x="1" y="28"/>
                      <a:pt x="1" y="27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9" y="0"/>
                      <a:pt x="50" y="0"/>
                      <a:pt x="50" y="0"/>
                    </a:cubicBezTo>
                    <a:cubicBezTo>
                      <a:pt x="51" y="1"/>
                      <a:pt x="51" y="1"/>
                      <a:pt x="51" y="2"/>
                    </a:cubicBezTo>
                    <a:cubicBezTo>
                      <a:pt x="51" y="38"/>
                      <a:pt x="51" y="38"/>
                      <a:pt x="51" y="38"/>
                    </a:cubicBezTo>
                    <a:cubicBezTo>
                      <a:pt x="51" y="38"/>
                      <a:pt x="51" y="39"/>
                      <a:pt x="50" y="39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4" y="49"/>
                      <a:pt x="34" y="49"/>
                      <a:pt x="33" y="49"/>
                    </a:cubicBezTo>
                    <a:close/>
                    <a:moveTo>
                      <a:pt x="6" y="29"/>
                    </a:moveTo>
                    <a:cubicBezTo>
                      <a:pt x="33" y="45"/>
                      <a:pt x="33" y="45"/>
                      <a:pt x="33" y="45"/>
                    </a:cubicBezTo>
                    <a:cubicBezTo>
                      <a:pt x="47" y="37"/>
                      <a:pt x="47" y="37"/>
                      <a:pt x="47" y="37"/>
                    </a:cubicBezTo>
                    <a:cubicBezTo>
                      <a:pt x="47" y="6"/>
                      <a:pt x="47" y="6"/>
                      <a:pt x="47" y="6"/>
                    </a:cubicBezTo>
                    <a:lnTo>
                      <a:pt x="6" y="29"/>
                    </a:lnTo>
                    <a:close/>
                    <a:moveTo>
                      <a:pt x="49" y="38"/>
                    </a:moveTo>
                    <a:cubicBezTo>
                      <a:pt x="49" y="38"/>
                      <a:pt x="49" y="38"/>
                      <a:pt x="49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8" name="Freeform 1076">
                <a:extLst>
                  <a:ext uri="{FF2B5EF4-FFF2-40B4-BE49-F238E27FC236}">
                    <a16:creationId xmlns:a16="http://schemas.microsoft.com/office/drawing/2014/main" id="{422DE2F0-31C5-4C88-80BB-08BBAC702B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" y="3369"/>
                <a:ext cx="226" cy="137"/>
              </a:xfrm>
              <a:custGeom>
                <a:avLst/>
                <a:gdLst>
                  <a:gd name="T0" fmla="*/ 94 w 96"/>
                  <a:gd name="T1" fmla="*/ 58 h 58"/>
                  <a:gd name="T2" fmla="*/ 93 w 96"/>
                  <a:gd name="T3" fmla="*/ 58 h 58"/>
                  <a:gd name="T4" fmla="*/ 1 w 96"/>
                  <a:gd name="T5" fmla="*/ 5 h 58"/>
                  <a:gd name="T6" fmla="*/ 0 w 96"/>
                  <a:gd name="T7" fmla="*/ 3 h 58"/>
                  <a:gd name="T8" fmla="*/ 0 w 96"/>
                  <a:gd name="T9" fmla="*/ 2 h 58"/>
                  <a:gd name="T10" fmla="*/ 1 w 96"/>
                  <a:gd name="T11" fmla="*/ 0 h 58"/>
                  <a:gd name="T12" fmla="*/ 3 w 96"/>
                  <a:gd name="T13" fmla="*/ 0 h 58"/>
                  <a:gd name="T14" fmla="*/ 95 w 96"/>
                  <a:gd name="T15" fmla="*/ 53 h 58"/>
                  <a:gd name="T16" fmla="*/ 96 w 96"/>
                  <a:gd name="T17" fmla="*/ 55 h 58"/>
                  <a:gd name="T18" fmla="*/ 96 w 96"/>
                  <a:gd name="T19" fmla="*/ 56 h 58"/>
                  <a:gd name="T20" fmla="*/ 95 w 96"/>
                  <a:gd name="T21" fmla="*/ 58 h 58"/>
                  <a:gd name="T22" fmla="*/ 94 w 96"/>
                  <a:gd name="T2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6" h="58">
                    <a:moveTo>
                      <a:pt x="94" y="58"/>
                    </a:moveTo>
                    <a:cubicBezTo>
                      <a:pt x="93" y="58"/>
                      <a:pt x="93" y="58"/>
                      <a:pt x="93" y="58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3"/>
                      <a:pt x="96" y="54"/>
                      <a:pt x="96" y="55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6" y="57"/>
                      <a:pt x="95" y="57"/>
                      <a:pt x="95" y="58"/>
                    </a:cubicBezTo>
                    <a:cubicBezTo>
                      <a:pt x="94" y="58"/>
                      <a:pt x="94" y="58"/>
                      <a:pt x="94" y="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9" name="Freeform 1077">
                <a:extLst>
                  <a:ext uri="{FF2B5EF4-FFF2-40B4-BE49-F238E27FC236}">
                    <a16:creationId xmlns:a16="http://schemas.microsoft.com/office/drawing/2014/main" id="{96835908-DED4-4FBB-8B01-0CB0400B1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7" y="3338"/>
                <a:ext cx="57" cy="40"/>
              </a:xfrm>
              <a:custGeom>
                <a:avLst/>
                <a:gdLst>
                  <a:gd name="T0" fmla="*/ 22 w 24"/>
                  <a:gd name="T1" fmla="*/ 17 h 17"/>
                  <a:gd name="T2" fmla="*/ 21 w 24"/>
                  <a:gd name="T3" fmla="*/ 17 h 17"/>
                  <a:gd name="T4" fmla="*/ 1 w 24"/>
                  <a:gd name="T5" fmla="*/ 6 h 17"/>
                  <a:gd name="T6" fmla="*/ 0 w 24"/>
                  <a:gd name="T7" fmla="*/ 4 h 17"/>
                  <a:gd name="T8" fmla="*/ 0 w 24"/>
                  <a:gd name="T9" fmla="*/ 3 h 17"/>
                  <a:gd name="T10" fmla="*/ 1 w 24"/>
                  <a:gd name="T11" fmla="*/ 1 h 17"/>
                  <a:gd name="T12" fmla="*/ 3 w 24"/>
                  <a:gd name="T13" fmla="*/ 1 h 17"/>
                  <a:gd name="T14" fmla="*/ 23 w 24"/>
                  <a:gd name="T15" fmla="*/ 12 h 17"/>
                  <a:gd name="T16" fmla="*/ 24 w 24"/>
                  <a:gd name="T17" fmla="*/ 14 h 17"/>
                  <a:gd name="T18" fmla="*/ 24 w 24"/>
                  <a:gd name="T19" fmla="*/ 15 h 17"/>
                  <a:gd name="T20" fmla="*/ 23 w 24"/>
                  <a:gd name="T21" fmla="*/ 17 h 17"/>
                  <a:gd name="T22" fmla="*/ 22 w 24"/>
                  <a:gd name="T23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17">
                    <a:moveTo>
                      <a:pt x="22" y="17"/>
                    </a:moveTo>
                    <a:cubicBezTo>
                      <a:pt x="21" y="17"/>
                      <a:pt x="21" y="17"/>
                      <a:pt x="21" y="17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3" y="13"/>
                      <a:pt x="24" y="13"/>
                      <a:pt x="24" y="14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6"/>
                      <a:pt x="23" y="17"/>
                      <a:pt x="23" y="17"/>
                    </a:cubicBezTo>
                    <a:cubicBezTo>
                      <a:pt x="22" y="17"/>
                      <a:pt x="22" y="17"/>
                      <a:pt x="2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0" name="Freeform 1078">
                <a:extLst>
                  <a:ext uri="{FF2B5EF4-FFF2-40B4-BE49-F238E27FC236}">
                    <a16:creationId xmlns:a16="http://schemas.microsoft.com/office/drawing/2014/main" id="{AA1522F7-8754-4D31-82BC-422575A371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7" y="3407"/>
                <a:ext cx="54" cy="61"/>
              </a:xfrm>
              <a:custGeom>
                <a:avLst/>
                <a:gdLst>
                  <a:gd name="T0" fmla="*/ 2 w 23"/>
                  <a:gd name="T1" fmla="*/ 26 h 26"/>
                  <a:gd name="T2" fmla="*/ 1 w 23"/>
                  <a:gd name="T3" fmla="*/ 26 h 26"/>
                  <a:gd name="T4" fmla="*/ 0 w 23"/>
                  <a:gd name="T5" fmla="*/ 24 h 26"/>
                  <a:gd name="T6" fmla="*/ 0 w 23"/>
                  <a:gd name="T7" fmla="*/ 2 h 26"/>
                  <a:gd name="T8" fmla="*/ 1 w 23"/>
                  <a:gd name="T9" fmla="*/ 0 h 26"/>
                  <a:gd name="T10" fmla="*/ 3 w 23"/>
                  <a:gd name="T11" fmla="*/ 0 h 26"/>
                  <a:gd name="T12" fmla="*/ 22 w 23"/>
                  <a:gd name="T13" fmla="*/ 11 h 26"/>
                  <a:gd name="T14" fmla="*/ 23 w 23"/>
                  <a:gd name="T15" fmla="*/ 13 h 26"/>
                  <a:gd name="T16" fmla="*/ 22 w 23"/>
                  <a:gd name="T17" fmla="*/ 15 h 26"/>
                  <a:gd name="T18" fmla="*/ 3 w 23"/>
                  <a:gd name="T19" fmla="*/ 26 h 26"/>
                  <a:gd name="T20" fmla="*/ 2 w 23"/>
                  <a:gd name="T21" fmla="*/ 26 h 26"/>
                  <a:gd name="T22" fmla="*/ 4 w 23"/>
                  <a:gd name="T23" fmla="*/ 5 h 26"/>
                  <a:gd name="T24" fmla="*/ 4 w 23"/>
                  <a:gd name="T25" fmla="*/ 20 h 26"/>
                  <a:gd name="T26" fmla="*/ 17 w 23"/>
                  <a:gd name="T27" fmla="*/ 13 h 26"/>
                  <a:gd name="T28" fmla="*/ 4 w 23"/>
                  <a:gd name="T2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" h="26">
                    <a:moveTo>
                      <a:pt x="2" y="26"/>
                    </a:moveTo>
                    <a:cubicBezTo>
                      <a:pt x="2" y="26"/>
                      <a:pt x="1" y="26"/>
                      <a:pt x="1" y="26"/>
                    </a:cubicBezTo>
                    <a:cubicBezTo>
                      <a:pt x="0" y="25"/>
                      <a:pt x="0" y="25"/>
                      <a:pt x="0" y="2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2"/>
                      <a:pt x="23" y="12"/>
                      <a:pt x="23" y="13"/>
                    </a:cubicBezTo>
                    <a:cubicBezTo>
                      <a:pt x="23" y="14"/>
                      <a:pt x="22" y="14"/>
                      <a:pt x="22" y="1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2" y="26"/>
                      <a:pt x="2" y="26"/>
                    </a:cubicBezTo>
                    <a:close/>
                    <a:moveTo>
                      <a:pt x="4" y="5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17" y="13"/>
                      <a:pt x="17" y="13"/>
                      <a:pt x="17" y="13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1" name="Freeform 1079">
                <a:extLst>
                  <a:ext uri="{FF2B5EF4-FFF2-40B4-BE49-F238E27FC236}">
                    <a16:creationId xmlns:a16="http://schemas.microsoft.com/office/drawing/2014/main" id="{59BA2C0A-1668-4ECE-8915-5F51B5F5FC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3" y="3912"/>
                <a:ext cx="14" cy="14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6" y="6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2" name="Freeform 1080">
                <a:extLst>
                  <a:ext uri="{FF2B5EF4-FFF2-40B4-BE49-F238E27FC236}">
                    <a16:creationId xmlns:a16="http://schemas.microsoft.com/office/drawing/2014/main" id="{02BF4F5D-96C4-4512-9DF8-0B28C423E0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64" y="3879"/>
                <a:ext cx="319" cy="544"/>
              </a:xfrm>
              <a:custGeom>
                <a:avLst/>
                <a:gdLst>
                  <a:gd name="T0" fmla="*/ 133 w 135"/>
                  <a:gd name="T1" fmla="*/ 230 h 230"/>
                  <a:gd name="T2" fmla="*/ 132 w 135"/>
                  <a:gd name="T3" fmla="*/ 229 h 230"/>
                  <a:gd name="T4" fmla="*/ 1 w 135"/>
                  <a:gd name="T5" fmla="*/ 154 h 230"/>
                  <a:gd name="T6" fmla="*/ 0 w 135"/>
                  <a:gd name="T7" fmla="*/ 152 h 230"/>
                  <a:gd name="T8" fmla="*/ 0 w 135"/>
                  <a:gd name="T9" fmla="*/ 2 h 230"/>
                  <a:gd name="T10" fmla="*/ 1 w 135"/>
                  <a:gd name="T11" fmla="*/ 0 h 230"/>
                  <a:gd name="T12" fmla="*/ 3 w 135"/>
                  <a:gd name="T13" fmla="*/ 0 h 230"/>
                  <a:gd name="T14" fmla="*/ 134 w 135"/>
                  <a:gd name="T15" fmla="*/ 76 h 230"/>
                  <a:gd name="T16" fmla="*/ 135 w 135"/>
                  <a:gd name="T17" fmla="*/ 77 h 230"/>
                  <a:gd name="T18" fmla="*/ 135 w 135"/>
                  <a:gd name="T19" fmla="*/ 228 h 230"/>
                  <a:gd name="T20" fmla="*/ 134 w 135"/>
                  <a:gd name="T21" fmla="*/ 229 h 230"/>
                  <a:gd name="T22" fmla="*/ 133 w 135"/>
                  <a:gd name="T23" fmla="*/ 230 h 230"/>
                  <a:gd name="T24" fmla="*/ 4 w 135"/>
                  <a:gd name="T25" fmla="*/ 151 h 230"/>
                  <a:gd name="T26" fmla="*/ 131 w 135"/>
                  <a:gd name="T27" fmla="*/ 224 h 230"/>
                  <a:gd name="T28" fmla="*/ 131 w 135"/>
                  <a:gd name="T29" fmla="*/ 78 h 230"/>
                  <a:gd name="T30" fmla="*/ 4 w 135"/>
                  <a:gd name="T31" fmla="*/ 5 h 230"/>
                  <a:gd name="T32" fmla="*/ 4 w 135"/>
                  <a:gd name="T33" fmla="*/ 151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230">
                    <a:moveTo>
                      <a:pt x="133" y="230"/>
                    </a:moveTo>
                    <a:cubicBezTo>
                      <a:pt x="132" y="230"/>
                      <a:pt x="132" y="230"/>
                      <a:pt x="132" y="229"/>
                    </a:cubicBezTo>
                    <a:cubicBezTo>
                      <a:pt x="1" y="154"/>
                      <a:pt x="1" y="154"/>
                      <a:pt x="1" y="154"/>
                    </a:cubicBezTo>
                    <a:cubicBezTo>
                      <a:pt x="1" y="154"/>
                      <a:pt x="0" y="153"/>
                      <a:pt x="0" y="15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6"/>
                      <a:pt x="135" y="77"/>
                      <a:pt x="135" y="77"/>
                    </a:cubicBezTo>
                    <a:cubicBezTo>
                      <a:pt x="135" y="228"/>
                      <a:pt x="135" y="228"/>
                      <a:pt x="135" y="228"/>
                    </a:cubicBezTo>
                    <a:cubicBezTo>
                      <a:pt x="135" y="228"/>
                      <a:pt x="134" y="229"/>
                      <a:pt x="134" y="229"/>
                    </a:cubicBezTo>
                    <a:cubicBezTo>
                      <a:pt x="133" y="230"/>
                      <a:pt x="133" y="230"/>
                      <a:pt x="133" y="230"/>
                    </a:cubicBezTo>
                    <a:close/>
                    <a:moveTo>
                      <a:pt x="4" y="151"/>
                    </a:moveTo>
                    <a:cubicBezTo>
                      <a:pt x="131" y="224"/>
                      <a:pt x="131" y="224"/>
                      <a:pt x="131" y="224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3" name="Freeform 1081">
                <a:extLst>
                  <a:ext uri="{FF2B5EF4-FFF2-40B4-BE49-F238E27FC236}">
                    <a16:creationId xmlns:a16="http://schemas.microsoft.com/office/drawing/2014/main" id="{65B44A08-8706-4EB2-9A82-F3821C8A8E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4075"/>
                <a:ext cx="57" cy="189"/>
              </a:xfrm>
              <a:custGeom>
                <a:avLst/>
                <a:gdLst>
                  <a:gd name="T0" fmla="*/ 2 w 24"/>
                  <a:gd name="T1" fmla="*/ 80 h 80"/>
                  <a:gd name="T2" fmla="*/ 1 w 24"/>
                  <a:gd name="T3" fmla="*/ 80 h 80"/>
                  <a:gd name="T4" fmla="*/ 0 w 24"/>
                  <a:gd name="T5" fmla="*/ 78 h 80"/>
                  <a:gd name="T6" fmla="*/ 0 w 24"/>
                  <a:gd name="T7" fmla="*/ 2 h 80"/>
                  <a:gd name="T8" fmla="*/ 1 w 24"/>
                  <a:gd name="T9" fmla="*/ 0 h 80"/>
                  <a:gd name="T10" fmla="*/ 3 w 24"/>
                  <a:gd name="T11" fmla="*/ 0 h 80"/>
                  <a:gd name="T12" fmla="*/ 20 w 24"/>
                  <a:gd name="T13" fmla="*/ 10 h 80"/>
                  <a:gd name="T14" fmla="*/ 21 w 24"/>
                  <a:gd name="T15" fmla="*/ 9 h 80"/>
                  <a:gd name="T16" fmla="*/ 23 w 24"/>
                  <a:gd name="T17" fmla="*/ 9 h 80"/>
                  <a:gd name="T18" fmla="*/ 24 w 24"/>
                  <a:gd name="T19" fmla="*/ 11 h 80"/>
                  <a:gd name="T20" fmla="*/ 24 w 24"/>
                  <a:gd name="T21" fmla="*/ 67 h 80"/>
                  <a:gd name="T22" fmla="*/ 23 w 24"/>
                  <a:gd name="T23" fmla="*/ 69 h 80"/>
                  <a:gd name="T24" fmla="*/ 3 w 24"/>
                  <a:gd name="T25" fmla="*/ 80 h 80"/>
                  <a:gd name="T26" fmla="*/ 2 w 24"/>
                  <a:gd name="T27" fmla="*/ 80 h 80"/>
                  <a:gd name="T28" fmla="*/ 4 w 24"/>
                  <a:gd name="T29" fmla="*/ 5 h 80"/>
                  <a:gd name="T30" fmla="*/ 4 w 24"/>
                  <a:gd name="T31" fmla="*/ 75 h 80"/>
                  <a:gd name="T32" fmla="*/ 20 w 24"/>
                  <a:gd name="T33" fmla="*/ 66 h 80"/>
                  <a:gd name="T34" fmla="*/ 20 w 24"/>
                  <a:gd name="T35" fmla="*/ 14 h 80"/>
                  <a:gd name="T36" fmla="*/ 19 w 24"/>
                  <a:gd name="T37" fmla="*/ 14 h 80"/>
                  <a:gd name="T38" fmla="*/ 4 w 24"/>
                  <a:gd name="T39" fmla="*/ 5 h 80"/>
                  <a:gd name="T40" fmla="*/ 22 w 24"/>
                  <a:gd name="T41" fmla="*/ 67 h 80"/>
                  <a:gd name="T42" fmla="*/ 22 w 24"/>
                  <a:gd name="T43" fmla="*/ 6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80">
                    <a:moveTo>
                      <a:pt x="2" y="80"/>
                    </a:moveTo>
                    <a:cubicBezTo>
                      <a:pt x="2" y="80"/>
                      <a:pt x="1" y="80"/>
                      <a:pt x="1" y="80"/>
                    </a:cubicBezTo>
                    <a:cubicBezTo>
                      <a:pt x="1" y="80"/>
                      <a:pt x="0" y="79"/>
                      <a:pt x="0" y="7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2" y="9"/>
                      <a:pt x="23" y="9"/>
                    </a:cubicBezTo>
                    <a:cubicBezTo>
                      <a:pt x="23" y="10"/>
                      <a:pt x="24" y="10"/>
                      <a:pt x="24" y="11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4" y="68"/>
                      <a:pt x="23" y="68"/>
                      <a:pt x="23" y="69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3" y="80"/>
                      <a:pt x="3" y="80"/>
                      <a:pt x="2" y="80"/>
                    </a:cubicBezTo>
                    <a:close/>
                    <a:moveTo>
                      <a:pt x="4" y="5"/>
                    </a:moveTo>
                    <a:cubicBezTo>
                      <a:pt x="4" y="75"/>
                      <a:pt x="4" y="75"/>
                      <a:pt x="4" y="75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19" y="14"/>
                      <a:pt x="19" y="14"/>
                    </a:cubicBezTo>
                    <a:lnTo>
                      <a:pt x="4" y="5"/>
                    </a:lnTo>
                    <a:close/>
                    <a:moveTo>
                      <a:pt x="22" y="67"/>
                    </a:moveTo>
                    <a:cubicBezTo>
                      <a:pt x="22" y="67"/>
                      <a:pt x="22" y="67"/>
                      <a:pt x="22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4" name="Freeform 1082">
                <a:extLst>
                  <a:ext uri="{FF2B5EF4-FFF2-40B4-BE49-F238E27FC236}">
                    <a16:creationId xmlns:a16="http://schemas.microsoft.com/office/drawing/2014/main" id="{4ADCD51D-AD40-4D68-8F22-BF58366F35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3959"/>
                <a:ext cx="241" cy="277"/>
              </a:xfrm>
              <a:custGeom>
                <a:avLst/>
                <a:gdLst>
                  <a:gd name="T0" fmla="*/ 2 w 102"/>
                  <a:gd name="T1" fmla="*/ 117 h 117"/>
                  <a:gd name="T2" fmla="*/ 1 w 102"/>
                  <a:gd name="T3" fmla="*/ 117 h 117"/>
                  <a:gd name="T4" fmla="*/ 0 w 102"/>
                  <a:gd name="T5" fmla="*/ 115 h 117"/>
                  <a:gd name="T6" fmla="*/ 0 w 102"/>
                  <a:gd name="T7" fmla="*/ 59 h 117"/>
                  <a:gd name="T8" fmla="*/ 1 w 102"/>
                  <a:gd name="T9" fmla="*/ 57 h 117"/>
                  <a:gd name="T10" fmla="*/ 99 w 102"/>
                  <a:gd name="T11" fmla="*/ 1 h 117"/>
                  <a:gd name="T12" fmla="*/ 101 w 102"/>
                  <a:gd name="T13" fmla="*/ 1 h 117"/>
                  <a:gd name="T14" fmla="*/ 102 w 102"/>
                  <a:gd name="T15" fmla="*/ 2 h 117"/>
                  <a:gd name="T16" fmla="*/ 102 w 102"/>
                  <a:gd name="T17" fmla="*/ 58 h 117"/>
                  <a:gd name="T18" fmla="*/ 101 w 102"/>
                  <a:gd name="T19" fmla="*/ 60 h 117"/>
                  <a:gd name="T20" fmla="*/ 3 w 102"/>
                  <a:gd name="T21" fmla="*/ 117 h 117"/>
                  <a:gd name="T22" fmla="*/ 2 w 102"/>
                  <a:gd name="T23" fmla="*/ 117 h 117"/>
                  <a:gd name="T24" fmla="*/ 4 w 102"/>
                  <a:gd name="T25" fmla="*/ 60 h 117"/>
                  <a:gd name="T26" fmla="*/ 4 w 102"/>
                  <a:gd name="T27" fmla="*/ 112 h 117"/>
                  <a:gd name="T28" fmla="*/ 98 w 102"/>
                  <a:gd name="T29" fmla="*/ 57 h 117"/>
                  <a:gd name="T30" fmla="*/ 98 w 102"/>
                  <a:gd name="T31" fmla="*/ 6 h 117"/>
                  <a:gd name="T32" fmla="*/ 4 w 102"/>
                  <a:gd name="T33" fmla="*/ 6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17">
                    <a:moveTo>
                      <a:pt x="2" y="117"/>
                    </a:moveTo>
                    <a:cubicBezTo>
                      <a:pt x="1" y="117"/>
                      <a:pt x="1" y="117"/>
                      <a:pt x="1" y="117"/>
                    </a:cubicBezTo>
                    <a:cubicBezTo>
                      <a:pt x="0" y="117"/>
                      <a:pt x="0" y="116"/>
                      <a:pt x="0" y="11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8"/>
                      <a:pt x="0" y="58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2" y="59"/>
                      <a:pt x="101" y="60"/>
                      <a:pt x="101" y="60"/>
                    </a:cubicBezTo>
                    <a:cubicBezTo>
                      <a:pt x="3" y="117"/>
                      <a:pt x="3" y="117"/>
                      <a:pt x="3" y="117"/>
                    </a:cubicBezTo>
                    <a:cubicBezTo>
                      <a:pt x="2" y="117"/>
                      <a:pt x="2" y="117"/>
                      <a:pt x="2" y="117"/>
                    </a:cubicBezTo>
                    <a:close/>
                    <a:moveTo>
                      <a:pt x="4" y="60"/>
                    </a:moveTo>
                    <a:cubicBezTo>
                      <a:pt x="4" y="112"/>
                      <a:pt x="4" y="112"/>
                      <a:pt x="4" y="112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5" name="Freeform 1083">
                <a:extLst>
                  <a:ext uri="{FF2B5EF4-FFF2-40B4-BE49-F238E27FC236}">
                    <a16:creationId xmlns:a16="http://schemas.microsoft.com/office/drawing/2014/main" id="{DCFBAC55-A242-4BDD-BBB0-BA543134F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3820"/>
                <a:ext cx="293" cy="279"/>
              </a:xfrm>
              <a:custGeom>
                <a:avLst/>
                <a:gdLst>
                  <a:gd name="T0" fmla="*/ 24 w 124"/>
                  <a:gd name="T1" fmla="*/ 118 h 118"/>
                  <a:gd name="T2" fmla="*/ 23 w 124"/>
                  <a:gd name="T3" fmla="*/ 118 h 118"/>
                  <a:gd name="T4" fmla="*/ 22 w 124"/>
                  <a:gd name="T5" fmla="*/ 116 h 118"/>
                  <a:gd name="T6" fmla="*/ 22 w 124"/>
                  <a:gd name="T7" fmla="*/ 102 h 118"/>
                  <a:gd name="T8" fmla="*/ 1 w 124"/>
                  <a:gd name="T9" fmla="*/ 91 h 118"/>
                  <a:gd name="T10" fmla="*/ 0 w 124"/>
                  <a:gd name="T11" fmla="*/ 89 h 118"/>
                  <a:gd name="T12" fmla="*/ 0 w 124"/>
                  <a:gd name="T13" fmla="*/ 48 h 118"/>
                  <a:gd name="T14" fmla="*/ 1 w 124"/>
                  <a:gd name="T15" fmla="*/ 47 h 118"/>
                  <a:gd name="T16" fmla="*/ 81 w 124"/>
                  <a:gd name="T17" fmla="*/ 0 h 118"/>
                  <a:gd name="T18" fmla="*/ 83 w 124"/>
                  <a:gd name="T19" fmla="*/ 0 h 118"/>
                  <a:gd name="T20" fmla="*/ 123 w 124"/>
                  <a:gd name="T21" fmla="*/ 23 h 118"/>
                  <a:gd name="T22" fmla="*/ 124 w 124"/>
                  <a:gd name="T23" fmla="*/ 25 h 118"/>
                  <a:gd name="T24" fmla="*/ 124 w 124"/>
                  <a:gd name="T25" fmla="*/ 60 h 118"/>
                  <a:gd name="T26" fmla="*/ 123 w 124"/>
                  <a:gd name="T27" fmla="*/ 61 h 118"/>
                  <a:gd name="T28" fmla="*/ 25 w 124"/>
                  <a:gd name="T29" fmla="*/ 118 h 118"/>
                  <a:gd name="T30" fmla="*/ 24 w 124"/>
                  <a:gd name="T31" fmla="*/ 118 h 118"/>
                  <a:gd name="T32" fmla="*/ 4 w 124"/>
                  <a:gd name="T33" fmla="*/ 88 h 118"/>
                  <a:gd name="T34" fmla="*/ 25 w 124"/>
                  <a:gd name="T35" fmla="*/ 100 h 118"/>
                  <a:gd name="T36" fmla="*/ 26 w 124"/>
                  <a:gd name="T37" fmla="*/ 101 h 118"/>
                  <a:gd name="T38" fmla="*/ 26 w 124"/>
                  <a:gd name="T39" fmla="*/ 113 h 118"/>
                  <a:gd name="T40" fmla="*/ 120 w 124"/>
                  <a:gd name="T41" fmla="*/ 58 h 118"/>
                  <a:gd name="T42" fmla="*/ 120 w 124"/>
                  <a:gd name="T43" fmla="*/ 26 h 118"/>
                  <a:gd name="T44" fmla="*/ 82 w 124"/>
                  <a:gd name="T45" fmla="*/ 4 h 118"/>
                  <a:gd name="T46" fmla="*/ 4 w 124"/>
                  <a:gd name="T47" fmla="*/ 50 h 118"/>
                  <a:gd name="T48" fmla="*/ 4 w 124"/>
                  <a:gd name="T49" fmla="*/ 8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118">
                    <a:moveTo>
                      <a:pt x="24" y="118"/>
                    </a:moveTo>
                    <a:cubicBezTo>
                      <a:pt x="23" y="118"/>
                      <a:pt x="23" y="118"/>
                      <a:pt x="23" y="118"/>
                    </a:cubicBezTo>
                    <a:cubicBezTo>
                      <a:pt x="22" y="118"/>
                      <a:pt x="22" y="117"/>
                      <a:pt x="22" y="116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1" y="91"/>
                      <a:pt x="1" y="91"/>
                      <a:pt x="1" y="91"/>
                    </a:cubicBezTo>
                    <a:cubicBezTo>
                      <a:pt x="1" y="90"/>
                      <a:pt x="0" y="90"/>
                      <a:pt x="0" y="8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1" y="47"/>
                      <a:pt x="1" y="47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2" y="0"/>
                      <a:pt x="83" y="0"/>
                      <a:pt x="83" y="0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4" y="24"/>
                      <a:pt x="124" y="25"/>
                    </a:cubicBezTo>
                    <a:cubicBezTo>
                      <a:pt x="124" y="60"/>
                      <a:pt x="124" y="60"/>
                      <a:pt x="124" y="60"/>
                    </a:cubicBezTo>
                    <a:cubicBezTo>
                      <a:pt x="124" y="60"/>
                      <a:pt x="123" y="61"/>
                      <a:pt x="123" y="61"/>
                    </a:cubicBezTo>
                    <a:cubicBezTo>
                      <a:pt x="25" y="118"/>
                      <a:pt x="25" y="118"/>
                      <a:pt x="25" y="118"/>
                    </a:cubicBezTo>
                    <a:cubicBezTo>
                      <a:pt x="24" y="118"/>
                      <a:pt x="24" y="118"/>
                      <a:pt x="24" y="118"/>
                    </a:cubicBezTo>
                    <a:close/>
                    <a:moveTo>
                      <a:pt x="4" y="88"/>
                    </a:move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6" y="101"/>
                      <a:pt x="26" y="101"/>
                    </a:cubicBezTo>
                    <a:cubicBezTo>
                      <a:pt x="26" y="113"/>
                      <a:pt x="26" y="113"/>
                      <a:pt x="26" y="113"/>
                    </a:cubicBezTo>
                    <a:cubicBezTo>
                      <a:pt x="120" y="58"/>
                      <a:pt x="120" y="58"/>
                      <a:pt x="120" y="58"/>
                    </a:cubicBezTo>
                    <a:cubicBezTo>
                      <a:pt x="120" y="26"/>
                      <a:pt x="120" y="26"/>
                      <a:pt x="120" y="26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4" y="50"/>
                      <a:pt x="4" y="50"/>
                      <a:pt x="4" y="50"/>
                    </a:cubicBezTo>
                    <a:lnTo>
                      <a:pt x="4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6" name="Freeform 1084">
                <a:extLst>
                  <a:ext uri="{FF2B5EF4-FFF2-40B4-BE49-F238E27FC236}">
                    <a16:creationId xmlns:a16="http://schemas.microsoft.com/office/drawing/2014/main" id="{0DE4E673-6375-483E-BFC5-2CF7EF9998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3893"/>
                <a:ext cx="267" cy="185"/>
              </a:xfrm>
              <a:custGeom>
                <a:avLst/>
                <a:gdLst>
                  <a:gd name="T0" fmla="*/ 111 w 113"/>
                  <a:gd name="T1" fmla="*/ 78 h 78"/>
                  <a:gd name="T2" fmla="*/ 110 w 113"/>
                  <a:gd name="T3" fmla="*/ 78 h 78"/>
                  <a:gd name="T4" fmla="*/ 1 w 113"/>
                  <a:gd name="T5" fmla="*/ 15 h 78"/>
                  <a:gd name="T6" fmla="*/ 0 w 113"/>
                  <a:gd name="T7" fmla="*/ 13 h 78"/>
                  <a:gd name="T8" fmla="*/ 0 w 113"/>
                  <a:gd name="T9" fmla="*/ 9 h 78"/>
                  <a:gd name="T10" fmla="*/ 1 w 113"/>
                  <a:gd name="T11" fmla="*/ 7 h 78"/>
                  <a:gd name="T12" fmla="*/ 12 w 113"/>
                  <a:gd name="T13" fmla="*/ 1 h 78"/>
                  <a:gd name="T14" fmla="*/ 14 w 113"/>
                  <a:gd name="T15" fmla="*/ 1 h 78"/>
                  <a:gd name="T16" fmla="*/ 112 w 113"/>
                  <a:gd name="T17" fmla="*/ 57 h 78"/>
                  <a:gd name="T18" fmla="*/ 113 w 113"/>
                  <a:gd name="T19" fmla="*/ 59 h 78"/>
                  <a:gd name="T20" fmla="*/ 113 w 113"/>
                  <a:gd name="T21" fmla="*/ 76 h 78"/>
                  <a:gd name="T22" fmla="*/ 112 w 113"/>
                  <a:gd name="T23" fmla="*/ 78 h 78"/>
                  <a:gd name="T24" fmla="*/ 111 w 113"/>
                  <a:gd name="T25" fmla="*/ 78 h 78"/>
                  <a:gd name="T26" fmla="*/ 4 w 113"/>
                  <a:gd name="T27" fmla="*/ 12 h 78"/>
                  <a:gd name="T28" fmla="*/ 109 w 113"/>
                  <a:gd name="T29" fmla="*/ 73 h 78"/>
                  <a:gd name="T30" fmla="*/ 109 w 113"/>
                  <a:gd name="T31" fmla="*/ 60 h 78"/>
                  <a:gd name="T32" fmla="*/ 13 w 113"/>
                  <a:gd name="T33" fmla="*/ 5 h 78"/>
                  <a:gd name="T34" fmla="*/ 4 w 113"/>
                  <a:gd name="T35" fmla="*/ 10 h 78"/>
                  <a:gd name="T36" fmla="*/ 4 w 113"/>
                  <a:gd name="T37" fmla="*/ 1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3" h="78">
                    <a:moveTo>
                      <a:pt x="111" y="78"/>
                    </a:moveTo>
                    <a:cubicBezTo>
                      <a:pt x="110" y="78"/>
                      <a:pt x="110" y="78"/>
                      <a:pt x="110" y="78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8"/>
                      <a:pt x="1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3" y="0"/>
                      <a:pt x="14" y="1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2" y="58"/>
                      <a:pt x="113" y="58"/>
                      <a:pt x="113" y="59"/>
                    </a:cubicBezTo>
                    <a:cubicBezTo>
                      <a:pt x="113" y="76"/>
                      <a:pt x="113" y="76"/>
                      <a:pt x="113" y="76"/>
                    </a:cubicBezTo>
                    <a:cubicBezTo>
                      <a:pt x="113" y="77"/>
                      <a:pt x="112" y="78"/>
                      <a:pt x="112" y="78"/>
                    </a:cubicBezTo>
                    <a:cubicBezTo>
                      <a:pt x="111" y="78"/>
                      <a:pt x="111" y="78"/>
                      <a:pt x="111" y="78"/>
                    </a:cubicBezTo>
                    <a:close/>
                    <a:moveTo>
                      <a:pt x="4" y="12"/>
                    </a:moveTo>
                    <a:cubicBezTo>
                      <a:pt x="109" y="73"/>
                      <a:pt x="109" y="73"/>
                      <a:pt x="109" y="73"/>
                    </a:cubicBezTo>
                    <a:cubicBezTo>
                      <a:pt x="109" y="60"/>
                      <a:pt x="109" y="60"/>
                      <a:pt x="109" y="60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7" name="Freeform 1085">
                <a:extLst>
                  <a:ext uri="{FF2B5EF4-FFF2-40B4-BE49-F238E27FC236}">
                    <a16:creationId xmlns:a16="http://schemas.microsoft.com/office/drawing/2014/main" id="{1324ED4E-C69C-4CB9-9819-BE95FF2FC5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71" y="3735"/>
                <a:ext cx="427" cy="298"/>
              </a:xfrm>
              <a:custGeom>
                <a:avLst/>
                <a:gdLst>
                  <a:gd name="T0" fmla="*/ 99 w 181"/>
                  <a:gd name="T1" fmla="*/ 126 h 126"/>
                  <a:gd name="T2" fmla="*/ 98 w 181"/>
                  <a:gd name="T3" fmla="*/ 126 h 126"/>
                  <a:gd name="T4" fmla="*/ 1 w 181"/>
                  <a:gd name="T5" fmla="*/ 70 h 126"/>
                  <a:gd name="T6" fmla="*/ 0 w 181"/>
                  <a:gd name="T7" fmla="*/ 69 h 126"/>
                  <a:gd name="T8" fmla="*/ 1 w 181"/>
                  <a:gd name="T9" fmla="*/ 67 h 126"/>
                  <a:gd name="T10" fmla="*/ 117 w 181"/>
                  <a:gd name="T11" fmla="*/ 0 h 126"/>
                  <a:gd name="T12" fmla="*/ 119 w 181"/>
                  <a:gd name="T13" fmla="*/ 0 h 126"/>
                  <a:gd name="T14" fmla="*/ 180 w 181"/>
                  <a:gd name="T15" fmla="*/ 35 h 126"/>
                  <a:gd name="T16" fmla="*/ 181 w 181"/>
                  <a:gd name="T17" fmla="*/ 37 h 126"/>
                  <a:gd name="T18" fmla="*/ 180 w 181"/>
                  <a:gd name="T19" fmla="*/ 39 h 126"/>
                  <a:gd name="T20" fmla="*/ 101 w 181"/>
                  <a:gd name="T21" fmla="*/ 85 h 126"/>
                  <a:gd name="T22" fmla="*/ 101 w 181"/>
                  <a:gd name="T23" fmla="*/ 124 h 126"/>
                  <a:gd name="T24" fmla="*/ 100 w 181"/>
                  <a:gd name="T25" fmla="*/ 126 h 126"/>
                  <a:gd name="T26" fmla="*/ 99 w 181"/>
                  <a:gd name="T27" fmla="*/ 126 h 126"/>
                  <a:gd name="T28" fmla="*/ 6 w 181"/>
                  <a:gd name="T29" fmla="*/ 69 h 126"/>
                  <a:gd name="T30" fmla="*/ 97 w 181"/>
                  <a:gd name="T31" fmla="*/ 121 h 126"/>
                  <a:gd name="T32" fmla="*/ 97 w 181"/>
                  <a:gd name="T33" fmla="*/ 83 h 126"/>
                  <a:gd name="T34" fmla="*/ 98 w 181"/>
                  <a:gd name="T35" fmla="*/ 82 h 126"/>
                  <a:gd name="T36" fmla="*/ 175 w 181"/>
                  <a:gd name="T37" fmla="*/ 37 h 126"/>
                  <a:gd name="T38" fmla="*/ 118 w 181"/>
                  <a:gd name="T39" fmla="*/ 4 h 126"/>
                  <a:gd name="T40" fmla="*/ 6 w 181"/>
                  <a:gd name="T41" fmla="*/ 69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1" h="126">
                    <a:moveTo>
                      <a:pt x="99" y="126"/>
                    </a:moveTo>
                    <a:cubicBezTo>
                      <a:pt x="98" y="126"/>
                      <a:pt x="98" y="126"/>
                      <a:pt x="98" y="126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8"/>
                      <a:pt x="1" y="67"/>
                      <a:pt x="1" y="67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80" y="35"/>
                      <a:pt x="180" y="35"/>
                      <a:pt x="180" y="35"/>
                    </a:cubicBezTo>
                    <a:cubicBezTo>
                      <a:pt x="180" y="36"/>
                      <a:pt x="181" y="36"/>
                      <a:pt x="181" y="37"/>
                    </a:cubicBezTo>
                    <a:cubicBezTo>
                      <a:pt x="181" y="38"/>
                      <a:pt x="180" y="38"/>
                      <a:pt x="180" y="39"/>
                    </a:cubicBezTo>
                    <a:cubicBezTo>
                      <a:pt x="101" y="85"/>
                      <a:pt x="101" y="85"/>
                      <a:pt x="101" y="85"/>
                    </a:cubicBezTo>
                    <a:cubicBezTo>
                      <a:pt x="101" y="124"/>
                      <a:pt x="101" y="124"/>
                      <a:pt x="101" y="124"/>
                    </a:cubicBezTo>
                    <a:cubicBezTo>
                      <a:pt x="101" y="125"/>
                      <a:pt x="100" y="125"/>
                      <a:pt x="100" y="126"/>
                    </a:cubicBezTo>
                    <a:cubicBezTo>
                      <a:pt x="99" y="126"/>
                      <a:pt x="99" y="126"/>
                      <a:pt x="99" y="126"/>
                    </a:cubicBezTo>
                    <a:close/>
                    <a:moveTo>
                      <a:pt x="6" y="69"/>
                    </a:moveTo>
                    <a:cubicBezTo>
                      <a:pt x="97" y="121"/>
                      <a:pt x="97" y="121"/>
                      <a:pt x="97" y="121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7" y="83"/>
                      <a:pt x="97" y="82"/>
                      <a:pt x="98" y="82"/>
                    </a:cubicBezTo>
                    <a:cubicBezTo>
                      <a:pt x="175" y="37"/>
                      <a:pt x="175" y="37"/>
                      <a:pt x="175" y="37"/>
                    </a:cubicBezTo>
                    <a:cubicBezTo>
                      <a:pt x="118" y="4"/>
                      <a:pt x="118" y="4"/>
                      <a:pt x="118" y="4"/>
                    </a:cubicBezTo>
                    <a:lnTo>
                      <a:pt x="6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8" name="Freeform 1086">
                <a:extLst>
                  <a:ext uri="{FF2B5EF4-FFF2-40B4-BE49-F238E27FC236}">
                    <a16:creationId xmlns:a16="http://schemas.microsoft.com/office/drawing/2014/main" id="{7DAC533E-AC59-44F2-B4CF-875E293602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96" y="3766"/>
                <a:ext cx="99" cy="113"/>
              </a:xfrm>
              <a:custGeom>
                <a:avLst/>
                <a:gdLst>
                  <a:gd name="T0" fmla="*/ 40 w 42"/>
                  <a:gd name="T1" fmla="*/ 48 h 48"/>
                  <a:gd name="T2" fmla="*/ 39 w 42"/>
                  <a:gd name="T3" fmla="*/ 48 h 48"/>
                  <a:gd name="T4" fmla="*/ 1 w 42"/>
                  <a:gd name="T5" fmla="*/ 26 h 48"/>
                  <a:gd name="T6" fmla="*/ 0 w 42"/>
                  <a:gd name="T7" fmla="*/ 24 h 48"/>
                  <a:gd name="T8" fmla="*/ 1 w 42"/>
                  <a:gd name="T9" fmla="*/ 22 h 48"/>
                  <a:gd name="T10" fmla="*/ 39 w 42"/>
                  <a:gd name="T11" fmla="*/ 1 h 48"/>
                  <a:gd name="T12" fmla="*/ 41 w 42"/>
                  <a:gd name="T13" fmla="*/ 1 h 48"/>
                  <a:gd name="T14" fmla="*/ 42 w 42"/>
                  <a:gd name="T15" fmla="*/ 2 h 48"/>
                  <a:gd name="T16" fmla="*/ 42 w 42"/>
                  <a:gd name="T17" fmla="*/ 46 h 48"/>
                  <a:gd name="T18" fmla="*/ 41 w 42"/>
                  <a:gd name="T19" fmla="*/ 48 h 48"/>
                  <a:gd name="T20" fmla="*/ 40 w 42"/>
                  <a:gd name="T21" fmla="*/ 48 h 48"/>
                  <a:gd name="T22" fmla="*/ 6 w 42"/>
                  <a:gd name="T23" fmla="*/ 24 h 48"/>
                  <a:gd name="T24" fmla="*/ 38 w 42"/>
                  <a:gd name="T25" fmla="*/ 42 h 48"/>
                  <a:gd name="T26" fmla="*/ 38 w 42"/>
                  <a:gd name="T27" fmla="*/ 6 h 48"/>
                  <a:gd name="T28" fmla="*/ 6 w 42"/>
                  <a:gd name="T2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48">
                    <a:moveTo>
                      <a:pt x="40" y="48"/>
                    </a:moveTo>
                    <a:cubicBezTo>
                      <a:pt x="39" y="48"/>
                      <a:pt x="39" y="48"/>
                      <a:pt x="39" y="48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5"/>
                      <a:pt x="0" y="25"/>
                      <a:pt x="0" y="24"/>
                    </a:cubicBezTo>
                    <a:cubicBezTo>
                      <a:pt x="0" y="23"/>
                      <a:pt x="0" y="23"/>
                      <a:pt x="1" y="22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0"/>
                      <a:pt x="40" y="0"/>
                      <a:pt x="41" y="1"/>
                    </a:cubicBezTo>
                    <a:cubicBezTo>
                      <a:pt x="41" y="1"/>
                      <a:pt x="42" y="2"/>
                      <a:pt x="42" y="2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7"/>
                      <a:pt x="41" y="47"/>
                      <a:pt x="41" y="48"/>
                    </a:cubicBezTo>
                    <a:cubicBezTo>
                      <a:pt x="40" y="48"/>
                      <a:pt x="40" y="48"/>
                      <a:pt x="40" y="48"/>
                    </a:cubicBezTo>
                    <a:close/>
                    <a:moveTo>
                      <a:pt x="6" y="24"/>
                    </a:move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6"/>
                      <a:pt x="38" y="6"/>
                      <a:pt x="38" y="6"/>
                    </a:cubicBezTo>
                    <a:lnTo>
                      <a:pt x="6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9" name="Freeform 1087">
                <a:extLst>
                  <a:ext uri="{FF2B5EF4-FFF2-40B4-BE49-F238E27FC236}">
                    <a16:creationId xmlns:a16="http://schemas.microsoft.com/office/drawing/2014/main" id="{97E7E763-C863-436B-ACC2-2406529686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26" y="3730"/>
                <a:ext cx="959" cy="700"/>
              </a:xfrm>
              <a:custGeom>
                <a:avLst/>
                <a:gdLst>
                  <a:gd name="T0" fmla="*/ 140 w 406"/>
                  <a:gd name="T1" fmla="*/ 295 h 296"/>
                  <a:gd name="T2" fmla="*/ 5 w 406"/>
                  <a:gd name="T3" fmla="*/ 216 h 296"/>
                  <a:gd name="T4" fmla="*/ 1 w 406"/>
                  <a:gd name="T5" fmla="*/ 82 h 296"/>
                  <a:gd name="T6" fmla="*/ 1 w 406"/>
                  <a:gd name="T7" fmla="*/ 78 h 296"/>
                  <a:gd name="T8" fmla="*/ 5 w 406"/>
                  <a:gd name="T9" fmla="*/ 62 h 296"/>
                  <a:gd name="T10" fmla="*/ 8 w 406"/>
                  <a:gd name="T11" fmla="*/ 60 h 296"/>
                  <a:gd name="T12" fmla="*/ 136 w 406"/>
                  <a:gd name="T13" fmla="*/ 0 h 296"/>
                  <a:gd name="T14" fmla="*/ 199 w 406"/>
                  <a:gd name="T15" fmla="*/ 36 h 296"/>
                  <a:gd name="T16" fmla="*/ 241 w 406"/>
                  <a:gd name="T17" fmla="*/ 13 h 296"/>
                  <a:gd name="T18" fmla="*/ 242 w 406"/>
                  <a:gd name="T19" fmla="*/ 61 h 296"/>
                  <a:gd name="T20" fmla="*/ 269 w 406"/>
                  <a:gd name="T21" fmla="*/ 62 h 296"/>
                  <a:gd name="T22" fmla="*/ 272 w 406"/>
                  <a:gd name="T23" fmla="*/ 60 h 296"/>
                  <a:gd name="T24" fmla="*/ 406 w 406"/>
                  <a:gd name="T25" fmla="*/ 139 h 296"/>
                  <a:gd name="T26" fmla="*/ 405 w 406"/>
                  <a:gd name="T27" fmla="*/ 295 h 296"/>
                  <a:gd name="T28" fmla="*/ 270 w 406"/>
                  <a:gd name="T29" fmla="*/ 218 h 296"/>
                  <a:gd name="T30" fmla="*/ 269 w 406"/>
                  <a:gd name="T31" fmla="*/ 84 h 296"/>
                  <a:gd name="T32" fmla="*/ 242 w 406"/>
                  <a:gd name="T33" fmla="*/ 156 h 296"/>
                  <a:gd name="T34" fmla="*/ 143 w 406"/>
                  <a:gd name="T35" fmla="*/ 215 h 296"/>
                  <a:gd name="T36" fmla="*/ 142 w 406"/>
                  <a:gd name="T37" fmla="*/ 295 h 296"/>
                  <a:gd name="T38" fmla="*/ 9 w 406"/>
                  <a:gd name="T39" fmla="*/ 215 h 296"/>
                  <a:gd name="T40" fmla="*/ 139 w 406"/>
                  <a:gd name="T41" fmla="*/ 214 h 296"/>
                  <a:gd name="T42" fmla="*/ 238 w 406"/>
                  <a:gd name="T43" fmla="*/ 155 h 296"/>
                  <a:gd name="T44" fmla="*/ 239 w 406"/>
                  <a:gd name="T45" fmla="*/ 97 h 296"/>
                  <a:gd name="T46" fmla="*/ 239 w 406"/>
                  <a:gd name="T47" fmla="*/ 64 h 296"/>
                  <a:gd name="T48" fmla="*/ 238 w 406"/>
                  <a:gd name="T49" fmla="*/ 18 h 296"/>
                  <a:gd name="T50" fmla="*/ 198 w 406"/>
                  <a:gd name="T51" fmla="*/ 40 h 296"/>
                  <a:gd name="T52" fmla="*/ 21 w 406"/>
                  <a:gd name="T53" fmla="*/ 71 h 296"/>
                  <a:gd name="T54" fmla="*/ 9 w 406"/>
                  <a:gd name="T55" fmla="*/ 66 h 296"/>
                  <a:gd name="T56" fmla="*/ 8 w 406"/>
                  <a:gd name="T57" fmla="*/ 79 h 296"/>
                  <a:gd name="T58" fmla="*/ 8 w 406"/>
                  <a:gd name="T59" fmla="*/ 81 h 296"/>
                  <a:gd name="T60" fmla="*/ 9 w 406"/>
                  <a:gd name="T61" fmla="*/ 215 h 296"/>
                  <a:gd name="T62" fmla="*/ 402 w 406"/>
                  <a:gd name="T63" fmla="*/ 290 h 296"/>
                  <a:gd name="T64" fmla="*/ 273 w 406"/>
                  <a:gd name="T65" fmla="*/ 66 h 296"/>
                  <a:gd name="T66" fmla="*/ 273 w 406"/>
                  <a:gd name="T67" fmla="*/ 80 h 296"/>
                  <a:gd name="T68" fmla="*/ 273 w 406"/>
                  <a:gd name="T69" fmla="*/ 215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06" h="296">
                    <a:moveTo>
                      <a:pt x="141" y="295"/>
                    </a:moveTo>
                    <a:cubicBezTo>
                      <a:pt x="140" y="295"/>
                      <a:pt x="140" y="295"/>
                      <a:pt x="140" y="295"/>
                    </a:cubicBezTo>
                    <a:cubicBezTo>
                      <a:pt x="6" y="218"/>
                      <a:pt x="6" y="218"/>
                      <a:pt x="6" y="218"/>
                    </a:cubicBezTo>
                    <a:cubicBezTo>
                      <a:pt x="5" y="218"/>
                      <a:pt x="5" y="217"/>
                      <a:pt x="5" y="216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0" y="82"/>
                      <a:pt x="0" y="81"/>
                      <a:pt x="0" y="80"/>
                    </a:cubicBezTo>
                    <a:cubicBezTo>
                      <a:pt x="0" y="79"/>
                      <a:pt x="0" y="79"/>
                      <a:pt x="1" y="78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61"/>
                      <a:pt x="5" y="61"/>
                      <a:pt x="6" y="60"/>
                    </a:cubicBezTo>
                    <a:cubicBezTo>
                      <a:pt x="7" y="60"/>
                      <a:pt x="7" y="60"/>
                      <a:pt x="8" y="60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37" y="0"/>
                      <a:pt x="137" y="0"/>
                      <a:pt x="138" y="0"/>
                    </a:cubicBezTo>
                    <a:cubicBezTo>
                      <a:pt x="199" y="36"/>
                      <a:pt x="199" y="36"/>
                      <a:pt x="199" y="36"/>
                    </a:cubicBezTo>
                    <a:cubicBezTo>
                      <a:pt x="239" y="13"/>
                      <a:pt x="239" y="13"/>
                      <a:pt x="239" y="13"/>
                    </a:cubicBezTo>
                    <a:cubicBezTo>
                      <a:pt x="240" y="12"/>
                      <a:pt x="241" y="12"/>
                      <a:pt x="241" y="13"/>
                    </a:cubicBezTo>
                    <a:cubicBezTo>
                      <a:pt x="242" y="13"/>
                      <a:pt x="242" y="14"/>
                      <a:pt x="242" y="14"/>
                    </a:cubicBezTo>
                    <a:cubicBezTo>
                      <a:pt x="242" y="61"/>
                      <a:pt x="242" y="61"/>
                      <a:pt x="242" y="61"/>
                    </a:cubicBezTo>
                    <a:cubicBezTo>
                      <a:pt x="269" y="76"/>
                      <a:pt x="269" y="76"/>
                      <a:pt x="269" y="76"/>
                    </a:cubicBezTo>
                    <a:cubicBezTo>
                      <a:pt x="269" y="62"/>
                      <a:pt x="269" y="62"/>
                      <a:pt x="269" y="62"/>
                    </a:cubicBezTo>
                    <a:cubicBezTo>
                      <a:pt x="269" y="61"/>
                      <a:pt x="269" y="61"/>
                      <a:pt x="270" y="60"/>
                    </a:cubicBezTo>
                    <a:cubicBezTo>
                      <a:pt x="270" y="60"/>
                      <a:pt x="271" y="60"/>
                      <a:pt x="272" y="60"/>
                    </a:cubicBezTo>
                    <a:cubicBezTo>
                      <a:pt x="405" y="138"/>
                      <a:pt x="405" y="138"/>
                      <a:pt x="405" y="138"/>
                    </a:cubicBezTo>
                    <a:cubicBezTo>
                      <a:pt x="406" y="138"/>
                      <a:pt x="406" y="139"/>
                      <a:pt x="406" y="139"/>
                    </a:cubicBezTo>
                    <a:cubicBezTo>
                      <a:pt x="406" y="293"/>
                      <a:pt x="406" y="293"/>
                      <a:pt x="406" y="293"/>
                    </a:cubicBezTo>
                    <a:cubicBezTo>
                      <a:pt x="406" y="294"/>
                      <a:pt x="406" y="295"/>
                      <a:pt x="405" y="295"/>
                    </a:cubicBezTo>
                    <a:cubicBezTo>
                      <a:pt x="405" y="296"/>
                      <a:pt x="404" y="296"/>
                      <a:pt x="403" y="295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69" y="218"/>
                      <a:pt x="269" y="217"/>
                      <a:pt x="269" y="216"/>
                    </a:cubicBezTo>
                    <a:cubicBezTo>
                      <a:pt x="269" y="84"/>
                      <a:pt x="269" y="84"/>
                      <a:pt x="269" y="84"/>
                    </a:cubicBezTo>
                    <a:cubicBezTo>
                      <a:pt x="242" y="100"/>
                      <a:pt x="242" y="100"/>
                      <a:pt x="242" y="100"/>
                    </a:cubicBezTo>
                    <a:cubicBezTo>
                      <a:pt x="242" y="156"/>
                      <a:pt x="242" y="156"/>
                      <a:pt x="242" y="156"/>
                    </a:cubicBezTo>
                    <a:cubicBezTo>
                      <a:pt x="242" y="157"/>
                      <a:pt x="242" y="158"/>
                      <a:pt x="241" y="158"/>
                    </a:cubicBezTo>
                    <a:cubicBezTo>
                      <a:pt x="143" y="215"/>
                      <a:pt x="143" y="215"/>
                      <a:pt x="143" y="215"/>
                    </a:cubicBezTo>
                    <a:cubicBezTo>
                      <a:pt x="143" y="293"/>
                      <a:pt x="143" y="293"/>
                      <a:pt x="143" y="293"/>
                    </a:cubicBezTo>
                    <a:cubicBezTo>
                      <a:pt x="143" y="294"/>
                      <a:pt x="142" y="295"/>
                      <a:pt x="142" y="295"/>
                    </a:cubicBezTo>
                    <a:cubicBezTo>
                      <a:pt x="141" y="295"/>
                      <a:pt x="141" y="295"/>
                      <a:pt x="141" y="295"/>
                    </a:cubicBezTo>
                    <a:close/>
                    <a:moveTo>
                      <a:pt x="9" y="215"/>
                    </a:moveTo>
                    <a:cubicBezTo>
                      <a:pt x="139" y="290"/>
                      <a:pt x="139" y="290"/>
                      <a:pt x="139" y="290"/>
                    </a:cubicBezTo>
                    <a:cubicBezTo>
                      <a:pt x="139" y="214"/>
                      <a:pt x="139" y="214"/>
                      <a:pt x="139" y="214"/>
                    </a:cubicBezTo>
                    <a:cubicBezTo>
                      <a:pt x="139" y="213"/>
                      <a:pt x="139" y="213"/>
                      <a:pt x="140" y="212"/>
                    </a:cubicBezTo>
                    <a:cubicBezTo>
                      <a:pt x="238" y="155"/>
                      <a:pt x="238" y="155"/>
                      <a:pt x="238" y="155"/>
                    </a:cubicBezTo>
                    <a:cubicBezTo>
                      <a:pt x="238" y="98"/>
                      <a:pt x="238" y="98"/>
                      <a:pt x="238" y="98"/>
                    </a:cubicBezTo>
                    <a:cubicBezTo>
                      <a:pt x="238" y="98"/>
                      <a:pt x="239" y="97"/>
                      <a:pt x="239" y="97"/>
                    </a:cubicBezTo>
                    <a:cubicBezTo>
                      <a:pt x="268" y="80"/>
                      <a:pt x="268" y="80"/>
                      <a:pt x="268" y="80"/>
                    </a:cubicBezTo>
                    <a:cubicBezTo>
                      <a:pt x="239" y="64"/>
                      <a:pt x="239" y="64"/>
                      <a:pt x="239" y="64"/>
                    </a:cubicBezTo>
                    <a:cubicBezTo>
                      <a:pt x="239" y="63"/>
                      <a:pt x="238" y="63"/>
                      <a:pt x="238" y="62"/>
                    </a:cubicBezTo>
                    <a:cubicBezTo>
                      <a:pt x="238" y="18"/>
                      <a:pt x="238" y="18"/>
                      <a:pt x="238" y="18"/>
                    </a:cubicBezTo>
                    <a:cubicBezTo>
                      <a:pt x="200" y="40"/>
                      <a:pt x="200" y="40"/>
                      <a:pt x="200" y="40"/>
                    </a:cubicBezTo>
                    <a:cubicBezTo>
                      <a:pt x="200" y="40"/>
                      <a:pt x="199" y="40"/>
                      <a:pt x="198" y="40"/>
                    </a:cubicBezTo>
                    <a:cubicBezTo>
                      <a:pt x="137" y="4"/>
                      <a:pt x="137" y="4"/>
                      <a:pt x="137" y="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0" y="72"/>
                      <a:pt x="19" y="72"/>
                      <a:pt x="19" y="71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9" y="78"/>
                      <a:pt x="9" y="78"/>
                      <a:pt x="8" y="79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8" y="81"/>
                      <a:pt x="8" y="81"/>
                      <a:pt x="8" y="81"/>
                    </a:cubicBezTo>
                    <a:cubicBezTo>
                      <a:pt x="9" y="82"/>
                      <a:pt x="9" y="82"/>
                      <a:pt x="9" y="83"/>
                    </a:cubicBezTo>
                    <a:lnTo>
                      <a:pt x="9" y="215"/>
                    </a:lnTo>
                    <a:close/>
                    <a:moveTo>
                      <a:pt x="273" y="215"/>
                    </a:moveTo>
                    <a:cubicBezTo>
                      <a:pt x="402" y="290"/>
                      <a:pt x="402" y="290"/>
                      <a:pt x="402" y="290"/>
                    </a:cubicBezTo>
                    <a:cubicBezTo>
                      <a:pt x="402" y="140"/>
                      <a:pt x="402" y="140"/>
                      <a:pt x="402" y="140"/>
                    </a:cubicBezTo>
                    <a:cubicBezTo>
                      <a:pt x="273" y="66"/>
                      <a:pt x="273" y="66"/>
                      <a:pt x="273" y="66"/>
                    </a:cubicBezTo>
                    <a:cubicBezTo>
                      <a:pt x="273" y="79"/>
                      <a:pt x="273" y="79"/>
                      <a:pt x="273" y="79"/>
                    </a:cubicBezTo>
                    <a:cubicBezTo>
                      <a:pt x="273" y="80"/>
                      <a:pt x="273" y="80"/>
                      <a:pt x="273" y="80"/>
                    </a:cubicBezTo>
                    <a:cubicBezTo>
                      <a:pt x="273" y="80"/>
                      <a:pt x="273" y="81"/>
                      <a:pt x="273" y="81"/>
                    </a:cubicBezTo>
                    <a:lnTo>
                      <a:pt x="273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0" name="Freeform 1088">
                <a:extLst>
                  <a:ext uri="{FF2B5EF4-FFF2-40B4-BE49-F238E27FC236}">
                    <a16:creationId xmlns:a16="http://schemas.microsoft.com/office/drawing/2014/main" id="{BB54CBE3-C754-44D2-8C69-B6AB1A0ADE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4030"/>
                <a:ext cx="57" cy="74"/>
              </a:xfrm>
              <a:custGeom>
                <a:avLst/>
                <a:gdLst>
                  <a:gd name="T0" fmla="*/ 20 w 24"/>
                  <a:gd name="T1" fmla="*/ 31 h 31"/>
                  <a:gd name="T2" fmla="*/ 19 w 24"/>
                  <a:gd name="T3" fmla="*/ 31 h 31"/>
                  <a:gd name="T4" fmla="*/ 1 w 24"/>
                  <a:gd name="T5" fmla="*/ 21 h 31"/>
                  <a:gd name="T6" fmla="*/ 0 w 24"/>
                  <a:gd name="T7" fmla="*/ 19 h 31"/>
                  <a:gd name="T8" fmla="*/ 0 w 24"/>
                  <a:gd name="T9" fmla="*/ 2 h 31"/>
                  <a:gd name="T10" fmla="*/ 1 w 24"/>
                  <a:gd name="T11" fmla="*/ 0 h 31"/>
                  <a:gd name="T12" fmla="*/ 3 w 24"/>
                  <a:gd name="T13" fmla="*/ 0 h 31"/>
                  <a:gd name="T14" fmla="*/ 23 w 24"/>
                  <a:gd name="T15" fmla="*/ 12 h 31"/>
                  <a:gd name="T16" fmla="*/ 24 w 24"/>
                  <a:gd name="T17" fmla="*/ 13 h 31"/>
                  <a:gd name="T18" fmla="*/ 24 w 24"/>
                  <a:gd name="T19" fmla="*/ 28 h 31"/>
                  <a:gd name="T20" fmla="*/ 23 w 24"/>
                  <a:gd name="T21" fmla="*/ 30 h 31"/>
                  <a:gd name="T22" fmla="*/ 21 w 24"/>
                  <a:gd name="T23" fmla="*/ 31 h 31"/>
                  <a:gd name="T24" fmla="*/ 20 w 24"/>
                  <a:gd name="T25" fmla="*/ 31 h 31"/>
                  <a:gd name="T26" fmla="*/ 22 w 24"/>
                  <a:gd name="T27" fmla="*/ 28 h 31"/>
                  <a:gd name="T28" fmla="*/ 22 w 24"/>
                  <a:gd name="T29" fmla="*/ 28 h 31"/>
                  <a:gd name="T30" fmla="*/ 4 w 24"/>
                  <a:gd name="T31" fmla="*/ 18 h 31"/>
                  <a:gd name="T32" fmla="*/ 20 w 24"/>
                  <a:gd name="T33" fmla="*/ 27 h 31"/>
                  <a:gd name="T34" fmla="*/ 20 w 24"/>
                  <a:gd name="T35" fmla="*/ 14 h 31"/>
                  <a:gd name="T36" fmla="*/ 4 w 24"/>
                  <a:gd name="T37" fmla="*/ 5 h 31"/>
                  <a:gd name="T38" fmla="*/ 4 w 24"/>
                  <a:gd name="T3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31">
                    <a:moveTo>
                      <a:pt x="20" y="31"/>
                    </a:moveTo>
                    <a:cubicBezTo>
                      <a:pt x="20" y="31"/>
                      <a:pt x="19" y="31"/>
                      <a:pt x="1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0"/>
                      <a:pt x="0" y="20"/>
                      <a:pt x="0" y="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3" y="12"/>
                      <a:pt x="24" y="13"/>
                      <a:pt x="24" y="13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9"/>
                      <a:pt x="23" y="30"/>
                      <a:pt x="23" y="30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0" y="31"/>
                      <a:pt x="20" y="31"/>
                    </a:cubicBezTo>
                    <a:close/>
                    <a:moveTo>
                      <a:pt x="22" y="28"/>
                    </a:moveTo>
                    <a:cubicBezTo>
                      <a:pt x="22" y="28"/>
                      <a:pt x="22" y="28"/>
                      <a:pt x="22" y="28"/>
                    </a:cubicBezTo>
                    <a:close/>
                    <a:moveTo>
                      <a:pt x="4" y="18"/>
                    </a:moveTo>
                    <a:cubicBezTo>
                      <a:pt x="20" y="27"/>
                      <a:pt x="20" y="27"/>
                      <a:pt x="20" y="27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1" name="Freeform 1089">
                <a:extLst>
                  <a:ext uri="{FF2B5EF4-FFF2-40B4-BE49-F238E27FC236}">
                    <a16:creationId xmlns:a16="http://schemas.microsoft.com/office/drawing/2014/main" id="{7D25FC74-E709-4D6B-BD62-01524BDE4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3924"/>
                <a:ext cx="317" cy="499"/>
              </a:xfrm>
              <a:custGeom>
                <a:avLst/>
                <a:gdLst>
                  <a:gd name="T0" fmla="*/ 132 w 134"/>
                  <a:gd name="T1" fmla="*/ 211 h 211"/>
                  <a:gd name="T2" fmla="*/ 131 w 134"/>
                  <a:gd name="T3" fmla="*/ 210 h 211"/>
                  <a:gd name="T4" fmla="*/ 1 w 134"/>
                  <a:gd name="T5" fmla="*/ 135 h 211"/>
                  <a:gd name="T6" fmla="*/ 0 w 134"/>
                  <a:gd name="T7" fmla="*/ 133 h 211"/>
                  <a:gd name="T8" fmla="*/ 0 w 134"/>
                  <a:gd name="T9" fmla="*/ 2 h 211"/>
                  <a:gd name="T10" fmla="*/ 1 w 134"/>
                  <a:gd name="T11" fmla="*/ 0 h 211"/>
                  <a:gd name="T12" fmla="*/ 3 w 134"/>
                  <a:gd name="T13" fmla="*/ 0 h 211"/>
                  <a:gd name="T14" fmla="*/ 112 w 134"/>
                  <a:gd name="T15" fmla="*/ 63 h 211"/>
                  <a:gd name="T16" fmla="*/ 113 w 134"/>
                  <a:gd name="T17" fmla="*/ 65 h 211"/>
                  <a:gd name="T18" fmla="*/ 113 w 134"/>
                  <a:gd name="T19" fmla="*/ 142 h 211"/>
                  <a:gd name="T20" fmla="*/ 131 w 134"/>
                  <a:gd name="T21" fmla="*/ 131 h 211"/>
                  <a:gd name="T22" fmla="*/ 133 w 134"/>
                  <a:gd name="T23" fmla="*/ 131 h 211"/>
                  <a:gd name="T24" fmla="*/ 134 w 134"/>
                  <a:gd name="T25" fmla="*/ 133 h 211"/>
                  <a:gd name="T26" fmla="*/ 134 w 134"/>
                  <a:gd name="T27" fmla="*/ 209 h 211"/>
                  <a:gd name="T28" fmla="*/ 133 w 134"/>
                  <a:gd name="T29" fmla="*/ 210 h 211"/>
                  <a:gd name="T30" fmla="*/ 132 w 134"/>
                  <a:gd name="T31" fmla="*/ 211 h 211"/>
                  <a:gd name="T32" fmla="*/ 4 w 134"/>
                  <a:gd name="T33" fmla="*/ 132 h 211"/>
                  <a:gd name="T34" fmla="*/ 130 w 134"/>
                  <a:gd name="T35" fmla="*/ 205 h 211"/>
                  <a:gd name="T36" fmla="*/ 130 w 134"/>
                  <a:gd name="T37" fmla="*/ 136 h 211"/>
                  <a:gd name="T38" fmla="*/ 112 w 134"/>
                  <a:gd name="T39" fmla="*/ 147 h 211"/>
                  <a:gd name="T40" fmla="*/ 110 w 134"/>
                  <a:gd name="T41" fmla="*/ 147 h 211"/>
                  <a:gd name="T42" fmla="*/ 109 w 134"/>
                  <a:gd name="T43" fmla="*/ 145 h 211"/>
                  <a:gd name="T44" fmla="*/ 109 w 134"/>
                  <a:gd name="T45" fmla="*/ 66 h 211"/>
                  <a:gd name="T46" fmla="*/ 4 w 134"/>
                  <a:gd name="T47" fmla="*/ 6 h 211"/>
                  <a:gd name="T48" fmla="*/ 4 w 134"/>
                  <a:gd name="T49" fmla="*/ 132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211">
                    <a:moveTo>
                      <a:pt x="132" y="211"/>
                    </a:moveTo>
                    <a:cubicBezTo>
                      <a:pt x="132" y="211"/>
                      <a:pt x="131" y="211"/>
                      <a:pt x="131" y="210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5"/>
                      <a:pt x="0" y="134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4"/>
                      <a:pt x="113" y="64"/>
                      <a:pt x="113" y="65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31" y="131"/>
                      <a:pt x="131" y="131"/>
                      <a:pt x="131" y="131"/>
                    </a:cubicBezTo>
                    <a:cubicBezTo>
                      <a:pt x="131" y="131"/>
                      <a:pt x="132" y="131"/>
                      <a:pt x="133" y="131"/>
                    </a:cubicBezTo>
                    <a:cubicBezTo>
                      <a:pt x="133" y="132"/>
                      <a:pt x="134" y="132"/>
                      <a:pt x="134" y="133"/>
                    </a:cubicBezTo>
                    <a:cubicBezTo>
                      <a:pt x="134" y="209"/>
                      <a:pt x="134" y="209"/>
                      <a:pt x="134" y="209"/>
                    </a:cubicBezTo>
                    <a:cubicBezTo>
                      <a:pt x="134" y="209"/>
                      <a:pt x="133" y="210"/>
                      <a:pt x="133" y="210"/>
                    </a:cubicBezTo>
                    <a:cubicBezTo>
                      <a:pt x="133" y="211"/>
                      <a:pt x="132" y="211"/>
                      <a:pt x="132" y="211"/>
                    </a:cubicBezTo>
                    <a:close/>
                    <a:moveTo>
                      <a:pt x="4" y="132"/>
                    </a:moveTo>
                    <a:cubicBezTo>
                      <a:pt x="130" y="205"/>
                      <a:pt x="130" y="205"/>
                      <a:pt x="130" y="205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12" y="147"/>
                      <a:pt x="112" y="147"/>
                      <a:pt x="112" y="147"/>
                    </a:cubicBezTo>
                    <a:cubicBezTo>
                      <a:pt x="111" y="147"/>
                      <a:pt x="110" y="147"/>
                      <a:pt x="110" y="147"/>
                    </a:cubicBezTo>
                    <a:cubicBezTo>
                      <a:pt x="109" y="147"/>
                      <a:pt x="109" y="146"/>
                      <a:pt x="109" y="145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2" name="Freeform 1090">
                <a:extLst>
                  <a:ext uri="{FF2B5EF4-FFF2-40B4-BE49-F238E27FC236}">
                    <a16:creationId xmlns:a16="http://schemas.microsoft.com/office/drawing/2014/main" id="{6F113C06-7ED3-4C3B-89ED-A79D7AD92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88" y="3877"/>
                <a:ext cx="78" cy="87"/>
              </a:xfrm>
              <a:custGeom>
                <a:avLst/>
                <a:gdLst>
                  <a:gd name="T0" fmla="*/ 2 w 33"/>
                  <a:gd name="T1" fmla="*/ 37 h 37"/>
                  <a:gd name="T2" fmla="*/ 1 w 33"/>
                  <a:gd name="T3" fmla="*/ 36 h 37"/>
                  <a:gd name="T4" fmla="*/ 0 w 33"/>
                  <a:gd name="T5" fmla="*/ 35 h 37"/>
                  <a:gd name="T6" fmla="*/ 0 w 33"/>
                  <a:gd name="T7" fmla="*/ 2 h 37"/>
                  <a:gd name="T8" fmla="*/ 1 w 33"/>
                  <a:gd name="T9" fmla="*/ 0 h 37"/>
                  <a:gd name="T10" fmla="*/ 3 w 33"/>
                  <a:gd name="T11" fmla="*/ 0 h 37"/>
                  <a:gd name="T12" fmla="*/ 32 w 33"/>
                  <a:gd name="T13" fmla="*/ 16 h 37"/>
                  <a:gd name="T14" fmla="*/ 33 w 33"/>
                  <a:gd name="T15" fmla="*/ 18 h 37"/>
                  <a:gd name="T16" fmla="*/ 32 w 33"/>
                  <a:gd name="T17" fmla="*/ 20 h 37"/>
                  <a:gd name="T18" fmla="*/ 3 w 33"/>
                  <a:gd name="T19" fmla="*/ 36 h 37"/>
                  <a:gd name="T20" fmla="*/ 2 w 33"/>
                  <a:gd name="T21" fmla="*/ 37 h 37"/>
                  <a:gd name="T22" fmla="*/ 4 w 33"/>
                  <a:gd name="T23" fmla="*/ 5 h 37"/>
                  <a:gd name="T24" fmla="*/ 4 w 33"/>
                  <a:gd name="T25" fmla="*/ 31 h 37"/>
                  <a:gd name="T26" fmla="*/ 27 w 33"/>
                  <a:gd name="T27" fmla="*/ 18 h 37"/>
                  <a:gd name="T28" fmla="*/ 4 w 33"/>
                  <a:gd name="T29" fmla="*/ 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7">
                    <a:moveTo>
                      <a:pt x="2" y="37"/>
                    </a:moveTo>
                    <a:cubicBezTo>
                      <a:pt x="2" y="37"/>
                      <a:pt x="2" y="36"/>
                      <a:pt x="1" y="36"/>
                    </a:cubicBezTo>
                    <a:cubicBezTo>
                      <a:pt x="1" y="36"/>
                      <a:pt x="0" y="35"/>
                      <a:pt x="0" y="3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3" y="19"/>
                      <a:pt x="33" y="20"/>
                      <a:pt x="32" y="20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6"/>
                      <a:pt x="3" y="37"/>
                      <a:pt x="2" y="37"/>
                    </a:cubicBezTo>
                    <a:close/>
                    <a:moveTo>
                      <a:pt x="4" y="5"/>
                    </a:moveTo>
                    <a:cubicBezTo>
                      <a:pt x="4" y="31"/>
                      <a:pt x="4" y="31"/>
                      <a:pt x="4" y="31"/>
                    </a:cubicBezTo>
                    <a:cubicBezTo>
                      <a:pt x="27" y="18"/>
                      <a:pt x="27" y="18"/>
                      <a:pt x="27" y="18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3" name="Freeform 1091">
                <a:extLst>
                  <a:ext uri="{FF2B5EF4-FFF2-40B4-BE49-F238E27FC236}">
                    <a16:creationId xmlns:a16="http://schemas.microsoft.com/office/drawing/2014/main" id="{E835F1A0-9071-4107-9AD9-638E8023CD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3879"/>
                <a:ext cx="31" cy="36"/>
              </a:xfrm>
              <a:custGeom>
                <a:avLst/>
                <a:gdLst>
                  <a:gd name="T0" fmla="*/ 2 w 13"/>
                  <a:gd name="T1" fmla="*/ 15 h 15"/>
                  <a:gd name="T2" fmla="*/ 1 w 13"/>
                  <a:gd name="T3" fmla="*/ 15 h 15"/>
                  <a:gd name="T4" fmla="*/ 0 w 13"/>
                  <a:gd name="T5" fmla="*/ 13 h 15"/>
                  <a:gd name="T6" fmla="*/ 0 w 13"/>
                  <a:gd name="T7" fmla="*/ 2 h 15"/>
                  <a:gd name="T8" fmla="*/ 1 w 13"/>
                  <a:gd name="T9" fmla="*/ 0 h 15"/>
                  <a:gd name="T10" fmla="*/ 3 w 13"/>
                  <a:gd name="T11" fmla="*/ 0 h 15"/>
                  <a:gd name="T12" fmla="*/ 12 w 13"/>
                  <a:gd name="T13" fmla="*/ 6 h 15"/>
                  <a:gd name="T14" fmla="*/ 13 w 13"/>
                  <a:gd name="T15" fmla="*/ 8 h 15"/>
                  <a:gd name="T16" fmla="*/ 12 w 13"/>
                  <a:gd name="T17" fmla="*/ 9 h 15"/>
                  <a:gd name="T18" fmla="*/ 3 w 13"/>
                  <a:gd name="T19" fmla="*/ 15 h 15"/>
                  <a:gd name="T20" fmla="*/ 2 w 13"/>
                  <a:gd name="T21" fmla="*/ 15 h 15"/>
                  <a:gd name="T22" fmla="*/ 4 w 13"/>
                  <a:gd name="T23" fmla="*/ 5 h 15"/>
                  <a:gd name="T24" fmla="*/ 4 w 13"/>
                  <a:gd name="T25" fmla="*/ 10 h 15"/>
                  <a:gd name="T26" fmla="*/ 7 w 13"/>
                  <a:gd name="T27" fmla="*/ 8 h 15"/>
                  <a:gd name="T28" fmla="*/ 4 w 13"/>
                  <a:gd name="T2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5">
                    <a:moveTo>
                      <a:pt x="2" y="15"/>
                    </a:move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3" y="6"/>
                      <a:pt x="13" y="7"/>
                      <a:pt x="13" y="8"/>
                    </a:cubicBezTo>
                    <a:cubicBezTo>
                      <a:pt x="13" y="8"/>
                      <a:pt x="13" y="9"/>
                      <a:pt x="12" y="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2" y="15"/>
                      <a:pt x="2" y="15"/>
                    </a:cubicBezTo>
                    <a:close/>
                    <a:moveTo>
                      <a:pt x="4" y="5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7" y="8"/>
                      <a:pt x="7" y="8"/>
                      <a:pt x="7" y="8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4" name="Freeform 1092">
                <a:extLst>
                  <a:ext uri="{FF2B5EF4-FFF2-40B4-BE49-F238E27FC236}">
                    <a16:creationId xmlns:a16="http://schemas.microsoft.com/office/drawing/2014/main" id="{155E6571-3F53-4BB3-83E6-A38CA9DB41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16" y="3418"/>
                <a:ext cx="382" cy="225"/>
              </a:xfrm>
              <a:custGeom>
                <a:avLst/>
                <a:gdLst>
                  <a:gd name="T0" fmla="*/ 81 w 162"/>
                  <a:gd name="T1" fmla="*/ 95 h 95"/>
                  <a:gd name="T2" fmla="*/ 80 w 162"/>
                  <a:gd name="T3" fmla="*/ 95 h 95"/>
                  <a:gd name="T4" fmla="*/ 1 w 162"/>
                  <a:gd name="T5" fmla="*/ 50 h 95"/>
                  <a:gd name="T6" fmla="*/ 0 w 162"/>
                  <a:gd name="T7" fmla="*/ 48 h 95"/>
                  <a:gd name="T8" fmla="*/ 1 w 162"/>
                  <a:gd name="T9" fmla="*/ 46 h 95"/>
                  <a:gd name="T10" fmla="*/ 80 w 162"/>
                  <a:gd name="T11" fmla="*/ 0 h 95"/>
                  <a:gd name="T12" fmla="*/ 82 w 162"/>
                  <a:gd name="T13" fmla="*/ 0 h 95"/>
                  <a:gd name="T14" fmla="*/ 161 w 162"/>
                  <a:gd name="T15" fmla="*/ 46 h 95"/>
                  <a:gd name="T16" fmla="*/ 162 w 162"/>
                  <a:gd name="T17" fmla="*/ 48 h 95"/>
                  <a:gd name="T18" fmla="*/ 161 w 162"/>
                  <a:gd name="T19" fmla="*/ 50 h 95"/>
                  <a:gd name="T20" fmla="*/ 82 w 162"/>
                  <a:gd name="T21" fmla="*/ 95 h 95"/>
                  <a:gd name="T22" fmla="*/ 81 w 162"/>
                  <a:gd name="T23" fmla="*/ 95 h 95"/>
                  <a:gd name="T24" fmla="*/ 6 w 162"/>
                  <a:gd name="T25" fmla="*/ 48 h 95"/>
                  <a:gd name="T26" fmla="*/ 81 w 162"/>
                  <a:gd name="T27" fmla="*/ 91 h 95"/>
                  <a:gd name="T28" fmla="*/ 156 w 162"/>
                  <a:gd name="T29" fmla="*/ 48 h 95"/>
                  <a:gd name="T30" fmla="*/ 81 w 162"/>
                  <a:gd name="T31" fmla="*/ 5 h 95"/>
                  <a:gd name="T32" fmla="*/ 6 w 162"/>
                  <a:gd name="T33" fmla="*/ 4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2" h="95">
                    <a:moveTo>
                      <a:pt x="81" y="95"/>
                    </a:moveTo>
                    <a:cubicBezTo>
                      <a:pt x="81" y="95"/>
                      <a:pt x="80" y="95"/>
                      <a:pt x="80" y="9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49"/>
                      <a:pt x="0" y="49"/>
                      <a:pt x="0" y="48"/>
                    </a:cubicBezTo>
                    <a:cubicBezTo>
                      <a:pt x="0" y="47"/>
                      <a:pt x="0" y="46"/>
                      <a:pt x="1" y="4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1" y="0"/>
                      <a:pt x="81" y="0"/>
                      <a:pt x="82" y="0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2" y="46"/>
                      <a:pt x="162" y="47"/>
                      <a:pt x="162" y="48"/>
                    </a:cubicBezTo>
                    <a:cubicBezTo>
                      <a:pt x="162" y="49"/>
                      <a:pt x="162" y="49"/>
                      <a:pt x="161" y="50"/>
                    </a:cubicBezTo>
                    <a:cubicBezTo>
                      <a:pt x="82" y="95"/>
                      <a:pt x="82" y="95"/>
                      <a:pt x="82" y="95"/>
                    </a:cubicBezTo>
                    <a:cubicBezTo>
                      <a:pt x="82" y="95"/>
                      <a:pt x="81" y="95"/>
                      <a:pt x="81" y="95"/>
                    </a:cubicBezTo>
                    <a:close/>
                    <a:moveTo>
                      <a:pt x="6" y="48"/>
                    </a:moveTo>
                    <a:cubicBezTo>
                      <a:pt x="81" y="91"/>
                      <a:pt x="81" y="91"/>
                      <a:pt x="81" y="91"/>
                    </a:cubicBezTo>
                    <a:cubicBezTo>
                      <a:pt x="156" y="48"/>
                      <a:pt x="156" y="48"/>
                      <a:pt x="156" y="48"/>
                    </a:cubicBezTo>
                    <a:cubicBezTo>
                      <a:pt x="81" y="5"/>
                      <a:pt x="81" y="5"/>
                      <a:pt x="81" y="5"/>
                    </a:cubicBezTo>
                    <a:lnTo>
                      <a:pt x="6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5" name="Freeform 1093">
                <a:extLst>
                  <a:ext uri="{FF2B5EF4-FFF2-40B4-BE49-F238E27FC236}">
                    <a16:creationId xmlns:a16="http://schemas.microsoft.com/office/drawing/2014/main" id="{C71B488B-A2EA-41D2-A0E2-E2A8EAEA6F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23" y="3423"/>
                <a:ext cx="368" cy="218"/>
              </a:xfrm>
              <a:custGeom>
                <a:avLst/>
                <a:gdLst>
                  <a:gd name="T0" fmla="*/ 78 w 156"/>
                  <a:gd name="T1" fmla="*/ 92 h 92"/>
                  <a:gd name="T2" fmla="*/ 77 w 156"/>
                  <a:gd name="T3" fmla="*/ 91 h 92"/>
                  <a:gd name="T4" fmla="*/ 1 w 156"/>
                  <a:gd name="T5" fmla="*/ 48 h 92"/>
                  <a:gd name="T6" fmla="*/ 0 w 156"/>
                  <a:gd name="T7" fmla="*/ 46 h 92"/>
                  <a:gd name="T8" fmla="*/ 1 w 156"/>
                  <a:gd name="T9" fmla="*/ 44 h 92"/>
                  <a:gd name="T10" fmla="*/ 77 w 156"/>
                  <a:gd name="T11" fmla="*/ 0 h 92"/>
                  <a:gd name="T12" fmla="*/ 79 w 156"/>
                  <a:gd name="T13" fmla="*/ 0 h 92"/>
                  <a:gd name="T14" fmla="*/ 155 w 156"/>
                  <a:gd name="T15" fmla="*/ 44 h 92"/>
                  <a:gd name="T16" fmla="*/ 156 w 156"/>
                  <a:gd name="T17" fmla="*/ 46 h 92"/>
                  <a:gd name="T18" fmla="*/ 155 w 156"/>
                  <a:gd name="T19" fmla="*/ 48 h 92"/>
                  <a:gd name="T20" fmla="*/ 79 w 156"/>
                  <a:gd name="T21" fmla="*/ 91 h 92"/>
                  <a:gd name="T22" fmla="*/ 78 w 156"/>
                  <a:gd name="T23" fmla="*/ 92 h 92"/>
                  <a:gd name="T24" fmla="*/ 6 w 156"/>
                  <a:gd name="T25" fmla="*/ 46 h 92"/>
                  <a:gd name="T26" fmla="*/ 78 w 156"/>
                  <a:gd name="T27" fmla="*/ 87 h 92"/>
                  <a:gd name="T28" fmla="*/ 150 w 156"/>
                  <a:gd name="T29" fmla="*/ 46 h 92"/>
                  <a:gd name="T30" fmla="*/ 78 w 156"/>
                  <a:gd name="T31" fmla="*/ 4 h 92"/>
                  <a:gd name="T32" fmla="*/ 6 w 156"/>
                  <a:gd name="T33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6" h="92">
                    <a:moveTo>
                      <a:pt x="78" y="92"/>
                    </a:moveTo>
                    <a:cubicBezTo>
                      <a:pt x="78" y="92"/>
                      <a:pt x="77" y="91"/>
                      <a:pt x="77" y="9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7"/>
                      <a:pt x="0" y="47"/>
                      <a:pt x="0" y="46"/>
                    </a:cubicBezTo>
                    <a:cubicBezTo>
                      <a:pt x="0" y="45"/>
                      <a:pt x="1" y="44"/>
                      <a:pt x="1" y="44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8" y="0"/>
                      <a:pt x="78" y="0"/>
                      <a:pt x="79" y="0"/>
                    </a:cubicBezTo>
                    <a:cubicBezTo>
                      <a:pt x="155" y="44"/>
                      <a:pt x="155" y="44"/>
                      <a:pt x="155" y="44"/>
                    </a:cubicBezTo>
                    <a:cubicBezTo>
                      <a:pt x="155" y="44"/>
                      <a:pt x="156" y="45"/>
                      <a:pt x="156" y="46"/>
                    </a:cubicBezTo>
                    <a:cubicBezTo>
                      <a:pt x="156" y="47"/>
                      <a:pt x="155" y="47"/>
                      <a:pt x="155" y="48"/>
                    </a:cubicBezTo>
                    <a:cubicBezTo>
                      <a:pt x="79" y="91"/>
                      <a:pt x="79" y="91"/>
                      <a:pt x="79" y="91"/>
                    </a:cubicBezTo>
                    <a:cubicBezTo>
                      <a:pt x="79" y="91"/>
                      <a:pt x="78" y="92"/>
                      <a:pt x="78" y="92"/>
                    </a:cubicBezTo>
                    <a:close/>
                    <a:moveTo>
                      <a:pt x="6" y="46"/>
                    </a:moveTo>
                    <a:cubicBezTo>
                      <a:pt x="78" y="87"/>
                      <a:pt x="78" y="87"/>
                      <a:pt x="78" y="87"/>
                    </a:cubicBezTo>
                    <a:cubicBezTo>
                      <a:pt x="150" y="46"/>
                      <a:pt x="150" y="46"/>
                      <a:pt x="150" y="46"/>
                    </a:cubicBezTo>
                    <a:cubicBezTo>
                      <a:pt x="78" y="4"/>
                      <a:pt x="78" y="4"/>
                      <a:pt x="78" y="4"/>
                    </a:cubicBezTo>
                    <a:lnTo>
                      <a:pt x="6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6" name="Freeform 1094">
                <a:extLst>
                  <a:ext uri="{FF2B5EF4-FFF2-40B4-BE49-F238E27FC236}">
                    <a16:creationId xmlns:a16="http://schemas.microsoft.com/office/drawing/2014/main" id="{060AE40F-6B13-478A-8097-FE805AC277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2724"/>
                <a:ext cx="40" cy="104"/>
              </a:xfrm>
              <a:custGeom>
                <a:avLst/>
                <a:gdLst>
                  <a:gd name="T0" fmla="*/ 8 w 17"/>
                  <a:gd name="T1" fmla="*/ 44 h 44"/>
                  <a:gd name="T2" fmla="*/ 7 w 17"/>
                  <a:gd name="T3" fmla="*/ 44 h 44"/>
                  <a:gd name="T4" fmla="*/ 1 w 17"/>
                  <a:gd name="T5" fmla="*/ 40 h 44"/>
                  <a:gd name="T6" fmla="*/ 0 w 17"/>
                  <a:gd name="T7" fmla="*/ 39 h 44"/>
                  <a:gd name="T8" fmla="*/ 0 w 17"/>
                  <a:gd name="T9" fmla="*/ 10 h 44"/>
                  <a:gd name="T10" fmla="*/ 1 w 17"/>
                  <a:gd name="T11" fmla="*/ 8 h 44"/>
                  <a:gd name="T12" fmla="*/ 14 w 17"/>
                  <a:gd name="T13" fmla="*/ 0 h 44"/>
                  <a:gd name="T14" fmla="*/ 16 w 17"/>
                  <a:gd name="T15" fmla="*/ 0 h 44"/>
                  <a:gd name="T16" fmla="*/ 17 w 17"/>
                  <a:gd name="T17" fmla="*/ 2 h 44"/>
                  <a:gd name="T18" fmla="*/ 17 w 17"/>
                  <a:gd name="T19" fmla="*/ 38 h 44"/>
                  <a:gd name="T20" fmla="*/ 16 w 17"/>
                  <a:gd name="T21" fmla="*/ 40 h 44"/>
                  <a:gd name="T22" fmla="*/ 9 w 17"/>
                  <a:gd name="T23" fmla="*/ 44 h 44"/>
                  <a:gd name="T24" fmla="*/ 8 w 17"/>
                  <a:gd name="T25" fmla="*/ 44 h 44"/>
                  <a:gd name="T26" fmla="*/ 4 w 17"/>
                  <a:gd name="T27" fmla="*/ 37 h 44"/>
                  <a:gd name="T28" fmla="*/ 8 w 17"/>
                  <a:gd name="T29" fmla="*/ 40 h 44"/>
                  <a:gd name="T30" fmla="*/ 13 w 17"/>
                  <a:gd name="T31" fmla="*/ 37 h 44"/>
                  <a:gd name="T32" fmla="*/ 13 w 17"/>
                  <a:gd name="T33" fmla="*/ 5 h 44"/>
                  <a:gd name="T34" fmla="*/ 4 w 17"/>
                  <a:gd name="T35" fmla="*/ 11 h 44"/>
                  <a:gd name="T36" fmla="*/ 4 w 17"/>
                  <a:gd name="T37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44">
                    <a:moveTo>
                      <a:pt x="8" y="44"/>
                    </a:moveTo>
                    <a:cubicBezTo>
                      <a:pt x="8" y="44"/>
                      <a:pt x="8" y="44"/>
                      <a:pt x="7" y="44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7" y="39"/>
                      <a:pt x="17" y="40"/>
                      <a:pt x="16" y="40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4"/>
                      <a:pt x="9" y="44"/>
                      <a:pt x="8" y="44"/>
                    </a:cubicBezTo>
                    <a:close/>
                    <a:moveTo>
                      <a:pt x="4" y="37"/>
                    </a:moveTo>
                    <a:cubicBezTo>
                      <a:pt x="8" y="40"/>
                      <a:pt x="8" y="40"/>
                      <a:pt x="8" y="40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7" name="Freeform 1095">
                <a:extLst>
                  <a:ext uri="{FF2B5EF4-FFF2-40B4-BE49-F238E27FC236}">
                    <a16:creationId xmlns:a16="http://schemas.microsoft.com/office/drawing/2014/main" id="{B225D398-686F-4B9F-A0FC-8826A932DA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2703"/>
                <a:ext cx="40" cy="45"/>
              </a:xfrm>
              <a:custGeom>
                <a:avLst/>
                <a:gdLst>
                  <a:gd name="T0" fmla="*/ 2 w 17"/>
                  <a:gd name="T1" fmla="*/ 19 h 19"/>
                  <a:gd name="T2" fmla="*/ 1 w 17"/>
                  <a:gd name="T3" fmla="*/ 18 h 19"/>
                  <a:gd name="T4" fmla="*/ 0 w 17"/>
                  <a:gd name="T5" fmla="*/ 17 h 19"/>
                  <a:gd name="T6" fmla="*/ 0 w 17"/>
                  <a:gd name="T7" fmla="*/ 2 h 19"/>
                  <a:gd name="T8" fmla="*/ 1 w 17"/>
                  <a:gd name="T9" fmla="*/ 0 h 19"/>
                  <a:gd name="T10" fmla="*/ 3 w 17"/>
                  <a:gd name="T11" fmla="*/ 0 h 19"/>
                  <a:gd name="T12" fmla="*/ 16 w 17"/>
                  <a:gd name="T13" fmla="*/ 8 h 19"/>
                  <a:gd name="T14" fmla="*/ 17 w 17"/>
                  <a:gd name="T15" fmla="*/ 9 h 19"/>
                  <a:gd name="T16" fmla="*/ 16 w 17"/>
                  <a:gd name="T17" fmla="*/ 11 h 19"/>
                  <a:gd name="T18" fmla="*/ 3 w 17"/>
                  <a:gd name="T19" fmla="*/ 18 h 19"/>
                  <a:gd name="T20" fmla="*/ 2 w 17"/>
                  <a:gd name="T21" fmla="*/ 19 h 19"/>
                  <a:gd name="T22" fmla="*/ 4 w 17"/>
                  <a:gd name="T23" fmla="*/ 5 h 19"/>
                  <a:gd name="T24" fmla="*/ 4 w 17"/>
                  <a:gd name="T25" fmla="*/ 13 h 19"/>
                  <a:gd name="T26" fmla="*/ 11 w 17"/>
                  <a:gd name="T27" fmla="*/ 9 h 19"/>
                  <a:gd name="T28" fmla="*/ 4 w 17"/>
                  <a:gd name="T29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cubicBezTo>
                      <a:pt x="1" y="19"/>
                      <a:pt x="1" y="19"/>
                      <a:pt x="1" y="18"/>
                    </a:cubicBezTo>
                    <a:cubicBezTo>
                      <a:pt x="0" y="18"/>
                      <a:pt x="0" y="17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7" y="9"/>
                      <a:pt x="17" y="9"/>
                    </a:cubicBezTo>
                    <a:cubicBezTo>
                      <a:pt x="17" y="10"/>
                      <a:pt x="16" y="11"/>
                      <a:pt x="16" y="1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  <a:moveTo>
                      <a:pt x="4" y="5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1" y="9"/>
                      <a:pt x="11" y="9"/>
                      <a:pt x="11" y="9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8" name="Freeform 1096">
                <a:extLst>
                  <a:ext uri="{FF2B5EF4-FFF2-40B4-BE49-F238E27FC236}">
                    <a16:creationId xmlns:a16="http://schemas.microsoft.com/office/drawing/2014/main" id="{A4E87495-49B6-40C2-B98A-FB124A5BB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27" y="2724"/>
                <a:ext cx="83" cy="92"/>
              </a:xfrm>
              <a:custGeom>
                <a:avLst/>
                <a:gdLst>
                  <a:gd name="T0" fmla="*/ 2 w 35"/>
                  <a:gd name="T1" fmla="*/ 39 h 39"/>
                  <a:gd name="T2" fmla="*/ 1 w 35"/>
                  <a:gd name="T3" fmla="*/ 39 h 39"/>
                  <a:gd name="T4" fmla="*/ 0 w 35"/>
                  <a:gd name="T5" fmla="*/ 37 h 39"/>
                  <a:gd name="T6" fmla="*/ 0 w 35"/>
                  <a:gd name="T7" fmla="*/ 2 h 39"/>
                  <a:gd name="T8" fmla="*/ 1 w 35"/>
                  <a:gd name="T9" fmla="*/ 0 h 39"/>
                  <a:gd name="T10" fmla="*/ 3 w 35"/>
                  <a:gd name="T11" fmla="*/ 0 h 39"/>
                  <a:gd name="T12" fmla="*/ 34 w 35"/>
                  <a:gd name="T13" fmla="*/ 18 h 39"/>
                  <a:gd name="T14" fmla="*/ 35 w 35"/>
                  <a:gd name="T15" fmla="*/ 20 h 39"/>
                  <a:gd name="T16" fmla="*/ 34 w 35"/>
                  <a:gd name="T17" fmla="*/ 21 h 39"/>
                  <a:gd name="T18" fmla="*/ 3 w 35"/>
                  <a:gd name="T19" fmla="*/ 39 h 39"/>
                  <a:gd name="T20" fmla="*/ 2 w 35"/>
                  <a:gd name="T21" fmla="*/ 39 h 39"/>
                  <a:gd name="T22" fmla="*/ 4 w 35"/>
                  <a:gd name="T23" fmla="*/ 5 h 39"/>
                  <a:gd name="T24" fmla="*/ 4 w 35"/>
                  <a:gd name="T25" fmla="*/ 34 h 39"/>
                  <a:gd name="T26" fmla="*/ 29 w 35"/>
                  <a:gd name="T27" fmla="*/ 20 h 39"/>
                  <a:gd name="T28" fmla="*/ 4 w 35"/>
                  <a:gd name="T29" fmla="*/ 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9">
                    <a:moveTo>
                      <a:pt x="2" y="39"/>
                    </a:moveTo>
                    <a:cubicBezTo>
                      <a:pt x="2" y="39"/>
                      <a:pt x="1" y="39"/>
                      <a:pt x="1" y="39"/>
                    </a:cubicBezTo>
                    <a:cubicBezTo>
                      <a:pt x="0" y="39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5" y="18"/>
                      <a:pt x="35" y="19"/>
                      <a:pt x="35" y="20"/>
                    </a:cubicBezTo>
                    <a:cubicBezTo>
                      <a:pt x="35" y="20"/>
                      <a:pt x="35" y="21"/>
                      <a:pt x="34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2" y="39"/>
                      <a:pt x="2" y="39"/>
                    </a:cubicBezTo>
                    <a:close/>
                    <a:moveTo>
                      <a:pt x="4" y="5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29" y="20"/>
                      <a:pt x="29" y="20"/>
                      <a:pt x="29" y="20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9" name="Freeform 1097">
                <a:extLst>
                  <a:ext uri="{FF2B5EF4-FFF2-40B4-BE49-F238E27FC236}">
                    <a16:creationId xmlns:a16="http://schemas.microsoft.com/office/drawing/2014/main" id="{505DEA9E-B94A-43A9-8A99-B17F327EE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2" y="2691"/>
                <a:ext cx="127" cy="83"/>
              </a:xfrm>
              <a:custGeom>
                <a:avLst/>
                <a:gdLst>
                  <a:gd name="T0" fmla="*/ 50 w 54"/>
                  <a:gd name="T1" fmla="*/ 35 h 35"/>
                  <a:gd name="T2" fmla="*/ 49 w 54"/>
                  <a:gd name="T3" fmla="*/ 34 h 35"/>
                  <a:gd name="T4" fmla="*/ 16 w 54"/>
                  <a:gd name="T5" fmla="*/ 16 h 35"/>
                  <a:gd name="T6" fmla="*/ 16 w 54"/>
                  <a:gd name="T7" fmla="*/ 15 h 35"/>
                  <a:gd name="T8" fmla="*/ 15 w 54"/>
                  <a:gd name="T9" fmla="*/ 15 h 35"/>
                  <a:gd name="T10" fmla="*/ 1 w 54"/>
                  <a:gd name="T11" fmla="*/ 7 h 35"/>
                  <a:gd name="T12" fmla="*/ 0 w 54"/>
                  <a:gd name="T13" fmla="*/ 5 h 35"/>
                  <a:gd name="T14" fmla="*/ 0 w 54"/>
                  <a:gd name="T15" fmla="*/ 2 h 35"/>
                  <a:gd name="T16" fmla="*/ 1 w 54"/>
                  <a:gd name="T17" fmla="*/ 1 h 35"/>
                  <a:gd name="T18" fmla="*/ 3 w 54"/>
                  <a:gd name="T19" fmla="*/ 1 h 35"/>
                  <a:gd name="T20" fmla="*/ 53 w 54"/>
                  <a:gd name="T21" fmla="*/ 30 h 35"/>
                  <a:gd name="T22" fmla="*/ 54 w 54"/>
                  <a:gd name="T23" fmla="*/ 31 h 35"/>
                  <a:gd name="T24" fmla="*/ 53 w 54"/>
                  <a:gd name="T25" fmla="*/ 33 h 35"/>
                  <a:gd name="T26" fmla="*/ 51 w 54"/>
                  <a:gd name="T27" fmla="*/ 34 h 35"/>
                  <a:gd name="T28" fmla="*/ 50 w 54"/>
                  <a:gd name="T2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35">
                    <a:moveTo>
                      <a:pt x="50" y="35"/>
                    </a:moveTo>
                    <a:cubicBezTo>
                      <a:pt x="49" y="35"/>
                      <a:pt x="49" y="35"/>
                      <a:pt x="49" y="3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5"/>
                      <a:pt x="16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0"/>
                      <a:pt x="54" y="31"/>
                      <a:pt x="54" y="31"/>
                    </a:cubicBezTo>
                    <a:cubicBezTo>
                      <a:pt x="54" y="32"/>
                      <a:pt x="53" y="33"/>
                      <a:pt x="53" y="33"/>
                    </a:cubicBezTo>
                    <a:cubicBezTo>
                      <a:pt x="51" y="34"/>
                      <a:pt x="51" y="34"/>
                      <a:pt x="51" y="34"/>
                    </a:cubicBezTo>
                    <a:cubicBezTo>
                      <a:pt x="50" y="35"/>
                      <a:pt x="50" y="35"/>
                      <a:pt x="50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0" name="Freeform 1098">
                <a:extLst>
                  <a:ext uri="{FF2B5EF4-FFF2-40B4-BE49-F238E27FC236}">
                    <a16:creationId xmlns:a16="http://schemas.microsoft.com/office/drawing/2014/main" id="{BC1A6D88-EE64-44C4-B03A-A00DB8153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11" y="2937"/>
                <a:ext cx="127" cy="77"/>
              </a:xfrm>
              <a:custGeom>
                <a:avLst/>
                <a:gdLst>
                  <a:gd name="T0" fmla="*/ 2 w 54"/>
                  <a:gd name="T1" fmla="*/ 33 h 33"/>
                  <a:gd name="T2" fmla="*/ 1 w 54"/>
                  <a:gd name="T3" fmla="*/ 32 h 33"/>
                  <a:gd name="T4" fmla="*/ 0 w 54"/>
                  <a:gd name="T5" fmla="*/ 31 h 33"/>
                  <a:gd name="T6" fmla="*/ 1 w 54"/>
                  <a:gd name="T7" fmla="*/ 29 h 33"/>
                  <a:gd name="T8" fmla="*/ 51 w 54"/>
                  <a:gd name="T9" fmla="*/ 0 h 33"/>
                  <a:gd name="T10" fmla="*/ 53 w 54"/>
                  <a:gd name="T11" fmla="*/ 0 h 33"/>
                  <a:gd name="T12" fmla="*/ 54 w 54"/>
                  <a:gd name="T13" fmla="*/ 2 h 33"/>
                  <a:gd name="T14" fmla="*/ 53 w 54"/>
                  <a:gd name="T15" fmla="*/ 4 h 33"/>
                  <a:gd name="T16" fmla="*/ 3 w 54"/>
                  <a:gd name="T17" fmla="*/ 32 h 33"/>
                  <a:gd name="T18" fmla="*/ 2 w 54"/>
                  <a:gd name="T1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33">
                    <a:moveTo>
                      <a:pt x="2" y="33"/>
                    </a:moveTo>
                    <a:cubicBezTo>
                      <a:pt x="2" y="33"/>
                      <a:pt x="2" y="33"/>
                      <a:pt x="1" y="32"/>
                    </a:cubicBezTo>
                    <a:cubicBezTo>
                      <a:pt x="1" y="32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2" y="0"/>
                      <a:pt x="53" y="0"/>
                    </a:cubicBezTo>
                    <a:cubicBezTo>
                      <a:pt x="53" y="0"/>
                      <a:pt x="54" y="1"/>
                      <a:pt x="54" y="2"/>
                    </a:cubicBezTo>
                    <a:cubicBezTo>
                      <a:pt x="54" y="3"/>
                      <a:pt x="54" y="3"/>
                      <a:pt x="53" y="4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33"/>
                      <a:pt x="3" y="33"/>
                      <a:pt x="2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1" name="Freeform 1099">
                <a:extLst>
                  <a:ext uri="{FF2B5EF4-FFF2-40B4-BE49-F238E27FC236}">
                    <a16:creationId xmlns:a16="http://schemas.microsoft.com/office/drawing/2014/main" id="{62492801-A550-4CA5-88AB-218F14F7C8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79" y="2788"/>
                <a:ext cx="89" cy="182"/>
              </a:xfrm>
              <a:custGeom>
                <a:avLst/>
                <a:gdLst>
                  <a:gd name="T0" fmla="*/ 14 w 38"/>
                  <a:gd name="T1" fmla="*/ 77 h 77"/>
                  <a:gd name="T2" fmla="*/ 13 w 38"/>
                  <a:gd name="T3" fmla="*/ 76 h 77"/>
                  <a:gd name="T4" fmla="*/ 1 w 38"/>
                  <a:gd name="T5" fmla="*/ 69 h 77"/>
                  <a:gd name="T6" fmla="*/ 0 w 38"/>
                  <a:gd name="T7" fmla="*/ 67 h 77"/>
                  <a:gd name="T8" fmla="*/ 0 w 38"/>
                  <a:gd name="T9" fmla="*/ 10 h 77"/>
                  <a:gd name="T10" fmla="*/ 1 w 38"/>
                  <a:gd name="T11" fmla="*/ 9 h 77"/>
                  <a:gd name="T12" fmla="*/ 16 w 38"/>
                  <a:gd name="T13" fmla="*/ 0 h 77"/>
                  <a:gd name="T14" fmla="*/ 18 w 38"/>
                  <a:gd name="T15" fmla="*/ 0 h 77"/>
                  <a:gd name="T16" fmla="*/ 37 w 38"/>
                  <a:gd name="T17" fmla="*/ 11 h 77"/>
                  <a:gd name="T18" fmla="*/ 38 w 38"/>
                  <a:gd name="T19" fmla="*/ 13 h 77"/>
                  <a:gd name="T20" fmla="*/ 38 w 38"/>
                  <a:gd name="T21" fmla="*/ 62 h 77"/>
                  <a:gd name="T22" fmla="*/ 37 w 38"/>
                  <a:gd name="T23" fmla="*/ 64 h 77"/>
                  <a:gd name="T24" fmla="*/ 15 w 38"/>
                  <a:gd name="T25" fmla="*/ 76 h 77"/>
                  <a:gd name="T26" fmla="*/ 14 w 38"/>
                  <a:gd name="T27" fmla="*/ 77 h 77"/>
                  <a:gd name="T28" fmla="*/ 4 w 38"/>
                  <a:gd name="T29" fmla="*/ 66 h 77"/>
                  <a:gd name="T30" fmla="*/ 14 w 38"/>
                  <a:gd name="T31" fmla="*/ 72 h 77"/>
                  <a:gd name="T32" fmla="*/ 34 w 38"/>
                  <a:gd name="T33" fmla="*/ 61 h 77"/>
                  <a:gd name="T34" fmla="*/ 34 w 38"/>
                  <a:gd name="T35" fmla="*/ 14 h 77"/>
                  <a:gd name="T36" fmla="*/ 17 w 38"/>
                  <a:gd name="T37" fmla="*/ 4 h 77"/>
                  <a:gd name="T38" fmla="*/ 4 w 38"/>
                  <a:gd name="T39" fmla="*/ 12 h 77"/>
                  <a:gd name="T40" fmla="*/ 4 w 38"/>
                  <a:gd name="T41" fmla="*/ 6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77">
                    <a:moveTo>
                      <a:pt x="14" y="77"/>
                    </a:moveTo>
                    <a:cubicBezTo>
                      <a:pt x="14" y="77"/>
                      <a:pt x="14" y="76"/>
                      <a:pt x="13" y="76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9"/>
                      <a:pt x="0" y="68"/>
                      <a:pt x="0" y="6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2"/>
                      <a:pt x="38" y="12"/>
                      <a:pt x="38" y="13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3"/>
                      <a:pt x="37" y="64"/>
                      <a:pt x="37" y="64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6"/>
                      <a:pt x="15" y="77"/>
                      <a:pt x="14" y="77"/>
                    </a:cubicBezTo>
                    <a:close/>
                    <a:moveTo>
                      <a:pt x="4" y="66"/>
                    </a:moveTo>
                    <a:cubicBezTo>
                      <a:pt x="14" y="72"/>
                      <a:pt x="14" y="72"/>
                      <a:pt x="14" y="72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4" y="12"/>
                      <a:pt x="4" y="12"/>
                      <a:pt x="4" y="12"/>
                    </a:cubicBezTo>
                    <a:lnTo>
                      <a:pt x="4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2" name="Freeform 1100">
                <a:extLst>
                  <a:ext uri="{FF2B5EF4-FFF2-40B4-BE49-F238E27FC236}">
                    <a16:creationId xmlns:a16="http://schemas.microsoft.com/office/drawing/2014/main" id="{847F2A9C-BCBD-46CE-AFB6-5060628882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61" y="2998"/>
                <a:ext cx="43" cy="184"/>
              </a:xfrm>
              <a:custGeom>
                <a:avLst/>
                <a:gdLst>
                  <a:gd name="T0" fmla="*/ 4 w 18"/>
                  <a:gd name="T1" fmla="*/ 78 h 78"/>
                  <a:gd name="T2" fmla="*/ 3 w 18"/>
                  <a:gd name="T3" fmla="*/ 77 h 78"/>
                  <a:gd name="T4" fmla="*/ 1 w 18"/>
                  <a:gd name="T5" fmla="*/ 77 h 78"/>
                  <a:gd name="T6" fmla="*/ 0 w 18"/>
                  <a:gd name="T7" fmla="*/ 75 h 78"/>
                  <a:gd name="T8" fmla="*/ 0 w 18"/>
                  <a:gd name="T9" fmla="*/ 2 h 78"/>
                  <a:gd name="T10" fmla="*/ 1 w 18"/>
                  <a:gd name="T11" fmla="*/ 1 h 78"/>
                  <a:gd name="T12" fmla="*/ 3 w 18"/>
                  <a:gd name="T13" fmla="*/ 0 h 78"/>
                  <a:gd name="T14" fmla="*/ 5 w 18"/>
                  <a:gd name="T15" fmla="*/ 0 h 78"/>
                  <a:gd name="T16" fmla="*/ 17 w 18"/>
                  <a:gd name="T17" fmla="*/ 7 h 78"/>
                  <a:gd name="T18" fmla="*/ 18 w 18"/>
                  <a:gd name="T19" fmla="*/ 9 h 78"/>
                  <a:gd name="T20" fmla="*/ 17 w 18"/>
                  <a:gd name="T21" fmla="*/ 10 h 78"/>
                  <a:gd name="T22" fmla="*/ 15 w 18"/>
                  <a:gd name="T23" fmla="*/ 12 h 78"/>
                  <a:gd name="T24" fmla="*/ 15 w 18"/>
                  <a:gd name="T25" fmla="*/ 70 h 78"/>
                  <a:gd name="T26" fmla="*/ 14 w 18"/>
                  <a:gd name="T27" fmla="*/ 72 h 78"/>
                  <a:gd name="T28" fmla="*/ 5 w 18"/>
                  <a:gd name="T29" fmla="*/ 77 h 78"/>
                  <a:gd name="T30" fmla="*/ 4 w 18"/>
                  <a:gd name="T31" fmla="*/ 78 h 78"/>
                  <a:gd name="T32" fmla="*/ 4 w 18"/>
                  <a:gd name="T33" fmla="*/ 4 h 78"/>
                  <a:gd name="T34" fmla="*/ 4 w 18"/>
                  <a:gd name="T35" fmla="*/ 73 h 78"/>
                  <a:gd name="T36" fmla="*/ 11 w 18"/>
                  <a:gd name="T37" fmla="*/ 69 h 78"/>
                  <a:gd name="T38" fmla="*/ 11 w 18"/>
                  <a:gd name="T39" fmla="*/ 10 h 78"/>
                  <a:gd name="T40" fmla="*/ 12 w 18"/>
                  <a:gd name="T41" fmla="*/ 9 h 78"/>
                  <a:gd name="T42" fmla="*/ 4 w 18"/>
                  <a:gd name="T43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78">
                    <a:moveTo>
                      <a:pt x="4" y="78"/>
                    </a:moveTo>
                    <a:cubicBezTo>
                      <a:pt x="4" y="78"/>
                      <a:pt x="3" y="78"/>
                      <a:pt x="3" y="77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5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7"/>
                      <a:pt x="18" y="8"/>
                      <a:pt x="18" y="9"/>
                    </a:cubicBezTo>
                    <a:cubicBezTo>
                      <a:pt x="18" y="9"/>
                      <a:pt x="18" y="10"/>
                      <a:pt x="17" y="10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5" y="71"/>
                      <a:pt x="15" y="72"/>
                      <a:pt x="14" y="72"/>
                    </a:cubicBezTo>
                    <a:cubicBezTo>
                      <a:pt x="5" y="77"/>
                      <a:pt x="5" y="77"/>
                      <a:pt x="5" y="77"/>
                    </a:cubicBezTo>
                    <a:cubicBezTo>
                      <a:pt x="5" y="78"/>
                      <a:pt x="4" y="78"/>
                      <a:pt x="4" y="78"/>
                    </a:cubicBezTo>
                    <a:close/>
                    <a:moveTo>
                      <a:pt x="4" y="4"/>
                    </a:moveTo>
                    <a:cubicBezTo>
                      <a:pt x="4" y="73"/>
                      <a:pt x="4" y="73"/>
                      <a:pt x="4" y="73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1" y="9"/>
                      <a:pt x="12" y="9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3" name="Freeform 1101">
                <a:extLst>
                  <a:ext uri="{FF2B5EF4-FFF2-40B4-BE49-F238E27FC236}">
                    <a16:creationId xmlns:a16="http://schemas.microsoft.com/office/drawing/2014/main" id="{9484D1CB-DB93-49DE-A013-21B80E8152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79" y="2946"/>
                <a:ext cx="35" cy="40"/>
              </a:xfrm>
              <a:custGeom>
                <a:avLst/>
                <a:gdLst>
                  <a:gd name="T0" fmla="*/ 2 w 15"/>
                  <a:gd name="T1" fmla="*/ 17 h 17"/>
                  <a:gd name="T2" fmla="*/ 1 w 15"/>
                  <a:gd name="T3" fmla="*/ 17 h 17"/>
                  <a:gd name="T4" fmla="*/ 0 w 15"/>
                  <a:gd name="T5" fmla="*/ 15 h 17"/>
                  <a:gd name="T6" fmla="*/ 0 w 15"/>
                  <a:gd name="T7" fmla="*/ 2 h 17"/>
                  <a:gd name="T8" fmla="*/ 1 w 15"/>
                  <a:gd name="T9" fmla="*/ 0 h 17"/>
                  <a:gd name="T10" fmla="*/ 3 w 15"/>
                  <a:gd name="T11" fmla="*/ 0 h 17"/>
                  <a:gd name="T12" fmla="*/ 14 w 15"/>
                  <a:gd name="T13" fmla="*/ 7 h 17"/>
                  <a:gd name="T14" fmla="*/ 15 w 15"/>
                  <a:gd name="T15" fmla="*/ 9 h 17"/>
                  <a:gd name="T16" fmla="*/ 14 w 15"/>
                  <a:gd name="T17" fmla="*/ 10 h 17"/>
                  <a:gd name="T18" fmla="*/ 3 w 15"/>
                  <a:gd name="T19" fmla="*/ 17 h 17"/>
                  <a:gd name="T20" fmla="*/ 2 w 15"/>
                  <a:gd name="T21" fmla="*/ 17 h 17"/>
                  <a:gd name="T22" fmla="*/ 4 w 15"/>
                  <a:gd name="T23" fmla="*/ 6 h 17"/>
                  <a:gd name="T24" fmla="*/ 4 w 15"/>
                  <a:gd name="T25" fmla="*/ 11 h 17"/>
                  <a:gd name="T26" fmla="*/ 9 w 15"/>
                  <a:gd name="T27" fmla="*/ 9 h 17"/>
                  <a:gd name="T28" fmla="*/ 4 w 15"/>
                  <a:gd name="T2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7">
                    <a:moveTo>
                      <a:pt x="2" y="17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6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15" y="8"/>
                      <a:pt x="15" y="9"/>
                    </a:cubicBezTo>
                    <a:cubicBezTo>
                      <a:pt x="15" y="9"/>
                      <a:pt x="14" y="10"/>
                      <a:pt x="14" y="10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2" y="17"/>
                      <a:pt x="2" y="17"/>
                      <a:pt x="2" y="17"/>
                    </a:cubicBezTo>
                    <a:close/>
                    <a:moveTo>
                      <a:pt x="4" y="6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9" y="9"/>
                      <a:pt x="9" y="9"/>
                      <a:pt x="9" y="9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4" name="Freeform 1102">
                <a:extLst>
                  <a:ext uri="{FF2B5EF4-FFF2-40B4-BE49-F238E27FC236}">
                    <a16:creationId xmlns:a16="http://schemas.microsoft.com/office/drawing/2014/main" id="{5EA78C09-E313-4714-B67C-3B9DB81A98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16" y="2778"/>
                <a:ext cx="116" cy="159"/>
              </a:xfrm>
              <a:custGeom>
                <a:avLst/>
                <a:gdLst>
                  <a:gd name="T0" fmla="*/ 21 w 49"/>
                  <a:gd name="T1" fmla="*/ 67 h 67"/>
                  <a:gd name="T2" fmla="*/ 20 w 49"/>
                  <a:gd name="T3" fmla="*/ 67 h 67"/>
                  <a:gd name="T4" fmla="*/ 19 w 49"/>
                  <a:gd name="T5" fmla="*/ 65 h 67"/>
                  <a:gd name="T6" fmla="*/ 19 w 49"/>
                  <a:gd name="T7" fmla="*/ 17 h 67"/>
                  <a:gd name="T8" fmla="*/ 1 w 49"/>
                  <a:gd name="T9" fmla="*/ 7 h 67"/>
                  <a:gd name="T10" fmla="*/ 0 w 49"/>
                  <a:gd name="T11" fmla="*/ 5 h 67"/>
                  <a:gd name="T12" fmla="*/ 1 w 49"/>
                  <a:gd name="T13" fmla="*/ 3 h 67"/>
                  <a:gd name="T14" fmla="*/ 6 w 49"/>
                  <a:gd name="T15" fmla="*/ 0 h 67"/>
                  <a:gd name="T16" fmla="*/ 8 w 49"/>
                  <a:gd name="T17" fmla="*/ 0 h 67"/>
                  <a:gd name="T18" fmla="*/ 33 w 49"/>
                  <a:gd name="T19" fmla="*/ 15 h 67"/>
                  <a:gd name="T20" fmla="*/ 34 w 49"/>
                  <a:gd name="T21" fmla="*/ 17 h 67"/>
                  <a:gd name="T22" fmla="*/ 34 w 49"/>
                  <a:gd name="T23" fmla="*/ 33 h 67"/>
                  <a:gd name="T24" fmla="*/ 48 w 49"/>
                  <a:gd name="T25" fmla="*/ 41 h 67"/>
                  <a:gd name="T26" fmla="*/ 49 w 49"/>
                  <a:gd name="T27" fmla="*/ 43 h 67"/>
                  <a:gd name="T28" fmla="*/ 49 w 49"/>
                  <a:gd name="T29" fmla="*/ 50 h 67"/>
                  <a:gd name="T30" fmla="*/ 48 w 49"/>
                  <a:gd name="T31" fmla="*/ 52 h 67"/>
                  <a:gd name="T32" fmla="*/ 22 w 49"/>
                  <a:gd name="T33" fmla="*/ 67 h 67"/>
                  <a:gd name="T34" fmla="*/ 21 w 49"/>
                  <a:gd name="T35" fmla="*/ 67 h 67"/>
                  <a:gd name="T36" fmla="*/ 6 w 49"/>
                  <a:gd name="T37" fmla="*/ 5 h 67"/>
                  <a:gd name="T38" fmla="*/ 22 w 49"/>
                  <a:gd name="T39" fmla="*/ 14 h 67"/>
                  <a:gd name="T40" fmla="*/ 23 w 49"/>
                  <a:gd name="T41" fmla="*/ 16 h 67"/>
                  <a:gd name="T42" fmla="*/ 23 w 49"/>
                  <a:gd name="T43" fmla="*/ 62 h 67"/>
                  <a:gd name="T44" fmla="*/ 45 w 49"/>
                  <a:gd name="T45" fmla="*/ 49 h 67"/>
                  <a:gd name="T46" fmla="*/ 45 w 49"/>
                  <a:gd name="T47" fmla="*/ 44 h 67"/>
                  <a:gd name="T48" fmla="*/ 31 w 49"/>
                  <a:gd name="T49" fmla="*/ 36 h 67"/>
                  <a:gd name="T50" fmla="*/ 30 w 49"/>
                  <a:gd name="T51" fmla="*/ 34 h 67"/>
                  <a:gd name="T52" fmla="*/ 30 w 49"/>
                  <a:gd name="T53" fmla="*/ 18 h 67"/>
                  <a:gd name="T54" fmla="*/ 7 w 49"/>
                  <a:gd name="T55" fmla="*/ 4 h 67"/>
                  <a:gd name="T56" fmla="*/ 6 w 49"/>
                  <a:gd name="T5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9" h="67">
                    <a:moveTo>
                      <a:pt x="21" y="67"/>
                    </a:moveTo>
                    <a:cubicBezTo>
                      <a:pt x="21" y="67"/>
                      <a:pt x="21" y="67"/>
                      <a:pt x="20" y="67"/>
                    </a:cubicBezTo>
                    <a:cubicBezTo>
                      <a:pt x="20" y="67"/>
                      <a:pt x="19" y="66"/>
                      <a:pt x="19" y="65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7" y="0"/>
                      <a:pt x="8" y="0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4" y="15"/>
                      <a:pt x="34" y="16"/>
                      <a:pt x="34" y="1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49" y="42"/>
                      <a:pt x="49" y="43"/>
                      <a:pt x="49" y="4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9" y="51"/>
                      <a:pt x="49" y="52"/>
                      <a:pt x="48" y="52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2" y="67"/>
                      <a:pt x="22" y="67"/>
                      <a:pt x="21" y="67"/>
                    </a:cubicBezTo>
                    <a:close/>
                    <a:moveTo>
                      <a:pt x="6" y="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23" y="15"/>
                      <a:pt x="23" y="15"/>
                      <a:pt x="23" y="16"/>
                    </a:cubicBezTo>
                    <a:cubicBezTo>
                      <a:pt x="23" y="62"/>
                      <a:pt x="23" y="62"/>
                      <a:pt x="23" y="62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5" y="44"/>
                      <a:pt x="45" y="44"/>
                      <a:pt x="45" y="44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36"/>
                      <a:pt x="30" y="35"/>
                      <a:pt x="30" y="34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7" y="4"/>
                      <a:pt x="7" y="4"/>
                      <a:pt x="7" y="4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5" name="Freeform 1103">
                <a:extLst>
                  <a:ext uri="{FF2B5EF4-FFF2-40B4-BE49-F238E27FC236}">
                    <a16:creationId xmlns:a16="http://schemas.microsoft.com/office/drawing/2014/main" id="{B897FAC1-EE49-455E-9957-964FE3BEE7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03" y="2282"/>
                <a:ext cx="534" cy="992"/>
              </a:xfrm>
              <a:custGeom>
                <a:avLst/>
                <a:gdLst>
                  <a:gd name="T0" fmla="*/ 134 w 226"/>
                  <a:gd name="T1" fmla="*/ 419 h 420"/>
                  <a:gd name="T2" fmla="*/ 19 w 226"/>
                  <a:gd name="T3" fmla="*/ 413 h 420"/>
                  <a:gd name="T4" fmla="*/ 16 w 226"/>
                  <a:gd name="T5" fmla="*/ 411 h 420"/>
                  <a:gd name="T6" fmla="*/ 17 w 226"/>
                  <a:gd name="T7" fmla="*/ 332 h 420"/>
                  <a:gd name="T8" fmla="*/ 46 w 226"/>
                  <a:gd name="T9" fmla="*/ 293 h 420"/>
                  <a:gd name="T10" fmla="*/ 31 w 226"/>
                  <a:gd name="T11" fmla="*/ 301 h 420"/>
                  <a:gd name="T12" fmla="*/ 30 w 226"/>
                  <a:gd name="T13" fmla="*/ 283 h 420"/>
                  <a:gd name="T14" fmla="*/ 0 w 226"/>
                  <a:gd name="T15" fmla="*/ 265 h 420"/>
                  <a:gd name="T16" fmla="*/ 1 w 226"/>
                  <a:gd name="T17" fmla="*/ 185 h 420"/>
                  <a:gd name="T18" fmla="*/ 49 w 226"/>
                  <a:gd name="T19" fmla="*/ 212 h 420"/>
                  <a:gd name="T20" fmla="*/ 19 w 226"/>
                  <a:gd name="T21" fmla="*/ 193 h 420"/>
                  <a:gd name="T22" fmla="*/ 19 w 226"/>
                  <a:gd name="T23" fmla="*/ 190 h 420"/>
                  <a:gd name="T24" fmla="*/ 31 w 226"/>
                  <a:gd name="T25" fmla="*/ 153 h 420"/>
                  <a:gd name="T26" fmla="*/ 30 w 226"/>
                  <a:gd name="T27" fmla="*/ 3 h 420"/>
                  <a:gd name="T28" fmla="*/ 33 w 226"/>
                  <a:gd name="T29" fmla="*/ 1 h 420"/>
                  <a:gd name="T30" fmla="*/ 163 w 226"/>
                  <a:gd name="T31" fmla="*/ 77 h 420"/>
                  <a:gd name="T32" fmla="*/ 162 w 226"/>
                  <a:gd name="T33" fmla="*/ 227 h 420"/>
                  <a:gd name="T34" fmla="*/ 144 w 226"/>
                  <a:gd name="T35" fmla="*/ 218 h 420"/>
                  <a:gd name="T36" fmla="*/ 154 w 226"/>
                  <a:gd name="T37" fmla="*/ 266 h 420"/>
                  <a:gd name="T38" fmla="*/ 225 w 226"/>
                  <a:gd name="T39" fmla="*/ 306 h 420"/>
                  <a:gd name="T40" fmla="*/ 225 w 226"/>
                  <a:gd name="T41" fmla="*/ 309 h 420"/>
                  <a:gd name="T42" fmla="*/ 154 w 226"/>
                  <a:gd name="T43" fmla="*/ 349 h 420"/>
                  <a:gd name="T44" fmla="*/ 144 w 226"/>
                  <a:gd name="T45" fmla="*/ 349 h 420"/>
                  <a:gd name="T46" fmla="*/ 137 w 226"/>
                  <a:gd name="T47" fmla="*/ 355 h 420"/>
                  <a:gd name="T48" fmla="*/ 136 w 226"/>
                  <a:gd name="T49" fmla="*/ 419 h 420"/>
                  <a:gd name="T50" fmla="*/ 71 w 226"/>
                  <a:gd name="T51" fmla="*/ 379 h 420"/>
                  <a:gd name="T52" fmla="*/ 133 w 226"/>
                  <a:gd name="T53" fmla="*/ 414 h 420"/>
                  <a:gd name="T54" fmla="*/ 134 w 226"/>
                  <a:gd name="T55" fmla="*/ 352 h 420"/>
                  <a:gd name="T56" fmla="*/ 140 w 226"/>
                  <a:gd name="T57" fmla="*/ 340 h 420"/>
                  <a:gd name="T58" fmla="*/ 143 w 226"/>
                  <a:gd name="T59" fmla="*/ 338 h 420"/>
                  <a:gd name="T60" fmla="*/ 220 w 226"/>
                  <a:gd name="T61" fmla="*/ 307 h 420"/>
                  <a:gd name="T62" fmla="*/ 143 w 226"/>
                  <a:gd name="T63" fmla="*/ 277 h 420"/>
                  <a:gd name="T64" fmla="*/ 140 w 226"/>
                  <a:gd name="T65" fmla="*/ 275 h 420"/>
                  <a:gd name="T66" fmla="*/ 141 w 226"/>
                  <a:gd name="T67" fmla="*/ 213 h 420"/>
                  <a:gd name="T68" fmla="*/ 159 w 226"/>
                  <a:gd name="T69" fmla="*/ 222 h 420"/>
                  <a:gd name="T70" fmla="*/ 34 w 226"/>
                  <a:gd name="T71" fmla="*/ 6 h 420"/>
                  <a:gd name="T72" fmla="*/ 62 w 226"/>
                  <a:gd name="T73" fmla="*/ 166 h 420"/>
                  <a:gd name="T74" fmla="*/ 62 w 226"/>
                  <a:gd name="T75" fmla="*/ 170 h 420"/>
                  <a:gd name="T76" fmla="*/ 54 w 226"/>
                  <a:gd name="T77" fmla="*/ 209 h 420"/>
                  <a:gd name="T78" fmla="*/ 54 w 226"/>
                  <a:gd name="T79" fmla="*/ 213 h 420"/>
                  <a:gd name="T80" fmla="*/ 48 w 226"/>
                  <a:gd name="T81" fmla="*/ 216 h 420"/>
                  <a:gd name="T82" fmla="*/ 4 w 226"/>
                  <a:gd name="T83" fmla="*/ 264 h 420"/>
                  <a:gd name="T84" fmla="*/ 34 w 226"/>
                  <a:gd name="T85" fmla="*/ 282 h 420"/>
                  <a:gd name="T86" fmla="*/ 45 w 226"/>
                  <a:gd name="T87" fmla="*/ 289 h 420"/>
                  <a:gd name="T88" fmla="*/ 69 w 226"/>
                  <a:gd name="T89" fmla="*/ 301 h 420"/>
                  <a:gd name="T90" fmla="*/ 70 w 226"/>
                  <a:gd name="T91" fmla="*/ 304 h 420"/>
                  <a:gd name="T92" fmla="*/ 20 w 226"/>
                  <a:gd name="T93" fmla="*/ 335 h 420"/>
                  <a:gd name="T94" fmla="*/ 70 w 226"/>
                  <a:gd name="T95" fmla="*/ 379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420">
                    <a:moveTo>
                      <a:pt x="135" y="420"/>
                    </a:moveTo>
                    <a:cubicBezTo>
                      <a:pt x="135" y="420"/>
                      <a:pt x="134" y="420"/>
                      <a:pt x="134" y="419"/>
                    </a:cubicBezTo>
                    <a:cubicBezTo>
                      <a:pt x="71" y="383"/>
                      <a:pt x="71" y="383"/>
                      <a:pt x="71" y="383"/>
                    </a:cubicBezTo>
                    <a:cubicBezTo>
                      <a:pt x="19" y="413"/>
                      <a:pt x="19" y="413"/>
                      <a:pt x="19" y="413"/>
                    </a:cubicBezTo>
                    <a:cubicBezTo>
                      <a:pt x="18" y="414"/>
                      <a:pt x="17" y="414"/>
                      <a:pt x="17" y="413"/>
                    </a:cubicBezTo>
                    <a:cubicBezTo>
                      <a:pt x="16" y="413"/>
                      <a:pt x="16" y="412"/>
                      <a:pt x="16" y="411"/>
                    </a:cubicBezTo>
                    <a:cubicBezTo>
                      <a:pt x="16" y="333"/>
                      <a:pt x="16" y="333"/>
                      <a:pt x="16" y="333"/>
                    </a:cubicBezTo>
                    <a:cubicBezTo>
                      <a:pt x="16" y="333"/>
                      <a:pt x="16" y="332"/>
                      <a:pt x="17" y="332"/>
                    </a:cubicBezTo>
                    <a:cubicBezTo>
                      <a:pt x="65" y="304"/>
                      <a:pt x="65" y="304"/>
                      <a:pt x="65" y="304"/>
                    </a:cubicBezTo>
                    <a:cubicBezTo>
                      <a:pt x="46" y="293"/>
                      <a:pt x="46" y="293"/>
                      <a:pt x="46" y="293"/>
                    </a:cubicBezTo>
                    <a:cubicBezTo>
                      <a:pt x="33" y="301"/>
                      <a:pt x="33" y="301"/>
                      <a:pt x="33" y="301"/>
                    </a:cubicBezTo>
                    <a:cubicBezTo>
                      <a:pt x="32" y="301"/>
                      <a:pt x="32" y="301"/>
                      <a:pt x="31" y="301"/>
                    </a:cubicBezTo>
                    <a:cubicBezTo>
                      <a:pt x="30" y="300"/>
                      <a:pt x="30" y="299"/>
                      <a:pt x="30" y="299"/>
                    </a:cubicBezTo>
                    <a:cubicBezTo>
                      <a:pt x="30" y="283"/>
                      <a:pt x="30" y="283"/>
                      <a:pt x="30" y="283"/>
                    </a:cubicBezTo>
                    <a:cubicBezTo>
                      <a:pt x="1" y="267"/>
                      <a:pt x="1" y="267"/>
                      <a:pt x="1" y="267"/>
                    </a:cubicBezTo>
                    <a:cubicBezTo>
                      <a:pt x="0" y="266"/>
                      <a:pt x="0" y="266"/>
                      <a:pt x="0" y="265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86"/>
                      <a:pt x="0" y="186"/>
                      <a:pt x="1" y="185"/>
                    </a:cubicBezTo>
                    <a:cubicBezTo>
                      <a:pt x="2" y="185"/>
                      <a:pt x="2" y="185"/>
                      <a:pt x="3" y="185"/>
                    </a:cubicBezTo>
                    <a:cubicBezTo>
                      <a:pt x="49" y="212"/>
                      <a:pt x="49" y="212"/>
                      <a:pt x="49" y="212"/>
                    </a:cubicBezTo>
                    <a:cubicBezTo>
                      <a:pt x="49" y="211"/>
                      <a:pt x="49" y="211"/>
                      <a:pt x="49" y="211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18" y="193"/>
                      <a:pt x="18" y="192"/>
                      <a:pt x="18" y="192"/>
                    </a:cubicBezTo>
                    <a:cubicBezTo>
                      <a:pt x="18" y="191"/>
                      <a:pt x="18" y="190"/>
                      <a:pt x="19" y="190"/>
                    </a:cubicBezTo>
                    <a:cubicBezTo>
                      <a:pt x="57" y="168"/>
                      <a:pt x="57" y="168"/>
                      <a:pt x="57" y="168"/>
                    </a:cubicBezTo>
                    <a:cubicBezTo>
                      <a:pt x="31" y="153"/>
                      <a:pt x="31" y="153"/>
                      <a:pt x="31" y="153"/>
                    </a:cubicBezTo>
                    <a:cubicBezTo>
                      <a:pt x="30" y="153"/>
                      <a:pt x="30" y="152"/>
                      <a:pt x="30" y="151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2"/>
                      <a:pt x="30" y="1"/>
                      <a:pt x="31" y="1"/>
                    </a:cubicBezTo>
                    <a:cubicBezTo>
                      <a:pt x="32" y="0"/>
                      <a:pt x="32" y="0"/>
                      <a:pt x="33" y="1"/>
                    </a:cubicBezTo>
                    <a:cubicBezTo>
                      <a:pt x="162" y="75"/>
                      <a:pt x="162" y="75"/>
                      <a:pt x="162" y="75"/>
                    </a:cubicBezTo>
                    <a:cubicBezTo>
                      <a:pt x="162" y="75"/>
                      <a:pt x="163" y="76"/>
                      <a:pt x="163" y="77"/>
                    </a:cubicBezTo>
                    <a:cubicBezTo>
                      <a:pt x="163" y="225"/>
                      <a:pt x="163" y="225"/>
                      <a:pt x="163" y="225"/>
                    </a:cubicBezTo>
                    <a:cubicBezTo>
                      <a:pt x="163" y="226"/>
                      <a:pt x="162" y="227"/>
                      <a:pt x="162" y="227"/>
                    </a:cubicBezTo>
                    <a:cubicBezTo>
                      <a:pt x="161" y="228"/>
                      <a:pt x="160" y="228"/>
                      <a:pt x="160" y="227"/>
                    </a:cubicBezTo>
                    <a:cubicBezTo>
                      <a:pt x="144" y="218"/>
                      <a:pt x="144" y="218"/>
                      <a:pt x="144" y="218"/>
                    </a:cubicBezTo>
                    <a:cubicBezTo>
                      <a:pt x="144" y="272"/>
                      <a:pt x="144" y="272"/>
                      <a:pt x="144" y="272"/>
                    </a:cubicBezTo>
                    <a:cubicBezTo>
                      <a:pt x="154" y="266"/>
                      <a:pt x="154" y="266"/>
                      <a:pt x="154" y="266"/>
                    </a:cubicBezTo>
                    <a:cubicBezTo>
                      <a:pt x="155" y="266"/>
                      <a:pt x="155" y="266"/>
                      <a:pt x="156" y="266"/>
                    </a:cubicBezTo>
                    <a:cubicBezTo>
                      <a:pt x="225" y="306"/>
                      <a:pt x="225" y="306"/>
                      <a:pt x="225" y="306"/>
                    </a:cubicBezTo>
                    <a:cubicBezTo>
                      <a:pt x="225" y="306"/>
                      <a:pt x="226" y="307"/>
                      <a:pt x="226" y="307"/>
                    </a:cubicBezTo>
                    <a:cubicBezTo>
                      <a:pt x="226" y="308"/>
                      <a:pt x="225" y="309"/>
                      <a:pt x="225" y="309"/>
                    </a:cubicBezTo>
                    <a:cubicBezTo>
                      <a:pt x="156" y="349"/>
                      <a:pt x="156" y="349"/>
                      <a:pt x="156" y="349"/>
                    </a:cubicBezTo>
                    <a:cubicBezTo>
                      <a:pt x="155" y="349"/>
                      <a:pt x="155" y="349"/>
                      <a:pt x="154" y="349"/>
                    </a:cubicBezTo>
                    <a:cubicBezTo>
                      <a:pt x="144" y="343"/>
                      <a:pt x="144" y="343"/>
                      <a:pt x="144" y="343"/>
                    </a:cubicBezTo>
                    <a:cubicBezTo>
                      <a:pt x="144" y="349"/>
                      <a:pt x="144" y="349"/>
                      <a:pt x="144" y="349"/>
                    </a:cubicBezTo>
                    <a:cubicBezTo>
                      <a:pt x="144" y="350"/>
                      <a:pt x="144" y="351"/>
                      <a:pt x="143" y="351"/>
                    </a:cubicBezTo>
                    <a:cubicBezTo>
                      <a:pt x="137" y="355"/>
                      <a:pt x="137" y="355"/>
                      <a:pt x="137" y="355"/>
                    </a:cubicBezTo>
                    <a:cubicBezTo>
                      <a:pt x="137" y="418"/>
                      <a:pt x="137" y="418"/>
                      <a:pt x="137" y="418"/>
                    </a:cubicBezTo>
                    <a:cubicBezTo>
                      <a:pt x="137" y="418"/>
                      <a:pt x="137" y="419"/>
                      <a:pt x="136" y="419"/>
                    </a:cubicBezTo>
                    <a:cubicBezTo>
                      <a:pt x="136" y="420"/>
                      <a:pt x="135" y="420"/>
                      <a:pt x="135" y="420"/>
                    </a:cubicBezTo>
                    <a:close/>
                    <a:moveTo>
                      <a:pt x="71" y="379"/>
                    </a:moveTo>
                    <a:cubicBezTo>
                      <a:pt x="71" y="379"/>
                      <a:pt x="72" y="379"/>
                      <a:pt x="72" y="379"/>
                    </a:cubicBezTo>
                    <a:cubicBezTo>
                      <a:pt x="133" y="414"/>
                      <a:pt x="133" y="414"/>
                      <a:pt x="133" y="414"/>
                    </a:cubicBezTo>
                    <a:cubicBezTo>
                      <a:pt x="133" y="354"/>
                      <a:pt x="133" y="354"/>
                      <a:pt x="133" y="354"/>
                    </a:cubicBezTo>
                    <a:cubicBezTo>
                      <a:pt x="133" y="353"/>
                      <a:pt x="134" y="352"/>
                      <a:pt x="134" y="352"/>
                    </a:cubicBezTo>
                    <a:cubicBezTo>
                      <a:pt x="140" y="348"/>
                      <a:pt x="140" y="348"/>
                      <a:pt x="140" y="348"/>
                    </a:cubicBezTo>
                    <a:cubicBezTo>
                      <a:pt x="140" y="340"/>
                      <a:pt x="140" y="340"/>
                      <a:pt x="140" y="340"/>
                    </a:cubicBezTo>
                    <a:cubicBezTo>
                      <a:pt x="140" y="339"/>
                      <a:pt x="141" y="338"/>
                      <a:pt x="141" y="338"/>
                    </a:cubicBezTo>
                    <a:cubicBezTo>
                      <a:pt x="142" y="338"/>
                      <a:pt x="143" y="338"/>
                      <a:pt x="143" y="338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220" y="307"/>
                      <a:pt x="220" y="307"/>
                      <a:pt x="220" y="307"/>
                    </a:cubicBezTo>
                    <a:cubicBezTo>
                      <a:pt x="155" y="270"/>
                      <a:pt x="155" y="270"/>
                      <a:pt x="155" y="270"/>
                    </a:cubicBezTo>
                    <a:cubicBezTo>
                      <a:pt x="143" y="277"/>
                      <a:pt x="143" y="277"/>
                      <a:pt x="143" y="277"/>
                    </a:cubicBezTo>
                    <a:cubicBezTo>
                      <a:pt x="143" y="277"/>
                      <a:pt x="142" y="277"/>
                      <a:pt x="141" y="277"/>
                    </a:cubicBezTo>
                    <a:cubicBezTo>
                      <a:pt x="141" y="277"/>
                      <a:pt x="140" y="276"/>
                      <a:pt x="140" y="275"/>
                    </a:cubicBezTo>
                    <a:cubicBezTo>
                      <a:pt x="140" y="215"/>
                      <a:pt x="140" y="215"/>
                      <a:pt x="140" y="215"/>
                    </a:cubicBezTo>
                    <a:cubicBezTo>
                      <a:pt x="140" y="214"/>
                      <a:pt x="141" y="214"/>
                      <a:pt x="141" y="213"/>
                    </a:cubicBezTo>
                    <a:cubicBezTo>
                      <a:pt x="142" y="213"/>
                      <a:pt x="143" y="213"/>
                      <a:pt x="143" y="213"/>
                    </a:cubicBezTo>
                    <a:cubicBezTo>
                      <a:pt x="159" y="222"/>
                      <a:pt x="159" y="222"/>
                      <a:pt x="159" y="222"/>
                    </a:cubicBezTo>
                    <a:cubicBezTo>
                      <a:pt x="159" y="78"/>
                      <a:pt x="159" y="78"/>
                      <a:pt x="159" y="78"/>
                    </a:cubicBezTo>
                    <a:cubicBezTo>
                      <a:pt x="34" y="6"/>
                      <a:pt x="34" y="6"/>
                      <a:pt x="34" y="6"/>
                    </a:cubicBezTo>
                    <a:cubicBezTo>
                      <a:pt x="34" y="150"/>
                      <a:pt x="34" y="150"/>
                      <a:pt x="34" y="150"/>
                    </a:cubicBezTo>
                    <a:cubicBezTo>
                      <a:pt x="62" y="166"/>
                      <a:pt x="62" y="166"/>
                      <a:pt x="62" y="166"/>
                    </a:cubicBezTo>
                    <a:cubicBezTo>
                      <a:pt x="63" y="167"/>
                      <a:pt x="63" y="167"/>
                      <a:pt x="63" y="168"/>
                    </a:cubicBezTo>
                    <a:cubicBezTo>
                      <a:pt x="63" y="169"/>
                      <a:pt x="63" y="169"/>
                      <a:pt x="62" y="170"/>
                    </a:cubicBezTo>
                    <a:cubicBezTo>
                      <a:pt x="24" y="192"/>
                      <a:pt x="24" y="192"/>
                      <a:pt x="24" y="192"/>
                    </a:cubicBezTo>
                    <a:cubicBezTo>
                      <a:pt x="54" y="209"/>
                      <a:pt x="54" y="209"/>
                      <a:pt x="54" y="209"/>
                    </a:cubicBezTo>
                    <a:cubicBezTo>
                      <a:pt x="55" y="210"/>
                      <a:pt x="55" y="210"/>
                      <a:pt x="55" y="211"/>
                    </a:cubicBezTo>
                    <a:cubicBezTo>
                      <a:pt x="55" y="212"/>
                      <a:pt x="55" y="213"/>
                      <a:pt x="54" y="213"/>
                    </a:cubicBezTo>
                    <a:cubicBezTo>
                      <a:pt x="49" y="216"/>
                      <a:pt x="49" y="216"/>
                      <a:pt x="49" y="216"/>
                    </a:cubicBezTo>
                    <a:cubicBezTo>
                      <a:pt x="49" y="216"/>
                      <a:pt x="48" y="216"/>
                      <a:pt x="48" y="216"/>
                    </a:cubicBezTo>
                    <a:cubicBezTo>
                      <a:pt x="4" y="191"/>
                      <a:pt x="4" y="191"/>
                      <a:pt x="4" y="191"/>
                    </a:cubicBezTo>
                    <a:cubicBezTo>
                      <a:pt x="4" y="264"/>
                      <a:pt x="4" y="264"/>
                      <a:pt x="4" y="264"/>
                    </a:cubicBezTo>
                    <a:cubicBezTo>
                      <a:pt x="33" y="280"/>
                      <a:pt x="33" y="280"/>
                      <a:pt x="33" y="280"/>
                    </a:cubicBezTo>
                    <a:cubicBezTo>
                      <a:pt x="34" y="281"/>
                      <a:pt x="34" y="281"/>
                      <a:pt x="34" y="282"/>
                    </a:cubicBezTo>
                    <a:cubicBezTo>
                      <a:pt x="34" y="295"/>
                      <a:pt x="34" y="295"/>
                      <a:pt x="34" y="295"/>
                    </a:cubicBezTo>
                    <a:cubicBezTo>
                      <a:pt x="45" y="289"/>
                      <a:pt x="45" y="289"/>
                      <a:pt x="45" y="289"/>
                    </a:cubicBezTo>
                    <a:cubicBezTo>
                      <a:pt x="46" y="288"/>
                      <a:pt x="47" y="288"/>
                      <a:pt x="47" y="289"/>
                    </a:cubicBezTo>
                    <a:cubicBezTo>
                      <a:pt x="69" y="301"/>
                      <a:pt x="69" y="301"/>
                      <a:pt x="69" y="301"/>
                    </a:cubicBezTo>
                    <a:cubicBezTo>
                      <a:pt x="69" y="301"/>
                      <a:pt x="70" y="302"/>
                      <a:pt x="70" y="303"/>
                    </a:cubicBezTo>
                    <a:cubicBezTo>
                      <a:pt x="70" y="304"/>
                      <a:pt x="70" y="304"/>
                      <a:pt x="70" y="304"/>
                    </a:cubicBezTo>
                    <a:cubicBezTo>
                      <a:pt x="70" y="305"/>
                      <a:pt x="69" y="306"/>
                      <a:pt x="69" y="306"/>
                    </a:cubicBezTo>
                    <a:cubicBezTo>
                      <a:pt x="20" y="335"/>
                      <a:pt x="20" y="335"/>
                      <a:pt x="20" y="335"/>
                    </a:cubicBezTo>
                    <a:cubicBezTo>
                      <a:pt x="20" y="408"/>
                      <a:pt x="20" y="408"/>
                      <a:pt x="20" y="408"/>
                    </a:cubicBezTo>
                    <a:cubicBezTo>
                      <a:pt x="70" y="379"/>
                      <a:pt x="70" y="379"/>
                      <a:pt x="70" y="379"/>
                    </a:cubicBezTo>
                    <a:cubicBezTo>
                      <a:pt x="70" y="379"/>
                      <a:pt x="71" y="379"/>
                      <a:pt x="71" y="3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6" name="Freeform 1104">
                <a:extLst>
                  <a:ext uri="{FF2B5EF4-FFF2-40B4-BE49-F238E27FC236}">
                    <a16:creationId xmlns:a16="http://schemas.microsoft.com/office/drawing/2014/main" id="{676B3A51-289F-40FD-A5EF-AC37C2E3D2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43" y="3000"/>
                <a:ext cx="128" cy="253"/>
              </a:xfrm>
              <a:custGeom>
                <a:avLst/>
                <a:gdLst>
                  <a:gd name="T0" fmla="*/ 2 w 54"/>
                  <a:gd name="T1" fmla="*/ 107 h 107"/>
                  <a:gd name="T2" fmla="*/ 1 w 54"/>
                  <a:gd name="T3" fmla="*/ 106 h 107"/>
                  <a:gd name="T4" fmla="*/ 0 w 54"/>
                  <a:gd name="T5" fmla="*/ 105 h 107"/>
                  <a:gd name="T6" fmla="*/ 0 w 54"/>
                  <a:gd name="T7" fmla="*/ 30 h 107"/>
                  <a:gd name="T8" fmla="*/ 1 w 54"/>
                  <a:gd name="T9" fmla="*/ 29 h 107"/>
                  <a:gd name="T10" fmla="*/ 50 w 54"/>
                  <a:gd name="T11" fmla="*/ 1 h 107"/>
                  <a:gd name="T12" fmla="*/ 52 w 54"/>
                  <a:gd name="T13" fmla="*/ 1 h 107"/>
                  <a:gd name="T14" fmla="*/ 53 w 54"/>
                  <a:gd name="T15" fmla="*/ 2 h 107"/>
                  <a:gd name="T16" fmla="*/ 53 w 54"/>
                  <a:gd name="T17" fmla="*/ 74 h 107"/>
                  <a:gd name="T18" fmla="*/ 53 w 54"/>
                  <a:gd name="T19" fmla="*/ 74 h 107"/>
                  <a:gd name="T20" fmla="*/ 54 w 54"/>
                  <a:gd name="T21" fmla="*/ 76 h 107"/>
                  <a:gd name="T22" fmla="*/ 53 w 54"/>
                  <a:gd name="T23" fmla="*/ 77 h 107"/>
                  <a:gd name="T24" fmla="*/ 3 w 54"/>
                  <a:gd name="T25" fmla="*/ 106 h 107"/>
                  <a:gd name="T26" fmla="*/ 2 w 54"/>
                  <a:gd name="T27" fmla="*/ 107 h 107"/>
                  <a:gd name="T28" fmla="*/ 4 w 54"/>
                  <a:gd name="T29" fmla="*/ 32 h 107"/>
                  <a:gd name="T30" fmla="*/ 4 w 54"/>
                  <a:gd name="T31" fmla="*/ 101 h 107"/>
                  <a:gd name="T32" fmla="*/ 49 w 54"/>
                  <a:gd name="T33" fmla="*/ 75 h 107"/>
                  <a:gd name="T34" fmla="*/ 49 w 54"/>
                  <a:gd name="T35" fmla="*/ 75 h 107"/>
                  <a:gd name="T36" fmla="*/ 49 w 54"/>
                  <a:gd name="T37" fmla="*/ 6 h 107"/>
                  <a:gd name="T38" fmla="*/ 4 w 54"/>
                  <a:gd name="T39" fmla="*/ 3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107">
                    <a:moveTo>
                      <a:pt x="2" y="107"/>
                    </a:moveTo>
                    <a:cubicBezTo>
                      <a:pt x="2" y="107"/>
                      <a:pt x="1" y="107"/>
                      <a:pt x="1" y="106"/>
                    </a:cubicBezTo>
                    <a:cubicBezTo>
                      <a:pt x="1" y="106"/>
                      <a:pt x="0" y="105"/>
                      <a:pt x="0" y="10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1" y="29"/>
                      <a:pt x="1" y="29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0" y="0"/>
                      <a:pt x="51" y="0"/>
                      <a:pt x="52" y="1"/>
                    </a:cubicBezTo>
                    <a:cubicBezTo>
                      <a:pt x="52" y="1"/>
                      <a:pt x="53" y="2"/>
                      <a:pt x="53" y="2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4" y="74"/>
                      <a:pt x="54" y="75"/>
                      <a:pt x="54" y="76"/>
                    </a:cubicBezTo>
                    <a:cubicBezTo>
                      <a:pt x="54" y="76"/>
                      <a:pt x="54" y="77"/>
                      <a:pt x="53" y="77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3" y="107"/>
                      <a:pt x="3" y="107"/>
                      <a:pt x="2" y="107"/>
                    </a:cubicBezTo>
                    <a:close/>
                    <a:moveTo>
                      <a:pt x="4" y="32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6"/>
                      <a:pt x="49" y="6"/>
                      <a:pt x="49" y="6"/>
                    </a:cubicBezTo>
                    <a:lnTo>
                      <a:pt x="4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7" name="Freeform 1105">
                <a:extLst>
                  <a:ext uri="{FF2B5EF4-FFF2-40B4-BE49-F238E27FC236}">
                    <a16:creationId xmlns:a16="http://schemas.microsoft.com/office/drawing/2014/main" id="{E60C7A43-1A73-442B-A560-A1612DA3A5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12" y="2934"/>
                <a:ext cx="56" cy="64"/>
              </a:xfrm>
              <a:custGeom>
                <a:avLst/>
                <a:gdLst>
                  <a:gd name="T0" fmla="*/ 22 w 24"/>
                  <a:gd name="T1" fmla="*/ 27 h 27"/>
                  <a:gd name="T2" fmla="*/ 21 w 24"/>
                  <a:gd name="T3" fmla="*/ 27 h 27"/>
                  <a:gd name="T4" fmla="*/ 1 w 24"/>
                  <a:gd name="T5" fmla="*/ 15 h 27"/>
                  <a:gd name="T6" fmla="*/ 0 w 24"/>
                  <a:gd name="T7" fmla="*/ 14 h 27"/>
                  <a:gd name="T8" fmla="*/ 1 w 24"/>
                  <a:gd name="T9" fmla="*/ 12 h 27"/>
                  <a:gd name="T10" fmla="*/ 21 w 24"/>
                  <a:gd name="T11" fmla="*/ 0 h 27"/>
                  <a:gd name="T12" fmla="*/ 23 w 24"/>
                  <a:gd name="T13" fmla="*/ 0 h 27"/>
                  <a:gd name="T14" fmla="*/ 24 w 24"/>
                  <a:gd name="T15" fmla="*/ 2 h 27"/>
                  <a:gd name="T16" fmla="*/ 24 w 24"/>
                  <a:gd name="T17" fmla="*/ 25 h 27"/>
                  <a:gd name="T18" fmla="*/ 23 w 24"/>
                  <a:gd name="T19" fmla="*/ 27 h 27"/>
                  <a:gd name="T20" fmla="*/ 22 w 24"/>
                  <a:gd name="T21" fmla="*/ 27 h 27"/>
                  <a:gd name="T22" fmla="*/ 6 w 24"/>
                  <a:gd name="T23" fmla="*/ 14 h 27"/>
                  <a:gd name="T24" fmla="*/ 20 w 24"/>
                  <a:gd name="T25" fmla="*/ 22 h 27"/>
                  <a:gd name="T26" fmla="*/ 20 w 24"/>
                  <a:gd name="T27" fmla="*/ 6 h 27"/>
                  <a:gd name="T28" fmla="*/ 6 w 24"/>
                  <a:gd name="T2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27">
                    <a:moveTo>
                      <a:pt x="22" y="27"/>
                    </a:moveTo>
                    <a:cubicBezTo>
                      <a:pt x="21" y="27"/>
                      <a:pt x="21" y="27"/>
                      <a:pt x="21" y="27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4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3" y="1"/>
                      <a:pt x="24" y="1"/>
                      <a:pt x="24" y="2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6"/>
                      <a:pt x="23" y="26"/>
                      <a:pt x="23" y="27"/>
                    </a:cubicBezTo>
                    <a:cubicBezTo>
                      <a:pt x="23" y="27"/>
                      <a:pt x="22" y="27"/>
                      <a:pt x="22" y="27"/>
                    </a:cubicBezTo>
                    <a:close/>
                    <a:moveTo>
                      <a:pt x="6" y="14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6"/>
                      <a:pt x="20" y="6"/>
                      <a:pt x="20" y="6"/>
                    </a:cubicBezTo>
                    <a:lnTo>
                      <a:pt x="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8" name="Freeform 1106">
                <a:extLst>
                  <a:ext uri="{FF2B5EF4-FFF2-40B4-BE49-F238E27FC236}">
                    <a16:creationId xmlns:a16="http://schemas.microsoft.com/office/drawing/2014/main" id="{16E6AEA6-D288-4AEB-8B9C-211D223A6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2" y="3017"/>
                <a:ext cx="12" cy="151"/>
              </a:xfrm>
              <a:custGeom>
                <a:avLst/>
                <a:gdLst>
                  <a:gd name="T0" fmla="*/ 2 w 5"/>
                  <a:gd name="T1" fmla="*/ 64 h 64"/>
                  <a:gd name="T2" fmla="*/ 1 w 5"/>
                  <a:gd name="T3" fmla="*/ 63 h 64"/>
                  <a:gd name="T4" fmla="*/ 0 w 5"/>
                  <a:gd name="T5" fmla="*/ 62 h 64"/>
                  <a:gd name="T6" fmla="*/ 0 w 5"/>
                  <a:gd name="T7" fmla="*/ 3 h 64"/>
                  <a:gd name="T8" fmla="*/ 1 w 5"/>
                  <a:gd name="T9" fmla="*/ 2 h 64"/>
                  <a:gd name="T10" fmla="*/ 3 w 5"/>
                  <a:gd name="T11" fmla="*/ 1 h 64"/>
                  <a:gd name="T12" fmla="*/ 5 w 5"/>
                  <a:gd name="T13" fmla="*/ 1 h 64"/>
                  <a:gd name="T14" fmla="*/ 5 w 5"/>
                  <a:gd name="T15" fmla="*/ 2 h 64"/>
                  <a:gd name="T16" fmla="*/ 5 w 5"/>
                  <a:gd name="T17" fmla="*/ 61 h 64"/>
                  <a:gd name="T18" fmla="*/ 4 w 5"/>
                  <a:gd name="T19" fmla="*/ 62 h 64"/>
                  <a:gd name="T20" fmla="*/ 3 w 5"/>
                  <a:gd name="T21" fmla="*/ 63 h 64"/>
                  <a:gd name="T22" fmla="*/ 2 w 5"/>
                  <a:gd name="T23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64">
                    <a:moveTo>
                      <a:pt x="2" y="64"/>
                    </a:moveTo>
                    <a:cubicBezTo>
                      <a:pt x="1" y="64"/>
                      <a:pt x="1" y="63"/>
                      <a:pt x="1" y="63"/>
                    </a:cubicBezTo>
                    <a:cubicBezTo>
                      <a:pt x="0" y="63"/>
                      <a:pt x="0" y="62"/>
                      <a:pt x="0" y="6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5" y="62"/>
                      <a:pt x="4" y="62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2" y="63"/>
                      <a:pt x="2" y="64"/>
                      <a:pt x="2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9" name="Freeform 1107">
                <a:extLst>
                  <a:ext uri="{FF2B5EF4-FFF2-40B4-BE49-F238E27FC236}">
                    <a16:creationId xmlns:a16="http://schemas.microsoft.com/office/drawing/2014/main" id="{203A984B-5C83-4B5F-9E50-2BE7C93A42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08" y="2726"/>
                <a:ext cx="111" cy="222"/>
              </a:xfrm>
              <a:custGeom>
                <a:avLst/>
                <a:gdLst>
                  <a:gd name="T0" fmla="*/ 30 w 47"/>
                  <a:gd name="T1" fmla="*/ 94 h 94"/>
                  <a:gd name="T2" fmla="*/ 29 w 47"/>
                  <a:gd name="T3" fmla="*/ 94 h 94"/>
                  <a:gd name="T4" fmla="*/ 1 w 47"/>
                  <a:gd name="T5" fmla="*/ 78 h 94"/>
                  <a:gd name="T6" fmla="*/ 0 w 47"/>
                  <a:gd name="T7" fmla="*/ 76 h 94"/>
                  <a:gd name="T8" fmla="*/ 0 w 47"/>
                  <a:gd name="T9" fmla="*/ 2 h 94"/>
                  <a:gd name="T10" fmla="*/ 1 w 47"/>
                  <a:gd name="T11" fmla="*/ 0 h 94"/>
                  <a:gd name="T12" fmla="*/ 3 w 47"/>
                  <a:gd name="T13" fmla="*/ 0 h 94"/>
                  <a:gd name="T14" fmla="*/ 46 w 47"/>
                  <a:gd name="T15" fmla="*/ 25 h 94"/>
                  <a:gd name="T16" fmla="*/ 47 w 47"/>
                  <a:gd name="T17" fmla="*/ 27 h 94"/>
                  <a:gd name="T18" fmla="*/ 46 w 47"/>
                  <a:gd name="T19" fmla="*/ 29 h 94"/>
                  <a:gd name="T20" fmla="*/ 32 w 47"/>
                  <a:gd name="T21" fmla="*/ 37 h 94"/>
                  <a:gd name="T22" fmla="*/ 32 w 47"/>
                  <a:gd name="T23" fmla="*/ 92 h 94"/>
                  <a:gd name="T24" fmla="*/ 31 w 47"/>
                  <a:gd name="T25" fmla="*/ 94 h 94"/>
                  <a:gd name="T26" fmla="*/ 30 w 47"/>
                  <a:gd name="T27" fmla="*/ 94 h 94"/>
                  <a:gd name="T28" fmla="*/ 4 w 47"/>
                  <a:gd name="T29" fmla="*/ 75 h 94"/>
                  <a:gd name="T30" fmla="*/ 28 w 47"/>
                  <a:gd name="T31" fmla="*/ 89 h 94"/>
                  <a:gd name="T32" fmla="*/ 28 w 47"/>
                  <a:gd name="T33" fmla="*/ 36 h 94"/>
                  <a:gd name="T34" fmla="*/ 29 w 47"/>
                  <a:gd name="T35" fmla="*/ 34 h 94"/>
                  <a:gd name="T36" fmla="*/ 41 w 47"/>
                  <a:gd name="T37" fmla="*/ 27 h 94"/>
                  <a:gd name="T38" fmla="*/ 4 w 47"/>
                  <a:gd name="T39" fmla="*/ 5 h 94"/>
                  <a:gd name="T40" fmla="*/ 4 w 47"/>
                  <a:gd name="T41" fmla="*/ 7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7" h="94">
                    <a:moveTo>
                      <a:pt x="30" y="94"/>
                    </a:moveTo>
                    <a:cubicBezTo>
                      <a:pt x="30" y="94"/>
                      <a:pt x="29" y="94"/>
                      <a:pt x="29" y="94"/>
                    </a:cubicBezTo>
                    <a:cubicBezTo>
                      <a:pt x="1" y="78"/>
                      <a:pt x="1" y="78"/>
                      <a:pt x="1" y="78"/>
                    </a:cubicBezTo>
                    <a:cubicBezTo>
                      <a:pt x="0" y="77"/>
                      <a:pt x="0" y="77"/>
                      <a:pt x="0" y="7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6" y="26"/>
                      <a:pt x="47" y="26"/>
                      <a:pt x="47" y="27"/>
                    </a:cubicBezTo>
                    <a:cubicBezTo>
                      <a:pt x="47" y="28"/>
                      <a:pt x="46" y="28"/>
                      <a:pt x="46" y="29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2" y="92"/>
                      <a:pt x="32" y="92"/>
                      <a:pt x="32" y="92"/>
                    </a:cubicBezTo>
                    <a:cubicBezTo>
                      <a:pt x="32" y="93"/>
                      <a:pt x="32" y="94"/>
                      <a:pt x="31" y="94"/>
                    </a:cubicBezTo>
                    <a:cubicBezTo>
                      <a:pt x="31" y="94"/>
                      <a:pt x="30" y="94"/>
                      <a:pt x="30" y="94"/>
                    </a:cubicBezTo>
                    <a:close/>
                    <a:moveTo>
                      <a:pt x="4" y="75"/>
                    </a:moveTo>
                    <a:cubicBezTo>
                      <a:pt x="28" y="89"/>
                      <a:pt x="28" y="89"/>
                      <a:pt x="28" y="89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5"/>
                      <a:pt x="28" y="34"/>
                      <a:pt x="29" y="34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0" name="Freeform 1108">
                <a:extLst>
                  <a:ext uri="{FF2B5EF4-FFF2-40B4-BE49-F238E27FC236}">
                    <a16:creationId xmlns:a16="http://schemas.microsoft.com/office/drawing/2014/main" id="{F38EA3A6-1223-40C0-8B2C-05631B514F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16" y="2939"/>
                <a:ext cx="125" cy="144"/>
              </a:xfrm>
              <a:custGeom>
                <a:avLst/>
                <a:gdLst>
                  <a:gd name="T0" fmla="*/ 51 w 53"/>
                  <a:gd name="T1" fmla="*/ 61 h 61"/>
                  <a:gd name="T2" fmla="*/ 50 w 53"/>
                  <a:gd name="T3" fmla="*/ 61 h 61"/>
                  <a:gd name="T4" fmla="*/ 1 w 53"/>
                  <a:gd name="T5" fmla="*/ 32 h 61"/>
                  <a:gd name="T6" fmla="*/ 0 w 53"/>
                  <a:gd name="T7" fmla="*/ 31 h 61"/>
                  <a:gd name="T8" fmla="*/ 1 w 53"/>
                  <a:gd name="T9" fmla="*/ 29 h 61"/>
                  <a:gd name="T10" fmla="*/ 50 w 53"/>
                  <a:gd name="T11" fmla="*/ 1 h 61"/>
                  <a:gd name="T12" fmla="*/ 52 w 53"/>
                  <a:gd name="T13" fmla="*/ 1 h 61"/>
                  <a:gd name="T14" fmla="*/ 53 w 53"/>
                  <a:gd name="T15" fmla="*/ 2 h 61"/>
                  <a:gd name="T16" fmla="*/ 53 w 53"/>
                  <a:gd name="T17" fmla="*/ 59 h 61"/>
                  <a:gd name="T18" fmla="*/ 52 w 53"/>
                  <a:gd name="T19" fmla="*/ 61 h 61"/>
                  <a:gd name="T20" fmla="*/ 51 w 53"/>
                  <a:gd name="T21" fmla="*/ 61 h 61"/>
                  <a:gd name="T22" fmla="*/ 6 w 53"/>
                  <a:gd name="T23" fmla="*/ 31 h 61"/>
                  <a:gd name="T24" fmla="*/ 49 w 53"/>
                  <a:gd name="T25" fmla="*/ 55 h 61"/>
                  <a:gd name="T26" fmla="*/ 49 w 53"/>
                  <a:gd name="T27" fmla="*/ 6 h 61"/>
                  <a:gd name="T28" fmla="*/ 6 w 53"/>
                  <a:gd name="T29" fmla="*/ 3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1">
                    <a:moveTo>
                      <a:pt x="51" y="61"/>
                    </a:moveTo>
                    <a:cubicBezTo>
                      <a:pt x="50" y="61"/>
                      <a:pt x="50" y="61"/>
                      <a:pt x="50" y="61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0" y="0"/>
                      <a:pt x="51" y="0"/>
                      <a:pt x="52" y="1"/>
                    </a:cubicBezTo>
                    <a:cubicBezTo>
                      <a:pt x="52" y="1"/>
                      <a:pt x="53" y="2"/>
                      <a:pt x="53" y="2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9"/>
                      <a:pt x="52" y="60"/>
                      <a:pt x="52" y="61"/>
                    </a:cubicBezTo>
                    <a:cubicBezTo>
                      <a:pt x="51" y="61"/>
                      <a:pt x="51" y="61"/>
                      <a:pt x="51" y="61"/>
                    </a:cubicBezTo>
                    <a:close/>
                    <a:moveTo>
                      <a:pt x="6" y="31"/>
                    </a:moveTo>
                    <a:cubicBezTo>
                      <a:pt x="49" y="55"/>
                      <a:pt x="49" y="55"/>
                      <a:pt x="49" y="55"/>
                    </a:cubicBezTo>
                    <a:cubicBezTo>
                      <a:pt x="49" y="6"/>
                      <a:pt x="49" y="6"/>
                      <a:pt x="49" y="6"/>
                    </a:cubicBezTo>
                    <a:lnTo>
                      <a:pt x="6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1" name="Freeform 1109">
                <a:extLst>
                  <a:ext uri="{FF2B5EF4-FFF2-40B4-BE49-F238E27FC236}">
                    <a16:creationId xmlns:a16="http://schemas.microsoft.com/office/drawing/2014/main" id="{83E3AE05-A6CA-49DC-A201-5E9C577423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8" y="2762"/>
                <a:ext cx="33" cy="26"/>
              </a:xfrm>
              <a:custGeom>
                <a:avLst/>
                <a:gdLst>
                  <a:gd name="T0" fmla="*/ 12 w 14"/>
                  <a:gd name="T1" fmla="*/ 11 h 11"/>
                  <a:gd name="T2" fmla="*/ 11 w 14"/>
                  <a:gd name="T3" fmla="*/ 11 h 11"/>
                  <a:gd name="T4" fmla="*/ 1 w 14"/>
                  <a:gd name="T5" fmla="*/ 5 h 11"/>
                  <a:gd name="T6" fmla="*/ 0 w 14"/>
                  <a:gd name="T7" fmla="*/ 4 h 11"/>
                  <a:gd name="T8" fmla="*/ 1 w 14"/>
                  <a:gd name="T9" fmla="*/ 2 h 11"/>
                  <a:gd name="T10" fmla="*/ 3 w 14"/>
                  <a:gd name="T11" fmla="*/ 0 h 11"/>
                  <a:gd name="T12" fmla="*/ 5 w 14"/>
                  <a:gd name="T13" fmla="*/ 0 h 11"/>
                  <a:gd name="T14" fmla="*/ 13 w 14"/>
                  <a:gd name="T15" fmla="*/ 5 h 11"/>
                  <a:gd name="T16" fmla="*/ 14 w 14"/>
                  <a:gd name="T17" fmla="*/ 6 h 11"/>
                  <a:gd name="T18" fmla="*/ 14 w 14"/>
                  <a:gd name="T19" fmla="*/ 9 h 11"/>
                  <a:gd name="T20" fmla="*/ 13 w 14"/>
                  <a:gd name="T21" fmla="*/ 11 h 11"/>
                  <a:gd name="T22" fmla="*/ 12 w 14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1">
                    <a:moveTo>
                      <a:pt x="12" y="11"/>
                    </a:moveTo>
                    <a:cubicBezTo>
                      <a:pt x="11" y="11"/>
                      <a:pt x="11" y="11"/>
                      <a:pt x="11" y="1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4" y="6"/>
                      <a:pt x="14" y="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10"/>
                      <a:pt x="13" y="10"/>
                      <a:pt x="13" y="11"/>
                    </a:cubicBezTo>
                    <a:cubicBezTo>
                      <a:pt x="12" y="11"/>
                      <a:pt x="12" y="11"/>
                      <a:pt x="1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2" name="Freeform 1110">
                <a:extLst>
                  <a:ext uri="{FF2B5EF4-FFF2-40B4-BE49-F238E27FC236}">
                    <a16:creationId xmlns:a16="http://schemas.microsoft.com/office/drawing/2014/main" id="{C48F6183-AE14-4976-99C8-05E06B8685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01" y="3007"/>
                <a:ext cx="140" cy="111"/>
              </a:xfrm>
              <a:custGeom>
                <a:avLst/>
                <a:gdLst>
                  <a:gd name="T0" fmla="*/ 51 w 59"/>
                  <a:gd name="T1" fmla="*/ 47 h 47"/>
                  <a:gd name="T2" fmla="*/ 50 w 59"/>
                  <a:gd name="T3" fmla="*/ 46 h 47"/>
                  <a:gd name="T4" fmla="*/ 49 w 59"/>
                  <a:gd name="T5" fmla="*/ 45 h 47"/>
                  <a:gd name="T6" fmla="*/ 49 w 59"/>
                  <a:gd name="T7" fmla="*/ 34 h 47"/>
                  <a:gd name="T8" fmla="*/ 1 w 59"/>
                  <a:gd name="T9" fmla="*/ 6 h 47"/>
                  <a:gd name="T10" fmla="*/ 0 w 59"/>
                  <a:gd name="T11" fmla="*/ 5 h 47"/>
                  <a:gd name="T12" fmla="*/ 1 w 59"/>
                  <a:gd name="T13" fmla="*/ 3 h 47"/>
                  <a:gd name="T14" fmla="*/ 5 w 59"/>
                  <a:gd name="T15" fmla="*/ 1 h 47"/>
                  <a:gd name="T16" fmla="*/ 7 w 59"/>
                  <a:gd name="T17" fmla="*/ 1 h 47"/>
                  <a:gd name="T18" fmla="*/ 58 w 59"/>
                  <a:gd name="T19" fmla="*/ 30 h 47"/>
                  <a:gd name="T20" fmla="*/ 59 w 59"/>
                  <a:gd name="T21" fmla="*/ 32 h 47"/>
                  <a:gd name="T22" fmla="*/ 59 w 59"/>
                  <a:gd name="T23" fmla="*/ 41 h 47"/>
                  <a:gd name="T24" fmla="*/ 58 w 59"/>
                  <a:gd name="T25" fmla="*/ 43 h 47"/>
                  <a:gd name="T26" fmla="*/ 52 w 59"/>
                  <a:gd name="T27" fmla="*/ 46 h 47"/>
                  <a:gd name="T28" fmla="*/ 51 w 59"/>
                  <a:gd name="T29" fmla="*/ 47 h 47"/>
                  <a:gd name="T30" fmla="*/ 53 w 59"/>
                  <a:gd name="T31" fmla="*/ 32 h 47"/>
                  <a:gd name="T32" fmla="*/ 53 w 59"/>
                  <a:gd name="T33" fmla="*/ 33 h 47"/>
                  <a:gd name="T34" fmla="*/ 53 w 59"/>
                  <a:gd name="T35" fmla="*/ 41 h 47"/>
                  <a:gd name="T36" fmla="*/ 55 w 59"/>
                  <a:gd name="T37" fmla="*/ 40 h 47"/>
                  <a:gd name="T38" fmla="*/ 55 w 59"/>
                  <a:gd name="T39" fmla="*/ 33 h 47"/>
                  <a:gd name="T40" fmla="*/ 53 w 59"/>
                  <a:gd name="T41" fmla="*/ 3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7">
                    <a:moveTo>
                      <a:pt x="51" y="47"/>
                    </a:moveTo>
                    <a:cubicBezTo>
                      <a:pt x="51" y="47"/>
                      <a:pt x="50" y="47"/>
                      <a:pt x="50" y="46"/>
                    </a:cubicBezTo>
                    <a:cubicBezTo>
                      <a:pt x="50" y="46"/>
                      <a:pt x="49" y="45"/>
                      <a:pt x="49" y="4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58" y="30"/>
                      <a:pt x="59" y="31"/>
                      <a:pt x="59" y="32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42"/>
                      <a:pt x="58" y="43"/>
                      <a:pt x="58" y="43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2" y="47"/>
                      <a:pt x="51" y="47"/>
                      <a:pt x="51" y="47"/>
                    </a:cubicBezTo>
                    <a:close/>
                    <a:moveTo>
                      <a:pt x="53" y="32"/>
                    </a:moveTo>
                    <a:cubicBezTo>
                      <a:pt x="53" y="32"/>
                      <a:pt x="53" y="32"/>
                      <a:pt x="53" y="33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55" y="33"/>
                      <a:pt x="55" y="33"/>
                      <a:pt x="55" y="33"/>
                    </a:cubicBezTo>
                    <a:lnTo>
                      <a:pt x="53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3" name="Freeform 1111">
                <a:extLst>
                  <a:ext uri="{FF2B5EF4-FFF2-40B4-BE49-F238E27FC236}">
                    <a16:creationId xmlns:a16="http://schemas.microsoft.com/office/drawing/2014/main" id="{DA615860-B770-4B92-87E7-76AA408E3E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27" y="2766"/>
                <a:ext cx="114" cy="175"/>
              </a:xfrm>
              <a:custGeom>
                <a:avLst/>
                <a:gdLst>
                  <a:gd name="T0" fmla="*/ 45 w 48"/>
                  <a:gd name="T1" fmla="*/ 74 h 74"/>
                  <a:gd name="T2" fmla="*/ 44 w 48"/>
                  <a:gd name="T3" fmla="*/ 74 h 74"/>
                  <a:gd name="T4" fmla="*/ 1 w 48"/>
                  <a:gd name="T5" fmla="*/ 49 h 74"/>
                  <a:gd name="T6" fmla="*/ 0 w 48"/>
                  <a:gd name="T7" fmla="*/ 47 h 74"/>
                  <a:gd name="T8" fmla="*/ 0 w 48"/>
                  <a:gd name="T9" fmla="*/ 21 h 74"/>
                  <a:gd name="T10" fmla="*/ 1 w 48"/>
                  <a:gd name="T11" fmla="*/ 19 h 74"/>
                  <a:gd name="T12" fmla="*/ 34 w 48"/>
                  <a:gd name="T13" fmla="*/ 1 h 74"/>
                  <a:gd name="T14" fmla="*/ 36 w 48"/>
                  <a:gd name="T15" fmla="*/ 1 h 74"/>
                  <a:gd name="T16" fmla="*/ 47 w 48"/>
                  <a:gd name="T17" fmla="*/ 7 h 74"/>
                  <a:gd name="T18" fmla="*/ 48 w 48"/>
                  <a:gd name="T19" fmla="*/ 9 h 74"/>
                  <a:gd name="T20" fmla="*/ 48 w 48"/>
                  <a:gd name="T21" fmla="*/ 71 h 74"/>
                  <a:gd name="T22" fmla="*/ 47 w 48"/>
                  <a:gd name="T23" fmla="*/ 73 h 74"/>
                  <a:gd name="T24" fmla="*/ 46 w 48"/>
                  <a:gd name="T25" fmla="*/ 74 h 74"/>
                  <a:gd name="T26" fmla="*/ 45 w 48"/>
                  <a:gd name="T27" fmla="*/ 74 h 74"/>
                  <a:gd name="T28" fmla="*/ 46 w 48"/>
                  <a:gd name="T29" fmla="*/ 71 h 74"/>
                  <a:gd name="T30" fmla="*/ 46 w 48"/>
                  <a:gd name="T31" fmla="*/ 71 h 74"/>
                  <a:gd name="T32" fmla="*/ 4 w 48"/>
                  <a:gd name="T33" fmla="*/ 46 h 74"/>
                  <a:gd name="T34" fmla="*/ 44 w 48"/>
                  <a:gd name="T35" fmla="*/ 69 h 74"/>
                  <a:gd name="T36" fmla="*/ 44 w 48"/>
                  <a:gd name="T37" fmla="*/ 10 h 74"/>
                  <a:gd name="T38" fmla="*/ 35 w 48"/>
                  <a:gd name="T39" fmla="*/ 5 h 74"/>
                  <a:gd name="T40" fmla="*/ 4 w 48"/>
                  <a:gd name="T41" fmla="*/ 22 h 74"/>
                  <a:gd name="T42" fmla="*/ 4 w 48"/>
                  <a:gd name="T43" fmla="*/ 4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8" h="74">
                    <a:moveTo>
                      <a:pt x="45" y="74"/>
                    </a:moveTo>
                    <a:cubicBezTo>
                      <a:pt x="44" y="74"/>
                      <a:pt x="44" y="74"/>
                      <a:pt x="44" y="74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0" y="49"/>
                      <a:pt x="0" y="48"/>
                      <a:pt x="0" y="4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20"/>
                      <a:pt x="1" y="19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0"/>
                      <a:pt x="35" y="0"/>
                      <a:pt x="36" y="1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7" y="8"/>
                      <a:pt x="48" y="8"/>
                      <a:pt x="48" y="9"/>
                    </a:cubicBezTo>
                    <a:cubicBezTo>
                      <a:pt x="48" y="71"/>
                      <a:pt x="48" y="71"/>
                      <a:pt x="48" y="71"/>
                    </a:cubicBezTo>
                    <a:cubicBezTo>
                      <a:pt x="48" y="72"/>
                      <a:pt x="47" y="73"/>
                      <a:pt x="47" y="73"/>
                    </a:cubicBezTo>
                    <a:cubicBezTo>
                      <a:pt x="46" y="74"/>
                      <a:pt x="46" y="74"/>
                      <a:pt x="46" y="74"/>
                    </a:cubicBezTo>
                    <a:cubicBezTo>
                      <a:pt x="45" y="74"/>
                      <a:pt x="45" y="74"/>
                      <a:pt x="45" y="74"/>
                    </a:cubicBezTo>
                    <a:close/>
                    <a:moveTo>
                      <a:pt x="46" y="71"/>
                    </a:moveTo>
                    <a:cubicBezTo>
                      <a:pt x="46" y="71"/>
                      <a:pt x="46" y="71"/>
                      <a:pt x="46" y="71"/>
                    </a:cubicBezTo>
                    <a:close/>
                    <a:moveTo>
                      <a:pt x="4" y="46"/>
                    </a:moveTo>
                    <a:cubicBezTo>
                      <a:pt x="44" y="69"/>
                      <a:pt x="44" y="69"/>
                      <a:pt x="44" y="69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4" y="22"/>
                      <a:pt x="4" y="22"/>
                      <a:pt x="4" y="22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4" name="Freeform 1112">
                <a:extLst>
                  <a:ext uri="{FF2B5EF4-FFF2-40B4-BE49-F238E27FC236}">
                    <a16:creationId xmlns:a16="http://schemas.microsoft.com/office/drawing/2014/main" id="{5B4BCBA1-BEF6-400C-832F-DBCD8D005A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71" y="3163"/>
                <a:ext cx="26" cy="31"/>
              </a:xfrm>
              <a:custGeom>
                <a:avLst/>
                <a:gdLst>
                  <a:gd name="T0" fmla="*/ 9 w 11"/>
                  <a:gd name="T1" fmla="*/ 13 h 13"/>
                  <a:gd name="T2" fmla="*/ 8 w 11"/>
                  <a:gd name="T3" fmla="*/ 13 h 13"/>
                  <a:gd name="T4" fmla="*/ 1 w 11"/>
                  <a:gd name="T5" fmla="*/ 8 h 13"/>
                  <a:gd name="T6" fmla="*/ 0 w 11"/>
                  <a:gd name="T7" fmla="*/ 7 h 13"/>
                  <a:gd name="T8" fmla="*/ 1 w 11"/>
                  <a:gd name="T9" fmla="*/ 5 h 13"/>
                  <a:gd name="T10" fmla="*/ 8 w 11"/>
                  <a:gd name="T11" fmla="*/ 1 h 13"/>
                  <a:gd name="T12" fmla="*/ 10 w 11"/>
                  <a:gd name="T13" fmla="*/ 1 h 13"/>
                  <a:gd name="T14" fmla="*/ 11 w 11"/>
                  <a:gd name="T15" fmla="*/ 2 h 13"/>
                  <a:gd name="T16" fmla="*/ 11 w 11"/>
                  <a:gd name="T17" fmla="*/ 11 h 13"/>
                  <a:gd name="T18" fmla="*/ 10 w 11"/>
                  <a:gd name="T19" fmla="*/ 13 h 13"/>
                  <a:gd name="T20" fmla="*/ 9 w 11"/>
                  <a:gd name="T21" fmla="*/ 13 h 13"/>
                  <a:gd name="T22" fmla="*/ 6 w 11"/>
                  <a:gd name="T23" fmla="*/ 7 h 13"/>
                  <a:gd name="T24" fmla="*/ 7 w 11"/>
                  <a:gd name="T25" fmla="*/ 7 h 13"/>
                  <a:gd name="T26" fmla="*/ 7 w 11"/>
                  <a:gd name="T27" fmla="*/ 6 h 13"/>
                  <a:gd name="T28" fmla="*/ 6 w 11"/>
                  <a:gd name="T2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9" y="13"/>
                    </a:moveTo>
                    <a:cubicBezTo>
                      <a:pt x="9" y="13"/>
                      <a:pt x="8" y="13"/>
                      <a:pt x="8" y="1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0"/>
                      <a:pt x="10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0" y="13"/>
                    </a:cubicBezTo>
                    <a:cubicBezTo>
                      <a:pt x="10" y="13"/>
                      <a:pt x="9" y="13"/>
                      <a:pt x="9" y="13"/>
                    </a:cubicBezTo>
                    <a:close/>
                    <a:moveTo>
                      <a:pt x="6" y="7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5" name="Freeform 1113">
                <a:extLst>
                  <a:ext uri="{FF2B5EF4-FFF2-40B4-BE49-F238E27FC236}">
                    <a16:creationId xmlns:a16="http://schemas.microsoft.com/office/drawing/2014/main" id="{1015EF28-0F3B-414C-B0B2-A090D450F5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3017"/>
                <a:ext cx="132" cy="172"/>
              </a:xfrm>
              <a:custGeom>
                <a:avLst/>
                <a:gdLst>
                  <a:gd name="T0" fmla="*/ 2 w 56"/>
                  <a:gd name="T1" fmla="*/ 73 h 73"/>
                  <a:gd name="T2" fmla="*/ 1 w 56"/>
                  <a:gd name="T3" fmla="*/ 73 h 73"/>
                  <a:gd name="T4" fmla="*/ 0 w 56"/>
                  <a:gd name="T5" fmla="*/ 71 h 73"/>
                  <a:gd name="T6" fmla="*/ 0 w 56"/>
                  <a:gd name="T7" fmla="*/ 63 h 73"/>
                  <a:gd name="T8" fmla="*/ 1 w 56"/>
                  <a:gd name="T9" fmla="*/ 62 h 73"/>
                  <a:gd name="T10" fmla="*/ 3 w 56"/>
                  <a:gd name="T11" fmla="*/ 60 h 73"/>
                  <a:gd name="T12" fmla="*/ 3 w 56"/>
                  <a:gd name="T13" fmla="*/ 2 h 73"/>
                  <a:gd name="T14" fmla="*/ 4 w 56"/>
                  <a:gd name="T15" fmla="*/ 0 h 73"/>
                  <a:gd name="T16" fmla="*/ 6 w 56"/>
                  <a:gd name="T17" fmla="*/ 0 h 73"/>
                  <a:gd name="T18" fmla="*/ 55 w 56"/>
                  <a:gd name="T19" fmla="*/ 28 h 73"/>
                  <a:gd name="T20" fmla="*/ 56 w 56"/>
                  <a:gd name="T21" fmla="*/ 30 h 73"/>
                  <a:gd name="T22" fmla="*/ 56 w 56"/>
                  <a:gd name="T23" fmla="*/ 42 h 73"/>
                  <a:gd name="T24" fmla="*/ 55 w 56"/>
                  <a:gd name="T25" fmla="*/ 43 h 73"/>
                  <a:gd name="T26" fmla="*/ 3 w 56"/>
                  <a:gd name="T27" fmla="*/ 73 h 73"/>
                  <a:gd name="T28" fmla="*/ 2 w 56"/>
                  <a:gd name="T29" fmla="*/ 73 h 73"/>
                  <a:gd name="T30" fmla="*/ 4 w 56"/>
                  <a:gd name="T31" fmla="*/ 65 h 73"/>
                  <a:gd name="T32" fmla="*/ 4 w 56"/>
                  <a:gd name="T33" fmla="*/ 68 h 73"/>
                  <a:gd name="T34" fmla="*/ 52 w 56"/>
                  <a:gd name="T35" fmla="*/ 40 h 73"/>
                  <a:gd name="T36" fmla="*/ 52 w 56"/>
                  <a:gd name="T37" fmla="*/ 31 h 73"/>
                  <a:gd name="T38" fmla="*/ 7 w 56"/>
                  <a:gd name="T39" fmla="*/ 5 h 73"/>
                  <a:gd name="T40" fmla="*/ 7 w 56"/>
                  <a:gd name="T41" fmla="*/ 61 h 73"/>
                  <a:gd name="T42" fmla="*/ 6 w 56"/>
                  <a:gd name="T43" fmla="*/ 63 h 73"/>
                  <a:gd name="T44" fmla="*/ 4 w 56"/>
                  <a:gd name="T45" fmla="*/ 65 h 73"/>
                  <a:gd name="T46" fmla="*/ 54 w 56"/>
                  <a:gd name="T47" fmla="*/ 42 h 73"/>
                  <a:gd name="T48" fmla="*/ 54 w 56"/>
                  <a:gd name="T49" fmla="*/ 4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73">
                    <a:moveTo>
                      <a:pt x="2" y="73"/>
                    </a:moveTo>
                    <a:cubicBezTo>
                      <a:pt x="1" y="73"/>
                      <a:pt x="1" y="73"/>
                      <a:pt x="1" y="73"/>
                    </a:cubicBezTo>
                    <a:cubicBezTo>
                      <a:pt x="0" y="73"/>
                      <a:pt x="0" y="72"/>
                      <a:pt x="0" y="71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3"/>
                      <a:pt x="0" y="62"/>
                      <a:pt x="1" y="62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0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5" y="28"/>
                      <a:pt x="56" y="29"/>
                      <a:pt x="56" y="30"/>
                    </a:cubicBezTo>
                    <a:cubicBezTo>
                      <a:pt x="56" y="42"/>
                      <a:pt x="56" y="42"/>
                      <a:pt x="56" y="42"/>
                    </a:cubicBezTo>
                    <a:cubicBezTo>
                      <a:pt x="56" y="42"/>
                      <a:pt x="55" y="43"/>
                      <a:pt x="55" y="43"/>
                    </a:cubicBezTo>
                    <a:cubicBezTo>
                      <a:pt x="3" y="73"/>
                      <a:pt x="3" y="73"/>
                      <a:pt x="3" y="73"/>
                    </a:cubicBezTo>
                    <a:cubicBezTo>
                      <a:pt x="2" y="73"/>
                      <a:pt x="2" y="73"/>
                      <a:pt x="2" y="73"/>
                    </a:cubicBezTo>
                    <a:close/>
                    <a:moveTo>
                      <a:pt x="4" y="65"/>
                    </a:moveTo>
                    <a:cubicBezTo>
                      <a:pt x="4" y="68"/>
                      <a:pt x="4" y="68"/>
                      <a:pt x="4" y="68"/>
                    </a:cubicBezTo>
                    <a:cubicBezTo>
                      <a:pt x="52" y="40"/>
                      <a:pt x="52" y="40"/>
                      <a:pt x="52" y="40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7" y="62"/>
                      <a:pt x="7" y="63"/>
                      <a:pt x="6" y="63"/>
                    </a:cubicBezTo>
                    <a:lnTo>
                      <a:pt x="4" y="65"/>
                    </a:lnTo>
                    <a:close/>
                    <a:moveTo>
                      <a:pt x="54" y="42"/>
                    </a:moveTo>
                    <a:cubicBezTo>
                      <a:pt x="54" y="42"/>
                      <a:pt x="54" y="42"/>
                      <a:pt x="54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6" name="Freeform 1114">
                <a:extLst>
                  <a:ext uri="{FF2B5EF4-FFF2-40B4-BE49-F238E27FC236}">
                    <a16:creationId xmlns:a16="http://schemas.microsoft.com/office/drawing/2014/main" id="{0E84FD96-8A27-4776-BA55-975F6700CC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0" y="3114"/>
                <a:ext cx="134" cy="153"/>
              </a:xfrm>
              <a:custGeom>
                <a:avLst/>
                <a:gdLst>
                  <a:gd name="T0" fmla="*/ 55 w 57"/>
                  <a:gd name="T1" fmla="*/ 65 h 65"/>
                  <a:gd name="T2" fmla="*/ 54 w 57"/>
                  <a:gd name="T3" fmla="*/ 65 h 65"/>
                  <a:gd name="T4" fmla="*/ 1 w 57"/>
                  <a:gd name="T5" fmla="*/ 34 h 65"/>
                  <a:gd name="T6" fmla="*/ 0 w 57"/>
                  <a:gd name="T7" fmla="*/ 33 h 65"/>
                  <a:gd name="T8" fmla="*/ 1 w 57"/>
                  <a:gd name="T9" fmla="*/ 31 h 65"/>
                  <a:gd name="T10" fmla="*/ 54 w 57"/>
                  <a:gd name="T11" fmla="*/ 1 h 65"/>
                  <a:gd name="T12" fmla="*/ 56 w 57"/>
                  <a:gd name="T13" fmla="*/ 1 h 65"/>
                  <a:gd name="T14" fmla="*/ 57 w 57"/>
                  <a:gd name="T15" fmla="*/ 2 h 65"/>
                  <a:gd name="T16" fmla="*/ 57 w 57"/>
                  <a:gd name="T17" fmla="*/ 63 h 65"/>
                  <a:gd name="T18" fmla="*/ 56 w 57"/>
                  <a:gd name="T19" fmla="*/ 65 h 65"/>
                  <a:gd name="T20" fmla="*/ 55 w 57"/>
                  <a:gd name="T21" fmla="*/ 65 h 65"/>
                  <a:gd name="T22" fmla="*/ 6 w 57"/>
                  <a:gd name="T23" fmla="*/ 33 h 65"/>
                  <a:gd name="T24" fmla="*/ 53 w 57"/>
                  <a:gd name="T25" fmla="*/ 59 h 65"/>
                  <a:gd name="T26" fmla="*/ 53 w 57"/>
                  <a:gd name="T27" fmla="*/ 6 h 65"/>
                  <a:gd name="T28" fmla="*/ 6 w 57"/>
                  <a:gd name="T29" fmla="*/ 3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65">
                    <a:moveTo>
                      <a:pt x="55" y="65"/>
                    </a:moveTo>
                    <a:cubicBezTo>
                      <a:pt x="54" y="65"/>
                      <a:pt x="54" y="65"/>
                      <a:pt x="54" y="6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3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4" y="0"/>
                      <a:pt x="55" y="0"/>
                      <a:pt x="56" y="1"/>
                    </a:cubicBezTo>
                    <a:cubicBezTo>
                      <a:pt x="56" y="1"/>
                      <a:pt x="57" y="2"/>
                      <a:pt x="57" y="2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7" y="63"/>
                      <a:pt x="56" y="64"/>
                      <a:pt x="56" y="65"/>
                    </a:cubicBezTo>
                    <a:cubicBezTo>
                      <a:pt x="55" y="65"/>
                      <a:pt x="55" y="65"/>
                      <a:pt x="55" y="65"/>
                    </a:cubicBezTo>
                    <a:close/>
                    <a:moveTo>
                      <a:pt x="6" y="33"/>
                    </a:move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6"/>
                      <a:pt x="53" y="6"/>
                      <a:pt x="53" y="6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7" name="Freeform 1115">
                <a:extLst>
                  <a:ext uri="{FF2B5EF4-FFF2-40B4-BE49-F238E27FC236}">
                    <a16:creationId xmlns:a16="http://schemas.microsoft.com/office/drawing/2014/main" id="{222E5A94-5D81-4FE5-8580-7C099298C1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9" y="2641"/>
                <a:ext cx="220" cy="125"/>
              </a:xfrm>
              <a:custGeom>
                <a:avLst/>
                <a:gdLst>
                  <a:gd name="T0" fmla="*/ 71 w 93"/>
                  <a:gd name="T1" fmla="*/ 53 h 53"/>
                  <a:gd name="T2" fmla="*/ 70 w 93"/>
                  <a:gd name="T3" fmla="*/ 53 h 53"/>
                  <a:gd name="T4" fmla="*/ 20 w 93"/>
                  <a:gd name="T5" fmla="*/ 24 h 53"/>
                  <a:gd name="T6" fmla="*/ 20 w 93"/>
                  <a:gd name="T7" fmla="*/ 25 h 53"/>
                  <a:gd name="T8" fmla="*/ 19 w 93"/>
                  <a:gd name="T9" fmla="*/ 27 h 53"/>
                  <a:gd name="T10" fmla="*/ 17 w 93"/>
                  <a:gd name="T11" fmla="*/ 27 h 53"/>
                  <a:gd name="T12" fmla="*/ 1 w 93"/>
                  <a:gd name="T13" fmla="*/ 18 h 53"/>
                  <a:gd name="T14" fmla="*/ 0 w 93"/>
                  <a:gd name="T15" fmla="*/ 16 h 53"/>
                  <a:gd name="T16" fmla="*/ 1 w 93"/>
                  <a:gd name="T17" fmla="*/ 14 h 53"/>
                  <a:gd name="T18" fmla="*/ 25 w 93"/>
                  <a:gd name="T19" fmla="*/ 0 h 53"/>
                  <a:gd name="T20" fmla="*/ 27 w 93"/>
                  <a:gd name="T21" fmla="*/ 0 h 53"/>
                  <a:gd name="T22" fmla="*/ 92 w 93"/>
                  <a:gd name="T23" fmla="*/ 38 h 53"/>
                  <a:gd name="T24" fmla="*/ 93 w 93"/>
                  <a:gd name="T25" fmla="*/ 40 h 53"/>
                  <a:gd name="T26" fmla="*/ 92 w 93"/>
                  <a:gd name="T27" fmla="*/ 41 h 53"/>
                  <a:gd name="T28" fmla="*/ 72 w 93"/>
                  <a:gd name="T29" fmla="*/ 53 h 53"/>
                  <a:gd name="T30" fmla="*/ 71 w 93"/>
                  <a:gd name="T31" fmla="*/ 53 h 53"/>
                  <a:gd name="T32" fmla="*/ 18 w 93"/>
                  <a:gd name="T33" fmla="*/ 19 h 53"/>
                  <a:gd name="T34" fmla="*/ 19 w 93"/>
                  <a:gd name="T35" fmla="*/ 19 h 53"/>
                  <a:gd name="T36" fmla="*/ 71 w 93"/>
                  <a:gd name="T37" fmla="*/ 49 h 53"/>
                  <a:gd name="T38" fmla="*/ 87 w 93"/>
                  <a:gd name="T39" fmla="*/ 40 h 53"/>
                  <a:gd name="T40" fmla="*/ 26 w 93"/>
                  <a:gd name="T41" fmla="*/ 4 h 53"/>
                  <a:gd name="T42" fmla="*/ 6 w 93"/>
                  <a:gd name="T43" fmla="*/ 16 h 53"/>
                  <a:gd name="T44" fmla="*/ 16 w 93"/>
                  <a:gd name="T45" fmla="*/ 22 h 53"/>
                  <a:gd name="T46" fmla="*/ 16 w 93"/>
                  <a:gd name="T47" fmla="*/ 21 h 53"/>
                  <a:gd name="T48" fmla="*/ 17 w 93"/>
                  <a:gd name="T49" fmla="*/ 19 h 53"/>
                  <a:gd name="T50" fmla="*/ 18 w 93"/>
                  <a:gd name="T51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3" h="53">
                    <a:moveTo>
                      <a:pt x="71" y="53"/>
                    </a:moveTo>
                    <a:cubicBezTo>
                      <a:pt x="71" y="53"/>
                      <a:pt x="71" y="53"/>
                      <a:pt x="70" y="53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0" y="26"/>
                      <a:pt x="20" y="26"/>
                      <a:pt x="19" y="27"/>
                    </a:cubicBezTo>
                    <a:cubicBezTo>
                      <a:pt x="19" y="27"/>
                      <a:pt x="18" y="27"/>
                      <a:pt x="17" y="27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7"/>
                      <a:pt x="0" y="17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0"/>
                      <a:pt x="27" y="0"/>
                      <a:pt x="27" y="0"/>
                    </a:cubicBezTo>
                    <a:cubicBezTo>
                      <a:pt x="92" y="38"/>
                      <a:pt x="92" y="38"/>
                      <a:pt x="92" y="38"/>
                    </a:cubicBezTo>
                    <a:cubicBezTo>
                      <a:pt x="93" y="38"/>
                      <a:pt x="93" y="39"/>
                      <a:pt x="93" y="40"/>
                    </a:cubicBezTo>
                    <a:cubicBezTo>
                      <a:pt x="93" y="40"/>
                      <a:pt x="93" y="41"/>
                      <a:pt x="92" y="41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3"/>
                      <a:pt x="72" y="53"/>
                      <a:pt x="71" y="53"/>
                    </a:cubicBezTo>
                    <a:close/>
                    <a:moveTo>
                      <a:pt x="18" y="19"/>
                    </a:moveTo>
                    <a:cubicBezTo>
                      <a:pt x="18" y="19"/>
                      <a:pt x="19" y="19"/>
                      <a:pt x="19" y="19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87" y="40"/>
                      <a:pt x="87" y="40"/>
                      <a:pt x="87" y="40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20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8" name="Freeform 1116">
                <a:extLst>
                  <a:ext uri="{FF2B5EF4-FFF2-40B4-BE49-F238E27FC236}">
                    <a16:creationId xmlns:a16="http://schemas.microsoft.com/office/drawing/2014/main" id="{086E3CA8-CE13-4DE9-A18E-0319C1C137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2814"/>
                <a:ext cx="40" cy="66"/>
              </a:xfrm>
              <a:custGeom>
                <a:avLst/>
                <a:gdLst>
                  <a:gd name="T0" fmla="*/ 15 w 17"/>
                  <a:gd name="T1" fmla="*/ 28 h 28"/>
                  <a:gd name="T2" fmla="*/ 14 w 17"/>
                  <a:gd name="T3" fmla="*/ 28 h 28"/>
                  <a:gd name="T4" fmla="*/ 1 w 17"/>
                  <a:gd name="T5" fmla="*/ 20 h 28"/>
                  <a:gd name="T6" fmla="*/ 0 w 17"/>
                  <a:gd name="T7" fmla="*/ 18 h 28"/>
                  <a:gd name="T8" fmla="*/ 0 w 17"/>
                  <a:gd name="T9" fmla="*/ 2 h 28"/>
                  <a:gd name="T10" fmla="*/ 1 w 17"/>
                  <a:gd name="T11" fmla="*/ 1 h 28"/>
                  <a:gd name="T12" fmla="*/ 3 w 17"/>
                  <a:gd name="T13" fmla="*/ 1 h 28"/>
                  <a:gd name="T14" fmla="*/ 8 w 17"/>
                  <a:gd name="T15" fmla="*/ 4 h 28"/>
                  <a:gd name="T16" fmla="*/ 14 w 17"/>
                  <a:gd name="T17" fmla="*/ 0 h 28"/>
                  <a:gd name="T18" fmla="*/ 16 w 17"/>
                  <a:gd name="T19" fmla="*/ 0 h 28"/>
                  <a:gd name="T20" fmla="*/ 17 w 17"/>
                  <a:gd name="T21" fmla="*/ 2 h 28"/>
                  <a:gd name="T22" fmla="*/ 17 w 17"/>
                  <a:gd name="T23" fmla="*/ 26 h 28"/>
                  <a:gd name="T24" fmla="*/ 16 w 17"/>
                  <a:gd name="T25" fmla="*/ 28 h 28"/>
                  <a:gd name="T26" fmla="*/ 15 w 17"/>
                  <a:gd name="T27" fmla="*/ 28 h 28"/>
                  <a:gd name="T28" fmla="*/ 4 w 17"/>
                  <a:gd name="T29" fmla="*/ 17 h 28"/>
                  <a:gd name="T30" fmla="*/ 13 w 17"/>
                  <a:gd name="T31" fmla="*/ 23 h 28"/>
                  <a:gd name="T32" fmla="*/ 13 w 17"/>
                  <a:gd name="T33" fmla="*/ 6 h 28"/>
                  <a:gd name="T34" fmla="*/ 9 w 17"/>
                  <a:gd name="T35" fmla="*/ 8 h 28"/>
                  <a:gd name="T36" fmla="*/ 7 w 17"/>
                  <a:gd name="T37" fmla="*/ 8 h 28"/>
                  <a:gd name="T38" fmla="*/ 4 w 17"/>
                  <a:gd name="T39" fmla="*/ 6 h 28"/>
                  <a:gd name="T40" fmla="*/ 4 w 17"/>
                  <a:gd name="T41" fmla="*/ 1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28">
                    <a:moveTo>
                      <a:pt x="15" y="28"/>
                    </a:moveTo>
                    <a:cubicBezTo>
                      <a:pt x="15" y="28"/>
                      <a:pt x="15" y="28"/>
                      <a:pt x="14" y="2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17" y="1"/>
                      <a:pt x="17" y="1"/>
                      <a:pt x="17" y="2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7"/>
                      <a:pt x="17" y="28"/>
                      <a:pt x="16" y="28"/>
                    </a:cubicBezTo>
                    <a:cubicBezTo>
                      <a:pt x="16" y="28"/>
                      <a:pt x="16" y="28"/>
                      <a:pt x="15" y="28"/>
                    </a:cubicBezTo>
                    <a:close/>
                    <a:moveTo>
                      <a:pt x="4" y="17"/>
                    </a:moveTo>
                    <a:cubicBezTo>
                      <a:pt x="13" y="23"/>
                      <a:pt x="13" y="23"/>
                      <a:pt x="13" y="23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8"/>
                      <a:pt x="8" y="8"/>
                      <a:pt x="7" y="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9" name="Freeform 1117">
                <a:extLst>
                  <a:ext uri="{FF2B5EF4-FFF2-40B4-BE49-F238E27FC236}">
                    <a16:creationId xmlns:a16="http://schemas.microsoft.com/office/drawing/2014/main" id="{CFFF99F3-F8E9-4CF3-AF6B-EE638646C0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79" y="2289"/>
                <a:ext cx="304" cy="525"/>
              </a:xfrm>
              <a:custGeom>
                <a:avLst/>
                <a:gdLst>
                  <a:gd name="T0" fmla="*/ 127 w 129"/>
                  <a:gd name="T1" fmla="*/ 222 h 222"/>
                  <a:gd name="T2" fmla="*/ 126 w 129"/>
                  <a:gd name="T3" fmla="*/ 221 h 222"/>
                  <a:gd name="T4" fmla="*/ 109 w 129"/>
                  <a:gd name="T5" fmla="*/ 212 h 222"/>
                  <a:gd name="T6" fmla="*/ 108 w 129"/>
                  <a:gd name="T7" fmla="*/ 210 h 222"/>
                  <a:gd name="T8" fmla="*/ 108 w 129"/>
                  <a:gd name="T9" fmla="*/ 207 h 222"/>
                  <a:gd name="T10" fmla="*/ 102 w 129"/>
                  <a:gd name="T11" fmla="*/ 203 h 222"/>
                  <a:gd name="T12" fmla="*/ 101 w 129"/>
                  <a:gd name="T13" fmla="*/ 201 h 222"/>
                  <a:gd name="T14" fmla="*/ 102 w 129"/>
                  <a:gd name="T15" fmla="*/ 200 h 222"/>
                  <a:gd name="T16" fmla="*/ 121 w 129"/>
                  <a:gd name="T17" fmla="*/ 189 h 222"/>
                  <a:gd name="T18" fmla="*/ 56 w 129"/>
                  <a:gd name="T19" fmla="*/ 152 h 222"/>
                  <a:gd name="T20" fmla="*/ 32 w 129"/>
                  <a:gd name="T21" fmla="*/ 166 h 222"/>
                  <a:gd name="T22" fmla="*/ 30 w 129"/>
                  <a:gd name="T23" fmla="*/ 166 h 222"/>
                  <a:gd name="T24" fmla="*/ 1 w 129"/>
                  <a:gd name="T25" fmla="*/ 149 h 222"/>
                  <a:gd name="T26" fmla="*/ 0 w 129"/>
                  <a:gd name="T27" fmla="*/ 147 h 222"/>
                  <a:gd name="T28" fmla="*/ 0 w 129"/>
                  <a:gd name="T29" fmla="*/ 2 h 222"/>
                  <a:gd name="T30" fmla="*/ 1 w 129"/>
                  <a:gd name="T31" fmla="*/ 1 h 222"/>
                  <a:gd name="T32" fmla="*/ 3 w 129"/>
                  <a:gd name="T33" fmla="*/ 1 h 222"/>
                  <a:gd name="T34" fmla="*/ 128 w 129"/>
                  <a:gd name="T35" fmla="*/ 73 h 222"/>
                  <a:gd name="T36" fmla="*/ 129 w 129"/>
                  <a:gd name="T37" fmla="*/ 75 h 222"/>
                  <a:gd name="T38" fmla="*/ 129 w 129"/>
                  <a:gd name="T39" fmla="*/ 220 h 222"/>
                  <a:gd name="T40" fmla="*/ 128 w 129"/>
                  <a:gd name="T41" fmla="*/ 221 h 222"/>
                  <a:gd name="T42" fmla="*/ 127 w 129"/>
                  <a:gd name="T43" fmla="*/ 222 h 222"/>
                  <a:gd name="T44" fmla="*/ 112 w 129"/>
                  <a:gd name="T45" fmla="*/ 209 h 222"/>
                  <a:gd name="T46" fmla="*/ 125 w 129"/>
                  <a:gd name="T47" fmla="*/ 216 h 222"/>
                  <a:gd name="T48" fmla="*/ 125 w 129"/>
                  <a:gd name="T49" fmla="*/ 191 h 222"/>
                  <a:gd name="T50" fmla="*/ 107 w 129"/>
                  <a:gd name="T51" fmla="*/ 201 h 222"/>
                  <a:gd name="T52" fmla="*/ 111 w 129"/>
                  <a:gd name="T53" fmla="*/ 204 h 222"/>
                  <a:gd name="T54" fmla="*/ 112 w 129"/>
                  <a:gd name="T55" fmla="*/ 205 h 222"/>
                  <a:gd name="T56" fmla="*/ 112 w 129"/>
                  <a:gd name="T57" fmla="*/ 209 h 222"/>
                  <a:gd name="T58" fmla="*/ 56 w 129"/>
                  <a:gd name="T59" fmla="*/ 147 h 222"/>
                  <a:gd name="T60" fmla="*/ 57 w 129"/>
                  <a:gd name="T61" fmla="*/ 148 h 222"/>
                  <a:gd name="T62" fmla="*/ 125 w 129"/>
                  <a:gd name="T63" fmla="*/ 187 h 222"/>
                  <a:gd name="T64" fmla="*/ 125 w 129"/>
                  <a:gd name="T65" fmla="*/ 76 h 222"/>
                  <a:gd name="T66" fmla="*/ 4 w 129"/>
                  <a:gd name="T67" fmla="*/ 6 h 222"/>
                  <a:gd name="T68" fmla="*/ 4 w 129"/>
                  <a:gd name="T69" fmla="*/ 146 h 222"/>
                  <a:gd name="T70" fmla="*/ 31 w 129"/>
                  <a:gd name="T71" fmla="*/ 162 h 222"/>
                  <a:gd name="T72" fmla="*/ 55 w 129"/>
                  <a:gd name="T73" fmla="*/ 148 h 222"/>
                  <a:gd name="T74" fmla="*/ 56 w 129"/>
                  <a:gd name="T75" fmla="*/ 14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9" h="222">
                    <a:moveTo>
                      <a:pt x="127" y="222"/>
                    </a:moveTo>
                    <a:cubicBezTo>
                      <a:pt x="127" y="222"/>
                      <a:pt x="126" y="222"/>
                      <a:pt x="126" y="221"/>
                    </a:cubicBezTo>
                    <a:cubicBezTo>
                      <a:pt x="109" y="212"/>
                      <a:pt x="109" y="212"/>
                      <a:pt x="109" y="212"/>
                    </a:cubicBezTo>
                    <a:cubicBezTo>
                      <a:pt x="109" y="211"/>
                      <a:pt x="108" y="211"/>
                      <a:pt x="108" y="210"/>
                    </a:cubicBez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2" y="203"/>
                      <a:pt x="102" y="203"/>
                      <a:pt x="102" y="203"/>
                    </a:cubicBezTo>
                    <a:cubicBezTo>
                      <a:pt x="101" y="203"/>
                      <a:pt x="101" y="202"/>
                      <a:pt x="101" y="201"/>
                    </a:cubicBezTo>
                    <a:cubicBezTo>
                      <a:pt x="101" y="201"/>
                      <a:pt x="101" y="200"/>
                      <a:pt x="102" y="200"/>
                    </a:cubicBezTo>
                    <a:cubicBezTo>
                      <a:pt x="121" y="189"/>
                      <a:pt x="121" y="189"/>
                      <a:pt x="121" y="189"/>
                    </a:cubicBezTo>
                    <a:cubicBezTo>
                      <a:pt x="56" y="152"/>
                      <a:pt x="56" y="152"/>
                      <a:pt x="56" y="152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1" y="166"/>
                      <a:pt x="30" y="166"/>
                      <a:pt x="30" y="166"/>
                    </a:cubicBezTo>
                    <a:cubicBezTo>
                      <a:pt x="1" y="149"/>
                      <a:pt x="1" y="149"/>
                      <a:pt x="1" y="149"/>
                    </a:cubicBezTo>
                    <a:cubicBezTo>
                      <a:pt x="0" y="149"/>
                      <a:pt x="0" y="148"/>
                      <a:pt x="0" y="14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220"/>
                      <a:pt x="129" y="220"/>
                      <a:pt x="129" y="220"/>
                    </a:cubicBezTo>
                    <a:cubicBezTo>
                      <a:pt x="129" y="220"/>
                      <a:pt x="129" y="221"/>
                      <a:pt x="128" y="221"/>
                    </a:cubicBezTo>
                    <a:cubicBezTo>
                      <a:pt x="128" y="222"/>
                      <a:pt x="127" y="222"/>
                      <a:pt x="127" y="222"/>
                    </a:cubicBezTo>
                    <a:close/>
                    <a:moveTo>
                      <a:pt x="112" y="209"/>
                    </a:moveTo>
                    <a:cubicBezTo>
                      <a:pt x="125" y="216"/>
                      <a:pt x="125" y="216"/>
                      <a:pt x="125" y="216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11" y="204"/>
                      <a:pt x="111" y="204"/>
                      <a:pt x="111" y="204"/>
                    </a:cubicBezTo>
                    <a:cubicBezTo>
                      <a:pt x="112" y="204"/>
                      <a:pt x="112" y="205"/>
                      <a:pt x="112" y="205"/>
                    </a:cubicBezTo>
                    <a:lnTo>
                      <a:pt x="112" y="209"/>
                    </a:lnTo>
                    <a:close/>
                    <a:moveTo>
                      <a:pt x="56" y="147"/>
                    </a:moveTo>
                    <a:cubicBezTo>
                      <a:pt x="57" y="147"/>
                      <a:pt x="57" y="147"/>
                      <a:pt x="57" y="148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31" y="162"/>
                      <a:pt x="31" y="162"/>
                      <a:pt x="31" y="162"/>
                    </a:cubicBezTo>
                    <a:cubicBezTo>
                      <a:pt x="55" y="148"/>
                      <a:pt x="55" y="148"/>
                      <a:pt x="55" y="148"/>
                    </a:cubicBezTo>
                    <a:cubicBezTo>
                      <a:pt x="56" y="147"/>
                      <a:pt x="56" y="147"/>
                      <a:pt x="5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0" name="Freeform 1118">
                <a:extLst>
                  <a:ext uri="{FF2B5EF4-FFF2-40B4-BE49-F238E27FC236}">
                    <a16:creationId xmlns:a16="http://schemas.microsoft.com/office/drawing/2014/main" id="{5FFBF417-89B4-4BC9-B199-7376C136A1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61" y="2877"/>
                <a:ext cx="173" cy="145"/>
              </a:xfrm>
              <a:custGeom>
                <a:avLst/>
                <a:gdLst>
                  <a:gd name="T0" fmla="*/ 18 w 73"/>
                  <a:gd name="T1" fmla="*/ 61 h 61"/>
                  <a:gd name="T2" fmla="*/ 17 w 73"/>
                  <a:gd name="T3" fmla="*/ 60 h 61"/>
                  <a:gd name="T4" fmla="*/ 16 w 73"/>
                  <a:gd name="T5" fmla="*/ 59 h 61"/>
                  <a:gd name="T6" fmla="*/ 16 w 73"/>
                  <a:gd name="T7" fmla="*/ 46 h 61"/>
                  <a:gd name="T8" fmla="*/ 5 w 73"/>
                  <a:gd name="T9" fmla="*/ 52 h 61"/>
                  <a:gd name="T10" fmla="*/ 3 w 73"/>
                  <a:gd name="T11" fmla="*/ 52 h 61"/>
                  <a:gd name="T12" fmla="*/ 1 w 73"/>
                  <a:gd name="T13" fmla="*/ 52 h 61"/>
                  <a:gd name="T14" fmla="*/ 0 w 73"/>
                  <a:gd name="T15" fmla="*/ 50 h 61"/>
                  <a:gd name="T16" fmla="*/ 0 w 73"/>
                  <a:gd name="T17" fmla="*/ 25 h 61"/>
                  <a:gd name="T18" fmla="*/ 1 w 73"/>
                  <a:gd name="T19" fmla="*/ 23 h 61"/>
                  <a:gd name="T20" fmla="*/ 28 w 73"/>
                  <a:gd name="T21" fmla="*/ 8 h 61"/>
                  <a:gd name="T22" fmla="*/ 28 w 73"/>
                  <a:gd name="T23" fmla="*/ 2 h 61"/>
                  <a:gd name="T24" fmla="*/ 29 w 73"/>
                  <a:gd name="T25" fmla="*/ 0 h 61"/>
                  <a:gd name="T26" fmla="*/ 31 w 73"/>
                  <a:gd name="T27" fmla="*/ 0 h 61"/>
                  <a:gd name="T28" fmla="*/ 72 w 73"/>
                  <a:gd name="T29" fmla="*/ 24 h 61"/>
                  <a:gd name="T30" fmla="*/ 73 w 73"/>
                  <a:gd name="T31" fmla="*/ 26 h 61"/>
                  <a:gd name="T32" fmla="*/ 72 w 73"/>
                  <a:gd name="T33" fmla="*/ 28 h 61"/>
                  <a:gd name="T34" fmla="*/ 23 w 73"/>
                  <a:gd name="T35" fmla="*/ 56 h 61"/>
                  <a:gd name="T36" fmla="*/ 24 w 73"/>
                  <a:gd name="T37" fmla="*/ 57 h 61"/>
                  <a:gd name="T38" fmla="*/ 23 w 73"/>
                  <a:gd name="T39" fmla="*/ 58 h 61"/>
                  <a:gd name="T40" fmla="*/ 19 w 73"/>
                  <a:gd name="T41" fmla="*/ 60 h 61"/>
                  <a:gd name="T42" fmla="*/ 18 w 73"/>
                  <a:gd name="T43" fmla="*/ 61 h 61"/>
                  <a:gd name="T44" fmla="*/ 18 w 73"/>
                  <a:gd name="T45" fmla="*/ 40 h 61"/>
                  <a:gd name="T46" fmla="*/ 19 w 73"/>
                  <a:gd name="T47" fmla="*/ 41 h 61"/>
                  <a:gd name="T48" fmla="*/ 20 w 73"/>
                  <a:gd name="T49" fmla="*/ 42 h 61"/>
                  <a:gd name="T50" fmla="*/ 20 w 73"/>
                  <a:gd name="T51" fmla="*/ 53 h 61"/>
                  <a:gd name="T52" fmla="*/ 67 w 73"/>
                  <a:gd name="T53" fmla="*/ 26 h 61"/>
                  <a:gd name="T54" fmla="*/ 32 w 73"/>
                  <a:gd name="T55" fmla="*/ 6 h 61"/>
                  <a:gd name="T56" fmla="*/ 32 w 73"/>
                  <a:gd name="T57" fmla="*/ 9 h 61"/>
                  <a:gd name="T58" fmla="*/ 31 w 73"/>
                  <a:gd name="T59" fmla="*/ 11 h 61"/>
                  <a:gd name="T60" fmla="*/ 4 w 73"/>
                  <a:gd name="T61" fmla="*/ 26 h 61"/>
                  <a:gd name="T62" fmla="*/ 4 w 73"/>
                  <a:gd name="T63" fmla="*/ 48 h 61"/>
                  <a:gd name="T64" fmla="*/ 17 w 73"/>
                  <a:gd name="T65" fmla="*/ 41 h 61"/>
                  <a:gd name="T66" fmla="*/ 18 w 73"/>
                  <a:gd name="T67" fmla="*/ 4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" h="61">
                    <a:moveTo>
                      <a:pt x="18" y="61"/>
                    </a:moveTo>
                    <a:cubicBezTo>
                      <a:pt x="18" y="61"/>
                      <a:pt x="17" y="60"/>
                      <a:pt x="17" y="60"/>
                    </a:cubicBezTo>
                    <a:cubicBezTo>
                      <a:pt x="17" y="60"/>
                      <a:pt x="16" y="59"/>
                      <a:pt x="16" y="59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53"/>
                      <a:pt x="3" y="53"/>
                      <a:pt x="3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1"/>
                      <a:pt x="0" y="51"/>
                      <a:pt x="0" y="5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4"/>
                      <a:pt x="1" y="24"/>
                      <a:pt x="1" y="23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8" y="1"/>
                      <a:pt x="28" y="1"/>
                      <a:pt x="29" y="0"/>
                    </a:cubicBezTo>
                    <a:cubicBezTo>
                      <a:pt x="30" y="0"/>
                      <a:pt x="30" y="0"/>
                      <a:pt x="31" y="0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3" y="24"/>
                      <a:pt x="73" y="25"/>
                      <a:pt x="73" y="26"/>
                    </a:cubicBezTo>
                    <a:cubicBezTo>
                      <a:pt x="73" y="27"/>
                      <a:pt x="73" y="27"/>
                      <a:pt x="72" y="28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4" y="56"/>
                      <a:pt x="24" y="56"/>
                      <a:pt x="24" y="57"/>
                    </a:cubicBezTo>
                    <a:cubicBezTo>
                      <a:pt x="24" y="57"/>
                      <a:pt x="23" y="58"/>
                      <a:pt x="23" y="58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60"/>
                      <a:pt x="18" y="61"/>
                      <a:pt x="18" y="61"/>
                    </a:cubicBezTo>
                    <a:close/>
                    <a:moveTo>
                      <a:pt x="18" y="40"/>
                    </a:moveTo>
                    <a:cubicBezTo>
                      <a:pt x="18" y="40"/>
                      <a:pt x="19" y="41"/>
                      <a:pt x="19" y="41"/>
                    </a:cubicBezTo>
                    <a:cubicBezTo>
                      <a:pt x="20" y="41"/>
                      <a:pt x="20" y="42"/>
                      <a:pt x="20" y="42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2" y="10"/>
                      <a:pt x="32" y="11"/>
                      <a:pt x="31" y="11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17" y="41"/>
                      <a:pt x="17" y="41"/>
                      <a:pt x="17" y="41"/>
                    </a:cubicBezTo>
                    <a:cubicBezTo>
                      <a:pt x="17" y="41"/>
                      <a:pt x="18" y="40"/>
                      <a:pt x="18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1" name="Freeform 1119">
                <a:extLst>
                  <a:ext uri="{FF2B5EF4-FFF2-40B4-BE49-F238E27FC236}">
                    <a16:creationId xmlns:a16="http://schemas.microsoft.com/office/drawing/2014/main" id="{876C67FE-90C9-42D1-8CE8-1C2045886C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68" y="2979"/>
                <a:ext cx="36" cy="40"/>
              </a:xfrm>
              <a:custGeom>
                <a:avLst/>
                <a:gdLst>
                  <a:gd name="T0" fmla="*/ 13 w 15"/>
                  <a:gd name="T1" fmla="*/ 17 h 17"/>
                  <a:gd name="T2" fmla="*/ 12 w 15"/>
                  <a:gd name="T3" fmla="*/ 17 h 17"/>
                  <a:gd name="T4" fmla="*/ 1 w 15"/>
                  <a:gd name="T5" fmla="*/ 10 h 17"/>
                  <a:gd name="T6" fmla="*/ 0 w 15"/>
                  <a:gd name="T7" fmla="*/ 9 h 17"/>
                  <a:gd name="T8" fmla="*/ 1 w 15"/>
                  <a:gd name="T9" fmla="*/ 7 h 17"/>
                  <a:gd name="T10" fmla="*/ 12 w 15"/>
                  <a:gd name="T11" fmla="*/ 1 h 17"/>
                  <a:gd name="T12" fmla="*/ 14 w 15"/>
                  <a:gd name="T13" fmla="*/ 1 h 17"/>
                  <a:gd name="T14" fmla="*/ 15 w 15"/>
                  <a:gd name="T15" fmla="*/ 2 h 17"/>
                  <a:gd name="T16" fmla="*/ 15 w 15"/>
                  <a:gd name="T17" fmla="*/ 15 h 17"/>
                  <a:gd name="T18" fmla="*/ 14 w 15"/>
                  <a:gd name="T19" fmla="*/ 17 h 17"/>
                  <a:gd name="T20" fmla="*/ 13 w 15"/>
                  <a:gd name="T21" fmla="*/ 17 h 17"/>
                  <a:gd name="T22" fmla="*/ 6 w 15"/>
                  <a:gd name="T23" fmla="*/ 9 h 17"/>
                  <a:gd name="T24" fmla="*/ 11 w 15"/>
                  <a:gd name="T25" fmla="*/ 12 h 17"/>
                  <a:gd name="T26" fmla="*/ 11 w 15"/>
                  <a:gd name="T27" fmla="*/ 6 h 17"/>
                  <a:gd name="T28" fmla="*/ 6 w 15"/>
                  <a:gd name="T2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7">
                    <a:moveTo>
                      <a:pt x="13" y="17"/>
                    </a:moveTo>
                    <a:cubicBezTo>
                      <a:pt x="13" y="17"/>
                      <a:pt x="13" y="17"/>
                      <a:pt x="12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9"/>
                      <a:pt x="0" y="9"/>
                    </a:cubicBezTo>
                    <a:cubicBezTo>
                      <a:pt x="0" y="8"/>
                      <a:pt x="1" y="7"/>
                      <a:pt x="1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0"/>
                      <a:pt x="14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6"/>
                      <a:pt x="15" y="16"/>
                      <a:pt x="14" y="17"/>
                    </a:cubicBezTo>
                    <a:cubicBezTo>
                      <a:pt x="14" y="17"/>
                      <a:pt x="14" y="17"/>
                      <a:pt x="13" y="17"/>
                    </a:cubicBezTo>
                    <a:close/>
                    <a:moveTo>
                      <a:pt x="6" y="9"/>
                    </a:move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6"/>
                      <a:pt x="11" y="6"/>
                      <a:pt x="11" y="6"/>
                    </a:cubicBezTo>
                    <a:lnTo>
                      <a:pt x="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2" name="Freeform 1120">
                <a:extLst>
                  <a:ext uri="{FF2B5EF4-FFF2-40B4-BE49-F238E27FC236}">
                    <a16:creationId xmlns:a16="http://schemas.microsoft.com/office/drawing/2014/main" id="{FEB31404-EAC3-40B2-9D0A-153FAA877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34" y="2915"/>
                <a:ext cx="193" cy="187"/>
              </a:xfrm>
              <a:custGeom>
                <a:avLst/>
                <a:gdLst>
                  <a:gd name="T0" fmla="*/ 15 w 82"/>
                  <a:gd name="T1" fmla="*/ 79 h 79"/>
                  <a:gd name="T2" fmla="*/ 14 w 82"/>
                  <a:gd name="T3" fmla="*/ 79 h 79"/>
                  <a:gd name="T4" fmla="*/ 1 w 82"/>
                  <a:gd name="T5" fmla="*/ 71 h 79"/>
                  <a:gd name="T6" fmla="*/ 0 w 82"/>
                  <a:gd name="T7" fmla="*/ 70 h 79"/>
                  <a:gd name="T8" fmla="*/ 0 w 82"/>
                  <a:gd name="T9" fmla="*/ 9 h 79"/>
                  <a:gd name="T10" fmla="*/ 1 w 82"/>
                  <a:gd name="T11" fmla="*/ 7 h 79"/>
                  <a:gd name="T12" fmla="*/ 14 w 82"/>
                  <a:gd name="T13" fmla="*/ 0 h 79"/>
                  <a:gd name="T14" fmla="*/ 16 w 82"/>
                  <a:gd name="T15" fmla="*/ 0 h 79"/>
                  <a:gd name="T16" fmla="*/ 81 w 82"/>
                  <a:gd name="T17" fmla="*/ 38 h 79"/>
                  <a:gd name="T18" fmla="*/ 82 w 82"/>
                  <a:gd name="T19" fmla="*/ 39 h 79"/>
                  <a:gd name="T20" fmla="*/ 81 w 82"/>
                  <a:gd name="T21" fmla="*/ 41 h 79"/>
                  <a:gd name="T22" fmla="*/ 16 w 82"/>
                  <a:gd name="T23" fmla="*/ 79 h 79"/>
                  <a:gd name="T24" fmla="*/ 15 w 82"/>
                  <a:gd name="T25" fmla="*/ 79 h 79"/>
                  <a:gd name="T26" fmla="*/ 4 w 82"/>
                  <a:gd name="T27" fmla="*/ 69 h 79"/>
                  <a:gd name="T28" fmla="*/ 15 w 82"/>
                  <a:gd name="T29" fmla="*/ 75 h 79"/>
                  <a:gd name="T30" fmla="*/ 76 w 82"/>
                  <a:gd name="T31" fmla="*/ 39 h 79"/>
                  <a:gd name="T32" fmla="*/ 15 w 82"/>
                  <a:gd name="T33" fmla="*/ 4 h 79"/>
                  <a:gd name="T34" fmla="*/ 4 w 82"/>
                  <a:gd name="T35" fmla="*/ 10 h 79"/>
                  <a:gd name="T36" fmla="*/ 4 w 82"/>
                  <a:gd name="T37" fmla="*/ 6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79">
                    <a:moveTo>
                      <a:pt x="15" y="79"/>
                    </a:moveTo>
                    <a:cubicBezTo>
                      <a:pt x="15" y="79"/>
                      <a:pt x="14" y="79"/>
                      <a:pt x="14" y="79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7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" y="8"/>
                      <a:pt x="1" y="7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5" y="0"/>
                      <a:pt x="16" y="0"/>
                    </a:cubicBezTo>
                    <a:cubicBezTo>
                      <a:pt x="81" y="38"/>
                      <a:pt x="81" y="38"/>
                      <a:pt x="81" y="38"/>
                    </a:cubicBezTo>
                    <a:cubicBezTo>
                      <a:pt x="82" y="38"/>
                      <a:pt x="82" y="39"/>
                      <a:pt x="82" y="39"/>
                    </a:cubicBezTo>
                    <a:cubicBezTo>
                      <a:pt x="82" y="40"/>
                      <a:pt x="82" y="41"/>
                      <a:pt x="81" y="41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6" y="79"/>
                      <a:pt x="15" y="79"/>
                      <a:pt x="15" y="79"/>
                    </a:cubicBezTo>
                    <a:close/>
                    <a:moveTo>
                      <a:pt x="4" y="69"/>
                    </a:moveTo>
                    <a:cubicBezTo>
                      <a:pt x="15" y="75"/>
                      <a:pt x="15" y="75"/>
                      <a:pt x="15" y="75"/>
                    </a:cubicBezTo>
                    <a:cubicBezTo>
                      <a:pt x="76" y="39"/>
                      <a:pt x="76" y="39"/>
                      <a:pt x="76" y="39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3" name="Freeform 1121">
                <a:extLst>
                  <a:ext uri="{FF2B5EF4-FFF2-40B4-BE49-F238E27FC236}">
                    <a16:creationId xmlns:a16="http://schemas.microsoft.com/office/drawing/2014/main" id="{F4B1A7B7-761B-4EB8-A72E-916C7330A8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33" y="2745"/>
                <a:ext cx="64" cy="73"/>
              </a:xfrm>
              <a:custGeom>
                <a:avLst/>
                <a:gdLst>
                  <a:gd name="T0" fmla="*/ 25 w 27"/>
                  <a:gd name="T1" fmla="*/ 31 h 31"/>
                  <a:gd name="T2" fmla="*/ 24 w 27"/>
                  <a:gd name="T3" fmla="*/ 30 h 31"/>
                  <a:gd name="T4" fmla="*/ 1 w 27"/>
                  <a:gd name="T5" fmla="*/ 17 h 31"/>
                  <a:gd name="T6" fmla="*/ 0 w 27"/>
                  <a:gd name="T7" fmla="*/ 15 h 31"/>
                  <a:gd name="T8" fmla="*/ 1 w 27"/>
                  <a:gd name="T9" fmla="*/ 13 h 31"/>
                  <a:gd name="T10" fmla="*/ 24 w 27"/>
                  <a:gd name="T11" fmla="*/ 0 h 31"/>
                  <a:gd name="T12" fmla="*/ 26 w 27"/>
                  <a:gd name="T13" fmla="*/ 0 h 31"/>
                  <a:gd name="T14" fmla="*/ 27 w 27"/>
                  <a:gd name="T15" fmla="*/ 2 h 31"/>
                  <a:gd name="T16" fmla="*/ 27 w 27"/>
                  <a:gd name="T17" fmla="*/ 29 h 31"/>
                  <a:gd name="T18" fmla="*/ 26 w 27"/>
                  <a:gd name="T19" fmla="*/ 30 h 31"/>
                  <a:gd name="T20" fmla="*/ 25 w 27"/>
                  <a:gd name="T21" fmla="*/ 31 h 31"/>
                  <a:gd name="T22" fmla="*/ 6 w 27"/>
                  <a:gd name="T23" fmla="*/ 15 h 31"/>
                  <a:gd name="T24" fmla="*/ 23 w 27"/>
                  <a:gd name="T25" fmla="*/ 25 h 31"/>
                  <a:gd name="T26" fmla="*/ 23 w 27"/>
                  <a:gd name="T27" fmla="*/ 5 h 31"/>
                  <a:gd name="T28" fmla="*/ 6 w 27"/>
                  <a:gd name="T2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1">
                    <a:moveTo>
                      <a:pt x="25" y="31"/>
                    </a:moveTo>
                    <a:cubicBezTo>
                      <a:pt x="25" y="31"/>
                      <a:pt x="24" y="31"/>
                      <a:pt x="24" y="30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6" y="0"/>
                    </a:cubicBezTo>
                    <a:cubicBezTo>
                      <a:pt x="27" y="0"/>
                      <a:pt x="27" y="1"/>
                      <a:pt x="27" y="2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9"/>
                      <a:pt x="27" y="30"/>
                      <a:pt x="26" y="30"/>
                    </a:cubicBezTo>
                    <a:cubicBezTo>
                      <a:pt x="26" y="31"/>
                      <a:pt x="25" y="31"/>
                      <a:pt x="25" y="31"/>
                    </a:cubicBezTo>
                    <a:close/>
                    <a:moveTo>
                      <a:pt x="6" y="15"/>
                    </a:moveTo>
                    <a:cubicBezTo>
                      <a:pt x="23" y="25"/>
                      <a:pt x="23" y="25"/>
                      <a:pt x="23" y="25"/>
                    </a:cubicBezTo>
                    <a:cubicBezTo>
                      <a:pt x="23" y="5"/>
                      <a:pt x="23" y="5"/>
                      <a:pt x="23" y="5"/>
                    </a:cubicBezTo>
                    <a:lnTo>
                      <a:pt x="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4" name="Freeform 1122">
                <a:extLst>
                  <a:ext uri="{FF2B5EF4-FFF2-40B4-BE49-F238E27FC236}">
                    <a16:creationId xmlns:a16="http://schemas.microsoft.com/office/drawing/2014/main" id="{675F62D1-E330-4189-ABB9-BC92C8B49E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53" y="2677"/>
                <a:ext cx="144" cy="106"/>
              </a:xfrm>
              <a:custGeom>
                <a:avLst/>
                <a:gdLst>
                  <a:gd name="T0" fmla="*/ 34 w 61"/>
                  <a:gd name="T1" fmla="*/ 45 h 45"/>
                  <a:gd name="T2" fmla="*/ 33 w 61"/>
                  <a:gd name="T3" fmla="*/ 45 h 45"/>
                  <a:gd name="T4" fmla="*/ 1 w 61"/>
                  <a:gd name="T5" fmla="*/ 26 h 45"/>
                  <a:gd name="T6" fmla="*/ 0 w 61"/>
                  <a:gd name="T7" fmla="*/ 25 h 45"/>
                  <a:gd name="T8" fmla="*/ 1 w 61"/>
                  <a:gd name="T9" fmla="*/ 23 h 45"/>
                  <a:gd name="T10" fmla="*/ 41 w 61"/>
                  <a:gd name="T11" fmla="*/ 0 h 45"/>
                  <a:gd name="T12" fmla="*/ 43 w 61"/>
                  <a:gd name="T13" fmla="*/ 0 h 45"/>
                  <a:gd name="T14" fmla="*/ 60 w 61"/>
                  <a:gd name="T15" fmla="*/ 10 h 45"/>
                  <a:gd name="T16" fmla="*/ 61 w 61"/>
                  <a:gd name="T17" fmla="*/ 12 h 45"/>
                  <a:gd name="T18" fmla="*/ 61 w 61"/>
                  <a:gd name="T19" fmla="*/ 29 h 45"/>
                  <a:gd name="T20" fmla="*/ 60 w 61"/>
                  <a:gd name="T21" fmla="*/ 30 h 45"/>
                  <a:gd name="T22" fmla="*/ 35 w 61"/>
                  <a:gd name="T23" fmla="*/ 45 h 45"/>
                  <a:gd name="T24" fmla="*/ 34 w 61"/>
                  <a:gd name="T25" fmla="*/ 45 h 45"/>
                  <a:gd name="T26" fmla="*/ 6 w 61"/>
                  <a:gd name="T27" fmla="*/ 25 h 45"/>
                  <a:gd name="T28" fmla="*/ 34 w 61"/>
                  <a:gd name="T29" fmla="*/ 41 h 45"/>
                  <a:gd name="T30" fmla="*/ 57 w 61"/>
                  <a:gd name="T31" fmla="*/ 28 h 45"/>
                  <a:gd name="T32" fmla="*/ 57 w 61"/>
                  <a:gd name="T33" fmla="*/ 13 h 45"/>
                  <a:gd name="T34" fmla="*/ 42 w 61"/>
                  <a:gd name="T35" fmla="*/ 4 h 45"/>
                  <a:gd name="T36" fmla="*/ 6 w 61"/>
                  <a:gd name="T37" fmla="*/ 2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45">
                    <a:moveTo>
                      <a:pt x="34" y="45"/>
                    </a:moveTo>
                    <a:cubicBezTo>
                      <a:pt x="34" y="45"/>
                      <a:pt x="33" y="45"/>
                      <a:pt x="33" y="4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0" y="25"/>
                      <a:pt x="0" y="25"/>
                    </a:cubicBezTo>
                    <a:cubicBezTo>
                      <a:pt x="0" y="24"/>
                      <a:pt x="1" y="23"/>
                      <a:pt x="1" y="23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2" y="0"/>
                      <a:pt x="43" y="0"/>
                    </a:cubicBezTo>
                    <a:cubicBezTo>
                      <a:pt x="60" y="10"/>
                      <a:pt x="60" y="10"/>
                      <a:pt x="60" y="10"/>
                    </a:cubicBezTo>
                    <a:cubicBezTo>
                      <a:pt x="61" y="11"/>
                      <a:pt x="61" y="11"/>
                      <a:pt x="61" y="12"/>
                    </a:cubicBezTo>
                    <a:cubicBezTo>
                      <a:pt x="61" y="29"/>
                      <a:pt x="61" y="29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4" y="45"/>
                      <a:pt x="34" y="45"/>
                    </a:cubicBezTo>
                    <a:close/>
                    <a:moveTo>
                      <a:pt x="6" y="25"/>
                    </a:moveTo>
                    <a:cubicBezTo>
                      <a:pt x="34" y="41"/>
                      <a:pt x="34" y="41"/>
                      <a:pt x="34" y="4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42" y="4"/>
                      <a:pt x="42" y="4"/>
                      <a:pt x="42" y="4"/>
                    </a:cubicBezTo>
                    <a:lnTo>
                      <a:pt x="6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9" name="Freeform 567">
              <a:extLst>
                <a:ext uri="{FF2B5EF4-FFF2-40B4-BE49-F238E27FC236}">
                  <a16:creationId xmlns:a16="http://schemas.microsoft.com/office/drawing/2014/main" id="{CDD6B7D2-B2C7-4DF2-B261-323B0C1C8E17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415107" y="4371649"/>
              <a:ext cx="649501" cy="377664"/>
            </a:xfrm>
            <a:custGeom>
              <a:avLst/>
              <a:gdLst>
                <a:gd name="T0" fmla="*/ 132 w 265"/>
                <a:gd name="T1" fmla="*/ 154 h 154"/>
                <a:gd name="T2" fmla="*/ 131 w 265"/>
                <a:gd name="T3" fmla="*/ 154 h 154"/>
                <a:gd name="T4" fmla="*/ 1 w 265"/>
                <a:gd name="T5" fmla="*/ 79 h 154"/>
                <a:gd name="T6" fmla="*/ 0 w 265"/>
                <a:gd name="T7" fmla="*/ 77 h 154"/>
                <a:gd name="T8" fmla="*/ 1 w 265"/>
                <a:gd name="T9" fmla="*/ 75 h 154"/>
                <a:gd name="T10" fmla="*/ 131 w 265"/>
                <a:gd name="T11" fmla="*/ 0 h 154"/>
                <a:gd name="T12" fmla="*/ 133 w 265"/>
                <a:gd name="T13" fmla="*/ 0 h 154"/>
                <a:gd name="T14" fmla="*/ 264 w 265"/>
                <a:gd name="T15" fmla="*/ 75 h 154"/>
                <a:gd name="T16" fmla="*/ 265 w 265"/>
                <a:gd name="T17" fmla="*/ 77 h 154"/>
                <a:gd name="T18" fmla="*/ 264 w 265"/>
                <a:gd name="T19" fmla="*/ 79 h 154"/>
                <a:gd name="T20" fmla="*/ 133 w 265"/>
                <a:gd name="T21" fmla="*/ 154 h 154"/>
                <a:gd name="T22" fmla="*/ 132 w 265"/>
                <a:gd name="T23" fmla="*/ 154 h 154"/>
                <a:gd name="T24" fmla="*/ 6 w 265"/>
                <a:gd name="T25" fmla="*/ 77 h 154"/>
                <a:gd name="T26" fmla="*/ 132 w 265"/>
                <a:gd name="T27" fmla="*/ 150 h 154"/>
                <a:gd name="T28" fmla="*/ 259 w 265"/>
                <a:gd name="T29" fmla="*/ 77 h 154"/>
                <a:gd name="T30" fmla="*/ 132 w 265"/>
                <a:gd name="T31" fmla="*/ 4 h 154"/>
                <a:gd name="T32" fmla="*/ 6 w 265"/>
                <a:gd name="T33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5" h="154">
                  <a:moveTo>
                    <a:pt x="132" y="154"/>
                  </a:moveTo>
                  <a:cubicBezTo>
                    <a:pt x="132" y="154"/>
                    <a:pt x="131" y="154"/>
                    <a:pt x="131" y="154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0" y="78"/>
                    <a:pt x="0" y="78"/>
                    <a:pt x="0" y="77"/>
                  </a:cubicBezTo>
                  <a:cubicBezTo>
                    <a:pt x="0" y="76"/>
                    <a:pt x="0" y="76"/>
                    <a:pt x="1" y="75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2" y="0"/>
                    <a:pt x="133" y="0"/>
                    <a:pt x="133" y="0"/>
                  </a:cubicBezTo>
                  <a:cubicBezTo>
                    <a:pt x="264" y="75"/>
                    <a:pt x="264" y="75"/>
                    <a:pt x="264" y="75"/>
                  </a:cubicBezTo>
                  <a:cubicBezTo>
                    <a:pt x="264" y="76"/>
                    <a:pt x="265" y="76"/>
                    <a:pt x="265" y="77"/>
                  </a:cubicBezTo>
                  <a:cubicBezTo>
                    <a:pt x="265" y="78"/>
                    <a:pt x="264" y="78"/>
                    <a:pt x="264" y="79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33" y="154"/>
                    <a:pt x="132" y="154"/>
                    <a:pt x="132" y="154"/>
                  </a:cubicBezTo>
                  <a:close/>
                  <a:moveTo>
                    <a:pt x="6" y="77"/>
                  </a:moveTo>
                  <a:cubicBezTo>
                    <a:pt x="132" y="150"/>
                    <a:pt x="132" y="150"/>
                    <a:pt x="132" y="150"/>
                  </a:cubicBezTo>
                  <a:cubicBezTo>
                    <a:pt x="259" y="77"/>
                    <a:pt x="259" y="77"/>
                    <a:pt x="259" y="77"/>
                  </a:cubicBezTo>
                  <a:cubicBezTo>
                    <a:pt x="132" y="4"/>
                    <a:pt x="132" y="4"/>
                    <a:pt x="132" y="4"/>
                  </a:cubicBezTo>
                  <a:lnTo>
                    <a:pt x="6" y="77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568">
              <a:extLst>
                <a:ext uri="{FF2B5EF4-FFF2-40B4-BE49-F238E27FC236}">
                  <a16:creationId xmlns:a16="http://schemas.microsoft.com/office/drawing/2014/main" id="{8CC1E3D6-E1FD-4F63-A6C0-7E3C1211082A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424445" y="4376837"/>
              <a:ext cx="631863" cy="370402"/>
            </a:xfrm>
            <a:custGeom>
              <a:avLst/>
              <a:gdLst>
                <a:gd name="T0" fmla="*/ 129 w 258"/>
                <a:gd name="T1" fmla="*/ 151 h 151"/>
                <a:gd name="T2" fmla="*/ 128 w 258"/>
                <a:gd name="T3" fmla="*/ 150 h 151"/>
                <a:gd name="T4" fmla="*/ 1 w 258"/>
                <a:gd name="T5" fmla="*/ 77 h 151"/>
                <a:gd name="T6" fmla="*/ 0 w 258"/>
                <a:gd name="T7" fmla="*/ 75 h 151"/>
                <a:gd name="T8" fmla="*/ 1 w 258"/>
                <a:gd name="T9" fmla="*/ 73 h 151"/>
                <a:gd name="T10" fmla="*/ 128 w 258"/>
                <a:gd name="T11" fmla="*/ 0 h 151"/>
                <a:gd name="T12" fmla="*/ 130 w 258"/>
                <a:gd name="T13" fmla="*/ 0 h 151"/>
                <a:gd name="T14" fmla="*/ 257 w 258"/>
                <a:gd name="T15" fmla="*/ 73 h 151"/>
                <a:gd name="T16" fmla="*/ 258 w 258"/>
                <a:gd name="T17" fmla="*/ 75 h 151"/>
                <a:gd name="T18" fmla="*/ 257 w 258"/>
                <a:gd name="T19" fmla="*/ 77 h 151"/>
                <a:gd name="T20" fmla="*/ 130 w 258"/>
                <a:gd name="T21" fmla="*/ 150 h 151"/>
                <a:gd name="T22" fmla="*/ 129 w 258"/>
                <a:gd name="T23" fmla="*/ 151 h 151"/>
                <a:gd name="T24" fmla="*/ 6 w 258"/>
                <a:gd name="T25" fmla="*/ 75 h 151"/>
                <a:gd name="T26" fmla="*/ 129 w 258"/>
                <a:gd name="T27" fmla="*/ 146 h 151"/>
                <a:gd name="T28" fmla="*/ 252 w 258"/>
                <a:gd name="T29" fmla="*/ 75 h 151"/>
                <a:gd name="T30" fmla="*/ 129 w 258"/>
                <a:gd name="T31" fmla="*/ 4 h 151"/>
                <a:gd name="T32" fmla="*/ 6 w 258"/>
                <a:gd name="T33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8" h="151">
                  <a:moveTo>
                    <a:pt x="129" y="151"/>
                  </a:moveTo>
                  <a:cubicBezTo>
                    <a:pt x="129" y="151"/>
                    <a:pt x="128" y="150"/>
                    <a:pt x="128" y="15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6"/>
                    <a:pt x="0" y="76"/>
                    <a:pt x="0" y="75"/>
                  </a:cubicBezTo>
                  <a:cubicBezTo>
                    <a:pt x="0" y="74"/>
                    <a:pt x="0" y="74"/>
                    <a:pt x="1" y="73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9" y="0"/>
                    <a:pt x="130" y="0"/>
                    <a:pt x="130" y="0"/>
                  </a:cubicBezTo>
                  <a:cubicBezTo>
                    <a:pt x="257" y="73"/>
                    <a:pt x="257" y="73"/>
                    <a:pt x="257" y="73"/>
                  </a:cubicBezTo>
                  <a:cubicBezTo>
                    <a:pt x="258" y="74"/>
                    <a:pt x="258" y="74"/>
                    <a:pt x="258" y="75"/>
                  </a:cubicBezTo>
                  <a:cubicBezTo>
                    <a:pt x="258" y="76"/>
                    <a:pt x="258" y="76"/>
                    <a:pt x="257" y="77"/>
                  </a:cubicBezTo>
                  <a:cubicBezTo>
                    <a:pt x="130" y="150"/>
                    <a:pt x="130" y="150"/>
                    <a:pt x="130" y="150"/>
                  </a:cubicBezTo>
                  <a:cubicBezTo>
                    <a:pt x="130" y="150"/>
                    <a:pt x="129" y="151"/>
                    <a:pt x="129" y="151"/>
                  </a:cubicBezTo>
                  <a:close/>
                  <a:moveTo>
                    <a:pt x="6" y="75"/>
                  </a:moveTo>
                  <a:cubicBezTo>
                    <a:pt x="129" y="146"/>
                    <a:pt x="129" y="146"/>
                    <a:pt x="129" y="146"/>
                  </a:cubicBezTo>
                  <a:cubicBezTo>
                    <a:pt x="252" y="75"/>
                    <a:pt x="252" y="75"/>
                    <a:pt x="252" y="75"/>
                  </a:cubicBezTo>
                  <a:cubicBezTo>
                    <a:pt x="129" y="4"/>
                    <a:pt x="129" y="4"/>
                    <a:pt x="129" y="4"/>
                  </a:cubicBezTo>
                  <a:lnTo>
                    <a:pt x="6" y="75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569">
              <a:extLst>
                <a:ext uri="{FF2B5EF4-FFF2-40B4-BE49-F238E27FC236}">
                  <a16:creationId xmlns:a16="http://schemas.microsoft.com/office/drawing/2014/main" id="{7730FA74-6983-49BE-AED1-9948EB5ED1B8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678833" y="4371649"/>
              <a:ext cx="649501" cy="377664"/>
            </a:xfrm>
            <a:custGeom>
              <a:avLst/>
              <a:gdLst>
                <a:gd name="T0" fmla="*/ 133 w 265"/>
                <a:gd name="T1" fmla="*/ 154 h 154"/>
                <a:gd name="T2" fmla="*/ 132 w 265"/>
                <a:gd name="T3" fmla="*/ 154 h 154"/>
                <a:gd name="T4" fmla="*/ 1 w 265"/>
                <a:gd name="T5" fmla="*/ 79 h 154"/>
                <a:gd name="T6" fmla="*/ 0 w 265"/>
                <a:gd name="T7" fmla="*/ 77 h 154"/>
                <a:gd name="T8" fmla="*/ 1 w 265"/>
                <a:gd name="T9" fmla="*/ 75 h 154"/>
                <a:gd name="T10" fmla="*/ 132 w 265"/>
                <a:gd name="T11" fmla="*/ 0 h 154"/>
                <a:gd name="T12" fmla="*/ 134 w 265"/>
                <a:gd name="T13" fmla="*/ 0 h 154"/>
                <a:gd name="T14" fmla="*/ 264 w 265"/>
                <a:gd name="T15" fmla="*/ 75 h 154"/>
                <a:gd name="T16" fmla="*/ 265 w 265"/>
                <a:gd name="T17" fmla="*/ 77 h 154"/>
                <a:gd name="T18" fmla="*/ 264 w 265"/>
                <a:gd name="T19" fmla="*/ 79 h 154"/>
                <a:gd name="T20" fmla="*/ 134 w 265"/>
                <a:gd name="T21" fmla="*/ 154 h 154"/>
                <a:gd name="T22" fmla="*/ 133 w 265"/>
                <a:gd name="T23" fmla="*/ 154 h 154"/>
                <a:gd name="T24" fmla="*/ 6 w 265"/>
                <a:gd name="T25" fmla="*/ 77 h 154"/>
                <a:gd name="T26" fmla="*/ 133 w 265"/>
                <a:gd name="T27" fmla="*/ 150 h 154"/>
                <a:gd name="T28" fmla="*/ 259 w 265"/>
                <a:gd name="T29" fmla="*/ 77 h 154"/>
                <a:gd name="T30" fmla="*/ 133 w 265"/>
                <a:gd name="T31" fmla="*/ 4 h 154"/>
                <a:gd name="T32" fmla="*/ 6 w 265"/>
                <a:gd name="T33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5" h="154">
                  <a:moveTo>
                    <a:pt x="133" y="154"/>
                  </a:moveTo>
                  <a:cubicBezTo>
                    <a:pt x="132" y="154"/>
                    <a:pt x="132" y="154"/>
                    <a:pt x="132" y="154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8"/>
                    <a:pt x="0" y="77"/>
                  </a:cubicBezTo>
                  <a:cubicBezTo>
                    <a:pt x="0" y="76"/>
                    <a:pt x="1" y="76"/>
                    <a:pt x="1" y="75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264" y="75"/>
                    <a:pt x="264" y="75"/>
                    <a:pt x="264" y="75"/>
                  </a:cubicBezTo>
                  <a:cubicBezTo>
                    <a:pt x="265" y="76"/>
                    <a:pt x="265" y="76"/>
                    <a:pt x="265" y="77"/>
                  </a:cubicBezTo>
                  <a:cubicBezTo>
                    <a:pt x="265" y="78"/>
                    <a:pt x="265" y="78"/>
                    <a:pt x="264" y="79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33" y="154"/>
                    <a:pt x="133" y="154"/>
                    <a:pt x="133" y="154"/>
                  </a:cubicBezTo>
                  <a:close/>
                  <a:moveTo>
                    <a:pt x="6" y="77"/>
                  </a:moveTo>
                  <a:cubicBezTo>
                    <a:pt x="133" y="150"/>
                    <a:pt x="133" y="150"/>
                    <a:pt x="133" y="150"/>
                  </a:cubicBezTo>
                  <a:cubicBezTo>
                    <a:pt x="259" y="77"/>
                    <a:pt x="259" y="77"/>
                    <a:pt x="259" y="77"/>
                  </a:cubicBezTo>
                  <a:cubicBezTo>
                    <a:pt x="133" y="4"/>
                    <a:pt x="133" y="4"/>
                    <a:pt x="133" y="4"/>
                  </a:cubicBezTo>
                  <a:lnTo>
                    <a:pt x="6" y="77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570">
              <a:extLst>
                <a:ext uri="{FF2B5EF4-FFF2-40B4-BE49-F238E27FC236}">
                  <a16:creationId xmlns:a16="http://schemas.microsoft.com/office/drawing/2014/main" id="{F2DCFCDB-484F-4B26-A78C-B2BEB985F548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687133" y="4376837"/>
              <a:ext cx="633938" cy="370402"/>
            </a:xfrm>
            <a:custGeom>
              <a:avLst/>
              <a:gdLst>
                <a:gd name="T0" fmla="*/ 130 w 259"/>
                <a:gd name="T1" fmla="*/ 151 h 151"/>
                <a:gd name="T2" fmla="*/ 129 w 259"/>
                <a:gd name="T3" fmla="*/ 150 h 151"/>
                <a:gd name="T4" fmla="*/ 1 w 259"/>
                <a:gd name="T5" fmla="*/ 77 h 151"/>
                <a:gd name="T6" fmla="*/ 0 w 259"/>
                <a:gd name="T7" fmla="*/ 75 h 151"/>
                <a:gd name="T8" fmla="*/ 1 w 259"/>
                <a:gd name="T9" fmla="*/ 73 h 151"/>
                <a:gd name="T10" fmla="*/ 129 w 259"/>
                <a:gd name="T11" fmla="*/ 0 h 151"/>
                <a:gd name="T12" fmla="*/ 131 w 259"/>
                <a:gd name="T13" fmla="*/ 0 h 151"/>
                <a:gd name="T14" fmla="*/ 258 w 259"/>
                <a:gd name="T15" fmla="*/ 73 h 151"/>
                <a:gd name="T16" fmla="*/ 259 w 259"/>
                <a:gd name="T17" fmla="*/ 75 h 151"/>
                <a:gd name="T18" fmla="*/ 258 w 259"/>
                <a:gd name="T19" fmla="*/ 77 h 151"/>
                <a:gd name="T20" fmla="*/ 131 w 259"/>
                <a:gd name="T21" fmla="*/ 150 h 151"/>
                <a:gd name="T22" fmla="*/ 130 w 259"/>
                <a:gd name="T23" fmla="*/ 151 h 151"/>
                <a:gd name="T24" fmla="*/ 6 w 259"/>
                <a:gd name="T25" fmla="*/ 75 h 151"/>
                <a:gd name="T26" fmla="*/ 130 w 259"/>
                <a:gd name="T27" fmla="*/ 146 h 151"/>
                <a:gd name="T28" fmla="*/ 253 w 259"/>
                <a:gd name="T29" fmla="*/ 75 h 151"/>
                <a:gd name="T30" fmla="*/ 130 w 259"/>
                <a:gd name="T31" fmla="*/ 4 h 151"/>
                <a:gd name="T32" fmla="*/ 6 w 259"/>
                <a:gd name="T33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51">
                  <a:moveTo>
                    <a:pt x="130" y="151"/>
                  </a:moveTo>
                  <a:cubicBezTo>
                    <a:pt x="129" y="151"/>
                    <a:pt x="129" y="150"/>
                    <a:pt x="129" y="15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1" y="76"/>
                    <a:pt x="0" y="76"/>
                    <a:pt x="0" y="75"/>
                  </a:cubicBezTo>
                  <a:cubicBezTo>
                    <a:pt x="0" y="74"/>
                    <a:pt x="1" y="74"/>
                    <a:pt x="1" y="73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0"/>
                    <a:pt x="130" y="0"/>
                    <a:pt x="131" y="0"/>
                  </a:cubicBezTo>
                  <a:cubicBezTo>
                    <a:pt x="258" y="73"/>
                    <a:pt x="258" y="73"/>
                    <a:pt x="258" y="73"/>
                  </a:cubicBezTo>
                  <a:cubicBezTo>
                    <a:pt x="258" y="74"/>
                    <a:pt x="259" y="74"/>
                    <a:pt x="259" y="75"/>
                  </a:cubicBezTo>
                  <a:cubicBezTo>
                    <a:pt x="259" y="76"/>
                    <a:pt x="258" y="76"/>
                    <a:pt x="258" y="77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30" y="150"/>
                    <a:pt x="130" y="151"/>
                    <a:pt x="130" y="151"/>
                  </a:cubicBezTo>
                  <a:close/>
                  <a:moveTo>
                    <a:pt x="6" y="75"/>
                  </a:moveTo>
                  <a:cubicBezTo>
                    <a:pt x="130" y="146"/>
                    <a:pt x="130" y="146"/>
                    <a:pt x="130" y="146"/>
                  </a:cubicBezTo>
                  <a:cubicBezTo>
                    <a:pt x="253" y="75"/>
                    <a:pt x="253" y="75"/>
                    <a:pt x="253" y="75"/>
                  </a:cubicBezTo>
                  <a:cubicBezTo>
                    <a:pt x="130" y="4"/>
                    <a:pt x="130" y="4"/>
                    <a:pt x="130" y="4"/>
                  </a:cubicBezTo>
                  <a:lnTo>
                    <a:pt x="6" y="75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741">
              <a:extLst>
                <a:ext uri="{FF2B5EF4-FFF2-40B4-BE49-F238E27FC236}">
                  <a16:creationId xmlns:a16="http://schemas.microsoft.com/office/drawing/2014/main" id="{D6C41895-6AD0-4BE5-A887-2334D70D0CF9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213824" y="4624809"/>
              <a:ext cx="327863" cy="561309"/>
            </a:xfrm>
            <a:custGeom>
              <a:avLst/>
              <a:gdLst>
                <a:gd name="T0" fmla="*/ 2 w 134"/>
                <a:gd name="T1" fmla="*/ 229 h 229"/>
                <a:gd name="T2" fmla="*/ 1 w 134"/>
                <a:gd name="T3" fmla="*/ 228 h 229"/>
                <a:gd name="T4" fmla="*/ 0 w 134"/>
                <a:gd name="T5" fmla="*/ 227 h 229"/>
                <a:gd name="T6" fmla="*/ 0 w 134"/>
                <a:gd name="T7" fmla="*/ 165 h 229"/>
                <a:gd name="T8" fmla="*/ 1 w 134"/>
                <a:gd name="T9" fmla="*/ 163 h 229"/>
                <a:gd name="T10" fmla="*/ 31 w 134"/>
                <a:gd name="T11" fmla="*/ 146 h 229"/>
                <a:gd name="T12" fmla="*/ 1 w 134"/>
                <a:gd name="T13" fmla="*/ 128 h 229"/>
                <a:gd name="T14" fmla="*/ 0 w 134"/>
                <a:gd name="T15" fmla="*/ 126 h 229"/>
                <a:gd name="T16" fmla="*/ 0 w 134"/>
                <a:gd name="T17" fmla="*/ 77 h 229"/>
                <a:gd name="T18" fmla="*/ 1 w 134"/>
                <a:gd name="T19" fmla="*/ 75 h 229"/>
                <a:gd name="T20" fmla="*/ 131 w 134"/>
                <a:gd name="T21" fmla="*/ 0 h 229"/>
                <a:gd name="T22" fmla="*/ 133 w 134"/>
                <a:gd name="T23" fmla="*/ 0 h 229"/>
                <a:gd name="T24" fmla="*/ 134 w 134"/>
                <a:gd name="T25" fmla="*/ 2 h 229"/>
                <a:gd name="T26" fmla="*/ 134 w 134"/>
                <a:gd name="T27" fmla="*/ 148 h 229"/>
                <a:gd name="T28" fmla="*/ 133 w 134"/>
                <a:gd name="T29" fmla="*/ 150 h 229"/>
                <a:gd name="T30" fmla="*/ 17 w 134"/>
                <a:gd name="T31" fmla="*/ 217 h 229"/>
                <a:gd name="T32" fmla="*/ 17 w 134"/>
                <a:gd name="T33" fmla="*/ 217 h 229"/>
                <a:gd name="T34" fmla="*/ 18 w 134"/>
                <a:gd name="T35" fmla="*/ 219 h 229"/>
                <a:gd name="T36" fmla="*/ 17 w 134"/>
                <a:gd name="T37" fmla="*/ 220 h 229"/>
                <a:gd name="T38" fmla="*/ 3 w 134"/>
                <a:gd name="T39" fmla="*/ 228 h 229"/>
                <a:gd name="T40" fmla="*/ 2 w 134"/>
                <a:gd name="T41" fmla="*/ 229 h 229"/>
                <a:gd name="T42" fmla="*/ 4 w 134"/>
                <a:gd name="T43" fmla="*/ 166 h 229"/>
                <a:gd name="T44" fmla="*/ 4 w 134"/>
                <a:gd name="T45" fmla="*/ 223 h 229"/>
                <a:gd name="T46" fmla="*/ 12 w 134"/>
                <a:gd name="T47" fmla="*/ 219 h 229"/>
                <a:gd name="T48" fmla="*/ 12 w 134"/>
                <a:gd name="T49" fmla="*/ 218 h 229"/>
                <a:gd name="T50" fmla="*/ 11 w 134"/>
                <a:gd name="T51" fmla="*/ 217 h 229"/>
                <a:gd name="T52" fmla="*/ 12 w 134"/>
                <a:gd name="T53" fmla="*/ 215 h 229"/>
                <a:gd name="T54" fmla="*/ 130 w 134"/>
                <a:gd name="T55" fmla="*/ 147 h 229"/>
                <a:gd name="T56" fmla="*/ 130 w 134"/>
                <a:gd name="T57" fmla="*/ 5 h 229"/>
                <a:gd name="T58" fmla="*/ 4 w 134"/>
                <a:gd name="T59" fmla="*/ 78 h 229"/>
                <a:gd name="T60" fmla="*/ 4 w 134"/>
                <a:gd name="T61" fmla="*/ 125 h 229"/>
                <a:gd name="T62" fmla="*/ 36 w 134"/>
                <a:gd name="T63" fmla="*/ 144 h 229"/>
                <a:gd name="T64" fmla="*/ 37 w 134"/>
                <a:gd name="T65" fmla="*/ 146 h 229"/>
                <a:gd name="T66" fmla="*/ 36 w 134"/>
                <a:gd name="T67" fmla="*/ 147 h 229"/>
                <a:gd name="T68" fmla="*/ 4 w 134"/>
                <a:gd name="T69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229">
                  <a:moveTo>
                    <a:pt x="2" y="229"/>
                  </a:moveTo>
                  <a:cubicBezTo>
                    <a:pt x="2" y="229"/>
                    <a:pt x="2" y="229"/>
                    <a:pt x="1" y="228"/>
                  </a:cubicBezTo>
                  <a:cubicBezTo>
                    <a:pt x="1" y="228"/>
                    <a:pt x="0" y="227"/>
                    <a:pt x="0" y="227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4"/>
                    <a:pt x="1" y="163"/>
                    <a:pt x="1" y="163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1" y="128"/>
                    <a:pt x="1" y="128"/>
                    <a:pt x="1" y="128"/>
                  </a:cubicBezTo>
                  <a:cubicBezTo>
                    <a:pt x="1" y="128"/>
                    <a:pt x="0" y="127"/>
                    <a:pt x="0" y="12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6"/>
                    <a:pt x="1" y="75"/>
                    <a:pt x="1" y="75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2" y="0"/>
                    <a:pt x="132" y="0"/>
                    <a:pt x="133" y="0"/>
                  </a:cubicBezTo>
                  <a:cubicBezTo>
                    <a:pt x="134" y="1"/>
                    <a:pt x="134" y="1"/>
                    <a:pt x="134" y="2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9"/>
                    <a:pt x="134" y="149"/>
                    <a:pt x="133" y="150"/>
                  </a:cubicBezTo>
                  <a:cubicBezTo>
                    <a:pt x="17" y="217"/>
                    <a:pt x="17" y="217"/>
                    <a:pt x="17" y="217"/>
                  </a:cubicBezTo>
                  <a:cubicBezTo>
                    <a:pt x="17" y="217"/>
                    <a:pt x="17" y="217"/>
                    <a:pt x="17" y="217"/>
                  </a:cubicBezTo>
                  <a:cubicBezTo>
                    <a:pt x="18" y="217"/>
                    <a:pt x="18" y="218"/>
                    <a:pt x="18" y="219"/>
                  </a:cubicBezTo>
                  <a:cubicBezTo>
                    <a:pt x="18" y="219"/>
                    <a:pt x="18" y="220"/>
                    <a:pt x="17" y="220"/>
                  </a:cubicBezTo>
                  <a:cubicBezTo>
                    <a:pt x="3" y="228"/>
                    <a:pt x="3" y="228"/>
                    <a:pt x="3" y="228"/>
                  </a:cubicBezTo>
                  <a:cubicBezTo>
                    <a:pt x="3" y="229"/>
                    <a:pt x="3" y="229"/>
                    <a:pt x="2" y="229"/>
                  </a:cubicBezTo>
                  <a:close/>
                  <a:moveTo>
                    <a:pt x="4" y="166"/>
                  </a:moveTo>
                  <a:cubicBezTo>
                    <a:pt x="4" y="223"/>
                    <a:pt x="4" y="223"/>
                    <a:pt x="4" y="223"/>
                  </a:cubicBezTo>
                  <a:cubicBezTo>
                    <a:pt x="12" y="219"/>
                    <a:pt x="12" y="219"/>
                    <a:pt x="12" y="219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18"/>
                    <a:pt x="11" y="217"/>
                    <a:pt x="11" y="217"/>
                  </a:cubicBezTo>
                  <a:cubicBezTo>
                    <a:pt x="11" y="216"/>
                    <a:pt x="11" y="215"/>
                    <a:pt x="12" y="215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36" y="144"/>
                    <a:pt x="36" y="144"/>
                    <a:pt x="36" y="144"/>
                  </a:cubicBezTo>
                  <a:cubicBezTo>
                    <a:pt x="37" y="144"/>
                    <a:pt x="37" y="145"/>
                    <a:pt x="37" y="146"/>
                  </a:cubicBezTo>
                  <a:cubicBezTo>
                    <a:pt x="37" y="146"/>
                    <a:pt x="37" y="147"/>
                    <a:pt x="36" y="147"/>
                  </a:cubicBezTo>
                  <a:lnTo>
                    <a:pt x="4" y="166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742">
              <a:extLst>
                <a:ext uri="{FF2B5EF4-FFF2-40B4-BE49-F238E27FC236}">
                  <a16:creationId xmlns:a16="http://schemas.microsoft.com/office/drawing/2014/main" id="{BBE69DBE-E732-41CF-B26D-E2BD239A46A2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406997" y="4832316"/>
              <a:ext cx="68478" cy="78853"/>
            </a:xfrm>
            <a:custGeom>
              <a:avLst/>
              <a:gdLst>
                <a:gd name="T0" fmla="*/ 2 w 28"/>
                <a:gd name="T1" fmla="*/ 32 h 32"/>
                <a:gd name="T2" fmla="*/ 1 w 28"/>
                <a:gd name="T3" fmla="*/ 32 h 32"/>
                <a:gd name="T4" fmla="*/ 0 w 28"/>
                <a:gd name="T5" fmla="*/ 30 h 32"/>
                <a:gd name="T6" fmla="*/ 0 w 28"/>
                <a:gd name="T7" fmla="*/ 2 h 32"/>
                <a:gd name="T8" fmla="*/ 1 w 28"/>
                <a:gd name="T9" fmla="*/ 0 h 32"/>
                <a:gd name="T10" fmla="*/ 3 w 28"/>
                <a:gd name="T11" fmla="*/ 0 h 32"/>
                <a:gd name="T12" fmla="*/ 27 w 28"/>
                <a:gd name="T13" fmla="*/ 14 h 32"/>
                <a:gd name="T14" fmla="*/ 28 w 28"/>
                <a:gd name="T15" fmla="*/ 16 h 32"/>
                <a:gd name="T16" fmla="*/ 27 w 28"/>
                <a:gd name="T17" fmla="*/ 18 h 32"/>
                <a:gd name="T18" fmla="*/ 3 w 28"/>
                <a:gd name="T19" fmla="*/ 32 h 32"/>
                <a:gd name="T20" fmla="*/ 2 w 28"/>
                <a:gd name="T21" fmla="*/ 32 h 32"/>
                <a:gd name="T22" fmla="*/ 4 w 28"/>
                <a:gd name="T23" fmla="*/ 5 h 32"/>
                <a:gd name="T24" fmla="*/ 4 w 28"/>
                <a:gd name="T25" fmla="*/ 27 h 32"/>
                <a:gd name="T26" fmla="*/ 22 w 28"/>
                <a:gd name="T27" fmla="*/ 16 h 32"/>
                <a:gd name="T28" fmla="*/ 4 w 28"/>
                <a:gd name="T29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2">
                  <a:moveTo>
                    <a:pt x="2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1"/>
                    <a:pt x="0" y="3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5"/>
                    <a:pt x="28" y="15"/>
                    <a:pt x="28" y="16"/>
                  </a:cubicBezTo>
                  <a:cubicBezTo>
                    <a:pt x="28" y="17"/>
                    <a:pt x="28" y="17"/>
                    <a:pt x="27" y="18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2" y="32"/>
                    <a:pt x="2" y="32"/>
                  </a:cubicBezTo>
                  <a:close/>
                  <a:moveTo>
                    <a:pt x="4" y="5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2" y="16"/>
                    <a:pt x="22" y="16"/>
                    <a:pt x="22" y="16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866">
              <a:extLst>
                <a:ext uri="{FF2B5EF4-FFF2-40B4-BE49-F238E27FC236}">
                  <a16:creationId xmlns:a16="http://schemas.microsoft.com/office/drawing/2014/main" id="{165ACE87-3D54-4E7A-8ECD-E12F8F4CBAE6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502451" y="4758651"/>
              <a:ext cx="284286" cy="170156"/>
            </a:xfrm>
            <a:custGeom>
              <a:avLst/>
              <a:gdLst>
                <a:gd name="T0" fmla="*/ 38 w 116"/>
                <a:gd name="T1" fmla="*/ 69 h 69"/>
                <a:gd name="T2" fmla="*/ 37 w 116"/>
                <a:gd name="T3" fmla="*/ 69 h 69"/>
                <a:gd name="T4" fmla="*/ 1 w 116"/>
                <a:gd name="T5" fmla="*/ 48 h 69"/>
                <a:gd name="T6" fmla="*/ 0 w 116"/>
                <a:gd name="T7" fmla="*/ 46 h 69"/>
                <a:gd name="T8" fmla="*/ 1 w 116"/>
                <a:gd name="T9" fmla="*/ 44 h 69"/>
                <a:gd name="T10" fmla="*/ 77 w 116"/>
                <a:gd name="T11" fmla="*/ 1 h 69"/>
                <a:gd name="T12" fmla="*/ 79 w 116"/>
                <a:gd name="T13" fmla="*/ 1 h 69"/>
                <a:gd name="T14" fmla="*/ 115 w 116"/>
                <a:gd name="T15" fmla="*/ 21 h 69"/>
                <a:gd name="T16" fmla="*/ 116 w 116"/>
                <a:gd name="T17" fmla="*/ 23 h 69"/>
                <a:gd name="T18" fmla="*/ 115 w 116"/>
                <a:gd name="T19" fmla="*/ 25 h 69"/>
                <a:gd name="T20" fmla="*/ 39 w 116"/>
                <a:gd name="T21" fmla="*/ 69 h 69"/>
                <a:gd name="T22" fmla="*/ 38 w 116"/>
                <a:gd name="T23" fmla="*/ 69 h 69"/>
                <a:gd name="T24" fmla="*/ 6 w 116"/>
                <a:gd name="T25" fmla="*/ 46 h 69"/>
                <a:gd name="T26" fmla="*/ 38 w 116"/>
                <a:gd name="T27" fmla="*/ 65 h 69"/>
                <a:gd name="T28" fmla="*/ 110 w 116"/>
                <a:gd name="T29" fmla="*/ 23 h 69"/>
                <a:gd name="T30" fmla="*/ 78 w 116"/>
                <a:gd name="T31" fmla="*/ 5 h 69"/>
                <a:gd name="T32" fmla="*/ 6 w 116"/>
                <a:gd name="T33" fmla="*/ 4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69">
                  <a:moveTo>
                    <a:pt x="38" y="69"/>
                  </a:moveTo>
                  <a:cubicBezTo>
                    <a:pt x="38" y="69"/>
                    <a:pt x="37" y="69"/>
                    <a:pt x="37" y="6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47"/>
                    <a:pt x="0" y="47"/>
                    <a:pt x="0" y="46"/>
                  </a:cubicBezTo>
                  <a:cubicBezTo>
                    <a:pt x="0" y="45"/>
                    <a:pt x="0" y="45"/>
                    <a:pt x="1" y="44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7" y="0"/>
                    <a:pt x="78" y="0"/>
                    <a:pt x="79" y="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2"/>
                    <a:pt x="116" y="22"/>
                    <a:pt x="116" y="23"/>
                  </a:cubicBezTo>
                  <a:cubicBezTo>
                    <a:pt x="116" y="24"/>
                    <a:pt x="115" y="25"/>
                    <a:pt x="115" y="2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8" y="69"/>
                    <a:pt x="38" y="69"/>
                  </a:cubicBezTo>
                  <a:close/>
                  <a:moveTo>
                    <a:pt x="6" y="46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78" y="5"/>
                    <a:pt x="78" y="5"/>
                    <a:pt x="78" y="5"/>
                  </a:cubicBezTo>
                  <a:lnTo>
                    <a:pt x="6" y="46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868">
              <a:extLst>
                <a:ext uri="{FF2B5EF4-FFF2-40B4-BE49-F238E27FC236}">
                  <a16:creationId xmlns:a16="http://schemas.microsoft.com/office/drawing/2014/main" id="{A0C1A79B-4C7F-4998-B661-F2405DF4D41E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471324" y="4796002"/>
              <a:ext cx="34239" cy="39427"/>
            </a:xfrm>
            <a:custGeom>
              <a:avLst/>
              <a:gdLst>
                <a:gd name="T0" fmla="*/ 12 w 14"/>
                <a:gd name="T1" fmla="*/ 16 h 16"/>
                <a:gd name="T2" fmla="*/ 11 w 14"/>
                <a:gd name="T3" fmla="*/ 16 h 16"/>
                <a:gd name="T4" fmla="*/ 1 w 14"/>
                <a:gd name="T5" fmla="*/ 10 h 16"/>
                <a:gd name="T6" fmla="*/ 0 w 14"/>
                <a:gd name="T7" fmla="*/ 8 h 16"/>
                <a:gd name="T8" fmla="*/ 1 w 14"/>
                <a:gd name="T9" fmla="*/ 6 h 16"/>
                <a:gd name="T10" fmla="*/ 11 w 14"/>
                <a:gd name="T11" fmla="*/ 1 h 16"/>
                <a:gd name="T12" fmla="*/ 13 w 14"/>
                <a:gd name="T13" fmla="*/ 1 h 16"/>
                <a:gd name="T14" fmla="*/ 14 w 14"/>
                <a:gd name="T15" fmla="*/ 2 h 16"/>
                <a:gd name="T16" fmla="*/ 14 w 14"/>
                <a:gd name="T17" fmla="*/ 14 h 16"/>
                <a:gd name="T18" fmla="*/ 13 w 14"/>
                <a:gd name="T19" fmla="*/ 16 h 16"/>
                <a:gd name="T20" fmla="*/ 12 w 14"/>
                <a:gd name="T21" fmla="*/ 16 h 16"/>
                <a:gd name="T22" fmla="*/ 6 w 14"/>
                <a:gd name="T23" fmla="*/ 8 h 16"/>
                <a:gd name="T24" fmla="*/ 10 w 14"/>
                <a:gd name="T25" fmla="*/ 10 h 16"/>
                <a:gd name="T26" fmla="*/ 10 w 14"/>
                <a:gd name="T27" fmla="*/ 6 h 16"/>
                <a:gd name="T28" fmla="*/ 6 w 14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6">
                  <a:moveTo>
                    <a:pt x="12" y="16"/>
                  </a:moveTo>
                  <a:cubicBezTo>
                    <a:pt x="12" y="16"/>
                    <a:pt x="11" y="16"/>
                    <a:pt x="11" y="16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7"/>
                    <a:pt x="0" y="7"/>
                    <a:pt x="1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2" y="0"/>
                    <a:pt x="13" y="1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5"/>
                    <a:pt x="13" y="16"/>
                  </a:cubicBezTo>
                  <a:cubicBezTo>
                    <a:pt x="13" y="16"/>
                    <a:pt x="12" y="16"/>
                    <a:pt x="12" y="16"/>
                  </a:cubicBezTo>
                  <a:close/>
                  <a:moveTo>
                    <a:pt x="6" y="8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869">
              <a:extLst>
                <a:ext uri="{FF2B5EF4-FFF2-40B4-BE49-F238E27FC236}">
                  <a16:creationId xmlns:a16="http://schemas.microsoft.com/office/drawing/2014/main" id="{200EBED4-1F98-4163-958C-2ECFAAF35AC2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471324" y="4812603"/>
              <a:ext cx="223071" cy="172232"/>
            </a:xfrm>
            <a:custGeom>
              <a:avLst/>
              <a:gdLst>
                <a:gd name="T0" fmla="*/ 40 w 91"/>
                <a:gd name="T1" fmla="*/ 70 h 70"/>
                <a:gd name="T2" fmla="*/ 39 w 91"/>
                <a:gd name="T3" fmla="*/ 69 h 70"/>
                <a:gd name="T4" fmla="*/ 1 w 91"/>
                <a:gd name="T5" fmla="*/ 48 h 70"/>
                <a:gd name="T6" fmla="*/ 0 w 91"/>
                <a:gd name="T7" fmla="*/ 46 h 70"/>
                <a:gd name="T8" fmla="*/ 1 w 91"/>
                <a:gd name="T9" fmla="*/ 44 h 70"/>
                <a:gd name="T10" fmla="*/ 76 w 91"/>
                <a:gd name="T11" fmla="*/ 0 h 70"/>
                <a:gd name="T12" fmla="*/ 78 w 91"/>
                <a:gd name="T13" fmla="*/ 0 h 70"/>
                <a:gd name="T14" fmla="*/ 90 w 91"/>
                <a:gd name="T15" fmla="*/ 7 h 70"/>
                <a:gd name="T16" fmla="*/ 91 w 91"/>
                <a:gd name="T17" fmla="*/ 9 h 70"/>
                <a:gd name="T18" fmla="*/ 91 w 91"/>
                <a:gd name="T19" fmla="*/ 39 h 70"/>
                <a:gd name="T20" fmla="*/ 90 w 91"/>
                <a:gd name="T21" fmla="*/ 41 h 70"/>
                <a:gd name="T22" fmla="*/ 41 w 91"/>
                <a:gd name="T23" fmla="*/ 69 h 70"/>
                <a:gd name="T24" fmla="*/ 40 w 91"/>
                <a:gd name="T25" fmla="*/ 70 h 70"/>
                <a:gd name="T26" fmla="*/ 6 w 91"/>
                <a:gd name="T27" fmla="*/ 46 h 70"/>
                <a:gd name="T28" fmla="*/ 40 w 91"/>
                <a:gd name="T29" fmla="*/ 65 h 70"/>
                <a:gd name="T30" fmla="*/ 87 w 91"/>
                <a:gd name="T31" fmla="*/ 38 h 70"/>
                <a:gd name="T32" fmla="*/ 87 w 91"/>
                <a:gd name="T33" fmla="*/ 10 h 70"/>
                <a:gd name="T34" fmla="*/ 77 w 91"/>
                <a:gd name="T35" fmla="*/ 4 h 70"/>
                <a:gd name="T36" fmla="*/ 6 w 91"/>
                <a:gd name="T37" fmla="*/ 46 h 70"/>
                <a:gd name="T38" fmla="*/ 89 w 91"/>
                <a:gd name="T39" fmla="*/ 39 h 70"/>
                <a:gd name="T40" fmla="*/ 89 w 91"/>
                <a:gd name="T4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70">
                  <a:moveTo>
                    <a:pt x="40" y="70"/>
                  </a:moveTo>
                  <a:cubicBezTo>
                    <a:pt x="39" y="70"/>
                    <a:pt x="39" y="70"/>
                    <a:pt x="39" y="6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47"/>
                    <a:pt x="0" y="47"/>
                    <a:pt x="0" y="46"/>
                  </a:cubicBezTo>
                  <a:cubicBezTo>
                    <a:pt x="0" y="45"/>
                    <a:pt x="0" y="44"/>
                    <a:pt x="1" y="44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8" y="0"/>
                    <a:pt x="78" y="0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1" y="7"/>
                    <a:pt x="91" y="8"/>
                    <a:pt x="91" y="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40"/>
                    <a:pt x="91" y="41"/>
                    <a:pt x="90" y="41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0" y="70"/>
                    <a:pt x="40" y="70"/>
                    <a:pt x="40" y="70"/>
                  </a:cubicBezTo>
                  <a:close/>
                  <a:moveTo>
                    <a:pt x="6" y="46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87" y="38"/>
                    <a:pt x="87" y="38"/>
                    <a:pt x="87" y="38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77" y="4"/>
                    <a:pt x="77" y="4"/>
                    <a:pt x="77" y="4"/>
                  </a:cubicBezTo>
                  <a:lnTo>
                    <a:pt x="6" y="46"/>
                  </a:lnTo>
                  <a:close/>
                  <a:moveTo>
                    <a:pt x="89" y="39"/>
                  </a:moveTo>
                  <a:cubicBezTo>
                    <a:pt x="89" y="39"/>
                    <a:pt x="89" y="39"/>
                    <a:pt x="89" y="39"/>
                  </a:cubicBez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879">
              <a:extLst>
                <a:ext uri="{FF2B5EF4-FFF2-40B4-BE49-F238E27FC236}">
                  <a16:creationId xmlns:a16="http://schemas.microsoft.com/office/drawing/2014/main" id="{F6894F6D-0CAC-45C9-9E72-CBBBA3BD50E6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875776" y="4796002"/>
              <a:ext cx="34239" cy="291549"/>
            </a:xfrm>
            <a:custGeom>
              <a:avLst/>
              <a:gdLst>
                <a:gd name="T0" fmla="*/ 12 w 14"/>
                <a:gd name="T1" fmla="*/ 119 h 119"/>
                <a:gd name="T2" fmla="*/ 11 w 14"/>
                <a:gd name="T3" fmla="*/ 119 h 119"/>
                <a:gd name="T4" fmla="*/ 1 w 14"/>
                <a:gd name="T5" fmla="*/ 114 h 119"/>
                <a:gd name="T6" fmla="*/ 0 w 14"/>
                <a:gd name="T7" fmla="*/ 112 h 119"/>
                <a:gd name="T8" fmla="*/ 0 w 14"/>
                <a:gd name="T9" fmla="*/ 8 h 119"/>
                <a:gd name="T10" fmla="*/ 1 w 14"/>
                <a:gd name="T11" fmla="*/ 6 h 119"/>
                <a:gd name="T12" fmla="*/ 11 w 14"/>
                <a:gd name="T13" fmla="*/ 1 h 119"/>
                <a:gd name="T14" fmla="*/ 13 w 14"/>
                <a:gd name="T15" fmla="*/ 1 h 119"/>
                <a:gd name="T16" fmla="*/ 14 w 14"/>
                <a:gd name="T17" fmla="*/ 2 h 119"/>
                <a:gd name="T18" fmla="*/ 14 w 14"/>
                <a:gd name="T19" fmla="*/ 117 h 119"/>
                <a:gd name="T20" fmla="*/ 13 w 14"/>
                <a:gd name="T21" fmla="*/ 119 h 119"/>
                <a:gd name="T22" fmla="*/ 12 w 14"/>
                <a:gd name="T23" fmla="*/ 119 h 119"/>
                <a:gd name="T24" fmla="*/ 4 w 14"/>
                <a:gd name="T25" fmla="*/ 111 h 119"/>
                <a:gd name="T26" fmla="*/ 10 w 14"/>
                <a:gd name="T27" fmla="*/ 114 h 119"/>
                <a:gd name="T28" fmla="*/ 10 w 14"/>
                <a:gd name="T29" fmla="*/ 6 h 119"/>
                <a:gd name="T30" fmla="*/ 4 w 14"/>
                <a:gd name="T31" fmla="*/ 9 h 119"/>
                <a:gd name="T32" fmla="*/ 4 w 14"/>
                <a:gd name="T33" fmla="*/ 11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19">
                  <a:moveTo>
                    <a:pt x="12" y="119"/>
                  </a:moveTo>
                  <a:cubicBezTo>
                    <a:pt x="11" y="119"/>
                    <a:pt x="11" y="119"/>
                    <a:pt x="11" y="119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3"/>
                    <a:pt x="0" y="113"/>
                    <a:pt x="0" y="1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3" y="1"/>
                    <a:pt x="14" y="2"/>
                    <a:pt x="14" y="2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8"/>
                    <a:pt x="13" y="119"/>
                    <a:pt x="13" y="119"/>
                  </a:cubicBezTo>
                  <a:cubicBezTo>
                    <a:pt x="12" y="119"/>
                    <a:pt x="12" y="119"/>
                    <a:pt x="12" y="119"/>
                  </a:cubicBezTo>
                  <a:close/>
                  <a:moveTo>
                    <a:pt x="4" y="111"/>
                  </a:moveTo>
                  <a:cubicBezTo>
                    <a:pt x="10" y="114"/>
                    <a:pt x="10" y="114"/>
                    <a:pt x="10" y="114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4" y="111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880">
              <a:extLst>
                <a:ext uri="{FF2B5EF4-FFF2-40B4-BE49-F238E27FC236}">
                  <a16:creationId xmlns:a16="http://schemas.microsoft.com/office/drawing/2014/main" id="{113B96CB-565F-4378-B5A0-21B3A7B24EAC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591489" y="4758651"/>
              <a:ext cx="318525" cy="400490"/>
            </a:xfrm>
            <a:custGeom>
              <a:avLst/>
              <a:gdLst>
                <a:gd name="T0" fmla="*/ 61 w 130"/>
                <a:gd name="T1" fmla="*/ 163 h 163"/>
                <a:gd name="T2" fmla="*/ 60 w 130"/>
                <a:gd name="T3" fmla="*/ 162 h 163"/>
                <a:gd name="T4" fmla="*/ 12 w 130"/>
                <a:gd name="T5" fmla="*/ 135 h 163"/>
                <a:gd name="T6" fmla="*/ 11 w 130"/>
                <a:gd name="T7" fmla="*/ 133 h 163"/>
                <a:gd name="T8" fmla="*/ 11 w 130"/>
                <a:gd name="T9" fmla="*/ 18 h 163"/>
                <a:gd name="T10" fmla="*/ 3 w 130"/>
                <a:gd name="T11" fmla="*/ 23 h 163"/>
                <a:gd name="T12" fmla="*/ 1 w 130"/>
                <a:gd name="T13" fmla="*/ 23 h 163"/>
                <a:gd name="T14" fmla="*/ 0 w 130"/>
                <a:gd name="T15" fmla="*/ 21 h 163"/>
                <a:gd name="T16" fmla="*/ 0 w 130"/>
                <a:gd name="T17" fmla="*/ 18 h 163"/>
                <a:gd name="T18" fmla="*/ 1 w 130"/>
                <a:gd name="T19" fmla="*/ 16 h 163"/>
                <a:gd name="T20" fmla="*/ 28 w 130"/>
                <a:gd name="T21" fmla="*/ 1 h 163"/>
                <a:gd name="T22" fmla="*/ 30 w 130"/>
                <a:gd name="T23" fmla="*/ 1 h 163"/>
                <a:gd name="T24" fmla="*/ 129 w 130"/>
                <a:gd name="T25" fmla="*/ 58 h 163"/>
                <a:gd name="T26" fmla="*/ 130 w 130"/>
                <a:gd name="T27" fmla="*/ 59 h 163"/>
                <a:gd name="T28" fmla="*/ 130 w 130"/>
                <a:gd name="T29" fmla="*/ 122 h 163"/>
                <a:gd name="T30" fmla="*/ 129 w 130"/>
                <a:gd name="T31" fmla="*/ 124 h 163"/>
                <a:gd name="T32" fmla="*/ 62 w 130"/>
                <a:gd name="T33" fmla="*/ 162 h 163"/>
                <a:gd name="T34" fmla="*/ 61 w 130"/>
                <a:gd name="T35" fmla="*/ 163 h 163"/>
                <a:gd name="T36" fmla="*/ 15 w 130"/>
                <a:gd name="T37" fmla="*/ 132 h 163"/>
                <a:gd name="T38" fmla="*/ 61 w 130"/>
                <a:gd name="T39" fmla="*/ 158 h 163"/>
                <a:gd name="T40" fmla="*/ 126 w 130"/>
                <a:gd name="T41" fmla="*/ 121 h 163"/>
                <a:gd name="T42" fmla="*/ 126 w 130"/>
                <a:gd name="T43" fmla="*/ 60 h 163"/>
                <a:gd name="T44" fmla="*/ 29 w 130"/>
                <a:gd name="T45" fmla="*/ 5 h 163"/>
                <a:gd name="T46" fmla="*/ 14 w 130"/>
                <a:gd name="T47" fmla="*/ 13 h 163"/>
                <a:gd name="T48" fmla="*/ 15 w 130"/>
                <a:gd name="T49" fmla="*/ 15 h 163"/>
                <a:gd name="T50" fmla="*/ 15 w 130"/>
                <a:gd name="T51" fmla="*/ 13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0" h="163">
                  <a:moveTo>
                    <a:pt x="61" y="163"/>
                  </a:moveTo>
                  <a:cubicBezTo>
                    <a:pt x="60" y="163"/>
                    <a:pt x="60" y="163"/>
                    <a:pt x="60" y="162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5"/>
                    <a:pt x="11" y="134"/>
                    <a:pt x="11" y="133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2" y="23"/>
                    <a:pt x="1" y="23"/>
                  </a:cubicBezTo>
                  <a:cubicBezTo>
                    <a:pt x="1" y="22"/>
                    <a:pt x="0" y="21"/>
                    <a:pt x="0" y="2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1" y="16"/>
                    <a:pt x="1" y="16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0"/>
                    <a:pt x="29" y="0"/>
                    <a:pt x="30" y="1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29" y="58"/>
                    <a:pt x="130" y="59"/>
                    <a:pt x="130" y="59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23"/>
                    <a:pt x="129" y="123"/>
                    <a:pt x="129" y="124"/>
                  </a:cubicBezTo>
                  <a:cubicBezTo>
                    <a:pt x="62" y="162"/>
                    <a:pt x="62" y="162"/>
                    <a:pt x="62" y="162"/>
                  </a:cubicBezTo>
                  <a:cubicBezTo>
                    <a:pt x="62" y="163"/>
                    <a:pt x="61" y="163"/>
                    <a:pt x="61" y="163"/>
                  </a:cubicBezTo>
                  <a:close/>
                  <a:moveTo>
                    <a:pt x="15" y="132"/>
                  </a:moveTo>
                  <a:cubicBezTo>
                    <a:pt x="61" y="158"/>
                    <a:pt x="61" y="158"/>
                    <a:pt x="61" y="158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60"/>
                    <a:pt x="126" y="60"/>
                    <a:pt x="126" y="60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5" y="14"/>
                    <a:pt x="15" y="15"/>
                  </a:cubicBezTo>
                  <a:lnTo>
                    <a:pt x="15" y="132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881">
              <a:extLst>
                <a:ext uri="{FF2B5EF4-FFF2-40B4-BE49-F238E27FC236}">
                  <a16:creationId xmlns:a16="http://schemas.microsoft.com/office/drawing/2014/main" id="{5DE695BA-8642-44C6-A6CE-1AC9BB4A7234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902752" y="4801190"/>
              <a:ext cx="315413" cy="205433"/>
            </a:xfrm>
            <a:custGeom>
              <a:avLst/>
              <a:gdLst>
                <a:gd name="T0" fmla="*/ 16 w 129"/>
                <a:gd name="T1" fmla="*/ 84 h 84"/>
                <a:gd name="T2" fmla="*/ 15 w 129"/>
                <a:gd name="T3" fmla="*/ 84 h 84"/>
                <a:gd name="T4" fmla="*/ 1 w 129"/>
                <a:gd name="T5" fmla="*/ 75 h 84"/>
                <a:gd name="T6" fmla="*/ 0 w 129"/>
                <a:gd name="T7" fmla="*/ 74 h 84"/>
                <a:gd name="T8" fmla="*/ 1 w 129"/>
                <a:gd name="T9" fmla="*/ 72 h 84"/>
                <a:gd name="T10" fmla="*/ 126 w 129"/>
                <a:gd name="T11" fmla="*/ 0 h 84"/>
                <a:gd name="T12" fmla="*/ 128 w 129"/>
                <a:gd name="T13" fmla="*/ 0 h 84"/>
                <a:gd name="T14" fmla="*/ 129 w 129"/>
                <a:gd name="T15" fmla="*/ 2 h 84"/>
                <a:gd name="T16" fmla="*/ 129 w 129"/>
                <a:gd name="T17" fmla="*/ 5 h 84"/>
                <a:gd name="T18" fmla="*/ 128 w 129"/>
                <a:gd name="T19" fmla="*/ 6 h 84"/>
                <a:gd name="T20" fmla="*/ 18 w 129"/>
                <a:gd name="T21" fmla="*/ 70 h 84"/>
                <a:gd name="T22" fmla="*/ 18 w 129"/>
                <a:gd name="T23" fmla="*/ 82 h 84"/>
                <a:gd name="T24" fmla="*/ 17 w 129"/>
                <a:gd name="T25" fmla="*/ 84 h 84"/>
                <a:gd name="T26" fmla="*/ 16 w 129"/>
                <a:gd name="T27" fmla="*/ 84 h 84"/>
                <a:gd name="T28" fmla="*/ 6 w 129"/>
                <a:gd name="T29" fmla="*/ 74 h 84"/>
                <a:gd name="T30" fmla="*/ 14 w 129"/>
                <a:gd name="T31" fmla="*/ 78 h 84"/>
                <a:gd name="T32" fmla="*/ 14 w 129"/>
                <a:gd name="T33" fmla="*/ 69 h 84"/>
                <a:gd name="T34" fmla="*/ 6 w 129"/>
                <a:gd name="T35" fmla="*/ 7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84">
                  <a:moveTo>
                    <a:pt x="16" y="84"/>
                  </a:moveTo>
                  <a:cubicBezTo>
                    <a:pt x="16" y="84"/>
                    <a:pt x="16" y="84"/>
                    <a:pt x="15" y="84"/>
                  </a:cubicBezTo>
                  <a:cubicBezTo>
                    <a:pt x="1" y="75"/>
                    <a:pt x="1" y="75"/>
                    <a:pt x="1" y="75"/>
                  </a:cubicBezTo>
                  <a:cubicBezTo>
                    <a:pt x="0" y="75"/>
                    <a:pt x="0" y="74"/>
                    <a:pt x="0" y="74"/>
                  </a:cubicBezTo>
                  <a:cubicBezTo>
                    <a:pt x="0" y="73"/>
                    <a:pt x="0" y="72"/>
                    <a:pt x="1" y="7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27" y="0"/>
                    <a:pt x="128" y="0"/>
                  </a:cubicBezTo>
                  <a:cubicBezTo>
                    <a:pt x="128" y="0"/>
                    <a:pt x="129" y="1"/>
                    <a:pt x="129" y="2"/>
                  </a:cubicBezTo>
                  <a:cubicBezTo>
                    <a:pt x="129" y="5"/>
                    <a:pt x="129" y="5"/>
                    <a:pt x="129" y="5"/>
                  </a:cubicBezTo>
                  <a:cubicBezTo>
                    <a:pt x="129" y="5"/>
                    <a:pt x="128" y="6"/>
                    <a:pt x="128" y="6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3"/>
                    <a:pt x="18" y="83"/>
                    <a:pt x="17" y="84"/>
                  </a:cubicBezTo>
                  <a:cubicBezTo>
                    <a:pt x="17" y="84"/>
                    <a:pt x="17" y="84"/>
                    <a:pt x="16" y="84"/>
                  </a:cubicBezTo>
                  <a:close/>
                  <a:moveTo>
                    <a:pt x="6" y="74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69"/>
                    <a:pt x="14" y="69"/>
                    <a:pt x="14" y="69"/>
                  </a:cubicBezTo>
                  <a:lnTo>
                    <a:pt x="6" y="74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882">
              <a:extLst>
                <a:ext uri="{FF2B5EF4-FFF2-40B4-BE49-F238E27FC236}">
                  <a16:creationId xmlns:a16="http://schemas.microsoft.com/office/drawing/2014/main" id="{61D91508-9ACA-41D1-843A-EC87AF485DEC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875776" y="4812603"/>
              <a:ext cx="304000" cy="348613"/>
            </a:xfrm>
            <a:custGeom>
              <a:avLst/>
              <a:gdLst>
                <a:gd name="T0" fmla="*/ 110 w 124"/>
                <a:gd name="T1" fmla="*/ 142 h 142"/>
                <a:gd name="T2" fmla="*/ 109 w 124"/>
                <a:gd name="T3" fmla="*/ 142 h 142"/>
                <a:gd name="T4" fmla="*/ 1 w 124"/>
                <a:gd name="T5" fmla="*/ 80 h 142"/>
                <a:gd name="T6" fmla="*/ 0 w 124"/>
                <a:gd name="T7" fmla="*/ 78 h 142"/>
                <a:gd name="T8" fmla="*/ 0 w 124"/>
                <a:gd name="T9" fmla="*/ 64 h 142"/>
                <a:gd name="T10" fmla="*/ 1 w 124"/>
                <a:gd name="T11" fmla="*/ 63 h 142"/>
                <a:gd name="T12" fmla="*/ 110 w 124"/>
                <a:gd name="T13" fmla="*/ 0 h 142"/>
                <a:gd name="T14" fmla="*/ 112 w 124"/>
                <a:gd name="T15" fmla="*/ 0 h 142"/>
                <a:gd name="T16" fmla="*/ 113 w 124"/>
                <a:gd name="T17" fmla="*/ 2 h 142"/>
                <a:gd name="T18" fmla="*/ 113 w 124"/>
                <a:gd name="T19" fmla="*/ 105 h 142"/>
                <a:gd name="T20" fmla="*/ 123 w 124"/>
                <a:gd name="T21" fmla="*/ 110 h 142"/>
                <a:gd name="T22" fmla="*/ 124 w 124"/>
                <a:gd name="T23" fmla="*/ 112 h 142"/>
                <a:gd name="T24" fmla="*/ 124 w 124"/>
                <a:gd name="T25" fmla="*/ 133 h 142"/>
                <a:gd name="T26" fmla="*/ 123 w 124"/>
                <a:gd name="T27" fmla="*/ 135 h 142"/>
                <a:gd name="T28" fmla="*/ 111 w 124"/>
                <a:gd name="T29" fmla="*/ 142 h 142"/>
                <a:gd name="T30" fmla="*/ 110 w 124"/>
                <a:gd name="T31" fmla="*/ 142 h 142"/>
                <a:gd name="T32" fmla="*/ 4 w 124"/>
                <a:gd name="T33" fmla="*/ 77 h 142"/>
                <a:gd name="T34" fmla="*/ 110 w 124"/>
                <a:gd name="T35" fmla="*/ 138 h 142"/>
                <a:gd name="T36" fmla="*/ 120 w 124"/>
                <a:gd name="T37" fmla="*/ 132 h 142"/>
                <a:gd name="T38" fmla="*/ 120 w 124"/>
                <a:gd name="T39" fmla="*/ 113 h 142"/>
                <a:gd name="T40" fmla="*/ 110 w 124"/>
                <a:gd name="T41" fmla="*/ 108 h 142"/>
                <a:gd name="T42" fmla="*/ 109 w 124"/>
                <a:gd name="T43" fmla="*/ 106 h 142"/>
                <a:gd name="T44" fmla="*/ 109 w 124"/>
                <a:gd name="T45" fmla="*/ 5 h 142"/>
                <a:gd name="T46" fmla="*/ 4 w 124"/>
                <a:gd name="T47" fmla="*/ 66 h 142"/>
                <a:gd name="T48" fmla="*/ 4 w 124"/>
                <a:gd name="T49" fmla="*/ 7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142">
                  <a:moveTo>
                    <a:pt x="110" y="142"/>
                  </a:moveTo>
                  <a:cubicBezTo>
                    <a:pt x="110" y="142"/>
                    <a:pt x="109" y="142"/>
                    <a:pt x="109" y="142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0" y="79"/>
                    <a:pt x="0" y="79"/>
                    <a:pt x="0" y="7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3"/>
                    <a:pt x="1" y="63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1" y="0"/>
                    <a:pt x="112" y="0"/>
                  </a:cubicBezTo>
                  <a:cubicBezTo>
                    <a:pt x="112" y="0"/>
                    <a:pt x="113" y="1"/>
                    <a:pt x="113" y="2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23" y="110"/>
                    <a:pt x="123" y="110"/>
                    <a:pt x="123" y="110"/>
                  </a:cubicBezTo>
                  <a:cubicBezTo>
                    <a:pt x="123" y="111"/>
                    <a:pt x="124" y="111"/>
                    <a:pt x="124" y="112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24" y="134"/>
                    <a:pt x="123" y="135"/>
                    <a:pt x="123" y="135"/>
                  </a:cubicBezTo>
                  <a:cubicBezTo>
                    <a:pt x="111" y="142"/>
                    <a:pt x="111" y="142"/>
                    <a:pt x="111" y="142"/>
                  </a:cubicBezTo>
                  <a:cubicBezTo>
                    <a:pt x="111" y="142"/>
                    <a:pt x="110" y="142"/>
                    <a:pt x="110" y="142"/>
                  </a:cubicBezTo>
                  <a:close/>
                  <a:moveTo>
                    <a:pt x="4" y="77"/>
                  </a:moveTo>
                  <a:cubicBezTo>
                    <a:pt x="110" y="138"/>
                    <a:pt x="110" y="138"/>
                    <a:pt x="110" y="138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13"/>
                    <a:pt x="120" y="113"/>
                    <a:pt x="120" y="113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09" y="107"/>
                    <a:pt x="109" y="107"/>
                    <a:pt x="109" y="106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4" y="66"/>
                    <a:pt x="4" y="66"/>
                    <a:pt x="4" y="66"/>
                  </a:cubicBezTo>
                  <a:lnTo>
                    <a:pt x="4" y="77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884">
              <a:extLst>
                <a:ext uri="{FF2B5EF4-FFF2-40B4-BE49-F238E27FC236}">
                  <a16:creationId xmlns:a16="http://schemas.microsoft.com/office/drawing/2014/main" id="{99B45696-E45E-4AD5-8D4B-705089140B80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591489" y="4709887"/>
              <a:ext cx="318525" cy="194020"/>
            </a:xfrm>
            <a:custGeom>
              <a:avLst/>
              <a:gdLst>
                <a:gd name="T0" fmla="*/ 128 w 130"/>
                <a:gd name="T1" fmla="*/ 79 h 79"/>
                <a:gd name="T2" fmla="*/ 127 w 130"/>
                <a:gd name="T3" fmla="*/ 79 h 79"/>
                <a:gd name="T4" fmla="*/ 29 w 130"/>
                <a:gd name="T5" fmla="*/ 23 h 79"/>
                <a:gd name="T6" fmla="*/ 3 w 130"/>
                <a:gd name="T7" fmla="*/ 38 h 79"/>
                <a:gd name="T8" fmla="*/ 1 w 130"/>
                <a:gd name="T9" fmla="*/ 38 h 79"/>
                <a:gd name="T10" fmla="*/ 0 w 130"/>
                <a:gd name="T11" fmla="*/ 36 h 79"/>
                <a:gd name="T12" fmla="*/ 0 w 130"/>
                <a:gd name="T13" fmla="*/ 2 h 79"/>
                <a:gd name="T14" fmla="*/ 1 w 130"/>
                <a:gd name="T15" fmla="*/ 0 h 79"/>
                <a:gd name="T16" fmla="*/ 3 w 130"/>
                <a:gd name="T17" fmla="*/ 0 h 79"/>
                <a:gd name="T18" fmla="*/ 129 w 130"/>
                <a:gd name="T19" fmla="*/ 73 h 79"/>
                <a:gd name="T20" fmla="*/ 130 w 130"/>
                <a:gd name="T21" fmla="*/ 75 h 79"/>
                <a:gd name="T22" fmla="*/ 130 w 130"/>
                <a:gd name="T23" fmla="*/ 77 h 79"/>
                <a:gd name="T24" fmla="*/ 129 w 130"/>
                <a:gd name="T25" fmla="*/ 79 h 79"/>
                <a:gd name="T26" fmla="*/ 128 w 130"/>
                <a:gd name="T27" fmla="*/ 79 h 79"/>
                <a:gd name="T28" fmla="*/ 4 w 130"/>
                <a:gd name="T29" fmla="*/ 6 h 79"/>
                <a:gd name="T30" fmla="*/ 4 w 130"/>
                <a:gd name="T31" fmla="*/ 32 h 79"/>
                <a:gd name="T32" fmla="*/ 28 w 130"/>
                <a:gd name="T33" fmla="*/ 19 h 79"/>
                <a:gd name="T34" fmla="*/ 4 w 130"/>
                <a:gd name="T35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79">
                  <a:moveTo>
                    <a:pt x="128" y="79"/>
                  </a:moveTo>
                  <a:cubicBezTo>
                    <a:pt x="127" y="79"/>
                    <a:pt x="127" y="79"/>
                    <a:pt x="127" y="79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2" y="38"/>
                    <a:pt x="1" y="38"/>
                  </a:cubicBezTo>
                  <a:cubicBezTo>
                    <a:pt x="1" y="37"/>
                    <a:pt x="0" y="37"/>
                    <a:pt x="0" y="3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3"/>
                    <a:pt x="130" y="74"/>
                    <a:pt x="130" y="75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8"/>
                    <a:pt x="129" y="79"/>
                    <a:pt x="129" y="79"/>
                  </a:cubicBezTo>
                  <a:cubicBezTo>
                    <a:pt x="128" y="79"/>
                    <a:pt x="128" y="79"/>
                    <a:pt x="128" y="79"/>
                  </a:cubicBezTo>
                  <a:close/>
                  <a:moveTo>
                    <a:pt x="4" y="6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8" y="19"/>
                    <a:pt x="28" y="19"/>
                    <a:pt x="28" y="19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1035">
              <a:extLst>
                <a:ext uri="{FF2B5EF4-FFF2-40B4-BE49-F238E27FC236}">
                  <a16:creationId xmlns:a16="http://schemas.microsoft.com/office/drawing/2014/main" id="{53AFEC7C-2A50-43AA-A11B-C19C6DFF810E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767024" y="4796003"/>
              <a:ext cx="304000" cy="440954"/>
            </a:xfrm>
            <a:custGeom>
              <a:avLst/>
              <a:gdLst>
                <a:gd name="T0" fmla="*/ 67 w 124"/>
                <a:gd name="T1" fmla="*/ 180 h 180"/>
                <a:gd name="T2" fmla="*/ 66 w 124"/>
                <a:gd name="T3" fmla="*/ 180 h 180"/>
                <a:gd name="T4" fmla="*/ 58 w 124"/>
                <a:gd name="T5" fmla="*/ 175 h 180"/>
                <a:gd name="T6" fmla="*/ 57 w 124"/>
                <a:gd name="T7" fmla="*/ 173 h 180"/>
                <a:gd name="T8" fmla="*/ 58 w 124"/>
                <a:gd name="T9" fmla="*/ 172 h 180"/>
                <a:gd name="T10" fmla="*/ 102 w 124"/>
                <a:gd name="T11" fmla="*/ 147 h 180"/>
                <a:gd name="T12" fmla="*/ 1 w 124"/>
                <a:gd name="T13" fmla="*/ 89 h 180"/>
                <a:gd name="T14" fmla="*/ 0 w 124"/>
                <a:gd name="T15" fmla="*/ 87 h 180"/>
                <a:gd name="T16" fmla="*/ 0 w 124"/>
                <a:gd name="T17" fmla="*/ 2 h 180"/>
                <a:gd name="T18" fmla="*/ 1 w 124"/>
                <a:gd name="T19" fmla="*/ 1 h 180"/>
                <a:gd name="T20" fmla="*/ 3 w 124"/>
                <a:gd name="T21" fmla="*/ 1 h 180"/>
                <a:gd name="T22" fmla="*/ 123 w 124"/>
                <a:gd name="T23" fmla="*/ 70 h 180"/>
                <a:gd name="T24" fmla="*/ 124 w 124"/>
                <a:gd name="T25" fmla="*/ 71 h 180"/>
                <a:gd name="T26" fmla="*/ 124 w 124"/>
                <a:gd name="T27" fmla="*/ 144 h 180"/>
                <a:gd name="T28" fmla="*/ 123 w 124"/>
                <a:gd name="T29" fmla="*/ 146 h 180"/>
                <a:gd name="T30" fmla="*/ 101 w 124"/>
                <a:gd name="T31" fmla="*/ 159 h 180"/>
                <a:gd name="T32" fmla="*/ 101 w 124"/>
                <a:gd name="T33" fmla="*/ 167 h 180"/>
                <a:gd name="T34" fmla="*/ 100 w 124"/>
                <a:gd name="T35" fmla="*/ 169 h 180"/>
                <a:gd name="T36" fmla="*/ 98 w 124"/>
                <a:gd name="T37" fmla="*/ 169 h 180"/>
                <a:gd name="T38" fmla="*/ 92 w 124"/>
                <a:gd name="T39" fmla="*/ 166 h 180"/>
                <a:gd name="T40" fmla="*/ 68 w 124"/>
                <a:gd name="T41" fmla="*/ 180 h 180"/>
                <a:gd name="T42" fmla="*/ 67 w 124"/>
                <a:gd name="T43" fmla="*/ 180 h 180"/>
                <a:gd name="T44" fmla="*/ 63 w 124"/>
                <a:gd name="T45" fmla="*/ 173 h 180"/>
                <a:gd name="T46" fmla="*/ 67 w 124"/>
                <a:gd name="T47" fmla="*/ 176 h 180"/>
                <a:gd name="T48" fmla="*/ 91 w 124"/>
                <a:gd name="T49" fmla="*/ 162 h 180"/>
                <a:gd name="T50" fmla="*/ 93 w 124"/>
                <a:gd name="T51" fmla="*/ 162 h 180"/>
                <a:gd name="T52" fmla="*/ 97 w 124"/>
                <a:gd name="T53" fmla="*/ 164 h 180"/>
                <a:gd name="T54" fmla="*/ 97 w 124"/>
                <a:gd name="T55" fmla="*/ 158 h 180"/>
                <a:gd name="T56" fmla="*/ 98 w 124"/>
                <a:gd name="T57" fmla="*/ 156 h 180"/>
                <a:gd name="T58" fmla="*/ 120 w 124"/>
                <a:gd name="T59" fmla="*/ 143 h 180"/>
                <a:gd name="T60" fmla="*/ 120 w 124"/>
                <a:gd name="T61" fmla="*/ 73 h 180"/>
                <a:gd name="T62" fmla="*/ 4 w 124"/>
                <a:gd name="T63" fmla="*/ 6 h 180"/>
                <a:gd name="T64" fmla="*/ 4 w 124"/>
                <a:gd name="T65" fmla="*/ 86 h 180"/>
                <a:gd name="T66" fmla="*/ 107 w 124"/>
                <a:gd name="T67" fmla="*/ 145 h 180"/>
                <a:gd name="T68" fmla="*/ 108 w 124"/>
                <a:gd name="T69" fmla="*/ 147 h 180"/>
                <a:gd name="T70" fmla="*/ 107 w 124"/>
                <a:gd name="T71" fmla="*/ 148 h 180"/>
                <a:gd name="T72" fmla="*/ 63 w 124"/>
                <a:gd name="T73" fmla="*/ 173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180">
                  <a:moveTo>
                    <a:pt x="67" y="180"/>
                  </a:moveTo>
                  <a:cubicBezTo>
                    <a:pt x="67" y="180"/>
                    <a:pt x="66" y="180"/>
                    <a:pt x="66" y="180"/>
                  </a:cubicBezTo>
                  <a:cubicBezTo>
                    <a:pt x="58" y="175"/>
                    <a:pt x="58" y="175"/>
                    <a:pt x="58" y="175"/>
                  </a:cubicBezTo>
                  <a:cubicBezTo>
                    <a:pt x="58" y="175"/>
                    <a:pt x="57" y="174"/>
                    <a:pt x="57" y="173"/>
                  </a:cubicBezTo>
                  <a:cubicBezTo>
                    <a:pt x="57" y="173"/>
                    <a:pt x="58" y="172"/>
                    <a:pt x="58" y="172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1" y="88"/>
                    <a:pt x="0" y="88"/>
                    <a:pt x="0" y="8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4" y="71"/>
                    <a:pt x="124" y="71"/>
                  </a:cubicBezTo>
                  <a:cubicBezTo>
                    <a:pt x="124" y="144"/>
                    <a:pt x="124" y="144"/>
                    <a:pt x="124" y="144"/>
                  </a:cubicBezTo>
                  <a:cubicBezTo>
                    <a:pt x="124" y="145"/>
                    <a:pt x="123" y="146"/>
                    <a:pt x="123" y="146"/>
                  </a:cubicBezTo>
                  <a:cubicBezTo>
                    <a:pt x="101" y="159"/>
                    <a:pt x="101" y="159"/>
                    <a:pt x="101" y="159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1" y="168"/>
                    <a:pt x="101" y="169"/>
                    <a:pt x="100" y="169"/>
                  </a:cubicBezTo>
                  <a:cubicBezTo>
                    <a:pt x="99" y="170"/>
                    <a:pt x="99" y="170"/>
                    <a:pt x="98" y="169"/>
                  </a:cubicBezTo>
                  <a:cubicBezTo>
                    <a:pt x="92" y="166"/>
                    <a:pt x="92" y="166"/>
                    <a:pt x="92" y="166"/>
                  </a:cubicBezTo>
                  <a:cubicBezTo>
                    <a:pt x="68" y="180"/>
                    <a:pt x="68" y="180"/>
                    <a:pt x="68" y="180"/>
                  </a:cubicBezTo>
                  <a:cubicBezTo>
                    <a:pt x="68" y="180"/>
                    <a:pt x="67" y="180"/>
                    <a:pt x="67" y="180"/>
                  </a:cubicBezTo>
                  <a:close/>
                  <a:moveTo>
                    <a:pt x="63" y="173"/>
                  </a:moveTo>
                  <a:cubicBezTo>
                    <a:pt x="67" y="176"/>
                    <a:pt x="67" y="176"/>
                    <a:pt x="67" y="176"/>
                  </a:cubicBezTo>
                  <a:cubicBezTo>
                    <a:pt x="91" y="162"/>
                    <a:pt x="91" y="162"/>
                    <a:pt x="91" y="162"/>
                  </a:cubicBezTo>
                  <a:cubicBezTo>
                    <a:pt x="92" y="161"/>
                    <a:pt x="92" y="161"/>
                    <a:pt x="93" y="162"/>
                  </a:cubicBezTo>
                  <a:cubicBezTo>
                    <a:pt x="97" y="164"/>
                    <a:pt x="97" y="164"/>
                    <a:pt x="97" y="164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7" y="157"/>
                    <a:pt x="97" y="156"/>
                    <a:pt x="98" y="156"/>
                  </a:cubicBezTo>
                  <a:cubicBezTo>
                    <a:pt x="120" y="143"/>
                    <a:pt x="120" y="143"/>
                    <a:pt x="120" y="143"/>
                  </a:cubicBezTo>
                  <a:cubicBezTo>
                    <a:pt x="120" y="73"/>
                    <a:pt x="120" y="73"/>
                    <a:pt x="120" y="7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8" y="146"/>
                    <a:pt x="108" y="147"/>
                  </a:cubicBezTo>
                  <a:cubicBezTo>
                    <a:pt x="108" y="147"/>
                    <a:pt x="107" y="148"/>
                    <a:pt x="107" y="148"/>
                  </a:cubicBezTo>
                  <a:lnTo>
                    <a:pt x="63" y="173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4D462848-A58B-4C7A-9B30-A88F5D645217}"/>
                </a:ext>
              </a:extLst>
            </p:cNvPr>
            <p:cNvGrpSpPr/>
            <p:nvPr/>
          </p:nvGrpSpPr>
          <p:grpSpPr>
            <a:xfrm>
              <a:off x="43411" y="4901831"/>
              <a:ext cx="10410655" cy="2987076"/>
              <a:chOff x="43411" y="4901831"/>
              <a:chExt cx="10410655" cy="2987076"/>
            </a:xfrm>
          </p:grpSpPr>
          <p:sp>
            <p:nvSpPr>
              <p:cNvPr id="655" name="Freeform 571">
                <a:extLst>
                  <a:ext uri="{FF2B5EF4-FFF2-40B4-BE49-F238E27FC236}">
                    <a16:creationId xmlns:a16="http://schemas.microsoft.com/office/drawing/2014/main" id="{C692D5F0-F9DB-454C-8ADE-A52B1FCFEA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25071" y="4918432"/>
                <a:ext cx="649501" cy="379739"/>
              </a:xfrm>
              <a:custGeom>
                <a:avLst/>
                <a:gdLst>
                  <a:gd name="T0" fmla="*/ 132 w 265"/>
                  <a:gd name="T1" fmla="*/ 155 h 155"/>
                  <a:gd name="T2" fmla="*/ 131 w 265"/>
                  <a:gd name="T3" fmla="*/ 154 h 155"/>
                  <a:gd name="T4" fmla="*/ 1 w 265"/>
                  <a:gd name="T5" fmla="*/ 79 h 155"/>
                  <a:gd name="T6" fmla="*/ 0 w 265"/>
                  <a:gd name="T7" fmla="*/ 77 h 155"/>
                  <a:gd name="T8" fmla="*/ 1 w 265"/>
                  <a:gd name="T9" fmla="*/ 76 h 155"/>
                  <a:gd name="T10" fmla="*/ 131 w 265"/>
                  <a:gd name="T11" fmla="*/ 0 h 155"/>
                  <a:gd name="T12" fmla="*/ 133 w 265"/>
                  <a:gd name="T13" fmla="*/ 0 h 155"/>
                  <a:gd name="T14" fmla="*/ 264 w 265"/>
                  <a:gd name="T15" fmla="*/ 76 h 155"/>
                  <a:gd name="T16" fmla="*/ 265 w 265"/>
                  <a:gd name="T17" fmla="*/ 77 h 155"/>
                  <a:gd name="T18" fmla="*/ 264 w 265"/>
                  <a:gd name="T19" fmla="*/ 79 h 155"/>
                  <a:gd name="T20" fmla="*/ 133 w 265"/>
                  <a:gd name="T21" fmla="*/ 154 h 155"/>
                  <a:gd name="T22" fmla="*/ 132 w 265"/>
                  <a:gd name="T23" fmla="*/ 155 h 155"/>
                  <a:gd name="T24" fmla="*/ 6 w 265"/>
                  <a:gd name="T25" fmla="*/ 77 h 155"/>
                  <a:gd name="T26" fmla="*/ 132 w 265"/>
                  <a:gd name="T27" fmla="*/ 150 h 155"/>
                  <a:gd name="T28" fmla="*/ 259 w 265"/>
                  <a:gd name="T29" fmla="*/ 77 h 155"/>
                  <a:gd name="T30" fmla="*/ 132 w 265"/>
                  <a:gd name="T31" fmla="*/ 4 h 155"/>
                  <a:gd name="T32" fmla="*/ 6 w 265"/>
                  <a:gd name="T33" fmla="*/ 77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5">
                    <a:moveTo>
                      <a:pt x="132" y="155"/>
                    </a:moveTo>
                    <a:cubicBezTo>
                      <a:pt x="132" y="155"/>
                      <a:pt x="131" y="155"/>
                      <a:pt x="131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79"/>
                      <a:pt x="0" y="78"/>
                      <a:pt x="0" y="77"/>
                    </a:cubicBezTo>
                    <a:cubicBezTo>
                      <a:pt x="0" y="77"/>
                      <a:pt x="0" y="76"/>
                      <a:pt x="1" y="76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2" y="0"/>
                      <a:pt x="133" y="0"/>
                    </a:cubicBezTo>
                    <a:cubicBezTo>
                      <a:pt x="264" y="76"/>
                      <a:pt x="264" y="76"/>
                      <a:pt x="264" y="76"/>
                    </a:cubicBezTo>
                    <a:cubicBezTo>
                      <a:pt x="264" y="76"/>
                      <a:pt x="265" y="77"/>
                      <a:pt x="265" y="77"/>
                    </a:cubicBezTo>
                    <a:cubicBezTo>
                      <a:pt x="265" y="78"/>
                      <a:pt x="264" y="79"/>
                      <a:pt x="264" y="79"/>
                    </a:cubicBezTo>
                    <a:cubicBezTo>
                      <a:pt x="133" y="154"/>
                      <a:pt x="133" y="154"/>
                      <a:pt x="133" y="154"/>
                    </a:cubicBezTo>
                    <a:cubicBezTo>
                      <a:pt x="133" y="155"/>
                      <a:pt x="132" y="155"/>
                      <a:pt x="132" y="155"/>
                    </a:cubicBezTo>
                    <a:close/>
                    <a:moveTo>
                      <a:pt x="6" y="77"/>
                    </a:moveTo>
                    <a:cubicBezTo>
                      <a:pt x="132" y="150"/>
                      <a:pt x="132" y="150"/>
                      <a:pt x="132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2" y="4"/>
                      <a:pt x="132" y="4"/>
                      <a:pt x="132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6" name="Freeform 572">
                <a:extLst>
                  <a:ext uri="{FF2B5EF4-FFF2-40B4-BE49-F238E27FC236}">
                    <a16:creationId xmlns:a16="http://schemas.microsoft.com/office/drawing/2014/main" id="{B14D193E-655B-4CED-BB6C-EF7E3A9088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35446" y="4923620"/>
                <a:ext cx="631863" cy="370402"/>
              </a:xfrm>
              <a:custGeom>
                <a:avLst/>
                <a:gdLst>
                  <a:gd name="T0" fmla="*/ 129 w 258"/>
                  <a:gd name="T1" fmla="*/ 151 h 151"/>
                  <a:gd name="T2" fmla="*/ 128 w 258"/>
                  <a:gd name="T3" fmla="*/ 150 h 151"/>
                  <a:gd name="T4" fmla="*/ 1 w 258"/>
                  <a:gd name="T5" fmla="*/ 77 h 151"/>
                  <a:gd name="T6" fmla="*/ 0 w 258"/>
                  <a:gd name="T7" fmla="*/ 75 h 151"/>
                  <a:gd name="T8" fmla="*/ 1 w 258"/>
                  <a:gd name="T9" fmla="*/ 74 h 151"/>
                  <a:gd name="T10" fmla="*/ 128 w 258"/>
                  <a:gd name="T11" fmla="*/ 0 h 151"/>
                  <a:gd name="T12" fmla="*/ 130 w 258"/>
                  <a:gd name="T13" fmla="*/ 0 h 151"/>
                  <a:gd name="T14" fmla="*/ 257 w 258"/>
                  <a:gd name="T15" fmla="*/ 74 h 151"/>
                  <a:gd name="T16" fmla="*/ 258 w 258"/>
                  <a:gd name="T17" fmla="*/ 75 h 151"/>
                  <a:gd name="T18" fmla="*/ 257 w 258"/>
                  <a:gd name="T19" fmla="*/ 77 h 151"/>
                  <a:gd name="T20" fmla="*/ 130 w 258"/>
                  <a:gd name="T21" fmla="*/ 150 h 151"/>
                  <a:gd name="T22" fmla="*/ 129 w 258"/>
                  <a:gd name="T23" fmla="*/ 151 h 151"/>
                  <a:gd name="T24" fmla="*/ 6 w 258"/>
                  <a:gd name="T25" fmla="*/ 75 h 151"/>
                  <a:gd name="T26" fmla="*/ 129 w 258"/>
                  <a:gd name="T27" fmla="*/ 146 h 151"/>
                  <a:gd name="T28" fmla="*/ 252 w 258"/>
                  <a:gd name="T29" fmla="*/ 75 h 151"/>
                  <a:gd name="T30" fmla="*/ 129 w 258"/>
                  <a:gd name="T31" fmla="*/ 4 h 151"/>
                  <a:gd name="T32" fmla="*/ 6 w 258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8" h="151">
                    <a:moveTo>
                      <a:pt x="129" y="151"/>
                    </a:moveTo>
                    <a:cubicBezTo>
                      <a:pt x="129" y="151"/>
                      <a:pt x="128" y="151"/>
                      <a:pt x="128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77"/>
                      <a:pt x="0" y="76"/>
                      <a:pt x="0" y="75"/>
                    </a:cubicBezTo>
                    <a:cubicBezTo>
                      <a:pt x="0" y="75"/>
                      <a:pt x="0" y="74"/>
                      <a:pt x="1" y="74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30" y="0"/>
                    </a:cubicBezTo>
                    <a:cubicBezTo>
                      <a:pt x="257" y="74"/>
                      <a:pt x="257" y="74"/>
                      <a:pt x="257" y="74"/>
                    </a:cubicBezTo>
                    <a:cubicBezTo>
                      <a:pt x="258" y="74"/>
                      <a:pt x="258" y="75"/>
                      <a:pt x="258" y="75"/>
                    </a:cubicBezTo>
                    <a:cubicBezTo>
                      <a:pt x="258" y="76"/>
                      <a:pt x="258" y="77"/>
                      <a:pt x="257" y="77"/>
                    </a:cubicBezTo>
                    <a:cubicBezTo>
                      <a:pt x="130" y="150"/>
                      <a:pt x="130" y="150"/>
                      <a:pt x="130" y="150"/>
                    </a:cubicBezTo>
                    <a:cubicBezTo>
                      <a:pt x="130" y="151"/>
                      <a:pt x="129" y="151"/>
                      <a:pt x="129" y="151"/>
                    </a:cubicBezTo>
                    <a:close/>
                    <a:moveTo>
                      <a:pt x="6" y="75"/>
                    </a:moveTo>
                    <a:cubicBezTo>
                      <a:pt x="129" y="146"/>
                      <a:pt x="129" y="146"/>
                      <a:pt x="129" y="146"/>
                    </a:cubicBezTo>
                    <a:cubicBezTo>
                      <a:pt x="252" y="75"/>
                      <a:pt x="252" y="75"/>
                      <a:pt x="252" y="75"/>
                    </a:cubicBezTo>
                    <a:cubicBezTo>
                      <a:pt x="129" y="4"/>
                      <a:pt x="129" y="4"/>
                      <a:pt x="129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7" name="Freeform 573">
                <a:extLst>
                  <a:ext uri="{FF2B5EF4-FFF2-40B4-BE49-F238E27FC236}">
                    <a16:creationId xmlns:a16="http://schemas.microsoft.com/office/drawing/2014/main" id="{2211E24E-574E-490A-B4CF-4C22D3E29B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554795" y="6724788"/>
                <a:ext cx="777119" cy="453405"/>
              </a:xfrm>
              <a:custGeom>
                <a:avLst/>
                <a:gdLst>
                  <a:gd name="T0" fmla="*/ 159 w 317"/>
                  <a:gd name="T1" fmla="*/ 185 h 185"/>
                  <a:gd name="T2" fmla="*/ 158 w 317"/>
                  <a:gd name="T3" fmla="*/ 185 h 185"/>
                  <a:gd name="T4" fmla="*/ 1 w 317"/>
                  <a:gd name="T5" fmla="*/ 94 h 185"/>
                  <a:gd name="T6" fmla="*/ 0 w 317"/>
                  <a:gd name="T7" fmla="*/ 93 h 185"/>
                  <a:gd name="T8" fmla="*/ 1 w 317"/>
                  <a:gd name="T9" fmla="*/ 91 h 185"/>
                  <a:gd name="T10" fmla="*/ 158 w 317"/>
                  <a:gd name="T11" fmla="*/ 1 h 185"/>
                  <a:gd name="T12" fmla="*/ 160 w 317"/>
                  <a:gd name="T13" fmla="*/ 1 h 185"/>
                  <a:gd name="T14" fmla="*/ 316 w 317"/>
                  <a:gd name="T15" fmla="*/ 91 h 185"/>
                  <a:gd name="T16" fmla="*/ 317 w 317"/>
                  <a:gd name="T17" fmla="*/ 93 h 185"/>
                  <a:gd name="T18" fmla="*/ 316 w 317"/>
                  <a:gd name="T19" fmla="*/ 94 h 185"/>
                  <a:gd name="T20" fmla="*/ 160 w 317"/>
                  <a:gd name="T21" fmla="*/ 185 h 185"/>
                  <a:gd name="T22" fmla="*/ 159 w 317"/>
                  <a:gd name="T23" fmla="*/ 185 h 185"/>
                  <a:gd name="T24" fmla="*/ 6 w 317"/>
                  <a:gd name="T25" fmla="*/ 93 h 185"/>
                  <a:gd name="T26" fmla="*/ 159 w 317"/>
                  <a:gd name="T27" fmla="*/ 181 h 185"/>
                  <a:gd name="T28" fmla="*/ 311 w 317"/>
                  <a:gd name="T29" fmla="*/ 93 h 185"/>
                  <a:gd name="T30" fmla="*/ 159 w 317"/>
                  <a:gd name="T31" fmla="*/ 5 h 185"/>
                  <a:gd name="T32" fmla="*/ 6 w 317"/>
                  <a:gd name="T33" fmla="*/ 93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7" h="185">
                    <a:moveTo>
                      <a:pt x="159" y="185"/>
                    </a:moveTo>
                    <a:cubicBezTo>
                      <a:pt x="158" y="185"/>
                      <a:pt x="158" y="185"/>
                      <a:pt x="158" y="185"/>
                    </a:cubicBezTo>
                    <a:cubicBezTo>
                      <a:pt x="1" y="94"/>
                      <a:pt x="1" y="94"/>
                      <a:pt x="1" y="94"/>
                    </a:cubicBezTo>
                    <a:cubicBezTo>
                      <a:pt x="1" y="94"/>
                      <a:pt x="0" y="93"/>
                      <a:pt x="0" y="93"/>
                    </a:cubicBezTo>
                    <a:cubicBezTo>
                      <a:pt x="0" y="92"/>
                      <a:pt x="1" y="91"/>
                      <a:pt x="1" y="91"/>
                    </a:cubicBezTo>
                    <a:cubicBezTo>
                      <a:pt x="158" y="1"/>
                      <a:pt x="158" y="1"/>
                      <a:pt x="158" y="1"/>
                    </a:cubicBezTo>
                    <a:cubicBezTo>
                      <a:pt x="158" y="0"/>
                      <a:pt x="159" y="0"/>
                      <a:pt x="160" y="1"/>
                    </a:cubicBezTo>
                    <a:cubicBezTo>
                      <a:pt x="316" y="91"/>
                      <a:pt x="316" y="91"/>
                      <a:pt x="316" y="91"/>
                    </a:cubicBezTo>
                    <a:cubicBezTo>
                      <a:pt x="317" y="91"/>
                      <a:pt x="317" y="92"/>
                      <a:pt x="317" y="93"/>
                    </a:cubicBezTo>
                    <a:cubicBezTo>
                      <a:pt x="317" y="93"/>
                      <a:pt x="317" y="94"/>
                      <a:pt x="316" y="94"/>
                    </a:cubicBezTo>
                    <a:cubicBezTo>
                      <a:pt x="160" y="185"/>
                      <a:pt x="160" y="185"/>
                      <a:pt x="160" y="185"/>
                    </a:cubicBezTo>
                    <a:cubicBezTo>
                      <a:pt x="159" y="185"/>
                      <a:pt x="159" y="185"/>
                      <a:pt x="159" y="185"/>
                    </a:cubicBezTo>
                    <a:close/>
                    <a:moveTo>
                      <a:pt x="6" y="93"/>
                    </a:moveTo>
                    <a:cubicBezTo>
                      <a:pt x="159" y="181"/>
                      <a:pt x="159" y="181"/>
                      <a:pt x="159" y="181"/>
                    </a:cubicBezTo>
                    <a:cubicBezTo>
                      <a:pt x="311" y="93"/>
                      <a:pt x="311" y="93"/>
                      <a:pt x="311" y="93"/>
                    </a:cubicBezTo>
                    <a:cubicBezTo>
                      <a:pt x="159" y="5"/>
                      <a:pt x="159" y="5"/>
                      <a:pt x="159" y="5"/>
                    </a:cubicBezTo>
                    <a:lnTo>
                      <a:pt x="6" y="9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8" name="Freeform 574">
                <a:extLst>
                  <a:ext uri="{FF2B5EF4-FFF2-40B4-BE49-F238E27FC236}">
                    <a16:creationId xmlns:a16="http://schemas.microsoft.com/office/drawing/2014/main" id="{2B5E7F94-26E4-4B95-8224-5D7B4B1DD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562058" y="6729976"/>
                <a:ext cx="759480" cy="444067"/>
              </a:xfrm>
              <a:custGeom>
                <a:avLst/>
                <a:gdLst>
                  <a:gd name="T0" fmla="*/ 155 w 310"/>
                  <a:gd name="T1" fmla="*/ 181 h 181"/>
                  <a:gd name="T2" fmla="*/ 154 w 310"/>
                  <a:gd name="T3" fmla="*/ 181 h 181"/>
                  <a:gd name="T4" fmla="*/ 1 w 310"/>
                  <a:gd name="T5" fmla="*/ 92 h 181"/>
                  <a:gd name="T6" fmla="*/ 0 w 310"/>
                  <a:gd name="T7" fmla="*/ 91 h 181"/>
                  <a:gd name="T8" fmla="*/ 1 w 310"/>
                  <a:gd name="T9" fmla="*/ 89 h 181"/>
                  <a:gd name="T10" fmla="*/ 154 w 310"/>
                  <a:gd name="T11" fmla="*/ 0 h 181"/>
                  <a:gd name="T12" fmla="*/ 156 w 310"/>
                  <a:gd name="T13" fmla="*/ 0 h 181"/>
                  <a:gd name="T14" fmla="*/ 309 w 310"/>
                  <a:gd name="T15" fmla="*/ 89 h 181"/>
                  <a:gd name="T16" fmla="*/ 310 w 310"/>
                  <a:gd name="T17" fmla="*/ 91 h 181"/>
                  <a:gd name="T18" fmla="*/ 309 w 310"/>
                  <a:gd name="T19" fmla="*/ 92 h 181"/>
                  <a:gd name="T20" fmla="*/ 156 w 310"/>
                  <a:gd name="T21" fmla="*/ 181 h 181"/>
                  <a:gd name="T22" fmla="*/ 155 w 310"/>
                  <a:gd name="T23" fmla="*/ 181 h 181"/>
                  <a:gd name="T24" fmla="*/ 6 w 310"/>
                  <a:gd name="T25" fmla="*/ 91 h 181"/>
                  <a:gd name="T26" fmla="*/ 155 w 310"/>
                  <a:gd name="T27" fmla="*/ 177 h 181"/>
                  <a:gd name="T28" fmla="*/ 304 w 310"/>
                  <a:gd name="T29" fmla="*/ 91 h 181"/>
                  <a:gd name="T30" fmla="*/ 155 w 310"/>
                  <a:gd name="T31" fmla="*/ 4 h 181"/>
                  <a:gd name="T32" fmla="*/ 6 w 310"/>
                  <a:gd name="T33" fmla="*/ 9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0" h="181">
                    <a:moveTo>
                      <a:pt x="155" y="181"/>
                    </a:moveTo>
                    <a:cubicBezTo>
                      <a:pt x="154" y="181"/>
                      <a:pt x="154" y="181"/>
                      <a:pt x="154" y="181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2"/>
                      <a:pt x="0" y="91"/>
                      <a:pt x="0" y="91"/>
                    </a:cubicBezTo>
                    <a:cubicBezTo>
                      <a:pt x="0" y="90"/>
                      <a:pt x="0" y="89"/>
                      <a:pt x="1" y="89"/>
                    </a:cubicBezTo>
                    <a:cubicBezTo>
                      <a:pt x="154" y="0"/>
                      <a:pt x="154" y="0"/>
                      <a:pt x="154" y="0"/>
                    </a:cubicBezTo>
                    <a:cubicBezTo>
                      <a:pt x="154" y="0"/>
                      <a:pt x="155" y="0"/>
                      <a:pt x="156" y="0"/>
                    </a:cubicBezTo>
                    <a:cubicBezTo>
                      <a:pt x="309" y="89"/>
                      <a:pt x="309" y="89"/>
                      <a:pt x="309" y="89"/>
                    </a:cubicBezTo>
                    <a:cubicBezTo>
                      <a:pt x="309" y="89"/>
                      <a:pt x="310" y="90"/>
                      <a:pt x="310" y="91"/>
                    </a:cubicBezTo>
                    <a:cubicBezTo>
                      <a:pt x="310" y="91"/>
                      <a:pt x="309" y="92"/>
                      <a:pt x="309" y="92"/>
                    </a:cubicBezTo>
                    <a:cubicBezTo>
                      <a:pt x="156" y="181"/>
                      <a:pt x="156" y="181"/>
                      <a:pt x="156" y="181"/>
                    </a:cubicBezTo>
                    <a:cubicBezTo>
                      <a:pt x="155" y="181"/>
                      <a:pt x="155" y="181"/>
                      <a:pt x="155" y="181"/>
                    </a:cubicBezTo>
                    <a:close/>
                    <a:moveTo>
                      <a:pt x="6" y="91"/>
                    </a:moveTo>
                    <a:cubicBezTo>
                      <a:pt x="155" y="177"/>
                      <a:pt x="155" y="177"/>
                      <a:pt x="155" y="177"/>
                    </a:cubicBezTo>
                    <a:cubicBezTo>
                      <a:pt x="304" y="91"/>
                      <a:pt x="304" y="91"/>
                      <a:pt x="304" y="91"/>
                    </a:cubicBezTo>
                    <a:cubicBezTo>
                      <a:pt x="155" y="4"/>
                      <a:pt x="155" y="4"/>
                      <a:pt x="155" y="4"/>
                    </a:cubicBezTo>
                    <a:lnTo>
                      <a:pt x="6" y="9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9" name="Freeform 575">
                <a:extLst>
                  <a:ext uri="{FF2B5EF4-FFF2-40B4-BE49-F238E27FC236}">
                    <a16:creationId xmlns:a16="http://schemas.microsoft.com/office/drawing/2014/main" id="{DF6591BF-7756-4C36-862D-0584108E4C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68402" y="6562932"/>
                <a:ext cx="196095" cy="220996"/>
              </a:xfrm>
              <a:custGeom>
                <a:avLst/>
                <a:gdLst>
                  <a:gd name="T0" fmla="*/ 2 w 80"/>
                  <a:gd name="T1" fmla="*/ 90 h 90"/>
                  <a:gd name="T2" fmla="*/ 1 w 80"/>
                  <a:gd name="T3" fmla="*/ 89 h 90"/>
                  <a:gd name="T4" fmla="*/ 0 w 80"/>
                  <a:gd name="T5" fmla="*/ 88 h 90"/>
                  <a:gd name="T6" fmla="*/ 0 w 80"/>
                  <a:gd name="T7" fmla="*/ 8 h 90"/>
                  <a:gd name="T8" fmla="*/ 1 w 80"/>
                  <a:gd name="T9" fmla="*/ 7 h 90"/>
                  <a:gd name="T10" fmla="*/ 11 w 80"/>
                  <a:gd name="T11" fmla="*/ 1 h 90"/>
                  <a:gd name="T12" fmla="*/ 13 w 80"/>
                  <a:gd name="T13" fmla="*/ 1 h 90"/>
                  <a:gd name="T14" fmla="*/ 79 w 80"/>
                  <a:gd name="T15" fmla="*/ 39 h 90"/>
                  <a:gd name="T16" fmla="*/ 80 w 80"/>
                  <a:gd name="T17" fmla="*/ 41 h 90"/>
                  <a:gd name="T18" fmla="*/ 80 w 80"/>
                  <a:gd name="T19" fmla="*/ 44 h 90"/>
                  <a:gd name="T20" fmla="*/ 79 w 80"/>
                  <a:gd name="T21" fmla="*/ 45 h 90"/>
                  <a:gd name="T22" fmla="*/ 3 w 80"/>
                  <a:gd name="T23" fmla="*/ 89 h 90"/>
                  <a:gd name="T24" fmla="*/ 2 w 80"/>
                  <a:gd name="T25" fmla="*/ 90 h 90"/>
                  <a:gd name="T26" fmla="*/ 4 w 80"/>
                  <a:gd name="T27" fmla="*/ 9 h 90"/>
                  <a:gd name="T28" fmla="*/ 4 w 80"/>
                  <a:gd name="T29" fmla="*/ 84 h 90"/>
                  <a:gd name="T30" fmla="*/ 76 w 80"/>
                  <a:gd name="T31" fmla="*/ 42 h 90"/>
                  <a:gd name="T32" fmla="*/ 76 w 80"/>
                  <a:gd name="T33" fmla="*/ 42 h 90"/>
                  <a:gd name="T34" fmla="*/ 12 w 80"/>
                  <a:gd name="T35" fmla="*/ 5 h 90"/>
                  <a:gd name="T36" fmla="*/ 4 w 80"/>
                  <a:gd name="T37" fmla="*/ 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0" h="90">
                    <a:moveTo>
                      <a:pt x="2" y="90"/>
                    </a:moveTo>
                    <a:cubicBezTo>
                      <a:pt x="1" y="90"/>
                      <a:pt x="1" y="90"/>
                      <a:pt x="1" y="89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12" y="0"/>
                      <a:pt x="13" y="1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80" y="39"/>
                      <a:pt x="80" y="40"/>
                      <a:pt x="80" y="41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80" y="44"/>
                      <a:pt x="80" y="45"/>
                      <a:pt x="79" y="45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2" y="90"/>
                      <a:pt x="2" y="90"/>
                      <a:pt x="2" y="90"/>
                    </a:cubicBezTo>
                    <a:close/>
                    <a:moveTo>
                      <a:pt x="4" y="9"/>
                    </a:moveTo>
                    <a:cubicBezTo>
                      <a:pt x="4" y="84"/>
                      <a:pt x="4" y="84"/>
                      <a:pt x="4" y="84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12" y="5"/>
                      <a:pt x="12" y="5"/>
                      <a:pt x="12" y="5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0" name="Freeform 576">
                <a:extLst>
                  <a:ext uri="{FF2B5EF4-FFF2-40B4-BE49-F238E27FC236}">
                    <a16:creationId xmlns:a16="http://schemas.microsoft.com/office/drawing/2014/main" id="{B84E2BCB-59BD-44BD-876A-1CE4EA54C6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26259" y="6732051"/>
                <a:ext cx="217884" cy="129692"/>
              </a:xfrm>
              <a:custGeom>
                <a:avLst/>
                <a:gdLst>
                  <a:gd name="T0" fmla="*/ 13 w 89"/>
                  <a:gd name="T1" fmla="*/ 53 h 53"/>
                  <a:gd name="T2" fmla="*/ 12 w 89"/>
                  <a:gd name="T3" fmla="*/ 53 h 53"/>
                  <a:gd name="T4" fmla="*/ 1 w 89"/>
                  <a:gd name="T5" fmla="*/ 47 h 53"/>
                  <a:gd name="T6" fmla="*/ 0 w 89"/>
                  <a:gd name="T7" fmla="*/ 45 h 53"/>
                  <a:gd name="T8" fmla="*/ 1 w 89"/>
                  <a:gd name="T9" fmla="*/ 43 h 53"/>
                  <a:gd name="T10" fmla="*/ 74 w 89"/>
                  <a:gd name="T11" fmla="*/ 1 h 53"/>
                  <a:gd name="T12" fmla="*/ 76 w 89"/>
                  <a:gd name="T13" fmla="*/ 1 h 53"/>
                  <a:gd name="T14" fmla="*/ 88 w 89"/>
                  <a:gd name="T15" fmla="*/ 7 h 53"/>
                  <a:gd name="T16" fmla="*/ 89 w 89"/>
                  <a:gd name="T17" fmla="*/ 9 h 53"/>
                  <a:gd name="T18" fmla="*/ 88 w 89"/>
                  <a:gd name="T19" fmla="*/ 11 h 53"/>
                  <a:gd name="T20" fmla="*/ 14 w 89"/>
                  <a:gd name="T21" fmla="*/ 53 h 53"/>
                  <a:gd name="T22" fmla="*/ 13 w 89"/>
                  <a:gd name="T23" fmla="*/ 53 h 53"/>
                  <a:gd name="T24" fmla="*/ 6 w 89"/>
                  <a:gd name="T25" fmla="*/ 45 h 53"/>
                  <a:gd name="T26" fmla="*/ 13 w 89"/>
                  <a:gd name="T27" fmla="*/ 49 h 53"/>
                  <a:gd name="T28" fmla="*/ 83 w 89"/>
                  <a:gd name="T29" fmla="*/ 9 h 53"/>
                  <a:gd name="T30" fmla="*/ 75 w 89"/>
                  <a:gd name="T31" fmla="*/ 5 h 53"/>
                  <a:gd name="T32" fmla="*/ 6 w 89"/>
                  <a:gd name="T33" fmla="*/ 4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" h="53">
                    <a:moveTo>
                      <a:pt x="13" y="53"/>
                    </a:moveTo>
                    <a:cubicBezTo>
                      <a:pt x="13" y="53"/>
                      <a:pt x="12" y="53"/>
                      <a:pt x="12" y="53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6"/>
                      <a:pt x="0" y="46"/>
                      <a:pt x="0" y="45"/>
                    </a:cubicBezTo>
                    <a:cubicBezTo>
                      <a:pt x="0" y="44"/>
                      <a:pt x="0" y="44"/>
                      <a:pt x="1" y="43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5" y="0"/>
                      <a:pt x="76" y="0"/>
                      <a:pt x="76" y="1"/>
                    </a:cubicBezTo>
                    <a:cubicBezTo>
                      <a:pt x="88" y="7"/>
                      <a:pt x="88" y="7"/>
                      <a:pt x="88" y="7"/>
                    </a:cubicBezTo>
                    <a:cubicBezTo>
                      <a:pt x="88" y="7"/>
                      <a:pt x="89" y="8"/>
                      <a:pt x="89" y="9"/>
                    </a:cubicBezTo>
                    <a:cubicBezTo>
                      <a:pt x="89" y="10"/>
                      <a:pt x="88" y="10"/>
                      <a:pt x="88" y="11"/>
                    </a:cubicBez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3" y="53"/>
                      <a:pt x="13" y="53"/>
                    </a:cubicBezTo>
                    <a:close/>
                    <a:moveTo>
                      <a:pt x="6" y="45"/>
                    </a:moveTo>
                    <a:cubicBezTo>
                      <a:pt x="13" y="49"/>
                      <a:pt x="13" y="49"/>
                      <a:pt x="13" y="49"/>
                    </a:cubicBezTo>
                    <a:cubicBezTo>
                      <a:pt x="83" y="9"/>
                      <a:pt x="83" y="9"/>
                      <a:pt x="83" y="9"/>
                    </a:cubicBezTo>
                    <a:cubicBezTo>
                      <a:pt x="75" y="5"/>
                      <a:pt x="75" y="5"/>
                      <a:pt x="75" y="5"/>
                    </a:cubicBezTo>
                    <a:lnTo>
                      <a:pt x="6" y="4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1" name="Freeform 577">
                <a:extLst>
                  <a:ext uri="{FF2B5EF4-FFF2-40B4-BE49-F238E27FC236}">
                    <a16:creationId xmlns:a16="http://schemas.microsoft.com/office/drawing/2014/main" id="{5DDAE3A4-9F46-48AB-8805-3EFD633E30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68402" y="6308735"/>
                <a:ext cx="159781" cy="169119"/>
              </a:xfrm>
              <a:custGeom>
                <a:avLst/>
                <a:gdLst>
                  <a:gd name="T0" fmla="*/ 61 w 65"/>
                  <a:gd name="T1" fmla="*/ 69 h 69"/>
                  <a:gd name="T2" fmla="*/ 60 w 65"/>
                  <a:gd name="T3" fmla="*/ 69 h 69"/>
                  <a:gd name="T4" fmla="*/ 1 w 65"/>
                  <a:gd name="T5" fmla="*/ 35 h 69"/>
                  <a:gd name="T6" fmla="*/ 0 w 65"/>
                  <a:gd name="T7" fmla="*/ 33 h 69"/>
                  <a:gd name="T8" fmla="*/ 1 w 65"/>
                  <a:gd name="T9" fmla="*/ 31 h 69"/>
                  <a:gd name="T10" fmla="*/ 54 w 65"/>
                  <a:gd name="T11" fmla="*/ 1 h 69"/>
                  <a:gd name="T12" fmla="*/ 56 w 65"/>
                  <a:gd name="T13" fmla="*/ 1 h 69"/>
                  <a:gd name="T14" fmla="*/ 64 w 65"/>
                  <a:gd name="T15" fmla="*/ 6 h 69"/>
                  <a:gd name="T16" fmla="*/ 65 w 65"/>
                  <a:gd name="T17" fmla="*/ 7 h 69"/>
                  <a:gd name="T18" fmla="*/ 65 w 65"/>
                  <a:gd name="T19" fmla="*/ 66 h 69"/>
                  <a:gd name="T20" fmla="*/ 64 w 65"/>
                  <a:gd name="T21" fmla="*/ 68 h 69"/>
                  <a:gd name="T22" fmla="*/ 62 w 65"/>
                  <a:gd name="T23" fmla="*/ 69 h 69"/>
                  <a:gd name="T24" fmla="*/ 61 w 65"/>
                  <a:gd name="T25" fmla="*/ 69 h 69"/>
                  <a:gd name="T26" fmla="*/ 63 w 65"/>
                  <a:gd name="T27" fmla="*/ 66 h 69"/>
                  <a:gd name="T28" fmla="*/ 63 w 65"/>
                  <a:gd name="T29" fmla="*/ 66 h 69"/>
                  <a:gd name="T30" fmla="*/ 6 w 65"/>
                  <a:gd name="T31" fmla="*/ 33 h 69"/>
                  <a:gd name="T32" fmla="*/ 61 w 65"/>
                  <a:gd name="T33" fmla="*/ 65 h 69"/>
                  <a:gd name="T34" fmla="*/ 61 w 65"/>
                  <a:gd name="T35" fmla="*/ 9 h 69"/>
                  <a:gd name="T36" fmla="*/ 55 w 65"/>
                  <a:gd name="T37" fmla="*/ 5 h 69"/>
                  <a:gd name="T38" fmla="*/ 6 w 65"/>
                  <a:gd name="T39" fmla="*/ 3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5" h="69">
                    <a:moveTo>
                      <a:pt x="61" y="69"/>
                    </a:moveTo>
                    <a:cubicBezTo>
                      <a:pt x="61" y="69"/>
                      <a:pt x="61" y="69"/>
                      <a:pt x="60" y="69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32"/>
                      <a:pt x="0" y="32"/>
                      <a:pt x="1" y="3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4" y="0"/>
                      <a:pt x="55" y="0"/>
                      <a:pt x="56" y="1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5" y="6"/>
                      <a:pt x="65" y="7"/>
                      <a:pt x="65" y="7"/>
                    </a:cubicBezTo>
                    <a:cubicBezTo>
                      <a:pt x="65" y="66"/>
                      <a:pt x="65" y="66"/>
                      <a:pt x="65" y="66"/>
                    </a:cubicBezTo>
                    <a:cubicBezTo>
                      <a:pt x="65" y="67"/>
                      <a:pt x="65" y="68"/>
                      <a:pt x="64" y="68"/>
                    </a:cubicBezTo>
                    <a:cubicBezTo>
                      <a:pt x="62" y="69"/>
                      <a:pt x="62" y="69"/>
                      <a:pt x="62" y="69"/>
                    </a:cubicBezTo>
                    <a:cubicBezTo>
                      <a:pt x="62" y="69"/>
                      <a:pt x="62" y="69"/>
                      <a:pt x="61" y="69"/>
                    </a:cubicBezTo>
                    <a:close/>
                    <a:moveTo>
                      <a:pt x="63" y="66"/>
                    </a:moveTo>
                    <a:cubicBezTo>
                      <a:pt x="63" y="66"/>
                      <a:pt x="63" y="66"/>
                      <a:pt x="63" y="66"/>
                    </a:cubicBezTo>
                    <a:close/>
                    <a:moveTo>
                      <a:pt x="6" y="33"/>
                    </a:moveTo>
                    <a:cubicBezTo>
                      <a:pt x="61" y="65"/>
                      <a:pt x="61" y="65"/>
                      <a:pt x="61" y="65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55" y="5"/>
                      <a:pt x="55" y="5"/>
                      <a:pt x="55" y="5"/>
                    </a:cubicBezTo>
                    <a:lnTo>
                      <a:pt x="6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2" name="Freeform 578">
                <a:extLst>
                  <a:ext uri="{FF2B5EF4-FFF2-40B4-BE49-F238E27FC236}">
                    <a16:creationId xmlns:a16="http://schemas.microsoft.com/office/drawing/2014/main" id="{AEC5192F-10A0-4F71-B093-FEF8216DC58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43501" y="6487192"/>
                <a:ext cx="22826" cy="24901"/>
              </a:xfrm>
              <a:custGeom>
                <a:avLst/>
                <a:gdLst>
                  <a:gd name="T0" fmla="*/ 2 w 9"/>
                  <a:gd name="T1" fmla="*/ 10 h 10"/>
                  <a:gd name="T2" fmla="*/ 1 w 9"/>
                  <a:gd name="T3" fmla="*/ 10 h 10"/>
                  <a:gd name="T4" fmla="*/ 0 w 9"/>
                  <a:gd name="T5" fmla="*/ 8 h 10"/>
                  <a:gd name="T6" fmla="*/ 0 w 9"/>
                  <a:gd name="T7" fmla="*/ 3 h 10"/>
                  <a:gd name="T8" fmla="*/ 1 w 9"/>
                  <a:gd name="T9" fmla="*/ 1 h 10"/>
                  <a:gd name="T10" fmla="*/ 3 w 9"/>
                  <a:gd name="T11" fmla="*/ 1 h 10"/>
                  <a:gd name="T12" fmla="*/ 8 w 9"/>
                  <a:gd name="T13" fmla="*/ 3 h 10"/>
                  <a:gd name="T14" fmla="*/ 9 w 9"/>
                  <a:gd name="T15" fmla="*/ 5 h 10"/>
                  <a:gd name="T16" fmla="*/ 8 w 9"/>
                  <a:gd name="T17" fmla="*/ 7 h 10"/>
                  <a:gd name="T18" fmla="*/ 3 w 9"/>
                  <a:gd name="T19" fmla="*/ 10 h 10"/>
                  <a:gd name="T20" fmla="*/ 2 w 9"/>
                  <a:gd name="T2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0">
                    <a:moveTo>
                      <a:pt x="2" y="10"/>
                    </a:moveTo>
                    <a:cubicBezTo>
                      <a:pt x="2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9" y="4"/>
                      <a:pt x="9" y="5"/>
                    </a:cubicBezTo>
                    <a:cubicBezTo>
                      <a:pt x="9" y="6"/>
                      <a:pt x="8" y="7"/>
                      <a:pt x="8" y="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3" name="Freeform 579">
                <a:extLst>
                  <a:ext uri="{FF2B5EF4-FFF2-40B4-BE49-F238E27FC236}">
                    <a16:creationId xmlns:a16="http://schemas.microsoft.com/office/drawing/2014/main" id="{B4E75DDE-265B-43F9-B68B-3115B48AE04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1071" y="6729976"/>
                <a:ext cx="39427" cy="26976"/>
              </a:xfrm>
              <a:custGeom>
                <a:avLst/>
                <a:gdLst>
                  <a:gd name="T0" fmla="*/ 13 w 16"/>
                  <a:gd name="T1" fmla="*/ 11 h 11"/>
                  <a:gd name="T2" fmla="*/ 12 w 16"/>
                  <a:gd name="T3" fmla="*/ 11 h 11"/>
                  <a:gd name="T4" fmla="*/ 1 w 16"/>
                  <a:gd name="T5" fmla="*/ 4 h 11"/>
                  <a:gd name="T6" fmla="*/ 0 w 16"/>
                  <a:gd name="T7" fmla="*/ 2 h 11"/>
                  <a:gd name="T8" fmla="*/ 1 w 16"/>
                  <a:gd name="T9" fmla="*/ 1 h 11"/>
                  <a:gd name="T10" fmla="*/ 3 w 16"/>
                  <a:gd name="T11" fmla="*/ 0 h 11"/>
                  <a:gd name="T12" fmla="*/ 15 w 16"/>
                  <a:gd name="T13" fmla="*/ 7 h 11"/>
                  <a:gd name="T14" fmla="*/ 16 w 16"/>
                  <a:gd name="T15" fmla="*/ 9 h 11"/>
                  <a:gd name="T16" fmla="*/ 15 w 16"/>
                  <a:gd name="T17" fmla="*/ 10 h 11"/>
                  <a:gd name="T18" fmla="*/ 14 w 16"/>
                  <a:gd name="T19" fmla="*/ 11 h 11"/>
                  <a:gd name="T20" fmla="*/ 13 w 16"/>
                  <a:gd name="T2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11">
                    <a:moveTo>
                      <a:pt x="13" y="11"/>
                    </a:moveTo>
                    <a:cubicBezTo>
                      <a:pt x="13" y="11"/>
                      <a:pt x="13" y="11"/>
                      <a:pt x="12" y="1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6" y="8"/>
                      <a:pt x="16" y="9"/>
                    </a:cubicBezTo>
                    <a:cubicBezTo>
                      <a:pt x="16" y="9"/>
                      <a:pt x="15" y="10"/>
                      <a:pt x="15" y="10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11"/>
                      <a:pt x="14" y="11"/>
                      <a:pt x="13" y="1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4" name="Freeform 580">
                <a:extLst>
                  <a:ext uri="{FF2B5EF4-FFF2-40B4-BE49-F238E27FC236}">
                    <a16:creationId xmlns:a16="http://schemas.microsoft.com/office/drawing/2014/main" id="{29BA9204-6FC0-4C11-878A-3BF3AFE5C5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64402" y="6751764"/>
                <a:ext cx="348614" cy="203358"/>
              </a:xfrm>
              <a:custGeom>
                <a:avLst/>
                <a:gdLst>
                  <a:gd name="T0" fmla="*/ 64 w 142"/>
                  <a:gd name="T1" fmla="*/ 83 h 83"/>
                  <a:gd name="T2" fmla="*/ 63 w 142"/>
                  <a:gd name="T3" fmla="*/ 82 h 83"/>
                  <a:gd name="T4" fmla="*/ 1 w 142"/>
                  <a:gd name="T5" fmla="*/ 46 h 83"/>
                  <a:gd name="T6" fmla="*/ 0 w 142"/>
                  <a:gd name="T7" fmla="*/ 44 h 83"/>
                  <a:gd name="T8" fmla="*/ 1 w 142"/>
                  <a:gd name="T9" fmla="*/ 43 h 83"/>
                  <a:gd name="T10" fmla="*/ 74 w 142"/>
                  <a:gd name="T11" fmla="*/ 0 h 83"/>
                  <a:gd name="T12" fmla="*/ 76 w 142"/>
                  <a:gd name="T13" fmla="*/ 0 h 83"/>
                  <a:gd name="T14" fmla="*/ 82 w 142"/>
                  <a:gd name="T15" fmla="*/ 3 h 83"/>
                  <a:gd name="T16" fmla="*/ 82 w 142"/>
                  <a:gd name="T17" fmla="*/ 3 h 83"/>
                  <a:gd name="T18" fmla="*/ 84 w 142"/>
                  <a:gd name="T19" fmla="*/ 3 h 83"/>
                  <a:gd name="T20" fmla="*/ 141 w 142"/>
                  <a:gd name="T21" fmla="*/ 35 h 83"/>
                  <a:gd name="T22" fmla="*/ 142 w 142"/>
                  <a:gd name="T23" fmla="*/ 37 h 83"/>
                  <a:gd name="T24" fmla="*/ 141 w 142"/>
                  <a:gd name="T25" fmla="*/ 39 h 83"/>
                  <a:gd name="T26" fmla="*/ 65 w 142"/>
                  <a:gd name="T27" fmla="*/ 82 h 83"/>
                  <a:gd name="T28" fmla="*/ 64 w 142"/>
                  <a:gd name="T29" fmla="*/ 83 h 83"/>
                  <a:gd name="T30" fmla="*/ 6 w 142"/>
                  <a:gd name="T31" fmla="*/ 44 h 83"/>
                  <a:gd name="T32" fmla="*/ 64 w 142"/>
                  <a:gd name="T33" fmla="*/ 78 h 83"/>
                  <a:gd name="T34" fmla="*/ 136 w 142"/>
                  <a:gd name="T35" fmla="*/ 37 h 83"/>
                  <a:gd name="T36" fmla="*/ 85 w 142"/>
                  <a:gd name="T37" fmla="*/ 8 h 83"/>
                  <a:gd name="T38" fmla="*/ 84 w 142"/>
                  <a:gd name="T39" fmla="*/ 8 h 83"/>
                  <a:gd name="T40" fmla="*/ 82 w 142"/>
                  <a:gd name="T41" fmla="*/ 8 h 83"/>
                  <a:gd name="T42" fmla="*/ 75 w 142"/>
                  <a:gd name="T43" fmla="*/ 4 h 83"/>
                  <a:gd name="T44" fmla="*/ 6 w 142"/>
                  <a:gd name="T45" fmla="*/ 44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83">
                    <a:moveTo>
                      <a:pt x="64" y="83"/>
                    </a:moveTo>
                    <a:cubicBezTo>
                      <a:pt x="64" y="83"/>
                      <a:pt x="64" y="83"/>
                      <a:pt x="63" y="82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6"/>
                      <a:pt x="0" y="45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2" y="3"/>
                      <a:pt x="82" y="3"/>
                      <a:pt x="82" y="3"/>
                    </a:cubicBezTo>
                    <a:cubicBezTo>
                      <a:pt x="83" y="2"/>
                      <a:pt x="84" y="2"/>
                      <a:pt x="84" y="3"/>
                    </a:cubicBezTo>
                    <a:cubicBezTo>
                      <a:pt x="141" y="35"/>
                      <a:pt x="141" y="35"/>
                      <a:pt x="141" y="35"/>
                    </a:cubicBezTo>
                    <a:cubicBezTo>
                      <a:pt x="142" y="36"/>
                      <a:pt x="142" y="36"/>
                      <a:pt x="142" y="37"/>
                    </a:cubicBezTo>
                    <a:cubicBezTo>
                      <a:pt x="142" y="38"/>
                      <a:pt x="142" y="38"/>
                      <a:pt x="141" y="39"/>
                    </a:cubicBezTo>
                    <a:cubicBezTo>
                      <a:pt x="65" y="82"/>
                      <a:pt x="65" y="82"/>
                      <a:pt x="65" y="82"/>
                    </a:cubicBezTo>
                    <a:cubicBezTo>
                      <a:pt x="65" y="83"/>
                      <a:pt x="65" y="83"/>
                      <a:pt x="64" y="83"/>
                    </a:cubicBezTo>
                    <a:close/>
                    <a:moveTo>
                      <a:pt x="6" y="44"/>
                    </a:moveTo>
                    <a:cubicBezTo>
                      <a:pt x="64" y="78"/>
                      <a:pt x="64" y="78"/>
                      <a:pt x="64" y="78"/>
                    </a:cubicBezTo>
                    <a:cubicBezTo>
                      <a:pt x="136" y="37"/>
                      <a:pt x="136" y="37"/>
                      <a:pt x="136" y="37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5" y="8"/>
                      <a:pt x="85" y="8"/>
                      <a:pt x="84" y="8"/>
                    </a:cubicBezTo>
                    <a:cubicBezTo>
                      <a:pt x="84" y="8"/>
                      <a:pt x="83" y="8"/>
                      <a:pt x="82" y="8"/>
                    </a:cubicBezTo>
                    <a:cubicBezTo>
                      <a:pt x="75" y="4"/>
                      <a:pt x="75" y="4"/>
                      <a:pt x="75" y="4"/>
                    </a:cubicBezTo>
                    <a:lnTo>
                      <a:pt x="6" y="4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5" name="Freeform 581">
                <a:extLst>
                  <a:ext uri="{FF2B5EF4-FFF2-40B4-BE49-F238E27FC236}">
                    <a16:creationId xmlns:a16="http://schemas.microsoft.com/office/drawing/2014/main" id="{0B3DBB81-7ECC-4F5C-A1F6-E1AC940F3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063761" y="5717338"/>
                <a:ext cx="59140" cy="84041"/>
              </a:xfrm>
              <a:custGeom>
                <a:avLst/>
                <a:gdLst>
                  <a:gd name="T0" fmla="*/ 22 w 24"/>
                  <a:gd name="T1" fmla="*/ 34 h 34"/>
                  <a:gd name="T2" fmla="*/ 21 w 24"/>
                  <a:gd name="T3" fmla="*/ 34 h 34"/>
                  <a:gd name="T4" fmla="*/ 1 w 24"/>
                  <a:gd name="T5" fmla="*/ 23 h 34"/>
                  <a:gd name="T6" fmla="*/ 0 w 24"/>
                  <a:gd name="T7" fmla="*/ 21 h 34"/>
                  <a:gd name="T8" fmla="*/ 0 w 24"/>
                  <a:gd name="T9" fmla="*/ 2 h 34"/>
                  <a:gd name="T10" fmla="*/ 1 w 24"/>
                  <a:gd name="T11" fmla="*/ 0 h 34"/>
                  <a:gd name="T12" fmla="*/ 3 w 24"/>
                  <a:gd name="T13" fmla="*/ 0 h 34"/>
                  <a:gd name="T14" fmla="*/ 23 w 24"/>
                  <a:gd name="T15" fmla="*/ 11 h 34"/>
                  <a:gd name="T16" fmla="*/ 24 w 24"/>
                  <a:gd name="T17" fmla="*/ 13 h 34"/>
                  <a:gd name="T18" fmla="*/ 24 w 24"/>
                  <a:gd name="T19" fmla="*/ 32 h 34"/>
                  <a:gd name="T20" fmla="*/ 23 w 24"/>
                  <a:gd name="T21" fmla="*/ 34 h 34"/>
                  <a:gd name="T22" fmla="*/ 22 w 24"/>
                  <a:gd name="T23" fmla="*/ 34 h 34"/>
                  <a:gd name="T24" fmla="*/ 4 w 24"/>
                  <a:gd name="T25" fmla="*/ 20 h 34"/>
                  <a:gd name="T26" fmla="*/ 20 w 24"/>
                  <a:gd name="T27" fmla="*/ 29 h 34"/>
                  <a:gd name="T28" fmla="*/ 20 w 24"/>
                  <a:gd name="T29" fmla="*/ 14 h 34"/>
                  <a:gd name="T30" fmla="*/ 4 w 24"/>
                  <a:gd name="T31" fmla="*/ 5 h 34"/>
                  <a:gd name="T32" fmla="*/ 4 w 24"/>
                  <a:gd name="T33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4">
                    <a:moveTo>
                      <a:pt x="22" y="34"/>
                    </a:moveTo>
                    <a:cubicBezTo>
                      <a:pt x="21" y="34"/>
                      <a:pt x="21" y="34"/>
                      <a:pt x="21" y="34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3"/>
                      <a:pt x="23" y="34"/>
                      <a:pt x="23" y="34"/>
                    </a:cubicBezTo>
                    <a:cubicBezTo>
                      <a:pt x="22" y="34"/>
                      <a:pt x="22" y="34"/>
                      <a:pt x="22" y="34"/>
                    </a:cubicBezTo>
                    <a:close/>
                    <a:moveTo>
                      <a:pt x="4" y="20"/>
                    </a:moveTo>
                    <a:cubicBezTo>
                      <a:pt x="20" y="29"/>
                      <a:pt x="20" y="29"/>
                      <a:pt x="20" y="29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6" name="Freeform 582">
                <a:extLst>
                  <a:ext uri="{FF2B5EF4-FFF2-40B4-BE49-F238E27FC236}">
                    <a16:creationId xmlns:a16="http://schemas.microsoft.com/office/drawing/2014/main" id="{68CF6790-1F69-4378-AF33-A8DCED7EC19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06545" y="6749689"/>
                <a:ext cx="21788" cy="16601"/>
              </a:xfrm>
              <a:custGeom>
                <a:avLst/>
                <a:gdLst>
                  <a:gd name="T0" fmla="*/ 7 w 9"/>
                  <a:gd name="T1" fmla="*/ 7 h 7"/>
                  <a:gd name="T2" fmla="*/ 6 w 9"/>
                  <a:gd name="T3" fmla="*/ 6 h 7"/>
                  <a:gd name="T4" fmla="*/ 1 w 9"/>
                  <a:gd name="T5" fmla="*/ 4 h 7"/>
                  <a:gd name="T6" fmla="*/ 0 w 9"/>
                  <a:gd name="T7" fmla="*/ 2 h 7"/>
                  <a:gd name="T8" fmla="*/ 1 w 9"/>
                  <a:gd name="T9" fmla="*/ 0 h 7"/>
                  <a:gd name="T10" fmla="*/ 3 w 9"/>
                  <a:gd name="T11" fmla="*/ 0 h 7"/>
                  <a:gd name="T12" fmla="*/ 8 w 9"/>
                  <a:gd name="T13" fmla="*/ 3 h 7"/>
                  <a:gd name="T14" fmla="*/ 9 w 9"/>
                  <a:gd name="T15" fmla="*/ 4 h 7"/>
                  <a:gd name="T16" fmla="*/ 9 w 9"/>
                  <a:gd name="T17" fmla="*/ 5 h 7"/>
                  <a:gd name="T18" fmla="*/ 8 w 9"/>
                  <a:gd name="T19" fmla="*/ 6 h 7"/>
                  <a:gd name="T20" fmla="*/ 7 w 9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7">
                    <a:moveTo>
                      <a:pt x="7" y="7"/>
                    </a:moveTo>
                    <a:cubicBezTo>
                      <a:pt x="6" y="7"/>
                      <a:pt x="6" y="6"/>
                      <a:pt x="6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9" y="4"/>
                      <a:pt x="9" y="4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8" y="6"/>
                      <a:pt x="8" y="6"/>
                    </a:cubicBezTo>
                    <a:cubicBezTo>
                      <a:pt x="8" y="6"/>
                      <a:pt x="7" y="7"/>
                      <a:pt x="7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7" name="Freeform 583">
                <a:extLst>
                  <a:ext uri="{FF2B5EF4-FFF2-40B4-BE49-F238E27FC236}">
                    <a16:creationId xmlns:a16="http://schemas.microsoft.com/office/drawing/2014/main" id="{D4ECDA68-6312-4B57-B3DB-11FE1BAB31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17713" y="5538881"/>
                <a:ext cx="156669" cy="181569"/>
              </a:xfrm>
              <a:custGeom>
                <a:avLst/>
                <a:gdLst>
                  <a:gd name="T0" fmla="*/ 62 w 64"/>
                  <a:gd name="T1" fmla="*/ 74 h 74"/>
                  <a:gd name="T2" fmla="*/ 61 w 64"/>
                  <a:gd name="T3" fmla="*/ 74 h 74"/>
                  <a:gd name="T4" fmla="*/ 1 w 64"/>
                  <a:gd name="T5" fmla="*/ 39 h 74"/>
                  <a:gd name="T6" fmla="*/ 0 w 64"/>
                  <a:gd name="T7" fmla="*/ 37 h 74"/>
                  <a:gd name="T8" fmla="*/ 1 w 64"/>
                  <a:gd name="T9" fmla="*/ 35 h 74"/>
                  <a:gd name="T10" fmla="*/ 61 w 64"/>
                  <a:gd name="T11" fmla="*/ 0 h 74"/>
                  <a:gd name="T12" fmla="*/ 63 w 64"/>
                  <a:gd name="T13" fmla="*/ 0 h 74"/>
                  <a:gd name="T14" fmla="*/ 64 w 64"/>
                  <a:gd name="T15" fmla="*/ 2 h 74"/>
                  <a:gd name="T16" fmla="*/ 64 w 64"/>
                  <a:gd name="T17" fmla="*/ 72 h 74"/>
                  <a:gd name="T18" fmla="*/ 63 w 64"/>
                  <a:gd name="T19" fmla="*/ 74 h 74"/>
                  <a:gd name="T20" fmla="*/ 62 w 64"/>
                  <a:gd name="T21" fmla="*/ 74 h 74"/>
                  <a:gd name="T22" fmla="*/ 6 w 64"/>
                  <a:gd name="T23" fmla="*/ 37 h 74"/>
                  <a:gd name="T24" fmla="*/ 60 w 64"/>
                  <a:gd name="T25" fmla="*/ 68 h 74"/>
                  <a:gd name="T26" fmla="*/ 60 w 64"/>
                  <a:gd name="T27" fmla="*/ 5 h 74"/>
                  <a:gd name="T28" fmla="*/ 6 w 64"/>
                  <a:gd name="T29" fmla="*/ 3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4" h="74">
                    <a:moveTo>
                      <a:pt x="62" y="74"/>
                    </a:moveTo>
                    <a:cubicBezTo>
                      <a:pt x="62" y="74"/>
                      <a:pt x="62" y="74"/>
                      <a:pt x="61" y="74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38"/>
                      <a:pt x="0" y="38"/>
                      <a:pt x="0" y="37"/>
                    </a:cubicBezTo>
                    <a:cubicBezTo>
                      <a:pt x="0" y="36"/>
                      <a:pt x="0" y="36"/>
                      <a:pt x="1" y="35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3" y="0"/>
                    </a:cubicBezTo>
                    <a:cubicBezTo>
                      <a:pt x="64" y="1"/>
                      <a:pt x="64" y="1"/>
                      <a:pt x="64" y="2"/>
                    </a:cubicBezTo>
                    <a:cubicBezTo>
                      <a:pt x="64" y="72"/>
                      <a:pt x="64" y="72"/>
                      <a:pt x="64" y="72"/>
                    </a:cubicBezTo>
                    <a:cubicBezTo>
                      <a:pt x="64" y="73"/>
                      <a:pt x="64" y="73"/>
                      <a:pt x="63" y="74"/>
                    </a:cubicBezTo>
                    <a:cubicBezTo>
                      <a:pt x="63" y="74"/>
                      <a:pt x="63" y="74"/>
                      <a:pt x="62" y="74"/>
                    </a:cubicBezTo>
                    <a:close/>
                    <a:moveTo>
                      <a:pt x="6" y="37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5"/>
                      <a:pt x="60" y="5"/>
                      <a:pt x="60" y="5"/>
                    </a:cubicBezTo>
                    <a:lnTo>
                      <a:pt x="6" y="3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8" name="Freeform 584">
                <a:extLst>
                  <a:ext uri="{FF2B5EF4-FFF2-40B4-BE49-F238E27FC236}">
                    <a16:creationId xmlns:a16="http://schemas.microsoft.com/office/drawing/2014/main" id="{B8AF6845-D10D-4745-B452-D2F62840E0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063761" y="5508792"/>
                <a:ext cx="59140" cy="240709"/>
              </a:xfrm>
              <a:custGeom>
                <a:avLst/>
                <a:gdLst>
                  <a:gd name="T0" fmla="*/ 22 w 24"/>
                  <a:gd name="T1" fmla="*/ 98 h 98"/>
                  <a:gd name="T2" fmla="*/ 21 w 24"/>
                  <a:gd name="T3" fmla="*/ 98 h 98"/>
                  <a:gd name="T4" fmla="*/ 1 w 24"/>
                  <a:gd name="T5" fmla="*/ 87 h 98"/>
                  <a:gd name="T6" fmla="*/ 0 w 24"/>
                  <a:gd name="T7" fmla="*/ 85 h 98"/>
                  <a:gd name="T8" fmla="*/ 0 w 24"/>
                  <a:gd name="T9" fmla="*/ 13 h 98"/>
                  <a:gd name="T10" fmla="*/ 1 w 24"/>
                  <a:gd name="T11" fmla="*/ 11 h 98"/>
                  <a:gd name="T12" fmla="*/ 21 w 24"/>
                  <a:gd name="T13" fmla="*/ 0 h 98"/>
                  <a:gd name="T14" fmla="*/ 23 w 24"/>
                  <a:gd name="T15" fmla="*/ 0 h 98"/>
                  <a:gd name="T16" fmla="*/ 24 w 24"/>
                  <a:gd name="T17" fmla="*/ 2 h 98"/>
                  <a:gd name="T18" fmla="*/ 24 w 24"/>
                  <a:gd name="T19" fmla="*/ 96 h 98"/>
                  <a:gd name="T20" fmla="*/ 23 w 24"/>
                  <a:gd name="T21" fmla="*/ 98 h 98"/>
                  <a:gd name="T22" fmla="*/ 22 w 24"/>
                  <a:gd name="T23" fmla="*/ 98 h 98"/>
                  <a:gd name="T24" fmla="*/ 4 w 24"/>
                  <a:gd name="T25" fmla="*/ 84 h 98"/>
                  <a:gd name="T26" fmla="*/ 20 w 24"/>
                  <a:gd name="T27" fmla="*/ 93 h 98"/>
                  <a:gd name="T28" fmla="*/ 20 w 24"/>
                  <a:gd name="T29" fmla="*/ 5 h 98"/>
                  <a:gd name="T30" fmla="*/ 4 w 24"/>
                  <a:gd name="T31" fmla="*/ 14 h 98"/>
                  <a:gd name="T32" fmla="*/ 4 w 24"/>
                  <a:gd name="T33" fmla="*/ 8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98">
                    <a:moveTo>
                      <a:pt x="22" y="98"/>
                    </a:moveTo>
                    <a:cubicBezTo>
                      <a:pt x="21" y="98"/>
                      <a:pt x="21" y="98"/>
                      <a:pt x="21" y="98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0" y="86"/>
                      <a:pt x="0" y="86"/>
                      <a:pt x="0" y="8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2"/>
                      <a:pt x="1" y="11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3" y="0"/>
                      <a:pt x="24" y="1"/>
                      <a:pt x="24" y="2"/>
                    </a:cubicBezTo>
                    <a:cubicBezTo>
                      <a:pt x="24" y="96"/>
                      <a:pt x="24" y="96"/>
                      <a:pt x="24" y="96"/>
                    </a:cubicBezTo>
                    <a:cubicBezTo>
                      <a:pt x="24" y="97"/>
                      <a:pt x="23" y="98"/>
                      <a:pt x="23" y="98"/>
                    </a:cubicBezTo>
                    <a:cubicBezTo>
                      <a:pt x="22" y="98"/>
                      <a:pt x="22" y="98"/>
                      <a:pt x="22" y="98"/>
                    </a:cubicBezTo>
                    <a:close/>
                    <a:moveTo>
                      <a:pt x="4" y="84"/>
                    </a:moveTo>
                    <a:cubicBezTo>
                      <a:pt x="20" y="93"/>
                      <a:pt x="20" y="93"/>
                      <a:pt x="20" y="9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8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9" name="Freeform 585">
                <a:extLst>
                  <a:ext uri="{FF2B5EF4-FFF2-40B4-BE49-F238E27FC236}">
                    <a16:creationId xmlns:a16="http://schemas.microsoft.com/office/drawing/2014/main" id="{F9185E34-F05D-4CA7-824C-5D4EF51AE72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61139" y="6293172"/>
                <a:ext cx="9338" cy="10375"/>
              </a:xfrm>
              <a:custGeom>
                <a:avLst/>
                <a:gdLst>
                  <a:gd name="T0" fmla="*/ 2 w 4"/>
                  <a:gd name="T1" fmla="*/ 4 h 4"/>
                  <a:gd name="T2" fmla="*/ 1 w 4"/>
                  <a:gd name="T3" fmla="*/ 4 h 4"/>
                  <a:gd name="T4" fmla="*/ 0 w 4"/>
                  <a:gd name="T5" fmla="*/ 2 h 4"/>
                  <a:gd name="T6" fmla="*/ 1 w 4"/>
                  <a:gd name="T7" fmla="*/ 0 h 4"/>
                  <a:gd name="T8" fmla="*/ 3 w 4"/>
                  <a:gd name="T9" fmla="*/ 0 h 4"/>
                  <a:gd name="T10" fmla="*/ 4 w 4"/>
                  <a:gd name="T11" fmla="*/ 2 h 4"/>
                  <a:gd name="T12" fmla="*/ 4 w 4"/>
                  <a:gd name="T13" fmla="*/ 2 h 4"/>
                  <a:gd name="T14" fmla="*/ 3 w 4"/>
                  <a:gd name="T15" fmla="*/ 4 h 4"/>
                  <a:gd name="T16" fmla="*/ 2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2" y="4"/>
                      <a:pt x="2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4" y="3"/>
                      <a:pt x="3" y="4"/>
                    </a:cubicBezTo>
                    <a:cubicBezTo>
                      <a:pt x="3" y="4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0" name="Freeform 586">
                <a:extLst>
                  <a:ext uri="{FF2B5EF4-FFF2-40B4-BE49-F238E27FC236}">
                    <a16:creationId xmlns:a16="http://schemas.microsoft.com/office/drawing/2014/main" id="{F3737FF8-8929-426C-9504-903BEB999A4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144689" y="5739126"/>
                <a:ext cx="14526" cy="15563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1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5" y="6"/>
                      <a:pt x="5" y="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1" name="Freeform 587">
                <a:extLst>
                  <a:ext uri="{FF2B5EF4-FFF2-40B4-BE49-F238E27FC236}">
                    <a16:creationId xmlns:a16="http://schemas.microsoft.com/office/drawing/2014/main" id="{3B1EC2CC-3472-4649-A681-DEDBB77E7B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78682" y="6097077"/>
                <a:ext cx="320600" cy="196095"/>
              </a:xfrm>
              <a:custGeom>
                <a:avLst/>
                <a:gdLst>
                  <a:gd name="T0" fmla="*/ 63 w 131"/>
                  <a:gd name="T1" fmla="*/ 80 h 80"/>
                  <a:gd name="T2" fmla="*/ 62 w 131"/>
                  <a:gd name="T3" fmla="*/ 79 h 80"/>
                  <a:gd name="T4" fmla="*/ 1 w 131"/>
                  <a:gd name="T5" fmla="*/ 44 h 80"/>
                  <a:gd name="T6" fmla="*/ 0 w 131"/>
                  <a:gd name="T7" fmla="*/ 42 h 80"/>
                  <a:gd name="T8" fmla="*/ 1 w 131"/>
                  <a:gd name="T9" fmla="*/ 40 h 80"/>
                  <a:gd name="T10" fmla="*/ 60 w 131"/>
                  <a:gd name="T11" fmla="*/ 6 h 80"/>
                  <a:gd name="T12" fmla="*/ 60 w 131"/>
                  <a:gd name="T13" fmla="*/ 3 h 80"/>
                  <a:gd name="T14" fmla="*/ 61 w 131"/>
                  <a:gd name="T15" fmla="*/ 1 h 80"/>
                  <a:gd name="T16" fmla="*/ 62 w 131"/>
                  <a:gd name="T17" fmla="*/ 1 h 80"/>
                  <a:gd name="T18" fmla="*/ 64 w 131"/>
                  <a:gd name="T19" fmla="*/ 1 h 80"/>
                  <a:gd name="T20" fmla="*/ 130 w 131"/>
                  <a:gd name="T21" fmla="*/ 38 h 80"/>
                  <a:gd name="T22" fmla="*/ 131 w 131"/>
                  <a:gd name="T23" fmla="*/ 40 h 80"/>
                  <a:gd name="T24" fmla="*/ 130 w 131"/>
                  <a:gd name="T25" fmla="*/ 42 h 80"/>
                  <a:gd name="T26" fmla="*/ 64 w 131"/>
                  <a:gd name="T27" fmla="*/ 79 h 80"/>
                  <a:gd name="T28" fmla="*/ 63 w 131"/>
                  <a:gd name="T29" fmla="*/ 80 h 80"/>
                  <a:gd name="T30" fmla="*/ 6 w 131"/>
                  <a:gd name="T31" fmla="*/ 42 h 80"/>
                  <a:gd name="T32" fmla="*/ 63 w 131"/>
                  <a:gd name="T33" fmla="*/ 75 h 80"/>
                  <a:gd name="T34" fmla="*/ 125 w 131"/>
                  <a:gd name="T35" fmla="*/ 40 h 80"/>
                  <a:gd name="T36" fmla="*/ 64 w 131"/>
                  <a:gd name="T37" fmla="*/ 5 h 80"/>
                  <a:gd name="T38" fmla="*/ 64 w 131"/>
                  <a:gd name="T39" fmla="*/ 7 h 80"/>
                  <a:gd name="T40" fmla="*/ 63 w 131"/>
                  <a:gd name="T41" fmla="*/ 9 h 80"/>
                  <a:gd name="T42" fmla="*/ 6 w 131"/>
                  <a:gd name="T43" fmla="*/ 4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1" h="80">
                    <a:moveTo>
                      <a:pt x="63" y="80"/>
                    </a:moveTo>
                    <a:cubicBezTo>
                      <a:pt x="63" y="80"/>
                      <a:pt x="63" y="79"/>
                      <a:pt x="62" y="79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0"/>
                      <a:pt x="1" y="40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0" y="2"/>
                      <a:pt x="61" y="2"/>
                      <a:pt x="61" y="1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3" y="0"/>
                      <a:pt x="64" y="0"/>
                      <a:pt x="64" y="1"/>
                    </a:cubicBezTo>
                    <a:cubicBezTo>
                      <a:pt x="130" y="38"/>
                      <a:pt x="130" y="38"/>
                      <a:pt x="130" y="38"/>
                    </a:cubicBezTo>
                    <a:cubicBezTo>
                      <a:pt x="130" y="39"/>
                      <a:pt x="131" y="39"/>
                      <a:pt x="131" y="40"/>
                    </a:cubicBezTo>
                    <a:cubicBezTo>
                      <a:pt x="131" y="41"/>
                      <a:pt x="130" y="41"/>
                      <a:pt x="130" y="42"/>
                    </a:cubicBezTo>
                    <a:cubicBezTo>
                      <a:pt x="64" y="79"/>
                      <a:pt x="64" y="79"/>
                      <a:pt x="64" y="79"/>
                    </a:cubicBezTo>
                    <a:cubicBezTo>
                      <a:pt x="64" y="79"/>
                      <a:pt x="64" y="80"/>
                      <a:pt x="63" y="80"/>
                    </a:cubicBezTo>
                    <a:close/>
                    <a:moveTo>
                      <a:pt x="6" y="42"/>
                    </a:moveTo>
                    <a:cubicBezTo>
                      <a:pt x="63" y="75"/>
                      <a:pt x="63" y="75"/>
                      <a:pt x="63" y="75"/>
                    </a:cubicBezTo>
                    <a:cubicBezTo>
                      <a:pt x="125" y="40"/>
                      <a:pt x="125" y="40"/>
                      <a:pt x="125" y="4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8"/>
                      <a:pt x="64" y="8"/>
                      <a:pt x="63" y="9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2" name="Freeform 588">
                <a:extLst>
                  <a:ext uri="{FF2B5EF4-FFF2-40B4-BE49-F238E27FC236}">
                    <a16:creationId xmlns:a16="http://schemas.microsoft.com/office/drawing/2014/main" id="{CD15A6EE-C407-416D-B23A-9D91261B160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144689" y="6102265"/>
                <a:ext cx="164969" cy="100641"/>
              </a:xfrm>
              <a:custGeom>
                <a:avLst/>
                <a:gdLst>
                  <a:gd name="T0" fmla="*/ 4 w 67"/>
                  <a:gd name="T1" fmla="*/ 41 h 41"/>
                  <a:gd name="T2" fmla="*/ 3 w 67"/>
                  <a:gd name="T3" fmla="*/ 41 h 41"/>
                  <a:gd name="T4" fmla="*/ 1 w 67"/>
                  <a:gd name="T5" fmla="*/ 40 h 41"/>
                  <a:gd name="T6" fmla="*/ 0 w 67"/>
                  <a:gd name="T7" fmla="*/ 38 h 41"/>
                  <a:gd name="T8" fmla="*/ 1 w 67"/>
                  <a:gd name="T9" fmla="*/ 36 h 41"/>
                  <a:gd name="T10" fmla="*/ 64 w 67"/>
                  <a:gd name="T11" fmla="*/ 0 h 41"/>
                  <a:gd name="T12" fmla="*/ 66 w 67"/>
                  <a:gd name="T13" fmla="*/ 0 h 41"/>
                  <a:gd name="T14" fmla="*/ 67 w 67"/>
                  <a:gd name="T15" fmla="*/ 2 h 41"/>
                  <a:gd name="T16" fmla="*/ 67 w 67"/>
                  <a:gd name="T17" fmla="*/ 4 h 41"/>
                  <a:gd name="T18" fmla="*/ 66 w 67"/>
                  <a:gd name="T19" fmla="*/ 6 h 41"/>
                  <a:gd name="T20" fmla="*/ 5 w 67"/>
                  <a:gd name="T21" fmla="*/ 41 h 41"/>
                  <a:gd name="T22" fmla="*/ 4 w 67"/>
                  <a:gd name="T2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41">
                    <a:moveTo>
                      <a:pt x="4" y="41"/>
                    </a:moveTo>
                    <a:cubicBezTo>
                      <a:pt x="4" y="41"/>
                      <a:pt x="3" y="41"/>
                      <a:pt x="3" y="41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39"/>
                      <a:pt x="0" y="39"/>
                      <a:pt x="0" y="38"/>
                    </a:cubicBezTo>
                    <a:cubicBezTo>
                      <a:pt x="0" y="37"/>
                      <a:pt x="1" y="37"/>
                      <a:pt x="1" y="36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4" y="0"/>
                      <a:pt x="65" y="0"/>
                      <a:pt x="66" y="0"/>
                    </a:cubicBezTo>
                    <a:cubicBezTo>
                      <a:pt x="66" y="1"/>
                      <a:pt x="67" y="1"/>
                      <a:pt x="67" y="2"/>
                    </a:cubicBezTo>
                    <a:cubicBezTo>
                      <a:pt x="67" y="4"/>
                      <a:pt x="67" y="4"/>
                      <a:pt x="67" y="4"/>
                    </a:cubicBezTo>
                    <a:cubicBezTo>
                      <a:pt x="67" y="5"/>
                      <a:pt x="66" y="5"/>
                      <a:pt x="66" y="6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5" y="41"/>
                      <a:pt x="4" y="41"/>
                      <a:pt x="4" y="4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3" name="Freeform 589">
                <a:extLst>
                  <a:ext uri="{FF2B5EF4-FFF2-40B4-BE49-F238E27FC236}">
                    <a16:creationId xmlns:a16="http://schemas.microsoft.com/office/drawing/2014/main" id="{8E059BFF-7E3C-4656-8AD2-AED723D723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68402" y="6298360"/>
                <a:ext cx="26976" cy="29051"/>
              </a:xfrm>
              <a:custGeom>
                <a:avLst/>
                <a:gdLst>
                  <a:gd name="T0" fmla="*/ 9 w 11"/>
                  <a:gd name="T1" fmla="*/ 12 h 12"/>
                  <a:gd name="T2" fmla="*/ 8 w 11"/>
                  <a:gd name="T3" fmla="*/ 11 h 12"/>
                  <a:gd name="T4" fmla="*/ 1 w 11"/>
                  <a:gd name="T5" fmla="*/ 7 h 12"/>
                  <a:gd name="T6" fmla="*/ 0 w 11"/>
                  <a:gd name="T7" fmla="*/ 6 h 12"/>
                  <a:gd name="T8" fmla="*/ 1 w 11"/>
                  <a:gd name="T9" fmla="*/ 4 h 12"/>
                  <a:gd name="T10" fmla="*/ 8 w 11"/>
                  <a:gd name="T11" fmla="*/ 0 h 12"/>
                  <a:gd name="T12" fmla="*/ 10 w 11"/>
                  <a:gd name="T13" fmla="*/ 0 h 12"/>
                  <a:gd name="T14" fmla="*/ 11 w 11"/>
                  <a:gd name="T15" fmla="*/ 2 h 12"/>
                  <a:gd name="T16" fmla="*/ 11 w 11"/>
                  <a:gd name="T17" fmla="*/ 10 h 12"/>
                  <a:gd name="T18" fmla="*/ 10 w 11"/>
                  <a:gd name="T19" fmla="*/ 11 h 12"/>
                  <a:gd name="T20" fmla="*/ 9 w 11"/>
                  <a:gd name="T21" fmla="*/ 12 h 12"/>
                  <a:gd name="T22" fmla="*/ 6 w 11"/>
                  <a:gd name="T23" fmla="*/ 6 h 12"/>
                  <a:gd name="T24" fmla="*/ 7 w 11"/>
                  <a:gd name="T25" fmla="*/ 6 h 12"/>
                  <a:gd name="T26" fmla="*/ 7 w 11"/>
                  <a:gd name="T27" fmla="*/ 5 h 12"/>
                  <a:gd name="T28" fmla="*/ 6 w 11"/>
                  <a:gd name="T2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9" y="12"/>
                    </a:moveTo>
                    <a:cubicBezTo>
                      <a:pt x="9" y="12"/>
                      <a:pt x="8" y="11"/>
                      <a:pt x="8" y="1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1" y="11"/>
                      <a:pt x="10" y="11"/>
                    </a:cubicBezTo>
                    <a:cubicBezTo>
                      <a:pt x="10" y="11"/>
                      <a:pt x="9" y="12"/>
                      <a:pt x="9" y="12"/>
                    </a:cubicBezTo>
                    <a:close/>
                    <a:moveTo>
                      <a:pt x="6" y="6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4" name="Freeform 590">
                <a:extLst>
                  <a:ext uri="{FF2B5EF4-FFF2-40B4-BE49-F238E27FC236}">
                    <a16:creationId xmlns:a16="http://schemas.microsoft.com/office/drawing/2014/main" id="{8F5B044F-8E4B-4098-948B-F2CD2FDABE2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117713" y="6489267"/>
                <a:ext cx="12450" cy="15563"/>
              </a:xfrm>
              <a:custGeom>
                <a:avLst/>
                <a:gdLst>
                  <a:gd name="T0" fmla="*/ 3 w 5"/>
                  <a:gd name="T1" fmla="*/ 6 h 6"/>
                  <a:gd name="T2" fmla="*/ 2 w 5"/>
                  <a:gd name="T3" fmla="*/ 5 h 6"/>
                  <a:gd name="T4" fmla="*/ 1 w 5"/>
                  <a:gd name="T5" fmla="*/ 5 h 6"/>
                  <a:gd name="T6" fmla="*/ 0 w 5"/>
                  <a:gd name="T7" fmla="*/ 3 h 6"/>
                  <a:gd name="T8" fmla="*/ 1 w 5"/>
                  <a:gd name="T9" fmla="*/ 1 h 6"/>
                  <a:gd name="T10" fmla="*/ 2 w 5"/>
                  <a:gd name="T11" fmla="*/ 1 h 6"/>
                  <a:gd name="T12" fmla="*/ 4 w 5"/>
                  <a:gd name="T13" fmla="*/ 1 h 6"/>
                  <a:gd name="T14" fmla="*/ 5 w 5"/>
                  <a:gd name="T15" fmla="*/ 2 h 6"/>
                  <a:gd name="T16" fmla="*/ 5 w 5"/>
                  <a:gd name="T17" fmla="*/ 4 h 6"/>
                  <a:gd name="T18" fmla="*/ 4 w 5"/>
                  <a:gd name="T19" fmla="*/ 5 h 6"/>
                  <a:gd name="T20" fmla="*/ 3 w 5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6">
                    <a:moveTo>
                      <a:pt x="3" y="6"/>
                    </a:moveTo>
                    <a:cubicBezTo>
                      <a:pt x="3" y="6"/>
                      <a:pt x="3" y="5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5"/>
                      <a:pt x="4" y="5"/>
                    </a:cubicBezTo>
                    <a:cubicBezTo>
                      <a:pt x="4" y="5"/>
                      <a:pt x="4" y="6"/>
                      <a:pt x="3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5" name="Freeform 591">
                <a:extLst>
                  <a:ext uri="{FF2B5EF4-FFF2-40B4-BE49-F238E27FC236}">
                    <a16:creationId xmlns:a16="http://schemas.microsoft.com/office/drawing/2014/main" id="{8FCB0DBA-4EE1-4924-967C-81A15D3AB0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93208" y="6391738"/>
                <a:ext cx="129693" cy="100641"/>
              </a:xfrm>
              <a:custGeom>
                <a:avLst/>
                <a:gdLst>
                  <a:gd name="T0" fmla="*/ 2 w 53"/>
                  <a:gd name="T1" fmla="*/ 41 h 41"/>
                  <a:gd name="T2" fmla="*/ 1 w 53"/>
                  <a:gd name="T3" fmla="*/ 41 h 41"/>
                  <a:gd name="T4" fmla="*/ 0 w 53"/>
                  <a:gd name="T5" fmla="*/ 39 h 41"/>
                  <a:gd name="T6" fmla="*/ 0 w 53"/>
                  <a:gd name="T7" fmla="*/ 31 h 41"/>
                  <a:gd name="T8" fmla="*/ 1 w 53"/>
                  <a:gd name="T9" fmla="*/ 29 h 41"/>
                  <a:gd name="T10" fmla="*/ 50 w 53"/>
                  <a:gd name="T11" fmla="*/ 0 h 41"/>
                  <a:gd name="T12" fmla="*/ 52 w 53"/>
                  <a:gd name="T13" fmla="*/ 0 h 41"/>
                  <a:gd name="T14" fmla="*/ 53 w 53"/>
                  <a:gd name="T15" fmla="*/ 2 h 41"/>
                  <a:gd name="T16" fmla="*/ 53 w 53"/>
                  <a:gd name="T17" fmla="*/ 11 h 41"/>
                  <a:gd name="T18" fmla="*/ 52 w 53"/>
                  <a:gd name="T19" fmla="*/ 13 h 41"/>
                  <a:gd name="T20" fmla="*/ 3 w 53"/>
                  <a:gd name="T21" fmla="*/ 41 h 41"/>
                  <a:gd name="T22" fmla="*/ 2 w 53"/>
                  <a:gd name="T23" fmla="*/ 41 h 41"/>
                  <a:gd name="T24" fmla="*/ 4 w 53"/>
                  <a:gd name="T25" fmla="*/ 32 h 41"/>
                  <a:gd name="T26" fmla="*/ 4 w 53"/>
                  <a:gd name="T27" fmla="*/ 36 h 41"/>
                  <a:gd name="T28" fmla="*/ 49 w 53"/>
                  <a:gd name="T29" fmla="*/ 10 h 41"/>
                  <a:gd name="T30" fmla="*/ 49 w 53"/>
                  <a:gd name="T31" fmla="*/ 6 h 41"/>
                  <a:gd name="T32" fmla="*/ 4 w 53"/>
                  <a:gd name="T33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1">
                    <a:moveTo>
                      <a:pt x="2" y="41"/>
                    </a:moveTo>
                    <a:cubicBezTo>
                      <a:pt x="2" y="41"/>
                      <a:pt x="1" y="41"/>
                      <a:pt x="1" y="41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1" y="0"/>
                      <a:pt x="51" y="0"/>
                      <a:pt x="52" y="0"/>
                    </a:cubicBezTo>
                    <a:cubicBezTo>
                      <a:pt x="53" y="1"/>
                      <a:pt x="53" y="1"/>
                      <a:pt x="53" y="2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53" y="12"/>
                      <a:pt x="53" y="12"/>
                      <a:pt x="52" y="13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3" y="41"/>
                      <a:pt x="2" y="41"/>
                      <a:pt x="2" y="41"/>
                    </a:cubicBezTo>
                    <a:close/>
                    <a:moveTo>
                      <a:pt x="4" y="32"/>
                    </a:moveTo>
                    <a:cubicBezTo>
                      <a:pt x="4" y="36"/>
                      <a:pt x="4" y="36"/>
                      <a:pt x="4" y="36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9" y="6"/>
                      <a:pt x="49" y="6"/>
                      <a:pt x="49" y="6"/>
                    </a:cubicBezTo>
                    <a:lnTo>
                      <a:pt x="4" y="3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6" name="Freeform 592">
                <a:extLst>
                  <a:ext uri="{FF2B5EF4-FFF2-40B4-BE49-F238E27FC236}">
                    <a16:creationId xmlns:a16="http://schemas.microsoft.com/office/drawing/2014/main" id="{E730931C-48B7-4969-BAF3-A7EC379DE19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120826" y="6474741"/>
                <a:ext cx="31126" cy="24901"/>
              </a:xfrm>
              <a:custGeom>
                <a:avLst/>
                <a:gdLst>
                  <a:gd name="T0" fmla="*/ 10 w 13"/>
                  <a:gd name="T1" fmla="*/ 10 h 10"/>
                  <a:gd name="T2" fmla="*/ 9 w 13"/>
                  <a:gd name="T3" fmla="*/ 10 h 10"/>
                  <a:gd name="T4" fmla="*/ 1 w 13"/>
                  <a:gd name="T5" fmla="*/ 5 h 10"/>
                  <a:gd name="T6" fmla="*/ 0 w 13"/>
                  <a:gd name="T7" fmla="*/ 4 h 10"/>
                  <a:gd name="T8" fmla="*/ 0 w 13"/>
                  <a:gd name="T9" fmla="*/ 3 h 10"/>
                  <a:gd name="T10" fmla="*/ 1 w 13"/>
                  <a:gd name="T11" fmla="*/ 1 h 10"/>
                  <a:gd name="T12" fmla="*/ 2 w 13"/>
                  <a:gd name="T13" fmla="*/ 1 h 10"/>
                  <a:gd name="T14" fmla="*/ 4 w 13"/>
                  <a:gd name="T15" fmla="*/ 1 h 10"/>
                  <a:gd name="T16" fmla="*/ 12 w 13"/>
                  <a:gd name="T17" fmla="*/ 5 h 10"/>
                  <a:gd name="T18" fmla="*/ 13 w 13"/>
                  <a:gd name="T19" fmla="*/ 7 h 10"/>
                  <a:gd name="T20" fmla="*/ 12 w 13"/>
                  <a:gd name="T21" fmla="*/ 9 h 10"/>
                  <a:gd name="T22" fmla="*/ 11 w 13"/>
                  <a:gd name="T23" fmla="*/ 10 h 10"/>
                  <a:gd name="T24" fmla="*/ 10 w 13"/>
                  <a:gd name="T2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0">
                    <a:moveTo>
                      <a:pt x="10" y="10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3" y="6"/>
                      <a:pt x="13" y="6"/>
                      <a:pt x="13" y="7"/>
                    </a:cubicBezTo>
                    <a:cubicBezTo>
                      <a:pt x="13" y="8"/>
                      <a:pt x="13" y="8"/>
                      <a:pt x="12" y="9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7" name="Freeform 593">
                <a:extLst>
                  <a:ext uri="{FF2B5EF4-FFF2-40B4-BE49-F238E27FC236}">
                    <a16:creationId xmlns:a16="http://schemas.microsoft.com/office/drawing/2014/main" id="{1EFC8B15-FBDE-45D6-AE34-9FCE5A18141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128088" y="6482004"/>
                <a:ext cx="23863" cy="26976"/>
              </a:xfrm>
              <a:custGeom>
                <a:avLst/>
                <a:gdLst>
                  <a:gd name="T0" fmla="*/ 2 w 10"/>
                  <a:gd name="T1" fmla="*/ 11 h 11"/>
                  <a:gd name="T2" fmla="*/ 1 w 10"/>
                  <a:gd name="T3" fmla="*/ 11 h 11"/>
                  <a:gd name="T4" fmla="*/ 0 w 10"/>
                  <a:gd name="T5" fmla="*/ 9 h 11"/>
                  <a:gd name="T6" fmla="*/ 0 w 10"/>
                  <a:gd name="T7" fmla="*/ 3 h 11"/>
                  <a:gd name="T8" fmla="*/ 1 w 10"/>
                  <a:gd name="T9" fmla="*/ 1 h 11"/>
                  <a:gd name="T10" fmla="*/ 3 w 10"/>
                  <a:gd name="T11" fmla="*/ 1 h 11"/>
                  <a:gd name="T12" fmla="*/ 9 w 10"/>
                  <a:gd name="T13" fmla="*/ 4 h 11"/>
                  <a:gd name="T14" fmla="*/ 10 w 10"/>
                  <a:gd name="T15" fmla="*/ 6 h 11"/>
                  <a:gd name="T16" fmla="*/ 9 w 10"/>
                  <a:gd name="T17" fmla="*/ 8 h 11"/>
                  <a:gd name="T18" fmla="*/ 3 w 10"/>
                  <a:gd name="T19" fmla="*/ 11 h 11"/>
                  <a:gd name="T20" fmla="*/ 2 w 10"/>
                  <a:gd name="T2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1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2" y="1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8" name="Freeform 594">
                <a:extLst>
                  <a:ext uri="{FF2B5EF4-FFF2-40B4-BE49-F238E27FC236}">
                    <a16:creationId xmlns:a16="http://schemas.microsoft.com/office/drawing/2014/main" id="{E55CD197-D6CB-4D5A-AF62-5ED8D8B7BC0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993208" y="6379288"/>
                <a:ext cx="12450" cy="12450"/>
              </a:xfrm>
              <a:custGeom>
                <a:avLst/>
                <a:gdLst>
                  <a:gd name="T0" fmla="*/ 3 w 5"/>
                  <a:gd name="T1" fmla="*/ 5 h 5"/>
                  <a:gd name="T2" fmla="*/ 2 w 5"/>
                  <a:gd name="T3" fmla="*/ 4 h 5"/>
                  <a:gd name="T4" fmla="*/ 1 w 5"/>
                  <a:gd name="T5" fmla="*/ 4 h 5"/>
                  <a:gd name="T6" fmla="*/ 0 w 5"/>
                  <a:gd name="T7" fmla="*/ 2 h 5"/>
                  <a:gd name="T8" fmla="*/ 1 w 5"/>
                  <a:gd name="T9" fmla="*/ 0 h 5"/>
                  <a:gd name="T10" fmla="*/ 2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5 w 5"/>
                  <a:gd name="T17" fmla="*/ 3 h 5"/>
                  <a:gd name="T18" fmla="*/ 4 w 5"/>
                  <a:gd name="T19" fmla="*/ 4 h 5"/>
                  <a:gd name="T20" fmla="*/ 3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5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4"/>
                      <a:pt x="4" y="4"/>
                    </a:cubicBezTo>
                    <a:cubicBezTo>
                      <a:pt x="4" y="4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9" name="Freeform 595">
                <a:extLst>
                  <a:ext uri="{FF2B5EF4-FFF2-40B4-BE49-F238E27FC236}">
                    <a16:creationId xmlns:a16="http://schemas.microsoft.com/office/drawing/2014/main" id="{A0DDB3DA-26F6-4AEA-B325-B8818FA56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85945" y="6499642"/>
                <a:ext cx="166007" cy="266648"/>
              </a:xfrm>
              <a:custGeom>
                <a:avLst/>
                <a:gdLst>
                  <a:gd name="T0" fmla="*/ 66 w 68"/>
                  <a:gd name="T1" fmla="*/ 109 h 109"/>
                  <a:gd name="T2" fmla="*/ 65 w 68"/>
                  <a:gd name="T3" fmla="*/ 108 h 109"/>
                  <a:gd name="T4" fmla="*/ 1 w 68"/>
                  <a:gd name="T5" fmla="*/ 71 h 109"/>
                  <a:gd name="T6" fmla="*/ 0 w 68"/>
                  <a:gd name="T7" fmla="*/ 70 h 109"/>
                  <a:gd name="T8" fmla="*/ 1 w 68"/>
                  <a:gd name="T9" fmla="*/ 68 h 109"/>
                  <a:gd name="T10" fmla="*/ 12 w 68"/>
                  <a:gd name="T11" fmla="*/ 61 h 109"/>
                  <a:gd name="T12" fmla="*/ 12 w 68"/>
                  <a:gd name="T13" fmla="*/ 2 h 109"/>
                  <a:gd name="T14" fmla="*/ 13 w 68"/>
                  <a:gd name="T15" fmla="*/ 1 h 109"/>
                  <a:gd name="T16" fmla="*/ 15 w 68"/>
                  <a:gd name="T17" fmla="*/ 1 h 109"/>
                  <a:gd name="T18" fmla="*/ 67 w 68"/>
                  <a:gd name="T19" fmla="*/ 31 h 109"/>
                  <a:gd name="T20" fmla="*/ 68 w 68"/>
                  <a:gd name="T21" fmla="*/ 33 h 109"/>
                  <a:gd name="T22" fmla="*/ 68 w 68"/>
                  <a:gd name="T23" fmla="*/ 107 h 109"/>
                  <a:gd name="T24" fmla="*/ 67 w 68"/>
                  <a:gd name="T25" fmla="*/ 108 h 109"/>
                  <a:gd name="T26" fmla="*/ 66 w 68"/>
                  <a:gd name="T27" fmla="*/ 109 h 109"/>
                  <a:gd name="T28" fmla="*/ 6 w 68"/>
                  <a:gd name="T29" fmla="*/ 69 h 109"/>
                  <a:gd name="T30" fmla="*/ 64 w 68"/>
                  <a:gd name="T31" fmla="*/ 103 h 109"/>
                  <a:gd name="T32" fmla="*/ 64 w 68"/>
                  <a:gd name="T33" fmla="*/ 34 h 109"/>
                  <a:gd name="T34" fmla="*/ 16 w 68"/>
                  <a:gd name="T35" fmla="*/ 6 h 109"/>
                  <a:gd name="T36" fmla="*/ 16 w 68"/>
                  <a:gd name="T37" fmla="*/ 63 h 109"/>
                  <a:gd name="T38" fmla="*/ 15 w 68"/>
                  <a:gd name="T39" fmla="*/ 64 h 109"/>
                  <a:gd name="T40" fmla="*/ 6 w 68"/>
                  <a:gd name="T41" fmla="*/ 6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" h="109">
                    <a:moveTo>
                      <a:pt x="66" y="109"/>
                    </a:moveTo>
                    <a:cubicBezTo>
                      <a:pt x="66" y="109"/>
                      <a:pt x="66" y="108"/>
                      <a:pt x="65" y="108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70"/>
                    </a:cubicBezTo>
                    <a:cubicBezTo>
                      <a:pt x="0" y="69"/>
                      <a:pt x="1" y="68"/>
                      <a:pt x="1" y="68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8" y="31"/>
                      <a:pt x="68" y="32"/>
                      <a:pt x="68" y="33"/>
                    </a:cubicBezTo>
                    <a:cubicBezTo>
                      <a:pt x="68" y="107"/>
                      <a:pt x="68" y="107"/>
                      <a:pt x="68" y="107"/>
                    </a:cubicBezTo>
                    <a:cubicBezTo>
                      <a:pt x="68" y="107"/>
                      <a:pt x="68" y="108"/>
                      <a:pt x="67" y="108"/>
                    </a:cubicBezTo>
                    <a:cubicBezTo>
                      <a:pt x="67" y="108"/>
                      <a:pt x="67" y="109"/>
                      <a:pt x="66" y="109"/>
                    </a:cubicBezTo>
                    <a:close/>
                    <a:moveTo>
                      <a:pt x="6" y="69"/>
                    </a:moveTo>
                    <a:cubicBezTo>
                      <a:pt x="64" y="103"/>
                      <a:pt x="64" y="103"/>
                      <a:pt x="64" y="103"/>
                    </a:cubicBezTo>
                    <a:cubicBezTo>
                      <a:pt x="64" y="34"/>
                      <a:pt x="64" y="34"/>
                      <a:pt x="64" y="3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6" y="63"/>
                      <a:pt x="16" y="64"/>
                      <a:pt x="15" y="64"/>
                    </a:cubicBezTo>
                    <a:lnTo>
                      <a:pt x="6" y="6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0" name="Freeform 596">
                <a:extLst>
                  <a:ext uri="{FF2B5EF4-FFF2-40B4-BE49-F238E27FC236}">
                    <a16:creationId xmlns:a16="http://schemas.microsoft.com/office/drawing/2014/main" id="{7F1E8211-FC76-49BD-8775-328E88C8B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18996" y="6312885"/>
                <a:ext cx="147331" cy="154593"/>
              </a:xfrm>
              <a:custGeom>
                <a:avLst/>
                <a:gdLst>
                  <a:gd name="T0" fmla="*/ 2 w 60"/>
                  <a:gd name="T1" fmla="*/ 63 h 63"/>
                  <a:gd name="T2" fmla="*/ 1 w 60"/>
                  <a:gd name="T3" fmla="*/ 63 h 63"/>
                  <a:gd name="T4" fmla="*/ 0 w 60"/>
                  <a:gd name="T5" fmla="*/ 61 h 63"/>
                  <a:gd name="T6" fmla="*/ 0 w 60"/>
                  <a:gd name="T7" fmla="*/ 7 h 63"/>
                  <a:gd name="T8" fmla="*/ 1 w 60"/>
                  <a:gd name="T9" fmla="*/ 6 h 63"/>
                  <a:gd name="T10" fmla="*/ 10 w 60"/>
                  <a:gd name="T11" fmla="*/ 0 h 63"/>
                  <a:gd name="T12" fmla="*/ 12 w 60"/>
                  <a:gd name="T13" fmla="*/ 0 h 63"/>
                  <a:gd name="T14" fmla="*/ 59 w 60"/>
                  <a:gd name="T15" fmla="*/ 27 h 63"/>
                  <a:gd name="T16" fmla="*/ 60 w 60"/>
                  <a:gd name="T17" fmla="*/ 29 h 63"/>
                  <a:gd name="T18" fmla="*/ 59 w 60"/>
                  <a:gd name="T19" fmla="*/ 31 h 63"/>
                  <a:gd name="T20" fmla="*/ 3 w 60"/>
                  <a:gd name="T21" fmla="*/ 63 h 63"/>
                  <a:gd name="T22" fmla="*/ 2 w 60"/>
                  <a:gd name="T23" fmla="*/ 63 h 63"/>
                  <a:gd name="T24" fmla="*/ 4 w 60"/>
                  <a:gd name="T25" fmla="*/ 9 h 63"/>
                  <a:gd name="T26" fmla="*/ 4 w 60"/>
                  <a:gd name="T27" fmla="*/ 58 h 63"/>
                  <a:gd name="T28" fmla="*/ 54 w 60"/>
                  <a:gd name="T29" fmla="*/ 29 h 63"/>
                  <a:gd name="T30" fmla="*/ 11 w 60"/>
                  <a:gd name="T31" fmla="*/ 4 h 63"/>
                  <a:gd name="T32" fmla="*/ 4 w 60"/>
                  <a:gd name="T33" fmla="*/ 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63">
                    <a:moveTo>
                      <a:pt x="2" y="63"/>
                    </a:moveTo>
                    <a:cubicBezTo>
                      <a:pt x="2" y="63"/>
                      <a:pt x="1" y="63"/>
                      <a:pt x="1" y="63"/>
                    </a:cubicBezTo>
                    <a:cubicBezTo>
                      <a:pt x="0" y="63"/>
                      <a:pt x="0" y="62"/>
                      <a:pt x="0" y="6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0"/>
                      <a:pt x="12" y="0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60" y="28"/>
                      <a:pt x="60" y="28"/>
                      <a:pt x="60" y="29"/>
                    </a:cubicBezTo>
                    <a:cubicBezTo>
                      <a:pt x="60" y="30"/>
                      <a:pt x="60" y="30"/>
                      <a:pt x="59" y="31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2" y="63"/>
                      <a:pt x="2" y="63"/>
                    </a:cubicBezTo>
                    <a:close/>
                    <a:moveTo>
                      <a:pt x="4" y="9"/>
                    </a:moveTo>
                    <a:cubicBezTo>
                      <a:pt x="4" y="58"/>
                      <a:pt x="4" y="58"/>
                      <a:pt x="4" y="58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11" y="4"/>
                      <a:pt x="11" y="4"/>
                      <a:pt x="11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1" name="Freeform 597">
                <a:extLst>
                  <a:ext uri="{FF2B5EF4-FFF2-40B4-BE49-F238E27FC236}">
                    <a16:creationId xmlns:a16="http://schemas.microsoft.com/office/drawing/2014/main" id="{3C755644-D61A-42AF-B7E3-B6CAC10B77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17713" y="6494455"/>
                <a:ext cx="34239" cy="174307"/>
              </a:xfrm>
              <a:custGeom>
                <a:avLst/>
                <a:gdLst>
                  <a:gd name="T0" fmla="*/ 2 w 14"/>
                  <a:gd name="T1" fmla="*/ 71 h 71"/>
                  <a:gd name="T2" fmla="*/ 1 w 14"/>
                  <a:gd name="T3" fmla="*/ 71 h 71"/>
                  <a:gd name="T4" fmla="*/ 0 w 14"/>
                  <a:gd name="T5" fmla="*/ 69 h 71"/>
                  <a:gd name="T6" fmla="*/ 0 w 14"/>
                  <a:gd name="T7" fmla="*/ 6 h 71"/>
                  <a:gd name="T8" fmla="*/ 1 w 14"/>
                  <a:gd name="T9" fmla="*/ 4 h 71"/>
                  <a:gd name="T10" fmla="*/ 9 w 14"/>
                  <a:gd name="T11" fmla="*/ 0 h 71"/>
                  <a:gd name="T12" fmla="*/ 11 w 14"/>
                  <a:gd name="T13" fmla="*/ 0 h 71"/>
                  <a:gd name="T14" fmla="*/ 13 w 14"/>
                  <a:gd name="T15" fmla="*/ 2 h 71"/>
                  <a:gd name="T16" fmla="*/ 14 w 14"/>
                  <a:gd name="T17" fmla="*/ 3 h 71"/>
                  <a:gd name="T18" fmla="*/ 14 w 14"/>
                  <a:gd name="T19" fmla="*/ 64 h 71"/>
                  <a:gd name="T20" fmla="*/ 13 w 14"/>
                  <a:gd name="T21" fmla="*/ 65 h 71"/>
                  <a:gd name="T22" fmla="*/ 3 w 14"/>
                  <a:gd name="T23" fmla="*/ 71 h 71"/>
                  <a:gd name="T24" fmla="*/ 2 w 14"/>
                  <a:gd name="T25" fmla="*/ 71 h 71"/>
                  <a:gd name="T26" fmla="*/ 4 w 14"/>
                  <a:gd name="T27" fmla="*/ 7 h 71"/>
                  <a:gd name="T28" fmla="*/ 4 w 14"/>
                  <a:gd name="T29" fmla="*/ 66 h 71"/>
                  <a:gd name="T30" fmla="*/ 10 w 14"/>
                  <a:gd name="T31" fmla="*/ 62 h 71"/>
                  <a:gd name="T32" fmla="*/ 10 w 14"/>
                  <a:gd name="T33" fmla="*/ 5 h 71"/>
                  <a:gd name="T34" fmla="*/ 10 w 14"/>
                  <a:gd name="T35" fmla="*/ 4 h 71"/>
                  <a:gd name="T36" fmla="*/ 4 w 14"/>
                  <a:gd name="T37" fmla="*/ 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71">
                    <a:moveTo>
                      <a:pt x="2" y="71"/>
                    </a:moveTo>
                    <a:cubicBezTo>
                      <a:pt x="2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69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5"/>
                      <a:pt x="1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10" y="0"/>
                      <a:pt x="11" y="0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4" y="2"/>
                      <a:pt x="14" y="3"/>
                      <a:pt x="14" y="3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4"/>
                      <a:pt x="14" y="65"/>
                      <a:pt x="13" y="65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3" y="71"/>
                      <a:pt x="2" y="71"/>
                    </a:cubicBezTo>
                    <a:close/>
                    <a:moveTo>
                      <a:pt x="4" y="7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10" y="62"/>
                      <a:pt x="10" y="62"/>
                      <a:pt x="10" y="62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2" name="Freeform 598">
                <a:extLst>
                  <a:ext uri="{FF2B5EF4-FFF2-40B4-BE49-F238E27FC236}">
                    <a16:creationId xmlns:a16="http://schemas.microsoft.com/office/drawing/2014/main" id="{E128D64C-5EFF-4DEF-9B72-9F82735B63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06545" y="6204981"/>
                <a:ext cx="159781" cy="113092"/>
              </a:xfrm>
              <a:custGeom>
                <a:avLst/>
                <a:gdLst>
                  <a:gd name="T0" fmla="*/ 11 w 65"/>
                  <a:gd name="T1" fmla="*/ 46 h 46"/>
                  <a:gd name="T2" fmla="*/ 10 w 65"/>
                  <a:gd name="T3" fmla="*/ 46 h 46"/>
                  <a:gd name="T4" fmla="*/ 1 w 65"/>
                  <a:gd name="T5" fmla="*/ 41 h 46"/>
                  <a:gd name="T6" fmla="*/ 0 w 65"/>
                  <a:gd name="T7" fmla="*/ 39 h 46"/>
                  <a:gd name="T8" fmla="*/ 0 w 65"/>
                  <a:gd name="T9" fmla="*/ 37 h 46"/>
                  <a:gd name="T10" fmla="*/ 1 w 65"/>
                  <a:gd name="T11" fmla="*/ 35 h 46"/>
                  <a:gd name="T12" fmla="*/ 62 w 65"/>
                  <a:gd name="T13" fmla="*/ 0 h 46"/>
                  <a:gd name="T14" fmla="*/ 64 w 65"/>
                  <a:gd name="T15" fmla="*/ 0 h 46"/>
                  <a:gd name="T16" fmla="*/ 65 w 65"/>
                  <a:gd name="T17" fmla="*/ 2 h 46"/>
                  <a:gd name="T18" fmla="*/ 65 w 65"/>
                  <a:gd name="T19" fmla="*/ 14 h 46"/>
                  <a:gd name="T20" fmla="*/ 64 w 65"/>
                  <a:gd name="T21" fmla="*/ 16 h 46"/>
                  <a:gd name="T22" fmla="*/ 12 w 65"/>
                  <a:gd name="T23" fmla="*/ 46 h 46"/>
                  <a:gd name="T24" fmla="*/ 11 w 65"/>
                  <a:gd name="T25" fmla="*/ 46 h 46"/>
                  <a:gd name="T26" fmla="*/ 4 w 65"/>
                  <a:gd name="T27" fmla="*/ 38 h 46"/>
                  <a:gd name="T28" fmla="*/ 11 w 65"/>
                  <a:gd name="T29" fmla="*/ 42 h 46"/>
                  <a:gd name="T30" fmla="*/ 61 w 65"/>
                  <a:gd name="T31" fmla="*/ 13 h 46"/>
                  <a:gd name="T32" fmla="*/ 61 w 65"/>
                  <a:gd name="T33" fmla="*/ 5 h 46"/>
                  <a:gd name="T34" fmla="*/ 4 w 65"/>
                  <a:gd name="T35" fmla="*/ 3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46">
                    <a:moveTo>
                      <a:pt x="11" y="46"/>
                    </a:moveTo>
                    <a:cubicBezTo>
                      <a:pt x="11" y="46"/>
                      <a:pt x="11" y="46"/>
                      <a:pt x="10" y="46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3" y="0"/>
                      <a:pt x="64" y="0"/>
                    </a:cubicBezTo>
                    <a:cubicBezTo>
                      <a:pt x="64" y="0"/>
                      <a:pt x="65" y="1"/>
                      <a:pt x="65" y="2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5"/>
                      <a:pt x="64" y="16"/>
                      <a:pt x="64" y="16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2" y="46"/>
                      <a:pt x="11" y="46"/>
                    </a:cubicBezTo>
                    <a:close/>
                    <a:moveTo>
                      <a:pt x="4" y="38"/>
                    </a:moveTo>
                    <a:cubicBezTo>
                      <a:pt x="11" y="42"/>
                      <a:pt x="11" y="42"/>
                      <a:pt x="11" y="42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61" y="5"/>
                      <a:pt x="61" y="5"/>
                      <a:pt x="61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3" name="Freeform 599">
                <a:extLst>
                  <a:ext uri="{FF2B5EF4-FFF2-40B4-BE49-F238E27FC236}">
                    <a16:creationId xmlns:a16="http://schemas.microsoft.com/office/drawing/2014/main" id="{CCB5A7DB-3138-40F2-AEA3-EE5160F2DB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04470" y="6239220"/>
                <a:ext cx="161856" cy="262497"/>
              </a:xfrm>
              <a:custGeom>
                <a:avLst/>
                <a:gdLst>
                  <a:gd name="T0" fmla="*/ 8 w 66"/>
                  <a:gd name="T1" fmla="*/ 107 h 107"/>
                  <a:gd name="T2" fmla="*/ 7 w 66"/>
                  <a:gd name="T3" fmla="*/ 107 h 107"/>
                  <a:gd name="T4" fmla="*/ 1 w 66"/>
                  <a:gd name="T5" fmla="*/ 103 h 107"/>
                  <a:gd name="T6" fmla="*/ 0 w 66"/>
                  <a:gd name="T7" fmla="*/ 102 h 107"/>
                  <a:gd name="T8" fmla="*/ 0 w 66"/>
                  <a:gd name="T9" fmla="*/ 93 h 107"/>
                  <a:gd name="T10" fmla="*/ 1 w 66"/>
                  <a:gd name="T11" fmla="*/ 92 h 107"/>
                  <a:gd name="T12" fmla="*/ 57 w 66"/>
                  <a:gd name="T13" fmla="*/ 59 h 107"/>
                  <a:gd name="T14" fmla="*/ 12 w 66"/>
                  <a:gd name="T15" fmla="*/ 33 h 107"/>
                  <a:gd name="T16" fmla="*/ 11 w 66"/>
                  <a:gd name="T17" fmla="*/ 31 h 107"/>
                  <a:gd name="T18" fmla="*/ 12 w 66"/>
                  <a:gd name="T19" fmla="*/ 29 h 107"/>
                  <a:gd name="T20" fmla="*/ 62 w 66"/>
                  <a:gd name="T21" fmla="*/ 1 h 107"/>
                  <a:gd name="T22" fmla="*/ 64 w 66"/>
                  <a:gd name="T23" fmla="*/ 1 h 107"/>
                  <a:gd name="T24" fmla="*/ 65 w 66"/>
                  <a:gd name="T25" fmla="*/ 2 h 107"/>
                  <a:gd name="T26" fmla="*/ 65 w 66"/>
                  <a:gd name="T27" fmla="*/ 62 h 107"/>
                  <a:gd name="T28" fmla="*/ 66 w 66"/>
                  <a:gd name="T29" fmla="*/ 63 h 107"/>
                  <a:gd name="T30" fmla="*/ 66 w 66"/>
                  <a:gd name="T31" fmla="*/ 73 h 107"/>
                  <a:gd name="T32" fmla="*/ 65 w 66"/>
                  <a:gd name="T33" fmla="*/ 75 h 107"/>
                  <a:gd name="T34" fmla="*/ 9 w 66"/>
                  <a:gd name="T35" fmla="*/ 107 h 107"/>
                  <a:gd name="T36" fmla="*/ 8 w 66"/>
                  <a:gd name="T37" fmla="*/ 107 h 107"/>
                  <a:gd name="T38" fmla="*/ 4 w 66"/>
                  <a:gd name="T39" fmla="*/ 100 h 107"/>
                  <a:gd name="T40" fmla="*/ 8 w 66"/>
                  <a:gd name="T41" fmla="*/ 103 h 107"/>
                  <a:gd name="T42" fmla="*/ 62 w 66"/>
                  <a:gd name="T43" fmla="*/ 72 h 107"/>
                  <a:gd name="T44" fmla="*/ 62 w 66"/>
                  <a:gd name="T45" fmla="*/ 64 h 107"/>
                  <a:gd name="T46" fmla="*/ 61 w 66"/>
                  <a:gd name="T47" fmla="*/ 63 h 107"/>
                  <a:gd name="T48" fmla="*/ 61 w 66"/>
                  <a:gd name="T49" fmla="*/ 62 h 107"/>
                  <a:gd name="T50" fmla="*/ 4 w 66"/>
                  <a:gd name="T51" fmla="*/ 94 h 107"/>
                  <a:gd name="T52" fmla="*/ 4 w 66"/>
                  <a:gd name="T53" fmla="*/ 100 h 107"/>
                  <a:gd name="T54" fmla="*/ 17 w 66"/>
                  <a:gd name="T55" fmla="*/ 31 h 107"/>
                  <a:gd name="T56" fmla="*/ 61 w 66"/>
                  <a:gd name="T57" fmla="*/ 56 h 107"/>
                  <a:gd name="T58" fmla="*/ 61 w 66"/>
                  <a:gd name="T59" fmla="*/ 6 h 107"/>
                  <a:gd name="T60" fmla="*/ 17 w 66"/>
                  <a:gd name="T61" fmla="*/ 3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6" h="107">
                    <a:moveTo>
                      <a:pt x="8" y="107"/>
                    </a:moveTo>
                    <a:cubicBezTo>
                      <a:pt x="8" y="107"/>
                      <a:pt x="8" y="107"/>
                      <a:pt x="7" y="10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2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3"/>
                      <a:pt x="0" y="92"/>
                      <a:pt x="1" y="92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1" y="32"/>
                      <a:pt x="11" y="32"/>
                      <a:pt x="11" y="31"/>
                    </a:cubicBezTo>
                    <a:cubicBezTo>
                      <a:pt x="11" y="30"/>
                      <a:pt x="11" y="30"/>
                      <a:pt x="12" y="29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0"/>
                      <a:pt x="63" y="0"/>
                      <a:pt x="64" y="1"/>
                    </a:cubicBezTo>
                    <a:cubicBezTo>
                      <a:pt x="64" y="1"/>
                      <a:pt x="65" y="2"/>
                      <a:pt x="65" y="2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6" y="62"/>
                      <a:pt x="66" y="63"/>
                      <a:pt x="66" y="63"/>
                    </a:cubicBezTo>
                    <a:cubicBezTo>
                      <a:pt x="66" y="73"/>
                      <a:pt x="66" y="73"/>
                      <a:pt x="66" y="73"/>
                    </a:cubicBezTo>
                    <a:cubicBezTo>
                      <a:pt x="66" y="74"/>
                      <a:pt x="66" y="74"/>
                      <a:pt x="65" y="75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9" y="107"/>
                      <a:pt x="9" y="107"/>
                      <a:pt x="8" y="107"/>
                    </a:cubicBezTo>
                    <a:close/>
                    <a:moveTo>
                      <a:pt x="4" y="100"/>
                    </a:moveTo>
                    <a:cubicBezTo>
                      <a:pt x="8" y="103"/>
                      <a:pt x="8" y="103"/>
                      <a:pt x="8" y="103"/>
                    </a:cubicBezTo>
                    <a:cubicBezTo>
                      <a:pt x="62" y="72"/>
                      <a:pt x="62" y="72"/>
                      <a:pt x="62" y="72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1" y="64"/>
                      <a:pt x="61" y="63"/>
                      <a:pt x="61" y="63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4" y="94"/>
                      <a:pt x="4" y="94"/>
                      <a:pt x="4" y="94"/>
                    </a:cubicBezTo>
                    <a:lnTo>
                      <a:pt x="4" y="100"/>
                    </a:lnTo>
                    <a:close/>
                    <a:moveTo>
                      <a:pt x="17" y="31"/>
                    </a:moveTo>
                    <a:cubicBezTo>
                      <a:pt x="61" y="56"/>
                      <a:pt x="61" y="56"/>
                      <a:pt x="61" y="56"/>
                    </a:cubicBezTo>
                    <a:cubicBezTo>
                      <a:pt x="61" y="6"/>
                      <a:pt x="61" y="6"/>
                      <a:pt x="61" y="6"/>
                    </a:cubicBezTo>
                    <a:lnTo>
                      <a:pt x="17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4" name="Freeform 600">
                <a:extLst>
                  <a:ext uri="{FF2B5EF4-FFF2-40B4-BE49-F238E27FC236}">
                    <a16:creationId xmlns:a16="http://schemas.microsoft.com/office/drawing/2014/main" id="{83C80695-2B18-4D76-8AB9-062DF15F21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36238" y="6300435"/>
                <a:ext cx="30089" cy="30089"/>
              </a:xfrm>
              <a:custGeom>
                <a:avLst/>
                <a:gdLst>
                  <a:gd name="T0" fmla="*/ 2 w 12"/>
                  <a:gd name="T1" fmla="*/ 12 h 12"/>
                  <a:gd name="T2" fmla="*/ 1 w 12"/>
                  <a:gd name="T3" fmla="*/ 12 h 12"/>
                  <a:gd name="T4" fmla="*/ 0 w 12"/>
                  <a:gd name="T5" fmla="*/ 10 h 12"/>
                  <a:gd name="T6" fmla="*/ 0 w 12"/>
                  <a:gd name="T7" fmla="*/ 2 h 12"/>
                  <a:gd name="T8" fmla="*/ 1 w 12"/>
                  <a:gd name="T9" fmla="*/ 0 h 12"/>
                  <a:gd name="T10" fmla="*/ 3 w 12"/>
                  <a:gd name="T11" fmla="*/ 0 h 12"/>
                  <a:gd name="T12" fmla="*/ 11 w 12"/>
                  <a:gd name="T13" fmla="*/ 4 h 12"/>
                  <a:gd name="T14" fmla="*/ 12 w 12"/>
                  <a:gd name="T15" fmla="*/ 6 h 12"/>
                  <a:gd name="T16" fmla="*/ 11 w 12"/>
                  <a:gd name="T17" fmla="*/ 8 h 12"/>
                  <a:gd name="T18" fmla="*/ 3 w 12"/>
                  <a:gd name="T19" fmla="*/ 12 h 12"/>
                  <a:gd name="T20" fmla="*/ 2 w 12"/>
                  <a:gd name="T21" fmla="*/ 12 h 12"/>
                  <a:gd name="T22" fmla="*/ 4 w 12"/>
                  <a:gd name="T23" fmla="*/ 5 h 12"/>
                  <a:gd name="T24" fmla="*/ 4 w 12"/>
                  <a:gd name="T25" fmla="*/ 7 h 12"/>
                  <a:gd name="T26" fmla="*/ 6 w 12"/>
                  <a:gd name="T27" fmla="*/ 6 h 12"/>
                  <a:gd name="T28" fmla="*/ 4 w 12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2">
                    <a:moveTo>
                      <a:pt x="2" y="12"/>
                    </a:moveTo>
                    <a:cubicBezTo>
                      <a:pt x="2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5"/>
                      <a:pt x="12" y="5"/>
                      <a:pt x="12" y="6"/>
                    </a:cubicBezTo>
                    <a:cubicBezTo>
                      <a:pt x="12" y="7"/>
                      <a:pt x="11" y="7"/>
                      <a:pt x="11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6" y="6"/>
                      <a:pt x="6" y="6"/>
                      <a:pt x="6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5" name="Freeform 601">
                <a:extLst>
                  <a:ext uri="{FF2B5EF4-FFF2-40B4-BE49-F238E27FC236}">
                    <a16:creationId xmlns:a16="http://schemas.microsoft.com/office/drawing/2014/main" id="{83DB295B-3998-41C0-A4FD-4C50031D4F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44689" y="6482004"/>
                <a:ext cx="140068" cy="264573"/>
              </a:xfrm>
              <a:custGeom>
                <a:avLst/>
                <a:gdLst>
                  <a:gd name="T0" fmla="*/ 2 w 57"/>
                  <a:gd name="T1" fmla="*/ 108 h 108"/>
                  <a:gd name="T2" fmla="*/ 1 w 57"/>
                  <a:gd name="T3" fmla="*/ 107 h 108"/>
                  <a:gd name="T4" fmla="*/ 0 w 57"/>
                  <a:gd name="T5" fmla="*/ 106 h 108"/>
                  <a:gd name="T6" fmla="*/ 0 w 57"/>
                  <a:gd name="T7" fmla="*/ 31 h 108"/>
                  <a:gd name="T8" fmla="*/ 1 w 57"/>
                  <a:gd name="T9" fmla="*/ 30 h 108"/>
                  <a:gd name="T10" fmla="*/ 53 w 57"/>
                  <a:gd name="T11" fmla="*/ 0 h 108"/>
                  <a:gd name="T12" fmla="*/ 55 w 57"/>
                  <a:gd name="T13" fmla="*/ 0 h 108"/>
                  <a:gd name="T14" fmla="*/ 56 w 57"/>
                  <a:gd name="T15" fmla="*/ 2 h 108"/>
                  <a:gd name="T16" fmla="*/ 56 w 57"/>
                  <a:gd name="T17" fmla="*/ 10 h 108"/>
                  <a:gd name="T18" fmla="*/ 56 w 57"/>
                  <a:gd name="T19" fmla="*/ 10 h 108"/>
                  <a:gd name="T20" fmla="*/ 57 w 57"/>
                  <a:gd name="T21" fmla="*/ 12 h 108"/>
                  <a:gd name="T22" fmla="*/ 57 w 57"/>
                  <a:gd name="T23" fmla="*/ 75 h 108"/>
                  <a:gd name="T24" fmla="*/ 56 w 57"/>
                  <a:gd name="T25" fmla="*/ 77 h 108"/>
                  <a:gd name="T26" fmla="*/ 3 w 57"/>
                  <a:gd name="T27" fmla="*/ 107 h 108"/>
                  <a:gd name="T28" fmla="*/ 2 w 57"/>
                  <a:gd name="T29" fmla="*/ 108 h 108"/>
                  <a:gd name="T30" fmla="*/ 4 w 57"/>
                  <a:gd name="T31" fmla="*/ 33 h 108"/>
                  <a:gd name="T32" fmla="*/ 4 w 57"/>
                  <a:gd name="T33" fmla="*/ 102 h 108"/>
                  <a:gd name="T34" fmla="*/ 53 w 57"/>
                  <a:gd name="T35" fmla="*/ 74 h 108"/>
                  <a:gd name="T36" fmla="*/ 53 w 57"/>
                  <a:gd name="T37" fmla="*/ 14 h 108"/>
                  <a:gd name="T38" fmla="*/ 52 w 57"/>
                  <a:gd name="T39" fmla="*/ 14 h 108"/>
                  <a:gd name="T40" fmla="*/ 52 w 57"/>
                  <a:gd name="T41" fmla="*/ 13 h 108"/>
                  <a:gd name="T42" fmla="*/ 52 w 57"/>
                  <a:gd name="T43" fmla="*/ 5 h 108"/>
                  <a:gd name="T44" fmla="*/ 4 w 57"/>
                  <a:gd name="T45" fmla="*/ 3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7" h="108">
                    <a:moveTo>
                      <a:pt x="2" y="108"/>
                    </a:moveTo>
                    <a:cubicBezTo>
                      <a:pt x="2" y="108"/>
                      <a:pt x="1" y="108"/>
                      <a:pt x="1" y="107"/>
                    </a:cubicBezTo>
                    <a:cubicBezTo>
                      <a:pt x="0" y="107"/>
                      <a:pt x="0" y="106"/>
                      <a:pt x="0" y="106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1"/>
                      <a:pt x="0" y="30"/>
                      <a:pt x="1" y="3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54" y="0"/>
                      <a:pt x="55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1"/>
                      <a:pt x="57" y="11"/>
                      <a:pt x="57" y="12"/>
                    </a:cubicBezTo>
                    <a:cubicBezTo>
                      <a:pt x="57" y="75"/>
                      <a:pt x="57" y="75"/>
                      <a:pt x="57" y="75"/>
                    </a:cubicBezTo>
                    <a:cubicBezTo>
                      <a:pt x="57" y="76"/>
                      <a:pt x="56" y="77"/>
                      <a:pt x="56" y="77"/>
                    </a:cubicBezTo>
                    <a:cubicBezTo>
                      <a:pt x="3" y="107"/>
                      <a:pt x="3" y="107"/>
                      <a:pt x="3" y="107"/>
                    </a:cubicBezTo>
                    <a:cubicBezTo>
                      <a:pt x="3" y="108"/>
                      <a:pt x="2" y="108"/>
                      <a:pt x="2" y="108"/>
                    </a:cubicBezTo>
                    <a:close/>
                    <a:moveTo>
                      <a:pt x="4" y="33"/>
                    </a:moveTo>
                    <a:cubicBezTo>
                      <a:pt x="4" y="102"/>
                      <a:pt x="4" y="102"/>
                      <a:pt x="4" y="102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2" y="14"/>
                    </a:cubicBezTo>
                    <a:cubicBezTo>
                      <a:pt x="52" y="14"/>
                      <a:pt x="52" y="13"/>
                      <a:pt x="52" y="13"/>
                    </a:cubicBezTo>
                    <a:cubicBezTo>
                      <a:pt x="52" y="5"/>
                      <a:pt x="52" y="5"/>
                      <a:pt x="52" y="5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6" name="Freeform 602">
                <a:extLst>
                  <a:ext uri="{FF2B5EF4-FFF2-40B4-BE49-F238E27FC236}">
                    <a16:creationId xmlns:a16="http://schemas.microsoft.com/office/drawing/2014/main" id="{CF85A9F8-9390-42DE-B42E-6CE4285B960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24089" y="6465403"/>
                <a:ext cx="19713" cy="16601"/>
              </a:xfrm>
              <a:custGeom>
                <a:avLst/>
                <a:gdLst>
                  <a:gd name="T0" fmla="*/ 6 w 8"/>
                  <a:gd name="T1" fmla="*/ 7 h 7"/>
                  <a:gd name="T2" fmla="*/ 5 w 8"/>
                  <a:gd name="T3" fmla="*/ 7 h 7"/>
                  <a:gd name="T4" fmla="*/ 1 w 8"/>
                  <a:gd name="T5" fmla="*/ 5 h 7"/>
                  <a:gd name="T6" fmla="*/ 0 w 8"/>
                  <a:gd name="T7" fmla="*/ 3 h 7"/>
                  <a:gd name="T8" fmla="*/ 1 w 8"/>
                  <a:gd name="T9" fmla="*/ 2 h 7"/>
                  <a:gd name="T10" fmla="*/ 3 w 8"/>
                  <a:gd name="T11" fmla="*/ 1 h 7"/>
                  <a:gd name="T12" fmla="*/ 5 w 8"/>
                  <a:gd name="T13" fmla="*/ 1 h 7"/>
                  <a:gd name="T14" fmla="*/ 7 w 8"/>
                  <a:gd name="T15" fmla="*/ 2 h 7"/>
                  <a:gd name="T16" fmla="*/ 8 w 8"/>
                  <a:gd name="T17" fmla="*/ 4 h 7"/>
                  <a:gd name="T18" fmla="*/ 8 w 8"/>
                  <a:gd name="T19" fmla="*/ 5 h 7"/>
                  <a:gd name="T20" fmla="*/ 7 w 8"/>
                  <a:gd name="T21" fmla="*/ 7 h 7"/>
                  <a:gd name="T22" fmla="*/ 6 w 8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7"/>
                      <a:pt x="7" y="7"/>
                    </a:cubicBezTo>
                    <a:cubicBezTo>
                      <a:pt x="7" y="7"/>
                      <a:pt x="6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7" name="Freeform 603">
                <a:extLst>
                  <a:ext uri="{FF2B5EF4-FFF2-40B4-BE49-F238E27FC236}">
                    <a16:creationId xmlns:a16="http://schemas.microsoft.com/office/drawing/2014/main" id="{52F5F035-B3D0-4039-86B4-4D380E36133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24089" y="6462291"/>
                <a:ext cx="9338" cy="12450"/>
              </a:xfrm>
              <a:custGeom>
                <a:avLst/>
                <a:gdLst>
                  <a:gd name="T0" fmla="*/ 2 w 4"/>
                  <a:gd name="T1" fmla="*/ 5 h 5"/>
                  <a:gd name="T2" fmla="*/ 1 w 4"/>
                  <a:gd name="T3" fmla="*/ 4 h 5"/>
                  <a:gd name="T4" fmla="*/ 1 w 4"/>
                  <a:gd name="T5" fmla="*/ 4 h 5"/>
                  <a:gd name="T6" fmla="*/ 0 w 4"/>
                  <a:gd name="T7" fmla="*/ 2 h 5"/>
                  <a:gd name="T8" fmla="*/ 1 w 4"/>
                  <a:gd name="T9" fmla="*/ 1 h 5"/>
                  <a:gd name="T10" fmla="*/ 1 w 4"/>
                  <a:gd name="T11" fmla="*/ 1 h 5"/>
                  <a:gd name="T12" fmla="*/ 3 w 4"/>
                  <a:gd name="T13" fmla="*/ 1 h 5"/>
                  <a:gd name="T14" fmla="*/ 4 w 4"/>
                  <a:gd name="T15" fmla="*/ 2 h 5"/>
                  <a:gd name="T16" fmla="*/ 4 w 4"/>
                  <a:gd name="T17" fmla="*/ 3 h 5"/>
                  <a:gd name="T18" fmla="*/ 3 w 4"/>
                  <a:gd name="T19" fmla="*/ 4 h 5"/>
                  <a:gd name="T20" fmla="*/ 2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3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8" name="Freeform 604">
                <a:extLst>
                  <a:ext uri="{FF2B5EF4-FFF2-40B4-BE49-F238E27FC236}">
                    <a16:creationId xmlns:a16="http://schemas.microsoft.com/office/drawing/2014/main" id="{A1ED9116-167B-41D4-BBE5-74E9D3313C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44689" y="6204981"/>
                <a:ext cx="169119" cy="280136"/>
              </a:xfrm>
              <a:custGeom>
                <a:avLst/>
                <a:gdLst>
                  <a:gd name="T0" fmla="*/ 66 w 69"/>
                  <a:gd name="T1" fmla="*/ 114 h 114"/>
                  <a:gd name="T2" fmla="*/ 65 w 69"/>
                  <a:gd name="T3" fmla="*/ 114 h 114"/>
                  <a:gd name="T4" fmla="*/ 3 w 69"/>
                  <a:gd name="T5" fmla="*/ 78 h 114"/>
                  <a:gd name="T6" fmla="*/ 2 w 69"/>
                  <a:gd name="T7" fmla="*/ 76 h 114"/>
                  <a:gd name="T8" fmla="*/ 2 w 69"/>
                  <a:gd name="T9" fmla="*/ 15 h 114"/>
                  <a:gd name="T10" fmla="*/ 1 w 69"/>
                  <a:gd name="T11" fmla="*/ 15 h 114"/>
                  <a:gd name="T12" fmla="*/ 0 w 69"/>
                  <a:gd name="T13" fmla="*/ 13 h 114"/>
                  <a:gd name="T14" fmla="*/ 0 w 69"/>
                  <a:gd name="T15" fmla="*/ 2 h 114"/>
                  <a:gd name="T16" fmla="*/ 1 w 69"/>
                  <a:gd name="T17" fmla="*/ 0 h 114"/>
                  <a:gd name="T18" fmla="*/ 3 w 69"/>
                  <a:gd name="T19" fmla="*/ 0 h 114"/>
                  <a:gd name="T20" fmla="*/ 68 w 69"/>
                  <a:gd name="T21" fmla="*/ 37 h 114"/>
                  <a:gd name="T22" fmla="*/ 69 w 69"/>
                  <a:gd name="T23" fmla="*/ 39 h 114"/>
                  <a:gd name="T24" fmla="*/ 69 w 69"/>
                  <a:gd name="T25" fmla="*/ 50 h 114"/>
                  <a:gd name="T26" fmla="*/ 68 w 69"/>
                  <a:gd name="T27" fmla="*/ 52 h 114"/>
                  <a:gd name="T28" fmla="*/ 68 w 69"/>
                  <a:gd name="T29" fmla="*/ 52 h 114"/>
                  <a:gd name="T30" fmla="*/ 68 w 69"/>
                  <a:gd name="T31" fmla="*/ 112 h 114"/>
                  <a:gd name="T32" fmla="*/ 67 w 69"/>
                  <a:gd name="T33" fmla="*/ 114 h 114"/>
                  <a:gd name="T34" fmla="*/ 66 w 69"/>
                  <a:gd name="T35" fmla="*/ 114 h 114"/>
                  <a:gd name="T36" fmla="*/ 6 w 69"/>
                  <a:gd name="T37" fmla="*/ 75 h 114"/>
                  <a:gd name="T38" fmla="*/ 64 w 69"/>
                  <a:gd name="T39" fmla="*/ 109 h 114"/>
                  <a:gd name="T40" fmla="*/ 64 w 69"/>
                  <a:gd name="T41" fmla="*/ 50 h 114"/>
                  <a:gd name="T42" fmla="*/ 65 w 69"/>
                  <a:gd name="T43" fmla="*/ 49 h 114"/>
                  <a:gd name="T44" fmla="*/ 65 w 69"/>
                  <a:gd name="T45" fmla="*/ 49 h 114"/>
                  <a:gd name="T46" fmla="*/ 65 w 69"/>
                  <a:gd name="T47" fmla="*/ 40 h 114"/>
                  <a:gd name="T48" fmla="*/ 4 w 69"/>
                  <a:gd name="T49" fmla="*/ 5 h 114"/>
                  <a:gd name="T50" fmla="*/ 4 w 69"/>
                  <a:gd name="T51" fmla="*/ 11 h 114"/>
                  <a:gd name="T52" fmla="*/ 5 w 69"/>
                  <a:gd name="T53" fmla="*/ 11 h 114"/>
                  <a:gd name="T54" fmla="*/ 6 w 69"/>
                  <a:gd name="T55" fmla="*/ 13 h 114"/>
                  <a:gd name="T56" fmla="*/ 6 w 69"/>
                  <a:gd name="T57" fmla="*/ 7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9" h="114">
                    <a:moveTo>
                      <a:pt x="66" y="114"/>
                    </a:moveTo>
                    <a:cubicBezTo>
                      <a:pt x="65" y="114"/>
                      <a:pt x="65" y="114"/>
                      <a:pt x="65" y="114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2" y="78"/>
                      <a:pt x="2" y="77"/>
                      <a:pt x="2" y="76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1" y="15"/>
                    </a:cubicBezTo>
                    <a:cubicBezTo>
                      <a:pt x="1" y="15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37"/>
                      <a:pt x="69" y="38"/>
                      <a:pt x="69" y="39"/>
                    </a:cubicBezTo>
                    <a:cubicBezTo>
                      <a:pt x="69" y="50"/>
                      <a:pt x="69" y="50"/>
                      <a:pt x="69" y="50"/>
                    </a:cubicBezTo>
                    <a:cubicBezTo>
                      <a:pt x="69" y="51"/>
                      <a:pt x="68" y="51"/>
                      <a:pt x="68" y="52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3"/>
                      <a:pt x="67" y="114"/>
                      <a:pt x="67" y="114"/>
                    </a:cubicBezTo>
                    <a:cubicBezTo>
                      <a:pt x="66" y="114"/>
                      <a:pt x="66" y="114"/>
                      <a:pt x="66" y="114"/>
                    </a:cubicBezTo>
                    <a:close/>
                    <a:moveTo>
                      <a:pt x="6" y="75"/>
                    </a:moveTo>
                    <a:cubicBezTo>
                      <a:pt x="64" y="109"/>
                      <a:pt x="64" y="109"/>
                      <a:pt x="64" y="109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4" y="50"/>
                      <a:pt x="64" y="49"/>
                      <a:pt x="65" y="4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5" y="40"/>
                      <a:pt x="65" y="40"/>
                      <a:pt x="65" y="4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6" y="12"/>
                      <a:pt x="6" y="13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9" name="Freeform 605">
                <a:extLst>
                  <a:ext uri="{FF2B5EF4-FFF2-40B4-BE49-F238E27FC236}">
                    <a16:creationId xmlns:a16="http://schemas.microsoft.com/office/drawing/2014/main" id="{4E97967B-CA22-496E-B912-3D1ACE26C4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17713" y="6462291"/>
                <a:ext cx="26976" cy="32164"/>
              </a:xfrm>
              <a:custGeom>
                <a:avLst/>
                <a:gdLst>
                  <a:gd name="T0" fmla="*/ 9 w 11"/>
                  <a:gd name="T1" fmla="*/ 13 h 13"/>
                  <a:gd name="T2" fmla="*/ 8 w 11"/>
                  <a:gd name="T3" fmla="*/ 12 h 13"/>
                  <a:gd name="T4" fmla="*/ 1 w 11"/>
                  <a:gd name="T5" fmla="*/ 8 h 13"/>
                  <a:gd name="T6" fmla="*/ 0 w 11"/>
                  <a:gd name="T7" fmla="*/ 7 h 13"/>
                  <a:gd name="T8" fmla="*/ 1 w 11"/>
                  <a:gd name="T9" fmla="*/ 5 h 13"/>
                  <a:gd name="T10" fmla="*/ 8 w 11"/>
                  <a:gd name="T11" fmla="*/ 1 h 13"/>
                  <a:gd name="T12" fmla="*/ 10 w 11"/>
                  <a:gd name="T13" fmla="*/ 1 h 13"/>
                  <a:gd name="T14" fmla="*/ 11 w 11"/>
                  <a:gd name="T15" fmla="*/ 3 h 13"/>
                  <a:gd name="T16" fmla="*/ 11 w 11"/>
                  <a:gd name="T17" fmla="*/ 11 h 13"/>
                  <a:gd name="T18" fmla="*/ 10 w 11"/>
                  <a:gd name="T19" fmla="*/ 12 h 13"/>
                  <a:gd name="T20" fmla="*/ 9 w 11"/>
                  <a:gd name="T21" fmla="*/ 13 h 13"/>
                  <a:gd name="T22" fmla="*/ 6 w 11"/>
                  <a:gd name="T23" fmla="*/ 7 h 13"/>
                  <a:gd name="T24" fmla="*/ 7 w 11"/>
                  <a:gd name="T25" fmla="*/ 7 h 13"/>
                  <a:gd name="T26" fmla="*/ 7 w 11"/>
                  <a:gd name="T27" fmla="*/ 6 h 13"/>
                  <a:gd name="T28" fmla="*/ 6 w 11"/>
                  <a:gd name="T2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9" y="13"/>
                    </a:moveTo>
                    <a:cubicBezTo>
                      <a:pt x="9" y="13"/>
                      <a:pt x="9" y="13"/>
                      <a:pt x="8" y="1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7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0"/>
                      <a:pt x="10" y="1"/>
                    </a:cubicBezTo>
                    <a:cubicBezTo>
                      <a:pt x="11" y="1"/>
                      <a:pt x="11" y="2"/>
                      <a:pt x="11" y="3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2"/>
                      <a:pt x="10" y="12"/>
                    </a:cubicBezTo>
                    <a:cubicBezTo>
                      <a:pt x="10" y="13"/>
                      <a:pt x="10" y="13"/>
                      <a:pt x="9" y="13"/>
                    </a:cubicBezTo>
                    <a:close/>
                    <a:moveTo>
                      <a:pt x="6" y="7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0" name="Freeform 606">
                <a:extLst>
                  <a:ext uri="{FF2B5EF4-FFF2-40B4-BE49-F238E27FC236}">
                    <a16:creationId xmlns:a16="http://schemas.microsoft.com/office/drawing/2014/main" id="{495867E1-AA7C-4688-9527-488AAEC6BB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044047" y="5798266"/>
                <a:ext cx="26976" cy="32164"/>
              </a:xfrm>
              <a:custGeom>
                <a:avLst/>
                <a:gdLst>
                  <a:gd name="T0" fmla="*/ 2 w 11"/>
                  <a:gd name="T1" fmla="*/ 13 h 13"/>
                  <a:gd name="T2" fmla="*/ 1 w 11"/>
                  <a:gd name="T3" fmla="*/ 12 h 13"/>
                  <a:gd name="T4" fmla="*/ 0 w 11"/>
                  <a:gd name="T5" fmla="*/ 11 h 13"/>
                  <a:gd name="T6" fmla="*/ 0 w 11"/>
                  <a:gd name="T7" fmla="*/ 2 h 13"/>
                  <a:gd name="T8" fmla="*/ 1 w 11"/>
                  <a:gd name="T9" fmla="*/ 0 h 13"/>
                  <a:gd name="T10" fmla="*/ 3 w 11"/>
                  <a:gd name="T11" fmla="*/ 0 h 13"/>
                  <a:gd name="T12" fmla="*/ 10 w 11"/>
                  <a:gd name="T13" fmla="*/ 5 h 13"/>
                  <a:gd name="T14" fmla="*/ 11 w 11"/>
                  <a:gd name="T15" fmla="*/ 6 h 13"/>
                  <a:gd name="T16" fmla="*/ 10 w 11"/>
                  <a:gd name="T17" fmla="*/ 8 h 13"/>
                  <a:gd name="T18" fmla="*/ 3 w 11"/>
                  <a:gd name="T19" fmla="*/ 12 h 13"/>
                  <a:gd name="T20" fmla="*/ 2 w 11"/>
                  <a:gd name="T21" fmla="*/ 13 h 13"/>
                  <a:gd name="T22" fmla="*/ 4 w 11"/>
                  <a:gd name="T23" fmla="*/ 6 h 13"/>
                  <a:gd name="T24" fmla="*/ 4 w 11"/>
                  <a:gd name="T25" fmla="*/ 7 h 13"/>
                  <a:gd name="T26" fmla="*/ 5 w 11"/>
                  <a:gd name="T27" fmla="*/ 6 h 13"/>
                  <a:gd name="T28" fmla="*/ 4 w 11"/>
                  <a:gd name="T2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2" y="13"/>
                    </a:moveTo>
                    <a:cubicBezTo>
                      <a:pt x="2" y="13"/>
                      <a:pt x="2" y="12"/>
                      <a:pt x="1" y="12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5"/>
                      <a:pt x="11" y="6"/>
                      <a:pt x="11" y="6"/>
                    </a:cubicBezTo>
                    <a:cubicBezTo>
                      <a:pt x="11" y="7"/>
                      <a:pt x="11" y="8"/>
                      <a:pt x="1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3"/>
                      <a:pt x="2" y="13"/>
                    </a:cubicBezTo>
                    <a:close/>
                    <a:moveTo>
                      <a:pt x="4" y="6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1" name="Freeform 607">
                <a:extLst>
                  <a:ext uri="{FF2B5EF4-FFF2-40B4-BE49-F238E27FC236}">
                    <a16:creationId xmlns:a16="http://schemas.microsoft.com/office/drawing/2014/main" id="{876E158F-9CFB-4A5B-A635-7187B88864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70683" y="6521431"/>
                <a:ext cx="161856" cy="215808"/>
              </a:xfrm>
              <a:custGeom>
                <a:avLst/>
                <a:gdLst>
                  <a:gd name="T0" fmla="*/ 64 w 66"/>
                  <a:gd name="T1" fmla="*/ 88 h 88"/>
                  <a:gd name="T2" fmla="*/ 63 w 66"/>
                  <a:gd name="T3" fmla="*/ 87 h 88"/>
                  <a:gd name="T4" fmla="*/ 18 w 66"/>
                  <a:gd name="T5" fmla="*/ 61 h 88"/>
                  <a:gd name="T6" fmla="*/ 3 w 66"/>
                  <a:gd name="T7" fmla="*/ 69 h 88"/>
                  <a:gd name="T8" fmla="*/ 1 w 66"/>
                  <a:gd name="T9" fmla="*/ 69 h 88"/>
                  <a:gd name="T10" fmla="*/ 0 w 66"/>
                  <a:gd name="T11" fmla="*/ 68 h 88"/>
                  <a:gd name="T12" fmla="*/ 0 w 66"/>
                  <a:gd name="T13" fmla="*/ 67 h 88"/>
                  <a:gd name="T14" fmla="*/ 1 w 66"/>
                  <a:gd name="T15" fmla="*/ 65 h 88"/>
                  <a:gd name="T16" fmla="*/ 10 w 66"/>
                  <a:gd name="T17" fmla="*/ 60 h 88"/>
                  <a:gd name="T18" fmla="*/ 10 w 66"/>
                  <a:gd name="T19" fmla="*/ 2 h 88"/>
                  <a:gd name="T20" fmla="*/ 11 w 66"/>
                  <a:gd name="T21" fmla="*/ 1 h 88"/>
                  <a:gd name="T22" fmla="*/ 13 w 66"/>
                  <a:gd name="T23" fmla="*/ 1 h 88"/>
                  <a:gd name="T24" fmla="*/ 65 w 66"/>
                  <a:gd name="T25" fmla="*/ 31 h 88"/>
                  <a:gd name="T26" fmla="*/ 66 w 66"/>
                  <a:gd name="T27" fmla="*/ 32 h 88"/>
                  <a:gd name="T28" fmla="*/ 66 w 66"/>
                  <a:gd name="T29" fmla="*/ 86 h 88"/>
                  <a:gd name="T30" fmla="*/ 65 w 66"/>
                  <a:gd name="T31" fmla="*/ 87 h 88"/>
                  <a:gd name="T32" fmla="*/ 64 w 66"/>
                  <a:gd name="T33" fmla="*/ 88 h 88"/>
                  <a:gd name="T34" fmla="*/ 18 w 66"/>
                  <a:gd name="T35" fmla="*/ 57 h 88"/>
                  <a:gd name="T36" fmla="*/ 19 w 66"/>
                  <a:gd name="T37" fmla="*/ 57 h 88"/>
                  <a:gd name="T38" fmla="*/ 62 w 66"/>
                  <a:gd name="T39" fmla="*/ 82 h 88"/>
                  <a:gd name="T40" fmla="*/ 62 w 66"/>
                  <a:gd name="T41" fmla="*/ 34 h 88"/>
                  <a:gd name="T42" fmla="*/ 14 w 66"/>
                  <a:gd name="T43" fmla="*/ 6 h 88"/>
                  <a:gd name="T44" fmla="*/ 14 w 66"/>
                  <a:gd name="T45" fmla="*/ 59 h 88"/>
                  <a:gd name="T46" fmla="*/ 17 w 66"/>
                  <a:gd name="T47" fmla="*/ 57 h 88"/>
                  <a:gd name="T48" fmla="*/ 18 w 66"/>
                  <a:gd name="T49" fmla="*/ 5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6" h="88">
                    <a:moveTo>
                      <a:pt x="64" y="88"/>
                    </a:moveTo>
                    <a:cubicBezTo>
                      <a:pt x="64" y="88"/>
                      <a:pt x="63" y="88"/>
                      <a:pt x="63" y="87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3" y="70"/>
                      <a:pt x="2" y="70"/>
                      <a:pt x="1" y="69"/>
                    </a:cubicBezTo>
                    <a:cubicBezTo>
                      <a:pt x="1" y="69"/>
                      <a:pt x="0" y="68"/>
                      <a:pt x="0" y="68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66"/>
                      <a:pt x="1" y="66"/>
                      <a:pt x="1" y="65"/>
                    </a:cubicBezTo>
                    <a:cubicBezTo>
                      <a:pt x="10" y="60"/>
                      <a:pt x="10" y="60"/>
                      <a:pt x="10" y="6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1"/>
                      <a:pt x="11" y="1"/>
                    </a:cubicBezTo>
                    <a:cubicBezTo>
                      <a:pt x="12" y="0"/>
                      <a:pt x="12" y="0"/>
                      <a:pt x="13" y="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1"/>
                      <a:pt x="66" y="32"/>
                      <a:pt x="66" y="32"/>
                    </a:cubicBezTo>
                    <a:cubicBezTo>
                      <a:pt x="66" y="86"/>
                      <a:pt x="66" y="86"/>
                      <a:pt x="66" y="86"/>
                    </a:cubicBezTo>
                    <a:cubicBezTo>
                      <a:pt x="66" y="86"/>
                      <a:pt x="66" y="87"/>
                      <a:pt x="65" y="87"/>
                    </a:cubicBezTo>
                    <a:cubicBezTo>
                      <a:pt x="65" y="88"/>
                      <a:pt x="64" y="88"/>
                      <a:pt x="64" y="88"/>
                    </a:cubicBezTo>
                    <a:close/>
                    <a:moveTo>
                      <a:pt x="18" y="57"/>
                    </a:moveTo>
                    <a:cubicBezTo>
                      <a:pt x="18" y="57"/>
                      <a:pt x="18" y="57"/>
                      <a:pt x="19" y="57"/>
                    </a:cubicBezTo>
                    <a:cubicBezTo>
                      <a:pt x="62" y="82"/>
                      <a:pt x="62" y="82"/>
                      <a:pt x="62" y="82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59"/>
                      <a:pt x="14" y="59"/>
                      <a:pt x="14" y="59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57"/>
                      <a:pt x="17" y="57"/>
                      <a:pt x="18" y="5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2" name="Freeform 608">
                <a:extLst>
                  <a:ext uri="{FF2B5EF4-FFF2-40B4-BE49-F238E27FC236}">
                    <a16:creationId xmlns:a16="http://schemas.microsoft.com/office/drawing/2014/main" id="{F3A75CBA-9DF8-4F02-8A10-F99FED00E5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66778" y="6183193"/>
                <a:ext cx="70553" cy="83003"/>
              </a:xfrm>
              <a:custGeom>
                <a:avLst/>
                <a:gdLst>
                  <a:gd name="T0" fmla="*/ 2 w 29"/>
                  <a:gd name="T1" fmla="*/ 34 h 34"/>
                  <a:gd name="T2" fmla="*/ 1 w 29"/>
                  <a:gd name="T3" fmla="*/ 33 h 34"/>
                  <a:gd name="T4" fmla="*/ 0 w 29"/>
                  <a:gd name="T5" fmla="*/ 32 h 34"/>
                  <a:gd name="T6" fmla="*/ 0 w 29"/>
                  <a:gd name="T7" fmla="*/ 2 h 34"/>
                  <a:gd name="T8" fmla="*/ 1 w 29"/>
                  <a:gd name="T9" fmla="*/ 0 h 34"/>
                  <a:gd name="T10" fmla="*/ 3 w 29"/>
                  <a:gd name="T11" fmla="*/ 0 h 34"/>
                  <a:gd name="T12" fmla="*/ 28 w 29"/>
                  <a:gd name="T13" fmla="*/ 15 h 34"/>
                  <a:gd name="T14" fmla="*/ 29 w 29"/>
                  <a:gd name="T15" fmla="*/ 17 h 34"/>
                  <a:gd name="T16" fmla="*/ 28 w 29"/>
                  <a:gd name="T17" fmla="*/ 19 h 34"/>
                  <a:gd name="T18" fmla="*/ 3 w 29"/>
                  <a:gd name="T19" fmla="*/ 33 h 34"/>
                  <a:gd name="T20" fmla="*/ 2 w 29"/>
                  <a:gd name="T21" fmla="*/ 34 h 34"/>
                  <a:gd name="T22" fmla="*/ 4 w 29"/>
                  <a:gd name="T23" fmla="*/ 6 h 34"/>
                  <a:gd name="T24" fmla="*/ 4 w 29"/>
                  <a:gd name="T25" fmla="*/ 28 h 34"/>
                  <a:gd name="T26" fmla="*/ 23 w 29"/>
                  <a:gd name="T27" fmla="*/ 17 h 34"/>
                  <a:gd name="T28" fmla="*/ 4 w 29"/>
                  <a:gd name="T2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34">
                    <a:moveTo>
                      <a:pt x="2" y="34"/>
                    </a:moveTo>
                    <a:cubicBezTo>
                      <a:pt x="1" y="34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29" y="16"/>
                      <a:pt x="29" y="17"/>
                    </a:cubicBezTo>
                    <a:cubicBezTo>
                      <a:pt x="29" y="18"/>
                      <a:pt x="29" y="18"/>
                      <a:pt x="28" y="19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2" y="33"/>
                      <a:pt x="2" y="34"/>
                      <a:pt x="2" y="34"/>
                    </a:cubicBezTo>
                    <a:close/>
                    <a:moveTo>
                      <a:pt x="4" y="6"/>
                    </a:moveTo>
                    <a:cubicBezTo>
                      <a:pt x="4" y="28"/>
                      <a:pt x="4" y="28"/>
                      <a:pt x="4" y="28"/>
                    </a:cubicBezTo>
                    <a:cubicBezTo>
                      <a:pt x="23" y="17"/>
                      <a:pt x="23" y="17"/>
                      <a:pt x="23" y="1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3" name="Freeform 609">
                <a:extLst>
                  <a:ext uri="{FF2B5EF4-FFF2-40B4-BE49-F238E27FC236}">
                    <a16:creationId xmlns:a16="http://schemas.microsoft.com/office/drawing/2014/main" id="{3FF1C331-105A-447A-BE45-1D7ED8BD93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6249595"/>
                <a:ext cx="166007" cy="198170"/>
              </a:xfrm>
              <a:custGeom>
                <a:avLst/>
                <a:gdLst>
                  <a:gd name="T0" fmla="*/ 53 w 68"/>
                  <a:gd name="T1" fmla="*/ 81 h 81"/>
                  <a:gd name="T2" fmla="*/ 52 w 68"/>
                  <a:gd name="T3" fmla="*/ 81 h 81"/>
                  <a:gd name="T4" fmla="*/ 1 w 68"/>
                  <a:gd name="T5" fmla="*/ 51 h 81"/>
                  <a:gd name="T6" fmla="*/ 0 w 68"/>
                  <a:gd name="T7" fmla="*/ 49 h 81"/>
                  <a:gd name="T8" fmla="*/ 0 w 68"/>
                  <a:gd name="T9" fmla="*/ 11 h 81"/>
                  <a:gd name="T10" fmla="*/ 1 w 68"/>
                  <a:gd name="T11" fmla="*/ 9 h 81"/>
                  <a:gd name="T12" fmla="*/ 3 w 68"/>
                  <a:gd name="T13" fmla="*/ 9 h 81"/>
                  <a:gd name="T14" fmla="*/ 17 w 68"/>
                  <a:gd name="T15" fmla="*/ 17 h 81"/>
                  <a:gd name="T16" fmla="*/ 47 w 68"/>
                  <a:gd name="T17" fmla="*/ 0 h 81"/>
                  <a:gd name="T18" fmla="*/ 49 w 68"/>
                  <a:gd name="T19" fmla="*/ 0 h 81"/>
                  <a:gd name="T20" fmla="*/ 67 w 68"/>
                  <a:gd name="T21" fmla="*/ 10 h 81"/>
                  <a:gd name="T22" fmla="*/ 68 w 68"/>
                  <a:gd name="T23" fmla="*/ 12 h 81"/>
                  <a:gd name="T24" fmla="*/ 67 w 68"/>
                  <a:gd name="T25" fmla="*/ 14 h 81"/>
                  <a:gd name="T26" fmla="*/ 55 w 68"/>
                  <a:gd name="T27" fmla="*/ 21 h 81"/>
                  <a:gd name="T28" fmla="*/ 55 w 68"/>
                  <a:gd name="T29" fmla="*/ 79 h 81"/>
                  <a:gd name="T30" fmla="*/ 54 w 68"/>
                  <a:gd name="T31" fmla="*/ 81 h 81"/>
                  <a:gd name="T32" fmla="*/ 53 w 68"/>
                  <a:gd name="T33" fmla="*/ 81 h 81"/>
                  <a:gd name="T34" fmla="*/ 4 w 68"/>
                  <a:gd name="T35" fmla="*/ 48 h 81"/>
                  <a:gd name="T36" fmla="*/ 51 w 68"/>
                  <a:gd name="T37" fmla="*/ 76 h 81"/>
                  <a:gd name="T38" fmla="*/ 51 w 68"/>
                  <a:gd name="T39" fmla="*/ 20 h 81"/>
                  <a:gd name="T40" fmla="*/ 52 w 68"/>
                  <a:gd name="T41" fmla="*/ 18 h 81"/>
                  <a:gd name="T42" fmla="*/ 62 w 68"/>
                  <a:gd name="T43" fmla="*/ 12 h 81"/>
                  <a:gd name="T44" fmla="*/ 48 w 68"/>
                  <a:gd name="T45" fmla="*/ 4 h 81"/>
                  <a:gd name="T46" fmla="*/ 18 w 68"/>
                  <a:gd name="T47" fmla="*/ 21 h 81"/>
                  <a:gd name="T48" fmla="*/ 16 w 68"/>
                  <a:gd name="T49" fmla="*/ 21 h 81"/>
                  <a:gd name="T50" fmla="*/ 4 w 68"/>
                  <a:gd name="T51" fmla="*/ 14 h 81"/>
                  <a:gd name="T52" fmla="*/ 4 w 68"/>
                  <a:gd name="T53" fmla="*/ 4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" h="81">
                    <a:moveTo>
                      <a:pt x="53" y="81"/>
                    </a:moveTo>
                    <a:cubicBezTo>
                      <a:pt x="53" y="81"/>
                      <a:pt x="53" y="81"/>
                      <a:pt x="52" y="8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0"/>
                      <a:pt x="0" y="4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1" y="9"/>
                    </a:cubicBezTo>
                    <a:cubicBezTo>
                      <a:pt x="1" y="9"/>
                      <a:pt x="2" y="9"/>
                      <a:pt x="3" y="9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8" y="0"/>
                      <a:pt x="49" y="0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8" y="11"/>
                      <a:pt x="68" y="11"/>
                      <a:pt x="68" y="12"/>
                    </a:cubicBezTo>
                    <a:cubicBezTo>
                      <a:pt x="68" y="13"/>
                      <a:pt x="68" y="14"/>
                      <a:pt x="67" y="14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5" y="80"/>
                      <a:pt x="55" y="81"/>
                      <a:pt x="54" y="81"/>
                    </a:cubicBezTo>
                    <a:cubicBezTo>
                      <a:pt x="54" y="81"/>
                      <a:pt x="54" y="81"/>
                      <a:pt x="53" y="81"/>
                    </a:cubicBezTo>
                    <a:close/>
                    <a:moveTo>
                      <a:pt x="4" y="48"/>
                    </a:move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1" y="19"/>
                      <a:pt x="52" y="18"/>
                      <a:pt x="52" y="18"/>
                    </a:cubicBezTo>
                    <a:cubicBezTo>
                      <a:pt x="62" y="12"/>
                      <a:pt x="62" y="12"/>
                      <a:pt x="62" y="12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7" y="22"/>
                      <a:pt x="16" y="22"/>
                      <a:pt x="16" y="21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4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4" name="Freeform 610">
                <a:extLst>
                  <a:ext uri="{FF2B5EF4-FFF2-40B4-BE49-F238E27FC236}">
                    <a16:creationId xmlns:a16="http://schemas.microsoft.com/office/drawing/2014/main" id="{9C4E48B3-4DFB-4E25-ADD7-85B630A748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40594" y="6229882"/>
                <a:ext cx="134880" cy="237597"/>
              </a:xfrm>
              <a:custGeom>
                <a:avLst/>
                <a:gdLst>
                  <a:gd name="T0" fmla="*/ 2 w 55"/>
                  <a:gd name="T1" fmla="*/ 97 h 97"/>
                  <a:gd name="T2" fmla="*/ 1 w 55"/>
                  <a:gd name="T3" fmla="*/ 97 h 97"/>
                  <a:gd name="T4" fmla="*/ 0 w 55"/>
                  <a:gd name="T5" fmla="*/ 95 h 97"/>
                  <a:gd name="T6" fmla="*/ 0 w 55"/>
                  <a:gd name="T7" fmla="*/ 21 h 97"/>
                  <a:gd name="T8" fmla="*/ 1 w 55"/>
                  <a:gd name="T9" fmla="*/ 20 h 97"/>
                  <a:gd name="T10" fmla="*/ 35 w 55"/>
                  <a:gd name="T11" fmla="*/ 0 h 97"/>
                  <a:gd name="T12" fmla="*/ 37 w 55"/>
                  <a:gd name="T13" fmla="*/ 0 h 97"/>
                  <a:gd name="T14" fmla="*/ 54 w 55"/>
                  <a:gd name="T15" fmla="*/ 10 h 97"/>
                  <a:gd name="T16" fmla="*/ 55 w 55"/>
                  <a:gd name="T17" fmla="*/ 12 h 97"/>
                  <a:gd name="T18" fmla="*/ 55 w 55"/>
                  <a:gd name="T19" fmla="*/ 66 h 97"/>
                  <a:gd name="T20" fmla="*/ 54 w 55"/>
                  <a:gd name="T21" fmla="*/ 68 h 97"/>
                  <a:gd name="T22" fmla="*/ 3 w 55"/>
                  <a:gd name="T23" fmla="*/ 97 h 97"/>
                  <a:gd name="T24" fmla="*/ 2 w 55"/>
                  <a:gd name="T25" fmla="*/ 97 h 97"/>
                  <a:gd name="T26" fmla="*/ 4 w 55"/>
                  <a:gd name="T27" fmla="*/ 23 h 97"/>
                  <a:gd name="T28" fmla="*/ 4 w 55"/>
                  <a:gd name="T29" fmla="*/ 92 h 97"/>
                  <a:gd name="T30" fmla="*/ 51 w 55"/>
                  <a:gd name="T31" fmla="*/ 65 h 97"/>
                  <a:gd name="T32" fmla="*/ 51 w 55"/>
                  <a:gd name="T33" fmla="*/ 13 h 97"/>
                  <a:gd name="T34" fmla="*/ 36 w 55"/>
                  <a:gd name="T35" fmla="*/ 4 h 97"/>
                  <a:gd name="T36" fmla="*/ 4 w 55"/>
                  <a:gd name="T37" fmla="*/ 23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" h="97">
                    <a:moveTo>
                      <a:pt x="2" y="97"/>
                    </a:moveTo>
                    <a:cubicBezTo>
                      <a:pt x="1" y="97"/>
                      <a:pt x="1" y="97"/>
                      <a:pt x="1" y="97"/>
                    </a:cubicBezTo>
                    <a:cubicBezTo>
                      <a:pt x="0" y="97"/>
                      <a:pt x="0" y="96"/>
                      <a:pt x="0" y="9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0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6" y="0"/>
                      <a:pt x="37" y="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5" y="10"/>
                      <a:pt x="55" y="11"/>
                      <a:pt x="55" y="12"/>
                    </a:cubicBezTo>
                    <a:cubicBezTo>
                      <a:pt x="55" y="66"/>
                      <a:pt x="55" y="66"/>
                      <a:pt x="55" y="66"/>
                    </a:cubicBezTo>
                    <a:cubicBezTo>
                      <a:pt x="55" y="66"/>
                      <a:pt x="55" y="67"/>
                      <a:pt x="54" y="68"/>
                    </a:cubicBezTo>
                    <a:cubicBezTo>
                      <a:pt x="3" y="97"/>
                      <a:pt x="3" y="97"/>
                      <a:pt x="3" y="97"/>
                    </a:cubicBezTo>
                    <a:cubicBezTo>
                      <a:pt x="2" y="97"/>
                      <a:pt x="2" y="97"/>
                      <a:pt x="2" y="97"/>
                    </a:cubicBezTo>
                    <a:close/>
                    <a:moveTo>
                      <a:pt x="4" y="23"/>
                    </a:moveTo>
                    <a:cubicBezTo>
                      <a:pt x="4" y="92"/>
                      <a:pt x="4" y="92"/>
                      <a:pt x="4" y="92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5" name="Freeform 611">
                <a:extLst>
                  <a:ext uri="{FF2B5EF4-FFF2-40B4-BE49-F238E27FC236}">
                    <a16:creationId xmlns:a16="http://schemas.microsoft.com/office/drawing/2014/main" id="{58EAA29B-E6BE-478B-B00E-ED053EEFEB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37086" y="6173855"/>
                <a:ext cx="129693" cy="80928"/>
              </a:xfrm>
              <a:custGeom>
                <a:avLst/>
                <a:gdLst>
                  <a:gd name="T0" fmla="*/ 19 w 53"/>
                  <a:gd name="T1" fmla="*/ 33 h 33"/>
                  <a:gd name="T2" fmla="*/ 18 w 53"/>
                  <a:gd name="T3" fmla="*/ 32 h 33"/>
                  <a:gd name="T4" fmla="*/ 1 w 53"/>
                  <a:gd name="T5" fmla="*/ 23 h 33"/>
                  <a:gd name="T6" fmla="*/ 0 w 53"/>
                  <a:gd name="T7" fmla="*/ 21 h 33"/>
                  <a:gd name="T8" fmla="*/ 1 w 53"/>
                  <a:gd name="T9" fmla="*/ 19 h 33"/>
                  <a:gd name="T10" fmla="*/ 33 w 53"/>
                  <a:gd name="T11" fmla="*/ 0 h 33"/>
                  <a:gd name="T12" fmla="*/ 35 w 53"/>
                  <a:gd name="T13" fmla="*/ 0 h 33"/>
                  <a:gd name="T14" fmla="*/ 52 w 53"/>
                  <a:gd name="T15" fmla="*/ 10 h 33"/>
                  <a:gd name="T16" fmla="*/ 53 w 53"/>
                  <a:gd name="T17" fmla="*/ 12 h 33"/>
                  <a:gd name="T18" fmla="*/ 52 w 53"/>
                  <a:gd name="T19" fmla="*/ 14 h 33"/>
                  <a:gd name="T20" fmla="*/ 20 w 53"/>
                  <a:gd name="T21" fmla="*/ 32 h 33"/>
                  <a:gd name="T22" fmla="*/ 19 w 53"/>
                  <a:gd name="T23" fmla="*/ 33 h 33"/>
                  <a:gd name="T24" fmla="*/ 6 w 53"/>
                  <a:gd name="T25" fmla="*/ 21 h 33"/>
                  <a:gd name="T26" fmla="*/ 19 w 53"/>
                  <a:gd name="T27" fmla="*/ 28 h 33"/>
                  <a:gd name="T28" fmla="*/ 47 w 53"/>
                  <a:gd name="T29" fmla="*/ 12 h 33"/>
                  <a:gd name="T30" fmla="*/ 34 w 53"/>
                  <a:gd name="T31" fmla="*/ 4 h 33"/>
                  <a:gd name="T32" fmla="*/ 6 w 53"/>
                  <a:gd name="T33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33">
                    <a:moveTo>
                      <a:pt x="19" y="33"/>
                    </a:moveTo>
                    <a:cubicBezTo>
                      <a:pt x="18" y="33"/>
                      <a:pt x="18" y="33"/>
                      <a:pt x="18" y="32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19"/>
                      <a:pt x="1" y="19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4" y="0"/>
                      <a:pt x="35" y="0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3" y="11"/>
                      <a:pt x="53" y="11"/>
                      <a:pt x="53" y="12"/>
                    </a:cubicBezTo>
                    <a:cubicBezTo>
                      <a:pt x="53" y="13"/>
                      <a:pt x="53" y="13"/>
                      <a:pt x="52" y="14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19" y="33"/>
                      <a:pt x="19" y="33"/>
                      <a:pt x="19" y="33"/>
                    </a:cubicBezTo>
                    <a:close/>
                    <a:moveTo>
                      <a:pt x="6" y="21"/>
                    </a:moveTo>
                    <a:cubicBezTo>
                      <a:pt x="19" y="28"/>
                      <a:pt x="19" y="28"/>
                      <a:pt x="19" y="2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4" y="4"/>
                      <a:pt x="34" y="4"/>
                      <a:pt x="34" y="4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6" name="Freeform 612">
                <a:extLst>
                  <a:ext uri="{FF2B5EF4-FFF2-40B4-BE49-F238E27FC236}">
                    <a16:creationId xmlns:a16="http://schemas.microsoft.com/office/drawing/2014/main" id="{A6E2C520-53D5-438E-A909-867E87B06C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20089" y="6222619"/>
                <a:ext cx="117242" cy="75740"/>
              </a:xfrm>
              <a:custGeom>
                <a:avLst/>
                <a:gdLst>
                  <a:gd name="T0" fmla="*/ 17 w 48"/>
                  <a:gd name="T1" fmla="*/ 31 h 31"/>
                  <a:gd name="T2" fmla="*/ 16 w 48"/>
                  <a:gd name="T3" fmla="*/ 30 h 31"/>
                  <a:gd name="T4" fmla="*/ 1 w 48"/>
                  <a:gd name="T5" fmla="*/ 22 h 31"/>
                  <a:gd name="T6" fmla="*/ 0 w 48"/>
                  <a:gd name="T7" fmla="*/ 20 h 31"/>
                  <a:gd name="T8" fmla="*/ 0 w 48"/>
                  <a:gd name="T9" fmla="*/ 17 h 31"/>
                  <a:gd name="T10" fmla="*/ 1 w 48"/>
                  <a:gd name="T11" fmla="*/ 16 h 31"/>
                  <a:gd name="T12" fmla="*/ 28 w 48"/>
                  <a:gd name="T13" fmla="*/ 0 h 31"/>
                  <a:gd name="T14" fmla="*/ 30 w 48"/>
                  <a:gd name="T15" fmla="*/ 0 h 31"/>
                  <a:gd name="T16" fmla="*/ 47 w 48"/>
                  <a:gd name="T17" fmla="*/ 10 h 31"/>
                  <a:gd name="T18" fmla="*/ 48 w 48"/>
                  <a:gd name="T19" fmla="*/ 12 h 31"/>
                  <a:gd name="T20" fmla="*/ 47 w 48"/>
                  <a:gd name="T21" fmla="*/ 13 h 31"/>
                  <a:gd name="T22" fmla="*/ 18 w 48"/>
                  <a:gd name="T23" fmla="*/ 30 h 31"/>
                  <a:gd name="T24" fmla="*/ 17 w 48"/>
                  <a:gd name="T25" fmla="*/ 31 h 31"/>
                  <a:gd name="T26" fmla="*/ 4 w 48"/>
                  <a:gd name="T27" fmla="*/ 19 h 31"/>
                  <a:gd name="T28" fmla="*/ 17 w 48"/>
                  <a:gd name="T29" fmla="*/ 26 h 31"/>
                  <a:gd name="T30" fmla="*/ 42 w 48"/>
                  <a:gd name="T31" fmla="*/ 12 h 31"/>
                  <a:gd name="T32" fmla="*/ 29 w 48"/>
                  <a:gd name="T33" fmla="*/ 4 h 31"/>
                  <a:gd name="T34" fmla="*/ 4 w 48"/>
                  <a:gd name="T35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1">
                    <a:moveTo>
                      <a:pt x="17" y="31"/>
                    </a:moveTo>
                    <a:cubicBezTo>
                      <a:pt x="16" y="31"/>
                      <a:pt x="16" y="31"/>
                      <a:pt x="16" y="30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6"/>
                      <a:pt x="1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30" y="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8" y="10"/>
                      <a:pt x="48" y="11"/>
                      <a:pt x="48" y="12"/>
                    </a:cubicBezTo>
                    <a:cubicBezTo>
                      <a:pt x="48" y="12"/>
                      <a:pt x="48" y="13"/>
                      <a:pt x="47" y="13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7" y="31"/>
                      <a:pt x="17" y="31"/>
                      <a:pt x="17" y="31"/>
                    </a:cubicBezTo>
                    <a:close/>
                    <a:moveTo>
                      <a:pt x="4" y="19"/>
                    </a:moveTo>
                    <a:cubicBezTo>
                      <a:pt x="17" y="26"/>
                      <a:pt x="17" y="26"/>
                      <a:pt x="17" y="26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4" y="19"/>
                      <a:pt x="4" y="19"/>
                      <a:pt x="4" y="1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7" name="Freeform 613">
                <a:extLst>
                  <a:ext uri="{FF2B5EF4-FFF2-40B4-BE49-F238E27FC236}">
                    <a16:creationId xmlns:a16="http://schemas.microsoft.com/office/drawing/2014/main" id="{28E655F1-5875-4ACF-9A8C-D003AAD2C3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87284" y="6200831"/>
                <a:ext cx="134880" cy="83003"/>
              </a:xfrm>
              <a:custGeom>
                <a:avLst/>
                <a:gdLst>
                  <a:gd name="T0" fmla="*/ 21 w 55"/>
                  <a:gd name="T1" fmla="*/ 34 h 34"/>
                  <a:gd name="T2" fmla="*/ 20 w 55"/>
                  <a:gd name="T3" fmla="*/ 33 h 34"/>
                  <a:gd name="T4" fmla="*/ 19 w 55"/>
                  <a:gd name="T5" fmla="*/ 33 h 34"/>
                  <a:gd name="T6" fmla="*/ 1 w 55"/>
                  <a:gd name="T7" fmla="*/ 22 h 34"/>
                  <a:gd name="T8" fmla="*/ 0 w 55"/>
                  <a:gd name="T9" fmla="*/ 21 h 34"/>
                  <a:gd name="T10" fmla="*/ 1 w 55"/>
                  <a:gd name="T11" fmla="*/ 19 h 34"/>
                  <a:gd name="T12" fmla="*/ 34 w 55"/>
                  <a:gd name="T13" fmla="*/ 0 h 34"/>
                  <a:gd name="T14" fmla="*/ 36 w 55"/>
                  <a:gd name="T15" fmla="*/ 0 h 34"/>
                  <a:gd name="T16" fmla="*/ 54 w 55"/>
                  <a:gd name="T17" fmla="*/ 11 h 34"/>
                  <a:gd name="T18" fmla="*/ 55 w 55"/>
                  <a:gd name="T19" fmla="*/ 13 h 34"/>
                  <a:gd name="T20" fmla="*/ 54 w 55"/>
                  <a:gd name="T21" fmla="*/ 14 h 34"/>
                  <a:gd name="T22" fmla="*/ 22 w 55"/>
                  <a:gd name="T23" fmla="*/ 33 h 34"/>
                  <a:gd name="T24" fmla="*/ 21 w 55"/>
                  <a:gd name="T25" fmla="*/ 34 h 34"/>
                  <a:gd name="T26" fmla="*/ 6 w 55"/>
                  <a:gd name="T27" fmla="*/ 21 h 34"/>
                  <a:gd name="T28" fmla="*/ 21 w 55"/>
                  <a:gd name="T29" fmla="*/ 29 h 34"/>
                  <a:gd name="T30" fmla="*/ 49 w 55"/>
                  <a:gd name="T31" fmla="*/ 13 h 34"/>
                  <a:gd name="T32" fmla="*/ 35 w 55"/>
                  <a:gd name="T33" fmla="*/ 4 h 34"/>
                  <a:gd name="T34" fmla="*/ 6 w 55"/>
                  <a:gd name="T35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5" h="34">
                    <a:moveTo>
                      <a:pt x="21" y="34"/>
                    </a:moveTo>
                    <a:cubicBezTo>
                      <a:pt x="20" y="34"/>
                      <a:pt x="20" y="33"/>
                      <a:pt x="20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0" y="21"/>
                      <a:pt x="0" y="21"/>
                    </a:cubicBezTo>
                    <a:cubicBezTo>
                      <a:pt x="0" y="20"/>
                      <a:pt x="1" y="19"/>
                      <a:pt x="1" y="19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5" y="0"/>
                      <a:pt x="36" y="0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5" y="11"/>
                      <a:pt x="55" y="12"/>
                      <a:pt x="55" y="13"/>
                    </a:cubicBezTo>
                    <a:cubicBezTo>
                      <a:pt x="55" y="13"/>
                      <a:pt x="55" y="14"/>
                      <a:pt x="54" y="14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1" y="33"/>
                      <a:pt x="21" y="34"/>
                      <a:pt x="21" y="34"/>
                    </a:cubicBezTo>
                    <a:close/>
                    <a:moveTo>
                      <a:pt x="6" y="21"/>
                    </a:moveTo>
                    <a:cubicBezTo>
                      <a:pt x="21" y="29"/>
                      <a:pt x="21" y="29"/>
                      <a:pt x="21" y="29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35" y="4"/>
                      <a:pt x="35" y="4"/>
                      <a:pt x="35" y="4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8" name="Freeform 614">
                <a:extLst>
                  <a:ext uri="{FF2B5EF4-FFF2-40B4-BE49-F238E27FC236}">
                    <a16:creationId xmlns:a16="http://schemas.microsoft.com/office/drawing/2014/main" id="{4B1C113C-3932-4693-8667-581227FCF1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6278646"/>
                <a:ext cx="36314" cy="186757"/>
              </a:xfrm>
              <a:custGeom>
                <a:avLst/>
                <a:gdLst>
                  <a:gd name="T0" fmla="*/ 13 w 15"/>
                  <a:gd name="T1" fmla="*/ 76 h 76"/>
                  <a:gd name="T2" fmla="*/ 12 w 15"/>
                  <a:gd name="T3" fmla="*/ 76 h 76"/>
                  <a:gd name="T4" fmla="*/ 1 w 15"/>
                  <a:gd name="T5" fmla="*/ 70 h 76"/>
                  <a:gd name="T6" fmla="*/ 0 w 15"/>
                  <a:gd name="T7" fmla="*/ 68 h 76"/>
                  <a:gd name="T8" fmla="*/ 0 w 15"/>
                  <a:gd name="T9" fmla="*/ 9 h 76"/>
                  <a:gd name="T10" fmla="*/ 1 w 15"/>
                  <a:gd name="T11" fmla="*/ 7 h 76"/>
                  <a:gd name="T12" fmla="*/ 12 w 15"/>
                  <a:gd name="T13" fmla="*/ 1 h 76"/>
                  <a:gd name="T14" fmla="*/ 14 w 15"/>
                  <a:gd name="T15" fmla="*/ 1 h 76"/>
                  <a:gd name="T16" fmla="*/ 15 w 15"/>
                  <a:gd name="T17" fmla="*/ 2 h 76"/>
                  <a:gd name="T18" fmla="*/ 15 w 15"/>
                  <a:gd name="T19" fmla="*/ 74 h 76"/>
                  <a:gd name="T20" fmla="*/ 14 w 15"/>
                  <a:gd name="T21" fmla="*/ 76 h 76"/>
                  <a:gd name="T22" fmla="*/ 13 w 15"/>
                  <a:gd name="T23" fmla="*/ 76 h 76"/>
                  <a:gd name="T24" fmla="*/ 4 w 15"/>
                  <a:gd name="T25" fmla="*/ 67 h 76"/>
                  <a:gd name="T26" fmla="*/ 11 w 15"/>
                  <a:gd name="T27" fmla="*/ 71 h 76"/>
                  <a:gd name="T28" fmla="*/ 11 w 15"/>
                  <a:gd name="T29" fmla="*/ 6 h 76"/>
                  <a:gd name="T30" fmla="*/ 4 w 15"/>
                  <a:gd name="T31" fmla="*/ 10 h 76"/>
                  <a:gd name="T32" fmla="*/ 4 w 15"/>
                  <a:gd name="T33" fmla="*/ 6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76">
                    <a:moveTo>
                      <a:pt x="13" y="76"/>
                    </a:moveTo>
                    <a:cubicBezTo>
                      <a:pt x="13" y="76"/>
                      <a:pt x="12" y="76"/>
                      <a:pt x="12" y="76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69"/>
                      <a:pt x="0" y="69"/>
                      <a:pt x="0" y="6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0"/>
                      <a:pt x="14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5" y="75"/>
                      <a:pt x="15" y="76"/>
                      <a:pt x="14" y="76"/>
                    </a:cubicBezTo>
                    <a:cubicBezTo>
                      <a:pt x="14" y="76"/>
                      <a:pt x="13" y="76"/>
                      <a:pt x="13" y="76"/>
                    </a:cubicBezTo>
                    <a:close/>
                    <a:moveTo>
                      <a:pt x="4" y="67"/>
                    </a:move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9" name="Freeform 615">
                <a:extLst>
                  <a:ext uri="{FF2B5EF4-FFF2-40B4-BE49-F238E27FC236}">
                    <a16:creationId xmlns:a16="http://schemas.microsoft.com/office/drawing/2014/main" id="{636A7937-EFFB-4710-B813-35414045167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340594" y="6204981"/>
                <a:ext cx="15563" cy="15563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6" y="5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0" name="Freeform 616">
                <a:extLst>
                  <a:ext uri="{FF2B5EF4-FFF2-40B4-BE49-F238E27FC236}">
                    <a16:creationId xmlns:a16="http://schemas.microsoft.com/office/drawing/2014/main" id="{2F13FADD-77C9-4060-8D83-B22E3254771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633181" y="6262046"/>
                <a:ext cx="9338" cy="11413"/>
              </a:xfrm>
              <a:custGeom>
                <a:avLst/>
                <a:gdLst>
                  <a:gd name="T0" fmla="*/ 2 w 4"/>
                  <a:gd name="T1" fmla="*/ 5 h 5"/>
                  <a:gd name="T2" fmla="*/ 1 w 4"/>
                  <a:gd name="T3" fmla="*/ 5 h 5"/>
                  <a:gd name="T4" fmla="*/ 1 w 4"/>
                  <a:gd name="T5" fmla="*/ 4 h 5"/>
                  <a:gd name="T6" fmla="*/ 0 w 4"/>
                  <a:gd name="T7" fmla="*/ 3 h 5"/>
                  <a:gd name="T8" fmla="*/ 1 w 4"/>
                  <a:gd name="T9" fmla="*/ 1 h 5"/>
                  <a:gd name="T10" fmla="*/ 1 w 4"/>
                  <a:gd name="T11" fmla="*/ 1 h 5"/>
                  <a:gd name="T12" fmla="*/ 3 w 4"/>
                  <a:gd name="T13" fmla="*/ 1 h 5"/>
                  <a:gd name="T14" fmla="*/ 4 w 4"/>
                  <a:gd name="T15" fmla="*/ 2 h 5"/>
                  <a:gd name="T16" fmla="*/ 4 w 4"/>
                  <a:gd name="T17" fmla="*/ 3 h 5"/>
                  <a:gd name="T18" fmla="*/ 3 w 4"/>
                  <a:gd name="T19" fmla="*/ 5 h 5"/>
                  <a:gd name="T20" fmla="*/ 2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1" name="Freeform 617">
                <a:extLst>
                  <a:ext uri="{FF2B5EF4-FFF2-40B4-BE49-F238E27FC236}">
                    <a16:creationId xmlns:a16="http://schemas.microsoft.com/office/drawing/2014/main" id="{E0A1EC8F-9E66-4206-A517-157C5E7436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98451" y="6381363"/>
                <a:ext cx="292587" cy="194020"/>
              </a:xfrm>
              <a:custGeom>
                <a:avLst/>
                <a:gdLst>
                  <a:gd name="T0" fmla="*/ 67 w 119"/>
                  <a:gd name="T1" fmla="*/ 79 h 79"/>
                  <a:gd name="T2" fmla="*/ 66 w 119"/>
                  <a:gd name="T3" fmla="*/ 79 h 79"/>
                  <a:gd name="T4" fmla="*/ 1 w 119"/>
                  <a:gd name="T5" fmla="*/ 41 h 79"/>
                  <a:gd name="T6" fmla="*/ 0 w 119"/>
                  <a:gd name="T7" fmla="*/ 40 h 79"/>
                  <a:gd name="T8" fmla="*/ 1 w 119"/>
                  <a:gd name="T9" fmla="*/ 38 h 79"/>
                  <a:gd name="T10" fmla="*/ 66 w 119"/>
                  <a:gd name="T11" fmla="*/ 1 h 79"/>
                  <a:gd name="T12" fmla="*/ 68 w 119"/>
                  <a:gd name="T13" fmla="*/ 1 h 79"/>
                  <a:gd name="T14" fmla="*/ 69 w 119"/>
                  <a:gd name="T15" fmla="*/ 2 h 79"/>
                  <a:gd name="T16" fmla="*/ 69 w 119"/>
                  <a:gd name="T17" fmla="*/ 18 h 79"/>
                  <a:gd name="T18" fmla="*/ 118 w 119"/>
                  <a:gd name="T19" fmla="*/ 47 h 79"/>
                  <a:gd name="T20" fmla="*/ 119 w 119"/>
                  <a:gd name="T21" fmla="*/ 49 h 79"/>
                  <a:gd name="T22" fmla="*/ 118 w 119"/>
                  <a:gd name="T23" fmla="*/ 50 h 79"/>
                  <a:gd name="T24" fmla="*/ 68 w 119"/>
                  <a:gd name="T25" fmla="*/ 79 h 79"/>
                  <a:gd name="T26" fmla="*/ 67 w 119"/>
                  <a:gd name="T27" fmla="*/ 79 h 79"/>
                  <a:gd name="T28" fmla="*/ 6 w 119"/>
                  <a:gd name="T29" fmla="*/ 40 h 79"/>
                  <a:gd name="T30" fmla="*/ 67 w 119"/>
                  <a:gd name="T31" fmla="*/ 75 h 79"/>
                  <a:gd name="T32" fmla="*/ 113 w 119"/>
                  <a:gd name="T33" fmla="*/ 49 h 79"/>
                  <a:gd name="T34" fmla="*/ 66 w 119"/>
                  <a:gd name="T35" fmla="*/ 21 h 79"/>
                  <a:gd name="T36" fmla="*/ 65 w 119"/>
                  <a:gd name="T37" fmla="*/ 19 h 79"/>
                  <a:gd name="T38" fmla="*/ 65 w 119"/>
                  <a:gd name="T39" fmla="*/ 6 h 79"/>
                  <a:gd name="T40" fmla="*/ 6 w 119"/>
                  <a:gd name="T4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79">
                    <a:moveTo>
                      <a:pt x="67" y="79"/>
                    </a:moveTo>
                    <a:cubicBezTo>
                      <a:pt x="67" y="79"/>
                      <a:pt x="67" y="79"/>
                      <a:pt x="66" y="79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6" y="0"/>
                      <a:pt x="67" y="0"/>
                      <a:pt x="68" y="1"/>
                    </a:cubicBezTo>
                    <a:cubicBezTo>
                      <a:pt x="68" y="1"/>
                      <a:pt x="69" y="2"/>
                      <a:pt x="69" y="2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118" y="47"/>
                      <a:pt x="118" y="47"/>
                      <a:pt x="118" y="47"/>
                    </a:cubicBezTo>
                    <a:cubicBezTo>
                      <a:pt x="119" y="47"/>
                      <a:pt x="119" y="48"/>
                      <a:pt x="119" y="49"/>
                    </a:cubicBezTo>
                    <a:cubicBezTo>
                      <a:pt x="119" y="49"/>
                      <a:pt x="119" y="50"/>
                      <a:pt x="118" y="50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68" y="79"/>
                      <a:pt x="68" y="79"/>
                      <a:pt x="67" y="79"/>
                    </a:cubicBezTo>
                    <a:close/>
                    <a:moveTo>
                      <a:pt x="6" y="40"/>
                    </a:moveTo>
                    <a:cubicBezTo>
                      <a:pt x="67" y="75"/>
                      <a:pt x="67" y="75"/>
                      <a:pt x="67" y="75"/>
                    </a:cubicBezTo>
                    <a:cubicBezTo>
                      <a:pt x="113" y="49"/>
                      <a:pt x="113" y="49"/>
                      <a:pt x="113" y="49"/>
                    </a:cubicBezTo>
                    <a:cubicBezTo>
                      <a:pt x="66" y="21"/>
                      <a:pt x="66" y="21"/>
                      <a:pt x="66" y="21"/>
                    </a:cubicBezTo>
                    <a:cubicBezTo>
                      <a:pt x="65" y="21"/>
                      <a:pt x="65" y="20"/>
                      <a:pt x="65" y="19"/>
                    </a:cubicBezTo>
                    <a:cubicBezTo>
                      <a:pt x="65" y="6"/>
                      <a:pt x="65" y="6"/>
                      <a:pt x="65" y="6"/>
                    </a:cubicBezTo>
                    <a:lnTo>
                      <a:pt x="6" y="4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2" name="Freeform 618">
                <a:extLst>
                  <a:ext uri="{FF2B5EF4-FFF2-40B4-BE49-F238E27FC236}">
                    <a16:creationId xmlns:a16="http://schemas.microsoft.com/office/drawing/2014/main" id="{B50E474E-FF27-4AE4-846E-0C156D981F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6445690"/>
                <a:ext cx="36314" cy="41502"/>
              </a:xfrm>
              <a:custGeom>
                <a:avLst/>
                <a:gdLst>
                  <a:gd name="T0" fmla="*/ 2 w 15"/>
                  <a:gd name="T1" fmla="*/ 17 h 17"/>
                  <a:gd name="T2" fmla="*/ 1 w 15"/>
                  <a:gd name="T3" fmla="*/ 16 h 17"/>
                  <a:gd name="T4" fmla="*/ 0 w 15"/>
                  <a:gd name="T5" fmla="*/ 15 h 17"/>
                  <a:gd name="T6" fmla="*/ 0 w 15"/>
                  <a:gd name="T7" fmla="*/ 2 h 17"/>
                  <a:gd name="T8" fmla="*/ 1 w 15"/>
                  <a:gd name="T9" fmla="*/ 0 h 17"/>
                  <a:gd name="T10" fmla="*/ 3 w 15"/>
                  <a:gd name="T11" fmla="*/ 0 h 17"/>
                  <a:gd name="T12" fmla="*/ 14 w 15"/>
                  <a:gd name="T13" fmla="*/ 7 h 17"/>
                  <a:gd name="T14" fmla="*/ 15 w 15"/>
                  <a:gd name="T15" fmla="*/ 8 h 17"/>
                  <a:gd name="T16" fmla="*/ 14 w 15"/>
                  <a:gd name="T17" fmla="*/ 10 h 17"/>
                  <a:gd name="T18" fmla="*/ 3 w 15"/>
                  <a:gd name="T19" fmla="*/ 16 h 17"/>
                  <a:gd name="T20" fmla="*/ 2 w 15"/>
                  <a:gd name="T21" fmla="*/ 17 h 17"/>
                  <a:gd name="T22" fmla="*/ 4 w 15"/>
                  <a:gd name="T23" fmla="*/ 5 h 17"/>
                  <a:gd name="T24" fmla="*/ 4 w 15"/>
                  <a:gd name="T25" fmla="*/ 11 h 17"/>
                  <a:gd name="T26" fmla="*/ 9 w 15"/>
                  <a:gd name="T27" fmla="*/ 8 h 17"/>
                  <a:gd name="T28" fmla="*/ 4 w 15"/>
                  <a:gd name="T2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7">
                    <a:moveTo>
                      <a:pt x="2" y="17"/>
                    </a:moveTo>
                    <a:cubicBezTo>
                      <a:pt x="2" y="17"/>
                      <a:pt x="1" y="17"/>
                      <a:pt x="1" y="16"/>
                    </a:cubicBezTo>
                    <a:cubicBezTo>
                      <a:pt x="0" y="16"/>
                      <a:pt x="0" y="15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5" y="7"/>
                      <a:pt x="15" y="8"/>
                      <a:pt x="15" y="8"/>
                    </a:cubicBezTo>
                    <a:cubicBezTo>
                      <a:pt x="15" y="9"/>
                      <a:pt x="15" y="10"/>
                      <a:pt x="14" y="10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  <a:moveTo>
                      <a:pt x="4" y="5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9" y="8"/>
                      <a:pt x="9" y="8"/>
                      <a:pt x="9" y="8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3" name="Freeform 619">
                <a:extLst>
                  <a:ext uri="{FF2B5EF4-FFF2-40B4-BE49-F238E27FC236}">
                    <a16:creationId xmlns:a16="http://schemas.microsoft.com/office/drawing/2014/main" id="{48BC0056-2B08-4C38-B7A8-820E34E07A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70683" y="6665649"/>
                <a:ext cx="156669" cy="116204"/>
              </a:xfrm>
              <a:custGeom>
                <a:avLst/>
                <a:gdLst>
                  <a:gd name="T0" fmla="*/ 62 w 64"/>
                  <a:gd name="T1" fmla="*/ 47 h 47"/>
                  <a:gd name="T2" fmla="*/ 61 w 64"/>
                  <a:gd name="T3" fmla="*/ 47 h 47"/>
                  <a:gd name="T4" fmla="*/ 1 w 64"/>
                  <a:gd name="T5" fmla="*/ 12 h 47"/>
                  <a:gd name="T6" fmla="*/ 0 w 64"/>
                  <a:gd name="T7" fmla="*/ 10 h 47"/>
                  <a:gd name="T8" fmla="*/ 1 w 64"/>
                  <a:gd name="T9" fmla="*/ 8 h 47"/>
                  <a:gd name="T10" fmla="*/ 15 w 64"/>
                  <a:gd name="T11" fmla="*/ 0 h 47"/>
                  <a:gd name="T12" fmla="*/ 17 w 64"/>
                  <a:gd name="T13" fmla="*/ 0 h 47"/>
                  <a:gd name="T14" fmla="*/ 63 w 64"/>
                  <a:gd name="T15" fmla="*/ 27 h 47"/>
                  <a:gd name="T16" fmla="*/ 64 w 64"/>
                  <a:gd name="T17" fmla="*/ 29 h 47"/>
                  <a:gd name="T18" fmla="*/ 64 w 64"/>
                  <a:gd name="T19" fmla="*/ 45 h 47"/>
                  <a:gd name="T20" fmla="*/ 63 w 64"/>
                  <a:gd name="T21" fmla="*/ 47 h 47"/>
                  <a:gd name="T22" fmla="*/ 62 w 64"/>
                  <a:gd name="T23" fmla="*/ 47 h 47"/>
                  <a:gd name="T24" fmla="*/ 6 w 64"/>
                  <a:gd name="T25" fmla="*/ 10 h 47"/>
                  <a:gd name="T26" fmla="*/ 60 w 64"/>
                  <a:gd name="T27" fmla="*/ 41 h 47"/>
                  <a:gd name="T28" fmla="*/ 60 w 64"/>
                  <a:gd name="T29" fmla="*/ 30 h 47"/>
                  <a:gd name="T30" fmla="*/ 16 w 64"/>
                  <a:gd name="T31" fmla="*/ 4 h 47"/>
                  <a:gd name="T32" fmla="*/ 6 w 64"/>
                  <a:gd name="T3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47">
                    <a:moveTo>
                      <a:pt x="62" y="47"/>
                    </a:moveTo>
                    <a:cubicBezTo>
                      <a:pt x="62" y="47"/>
                      <a:pt x="61" y="47"/>
                      <a:pt x="61" y="47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64" y="27"/>
                      <a:pt x="64" y="28"/>
                      <a:pt x="64" y="29"/>
                    </a:cubicBezTo>
                    <a:cubicBezTo>
                      <a:pt x="64" y="45"/>
                      <a:pt x="64" y="45"/>
                      <a:pt x="64" y="45"/>
                    </a:cubicBezTo>
                    <a:cubicBezTo>
                      <a:pt x="64" y="46"/>
                      <a:pt x="64" y="46"/>
                      <a:pt x="63" y="47"/>
                    </a:cubicBezTo>
                    <a:cubicBezTo>
                      <a:pt x="63" y="47"/>
                      <a:pt x="62" y="47"/>
                      <a:pt x="62" y="47"/>
                    </a:cubicBezTo>
                    <a:close/>
                    <a:moveTo>
                      <a:pt x="6" y="10"/>
                    </a:moveTo>
                    <a:cubicBezTo>
                      <a:pt x="60" y="41"/>
                      <a:pt x="60" y="41"/>
                      <a:pt x="60" y="41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4" name="Freeform 620">
                <a:extLst>
                  <a:ext uri="{FF2B5EF4-FFF2-40B4-BE49-F238E27FC236}">
                    <a16:creationId xmlns:a16="http://schemas.microsoft.com/office/drawing/2014/main" id="{ADBD7814-97D7-4591-8781-D3165E3B33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21918" y="6254783"/>
                <a:ext cx="23863" cy="142143"/>
              </a:xfrm>
              <a:custGeom>
                <a:avLst/>
                <a:gdLst>
                  <a:gd name="T0" fmla="*/ 2 w 10"/>
                  <a:gd name="T1" fmla="*/ 58 h 58"/>
                  <a:gd name="T2" fmla="*/ 1 w 10"/>
                  <a:gd name="T3" fmla="*/ 58 h 58"/>
                  <a:gd name="T4" fmla="*/ 0 w 10"/>
                  <a:gd name="T5" fmla="*/ 56 h 58"/>
                  <a:gd name="T6" fmla="*/ 0 w 10"/>
                  <a:gd name="T7" fmla="*/ 3 h 58"/>
                  <a:gd name="T8" fmla="*/ 1 w 10"/>
                  <a:gd name="T9" fmla="*/ 1 h 58"/>
                  <a:gd name="T10" fmla="*/ 3 w 10"/>
                  <a:gd name="T11" fmla="*/ 1 h 58"/>
                  <a:gd name="T12" fmla="*/ 9 w 10"/>
                  <a:gd name="T13" fmla="*/ 4 h 58"/>
                  <a:gd name="T14" fmla="*/ 10 w 10"/>
                  <a:gd name="T15" fmla="*/ 6 h 58"/>
                  <a:gd name="T16" fmla="*/ 10 w 10"/>
                  <a:gd name="T17" fmla="*/ 53 h 58"/>
                  <a:gd name="T18" fmla="*/ 9 w 10"/>
                  <a:gd name="T19" fmla="*/ 54 h 58"/>
                  <a:gd name="T20" fmla="*/ 3 w 10"/>
                  <a:gd name="T21" fmla="*/ 58 h 58"/>
                  <a:gd name="T22" fmla="*/ 2 w 10"/>
                  <a:gd name="T23" fmla="*/ 58 h 58"/>
                  <a:gd name="T24" fmla="*/ 4 w 10"/>
                  <a:gd name="T25" fmla="*/ 6 h 58"/>
                  <a:gd name="T26" fmla="*/ 4 w 10"/>
                  <a:gd name="T27" fmla="*/ 53 h 58"/>
                  <a:gd name="T28" fmla="*/ 6 w 10"/>
                  <a:gd name="T29" fmla="*/ 51 h 58"/>
                  <a:gd name="T30" fmla="*/ 6 w 10"/>
                  <a:gd name="T31" fmla="*/ 7 h 58"/>
                  <a:gd name="T32" fmla="*/ 4 w 10"/>
                  <a:gd name="T33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58">
                    <a:moveTo>
                      <a:pt x="2" y="58"/>
                    </a:moveTo>
                    <a:cubicBezTo>
                      <a:pt x="1" y="58"/>
                      <a:pt x="1" y="58"/>
                      <a:pt x="1" y="58"/>
                    </a:cubicBezTo>
                    <a:cubicBezTo>
                      <a:pt x="0" y="57"/>
                      <a:pt x="0" y="57"/>
                      <a:pt x="0" y="5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6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53"/>
                      <a:pt x="9" y="54"/>
                      <a:pt x="9" y="54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8"/>
                      <a:pt x="2" y="58"/>
                      <a:pt x="2" y="58"/>
                    </a:cubicBezTo>
                    <a:close/>
                    <a:moveTo>
                      <a:pt x="4" y="6"/>
                    </a:moveTo>
                    <a:cubicBezTo>
                      <a:pt x="4" y="53"/>
                      <a:pt x="4" y="53"/>
                      <a:pt x="4" y="53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5" name="Freeform 621">
                <a:extLst>
                  <a:ext uri="{FF2B5EF4-FFF2-40B4-BE49-F238E27FC236}">
                    <a16:creationId xmlns:a16="http://schemas.microsoft.com/office/drawing/2014/main" id="{138A0128-5C18-43EE-8825-B49FA73BEE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02451" y="6508980"/>
                <a:ext cx="30089" cy="176382"/>
              </a:xfrm>
              <a:custGeom>
                <a:avLst/>
                <a:gdLst>
                  <a:gd name="T0" fmla="*/ 2 w 12"/>
                  <a:gd name="T1" fmla="*/ 72 h 72"/>
                  <a:gd name="T2" fmla="*/ 1 w 12"/>
                  <a:gd name="T3" fmla="*/ 72 h 72"/>
                  <a:gd name="T4" fmla="*/ 0 w 12"/>
                  <a:gd name="T5" fmla="*/ 70 h 72"/>
                  <a:gd name="T6" fmla="*/ 0 w 12"/>
                  <a:gd name="T7" fmla="*/ 2 h 72"/>
                  <a:gd name="T8" fmla="*/ 1 w 12"/>
                  <a:gd name="T9" fmla="*/ 0 h 72"/>
                  <a:gd name="T10" fmla="*/ 3 w 12"/>
                  <a:gd name="T11" fmla="*/ 0 h 72"/>
                  <a:gd name="T12" fmla="*/ 11 w 12"/>
                  <a:gd name="T13" fmla="*/ 5 h 72"/>
                  <a:gd name="T14" fmla="*/ 12 w 12"/>
                  <a:gd name="T15" fmla="*/ 6 h 72"/>
                  <a:gd name="T16" fmla="*/ 12 w 12"/>
                  <a:gd name="T17" fmla="*/ 66 h 72"/>
                  <a:gd name="T18" fmla="*/ 11 w 12"/>
                  <a:gd name="T19" fmla="*/ 67 h 72"/>
                  <a:gd name="T20" fmla="*/ 3 w 12"/>
                  <a:gd name="T21" fmla="*/ 72 h 72"/>
                  <a:gd name="T22" fmla="*/ 2 w 12"/>
                  <a:gd name="T23" fmla="*/ 72 h 72"/>
                  <a:gd name="T24" fmla="*/ 4 w 12"/>
                  <a:gd name="T25" fmla="*/ 5 h 72"/>
                  <a:gd name="T26" fmla="*/ 4 w 12"/>
                  <a:gd name="T27" fmla="*/ 67 h 72"/>
                  <a:gd name="T28" fmla="*/ 8 w 12"/>
                  <a:gd name="T29" fmla="*/ 64 h 72"/>
                  <a:gd name="T30" fmla="*/ 8 w 12"/>
                  <a:gd name="T31" fmla="*/ 7 h 72"/>
                  <a:gd name="T32" fmla="*/ 4 w 12"/>
                  <a:gd name="T33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72">
                    <a:moveTo>
                      <a:pt x="2" y="72"/>
                    </a:moveTo>
                    <a:cubicBezTo>
                      <a:pt x="2" y="72"/>
                      <a:pt x="2" y="72"/>
                      <a:pt x="1" y="72"/>
                    </a:cubicBezTo>
                    <a:cubicBezTo>
                      <a:pt x="1" y="72"/>
                      <a:pt x="0" y="71"/>
                      <a:pt x="0" y="7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5"/>
                      <a:pt x="12" y="6"/>
                      <a:pt x="12" y="6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66"/>
                      <a:pt x="12" y="67"/>
                      <a:pt x="11" y="67"/>
                    </a:cubicBezTo>
                    <a:cubicBezTo>
                      <a:pt x="3" y="72"/>
                      <a:pt x="3" y="72"/>
                      <a:pt x="3" y="72"/>
                    </a:cubicBezTo>
                    <a:cubicBezTo>
                      <a:pt x="3" y="72"/>
                      <a:pt x="3" y="72"/>
                      <a:pt x="2" y="72"/>
                    </a:cubicBezTo>
                    <a:close/>
                    <a:moveTo>
                      <a:pt x="4" y="5"/>
                    </a:moveTo>
                    <a:cubicBezTo>
                      <a:pt x="4" y="67"/>
                      <a:pt x="4" y="67"/>
                      <a:pt x="4" y="67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8" y="7"/>
                      <a:pt x="8" y="7"/>
                      <a:pt x="8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6" name="Freeform 622">
                <a:extLst>
                  <a:ext uri="{FF2B5EF4-FFF2-40B4-BE49-F238E27FC236}">
                    <a16:creationId xmlns:a16="http://schemas.microsoft.com/office/drawing/2014/main" id="{6F497D72-1523-4A83-8FF4-BB49FDB8F5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6663" y="6474741"/>
                <a:ext cx="330976" cy="289473"/>
              </a:xfrm>
              <a:custGeom>
                <a:avLst/>
                <a:gdLst>
                  <a:gd name="T0" fmla="*/ 74 w 135"/>
                  <a:gd name="T1" fmla="*/ 118 h 118"/>
                  <a:gd name="T2" fmla="*/ 73 w 135"/>
                  <a:gd name="T3" fmla="*/ 118 h 118"/>
                  <a:gd name="T4" fmla="*/ 55 w 135"/>
                  <a:gd name="T5" fmla="*/ 107 h 118"/>
                  <a:gd name="T6" fmla="*/ 54 w 135"/>
                  <a:gd name="T7" fmla="*/ 106 h 118"/>
                  <a:gd name="T8" fmla="*/ 54 w 135"/>
                  <a:gd name="T9" fmla="*/ 52 h 118"/>
                  <a:gd name="T10" fmla="*/ 1 w 135"/>
                  <a:gd name="T11" fmla="*/ 21 h 118"/>
                  <a:gd name="T12" fmla="*/ 0 w 135"/>
                  <a:gd name="T13" fmla="*/ 19 h 118"/>
                  <a:gd name="T14" fmla="*/ 0 w 135"/>
                  <a:gd name="T15" fmla="*/ 5 h 118"/>
                  <a:gd name="T16" fmla="*/ 1 w 135"/>
                  <a:gd name="T17" fmla="*/ 3 h 118"/>
                  <a:gd name="T18" fmla="*/ 6 w 135"/>
                  <a:gd name="T19" fmla="*/ 0 h 118"/>
                  <a:gd name="T20" fmla="*/ 8 w 135"/>
                  <a:gd name="T21" fmla="*/ 0 h 118"/>
                  <a:gd name="T22" fmla="*/ 74 w 135"/>
                  <a:gd name="T23" fmla="*/ 39 h 118"/>
                  <a:gd name="T24" fmla="*/ 125 w 135"/>
                  <a:gd name="T25" fmla="*/ 10 h 118"/>
                  <a:gd name="T26" fmla="*/ 127 w 135"/>
                  <a:gd name="T27" fmla="*/ 10 h 118"/>
                  <a:gd name="T28" fmla="*/ 134 w 135"/>
                  <a:gd name="T29" fmla="*/ 14 h 118"/>
                  <a:gd name="T30" fmla="*/ 135 w 135"/>
                  <a:gd name="T31" fmla="*/ 16 h 118"/>
                  <a:gd name="T32" fmla="*/ 134 w 135"/>
                  <a:gd name="T33" fmla="*/ 18 h 118"/>
                  <a:gd name="T34" fmla="*/ 76 w 135"/>
                  <a:gd name="T35" fmla="*/ 52 h 118"/>
                  <a:gd name="T36" fmla="*/ 76 w 135"/>
                  <a:gd name="T37" fmla="*/ 116 h 118"/>
                  <a:gd name="T38" fmla="*/ 75 w 135"/>
                  <a:gd name="T39" fmla="*/ 118 h 118"/>
                  <a:gd name="T40" fmla="*/ 74 w 135"/>
                  <a:gd name="T41" fmla="*/ 118 h 118"/>
                  <a:gd name="T42" fmla="*/ 58 w 135"/>
                  <a:gd name="T43" fmla="*/ 104 h 118"/>
                  <a:gd name="T44" fmla="*/ 72 w 135"/>
                  <a:gd name="T45" fmla="*/ 112 h 118"/>
                  <a:gd name="T46" fmla="*/ 72 w 135"/>
                  <a:gd name="T47" fmla="*/ 50 h 118"/>
                  <a:gd name="T48" fmla="*/ 73 w 135"/>
                  <a:gd name="T49" fmla="*/ 49 h 118"/>
                  <a:gd name="T50" fmla="*/ 129 w 135"/>
                  <a:gd name="T51" fmla="*/ 16 h 118"/>
                  <a:gd name="T52" fmla="*/ 126 w 135"/>
                  <a:gd name="T53" fmla="*/ 14 h 118"/>
                  <a:gd name="T54" fmla="*/ 75 w 135"/>
                  <a:gd name="T55" fmla="*/ 43 h 118"/>
                  <a:gd name="T56" fmla="*/ 73 w 135"/>
                  <a:gd name="T57" fmla="*/ 43 h 118"/>
                  <a:gd name="T58" fmla="*/ 7 w 135"/>
                  <a:gd name="T59" fmla="*/ 4 h 118"/>
                  <a:gd name="T60" fmla="*/ 4 w 135"/>
                  <a:gd name="T61" fmla="*/ 6 h 118"/>
                  <a:gd name="T62" fmla="*/ 4 w 135"/>
                  <a:gd name="T63" fmla="*/ 18 h 118"/>
                  <a:gd name="T64" fmla="*/ 57 w 135"/>
                  <a:gd name="T65" fmla="*/ 49 h 118"/>
                  <a:gd name="T66" fmla="*/ 58 w 135"/>
                  <a:gd name="T67" fmla="*/ 50 h 118"/>
                  <a:gd name="T68" fmla="*/ 58 w 135"/>
                  <a:gd name="T69" fmla="*/ 10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5" h="118">
                    <a:moveTo>
                      <a:pt x="74" y="118"/>
                    </a:moveTo>
                    <a:cubicBezTo>
                      <a:pt x="73" y="118"/>
                      <a:pt x="73" y="118"/>
                      <a:pt x="73" y="118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4" y="107"/>
                      <a:pt x="54" y="106"/>
                      <a:pt x="54" y="106"/>
                    </a:cubicBezTo>
                    <a:cubicBezTo>
                      <a:pt x="54" y="52"/>
                      <a:pt x="54" y="52"/>
                      <a:pt x="54" y="52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1"/>
                      <a:pt x="0" y="20"/>
                      <a:pt x="0" y="1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74" y="39"/>
                      <a:pt x="74" y="39"/>
                      <a:pt x="74" y="39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5" y="9"/>
                      <a:pt x="126" y="9"/>
                      <a:pt x="127" y="10"/>
                    </a:cubicBezTo>
                    <a:cubicBezTo>
                      <a:pt x="134" y="14"/>
                      <a:pt x="134" y="14"/>
                      <a:pt x="134" y="14"/>
                    </a:cubicBezTo>
                    <a:cubicBezTo>
                      <a:pt x="135" y="15"/>
                      <a:pt x="135" y="15"/>
                      <a:pt x="135" y="16"/>
                    </a:cubicBezTo>
                    <a:cubicBezTo>
                      <a:pt x="135" y="17"/>
                      <a:pt x="135" y="17"/>
                      <a:pt x="134" y="1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6" y="117"/>
                      <a:pt x="75" y="117"/>
                      <a:pt x="75" y="118"/>
                    </a:cubicBezTo>
                    <a:cubicBezTo>
                      <a:pt x="74" y="118"/>
                      <a:pt x="74" y="118"/>
                      <a:pt x="74" y="118"/>
                    </a:cubicBezTo>
                    <a:close/>
                    <a:moveTo>
                      <a:pt x="58" y="104"/>
                    </a:moveTo>
                    <a:cubicBezTo>
                      <a:pt x="72" y="112"/>
                      <a:pt x="72" y="112"/>
                      <a:pt x="72" y="112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2" y="50"/>
                      <a:pt x="72" y="49"/>
                      <a:pt x="73" y="49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26" y="14"/>
                      <a:pt x="126" y="14"/>
                      <a:pt x="126" y="14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75" y="43"/>
                      <a:pt x="74" y="43"/>
                      <a:pt x="73" y="4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7" y="49"/>
                      <a:pt x="57" y="49"/>
                      <a:pt x="57" y="49"/>
                    </a:cubicBezTo>
                    <a:cubicBezTo>
                      <a:pt x="57" y="49"/>
                      <a:pt x="58" y="50"/>
                      <a:pt x="58" y="50"/>
                    </a:cubicBezTo>
                    <a:lnTo>
                      <a:pt x="58" y="10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7" name="Freeform 623">
                <a:extLst>
                  <a:ext uri="{FF2B5EF4-FFF2-40B4-BE49-F238E27FC236}">
                    <a16:creationId xmlns:a16="http://schemas.microsoft.com/office/drawing/2014/main" id="{E7B3F004-ABEF-4394-8F76-A7DDF4D634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23994" y="6688474"/>
                <a:ext cx="327863" cy="171194"/>
              </a:xfrm>
              <a:custGeom>
                <a:avLst/>
                <a:gdLst>
                  <a:gd name="T0" fmla="*/ 67 w 134"/>
                  <a:gd name="T1" fmla="*/ 70 h 70"/>
                  <a:gd name="T2" fmla="*/ 66 w 134"/>
                  <a:gd name="T3" fmla="*/ 70 h 70"/>
                  <a:gd name="T4" fmla="*/ 1 w 134"/>
                  <a:gd name="T5" fmla="*/ 32 h 70"/>
                  <a:gd name="T6" fmla="*/ 0 w 134"/>
                  <a:gd name="T7" fmla="*/ 30 h 70"/>
                  <a:gd name="T8" fmla="*/ 1 w 134"/>
                  <a:gd name="T9" fmla="*/ 29 h 70"/>
                  <a:gd name="T10" fmla="*/ 50 w 134"/>
                  <a:gd name="T11" fmla="*/ 0 h 70"/>
                  <a:gd name="T12" fmla="*/ 52 w 134"/>
                  <a:gd name="T13" fmla="*/ 0 h 70"/>
                  <a:gd name="T14" fmla="*/ 113 w 134"/>
                  <a:gd name="T15" fmla="*/ 35 h 70"/>
                  <a:gd name="T16" fmla="*/ 113 w 134"/>
                  <a:gd name="T17" fmla="*/ 20 h 70"/>
                  <a:gd name="T18" fmla="*/ 114 w 134"/>
                  <a:gd name="T19" fmla="*/ 19 h 70"/>
                  <a:gd name="T20" fmla="*/ 116 w 134"/>
                  <a:gd name="T21" fmla="*/ 19 h 70"/>
                  <a:gd name="T22" fmla="*/ 133 w 134"/>
                  <a:gd name="T23" fmla="*/ 29 h 70"/>
                  <a:gd name="T24" fmla="*/ 134 w 134"/>
                  <a:gd name="T25" fmla="*/ 30 h 70"/>
                  <a:gd name="T26" fmla="*/ 133 w 134"/>
                  <a:gd name="T27" fmla="*/ 32 h 70"/>
                  <a:gd name="T28" fmla="*/ 68 w 134"/>
                  <a:gd name="T29" fmla="*/ 70 h 70"/>
                  <a:gd name="T30" fmla="*/ 67 w 134"/>
                  <a:gd name="T31" fmla="*/ 70 h 70"/>
                  <a:gd name="T32" fmla="*/ 6 w 134"/>
                  <a:gd name="T33" fmla="*/ 30 h 70"/>
                  <a:gd name="T34" fmla="*/ 67 w 134"/>
                  <a:gd name="T35" fmla="*/ 66 h 70"/>
                  <a:gd name="T36" fmla="*/ 112 w 134"/>
                  <a:gd name="T37" fmla="*/ 39 h 70"/>
                  <a:gd name="T38" fmla="*/ 51 w 134"/>
                  <a:gd name="T39" fmla="*/ 4 h 70"/>
                  <a:gd name="T40" fmla="*/ 6 w 134"/>
                  <a:gd name="T41" fmla="*/ 30 h 70"/>
                  <a:gd name="T42" fmla="*/ 117 w 134"/>
                  <a:gd name="T43" fmla="*/ 24 h 70"/>
                  <a:gd name="T44" fmla="*/ 117 w 134"/>
                  <a:gd name="T45" fmla="*/ 37 h 70"/>
                  <a:gd name="T46" fmla="*/ 128 w 134"/>
                  <a:gd name="T47" fmla="*/ 30 h 70"/>
                  <a:gd name="T48" fmla="*/ 117 w 134"/>
                  <a:gd name="T49" fmla="*/ 2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70">
                    <a:moveTo>
                      <a:pt x="67" y="70"/>
                    </a:moveTo>
                    <a:cubicBezTo>
                      <a:pt x="66" y="70"/>
                      <a:pt x="66" y="70"/>
                      <a:pt x="66" y="70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1" y="0"/>
                      <a:pt x="51" y="0"/>
                      <a:pt x="52" y="0"/>
                    </a:cubicBezTo>
                    <a:cubicBezTo>
                      <a:pt x="113" y="35"/>
                      <a:pt x="113" y="35"/>
                      <a:pt x="113" y="35"/>
                    </a:cubicBezTo>
                    <a:cubicBezTo>
                      <a:pt x="113" y="20"/>
                      <a:pt x="113" y="20"/>
                      <a:pt x="113" y="20"/>
                    </a:cubicBezTo>
                    <a:cubicBezTo>
                      <a:pt x="113" y="20"/>
                      <a:pt x="113" y="19"/>
                      <a:pt x="114" y="19"/>
                    </a:cubicBezTo>
                    <a:cubicBezTo>
                      <a:pt x="114" y="18"/>
                      <a:pt x="115" y="18"/>
                      <a:pt x="116" y="19"/>
                    </a:cubicBezTo>
                    <a:cubicBezTo>
                      <a:pt x="133" y="29"/>
                      <a:pt x="133" y="29"/>
                      <a:pt x="133" y="29"/>
                    </a:cubicBezTo>
                    <a:cubicBezTo>
                      <a:pt x="133" y="29"/>
                      <a:pt x="134" y="30"/>
                      <a:pt x="134" y="30"/>
                    </a:cubicBezTo>
                    <a:cubicBezTo>
                      <a:pt x="134" y="31"/>
                      <a:pt x="133" y="32"/>
                      <a:pt x="133" y="32"/>
                    </a:cubicBezTo>
                    <a:cubicBezTo>
                      <a:pt x="68" y="70"/>
                      <a:pt x="68" y="70"/>
                      <a:pt x="68" y="70"/>
                    </a:cubicBezTo>
                    <a:cubicBezTo>
                      <a:pt x="67" y="70"/>
                      <a:pt x="67" y="70"/>
                      <a:pt x="67" y="70"/>
                    </a:cubicBezTo>
                    <a:close/>
                    <a:moveTo>
                      <a:pt x="6" y="30"/>
                    </a:moveTo>
                    <a:cubicBezTo>
                      <a:pt x="67" y="66"/>
                      <a:pt x="67" y="66"/>
                      <a:pt x="67" y="66"/>
                    </a:cubicBezTo>
                    <a:cubicBezTo>
                      <a:pt x="112" y="39"/>
                      <a:pt x="112" y="39"/>
                      <a:pt x="112" y="39"/>
                    </a:cubicBezTo>
                    <a:cubicBezTo>
                      <a:pt x="51" y="4"/>
                      <a:pt x="51" y="4"/>
                      <a:pt x="51" y="4"/>
                    </a:cubicBezTo>
                    <a:lnTo>
                      <a:pt x="6" y="30"/>
                    </a:lnTo>
                    <a:close/>
                    <a:moveTo>
                      <a:pt x="117" y="24"/>
                    </a:moveTo>
                    <a:cubicBezTo>
                      <a:pt x="117" y="37"/>
                      <a:pt x="117" y="37"/>
                      <a:pt x="117" y="37"/>
                    </a:cubicBezTo>
                    <a:cubicBezTo>
                      <a:pt x="128" y="30"/>
                      <a:pt x="128" y="30"/>
                      <a:pt x="128" y="30"/>
                    </a:cubicBezTo>
                    <a:lnTo>
                      <a:pt x="117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8" name="Freeform 624">
                <a:extLst>
                  <a:ext uri="{FF2B5EF4-FFF2-40B4-BE49-F238E27FC236}">
                    <a16:creationId xmlns:a16="http://schemas.microsoft.com/office/drawing/2014/main" id="{D9A42DF6-E945-40F2-9A09-F59FB9B211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02451" y="6482004"/>
                <a:ext cx="167044" cy="280136"/>
              </a:xfrm>
              <a:custGeom>
                <a:avLst/>
                <a:gdLst>
                  <a:gd name="T0" fmla="*/ 5 w 68"/>
                  <a:gd name="T1" fmla="*/ 114 h 114"/>
                  <a:gd name="T2" fmla="*/ 4 w 68"/>
                  <a:gd name="T3" fmla="*/ 114 h 114"/>
                  <a:gd name="T4" fmla="*/ 1 w 68"/>
                  <a:gd name="T5" fmla="*/ 112 h 114"/>
                  <a:gd name="T6" fmla="*/ 0 w 68"/>
                  <a:gd name="T7" fmla="*/ 111 h 114"/>
                  <a:gd name="T8" fmla="*/ 0 w 68"/>
                  <a:gd name="T9" fmla="*/ 40 h 114"/>
                  <a:gd name="T10" fmla="*/ 1 w 68"/>
                  <a:gd name="T11" fmla="*/ 38 h 114"/>
                  <a:gd name="T12" fmla="*/ 65 w 68"/>
                  <a:gd name="T13" fmla="*/ 1 h 114"/>
                  <a:gd name="T14" fmla="*/ 67 w 68"/>
                  <a:gd name="T15" fmla="*/ 1 h 114"/>
                  <a:gd name="T16" fmla="*/ 68 w 68"/>
                  <a:gd name="T17" fmla="*/ 3 h 114"/>
                  <a:gd name="T18" fmla="*/ 68 w 68"/>
                  <a:gd name="T19" fmla="*/ 15 h 114"/>
                  <a:gd name="T20" fmla="*/ 67 w 68"/>
                  <a:gd name="T21" fmla="*/ 17 h 114"/>
                  <a:gd name="T22" fmla="*/ 65 w 68"/>
                  <a:gd name="T23" fmla="*/ 17 h 114"/>
                  <a:gd name="T24" fmla="*/ 59 w 68"/>
                  <a:gd name="T25" fmla="*/ 13 h 114"/>
                  <a:gd name="T26" fmla="*/ 59 w 68"/>
                  <a:gd name="T27" fmla="*/ 82 h 114"/>
                  <a:gd name="T28" fmla="*/ 58 w 68"/>
                  <a:gd name="T29" fmla="*/ 84 h 114"/>
                  <a:gd name="T30" fmla="*/ 6 w 68"/>
                  <a:gd name="T31" fmla="*/ 114 h 114"/>
                  <a:gd name="T32" fmla="*/ 5 w 68"/>
                  <a:gd name="T33" fmla="*/ 114 h 114"/>
                  <a:gd name="T34" fmla="*/ 4 w 68"/>
                  <a:gd name="T35" fmla="*/ 110 h 114"/>
                  <a:gd name="T36" fmla="*/ 5 w 68"/>
                  <a:gd name="T37" fmla="*/ 110 h 114"/>
                  <a:gd name="T38" fmla="*/ 55 w 68"/>
                  <a:gd name="T39" fmla="*/ 81 h 114"/>
                  <a:gd name="T40" fmla="*/ 55 w 68"/>
                  <a:gd name="T41" fmla="*/ 12 h 114"/>
                  <a:gd name="T42" fmla="*/ 4 w 68"/>
                  <a:gd name="T43" fmla="*/ 41 h 114"/>
                  <a:gd name="T44" fmla="*/ 4 w 68"/>
                  <a:gd name="T45" fmla="*/ 110 h 114"/>
                  <a:gd name="T46" fmla="*/ 59 w 68"/>
                  <a:gd name="T47" fmla="*/ 9 h 114"/>
                  <a:gd name="T48" fmla="*/ 64 w 68"/>
                  <a:gd name="T49" fmla="*/ 12 h 114"/>
                  <a:gd name="T50" fmla="*/ 64 w 68"/>
                  <a:gd name="T51" fmla="*/ 6 h 114"/>
                  <a:gd name="T52" fmla="*/ 59 w 68"/>
                  <a:gd name="T53" fmla="*/ 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" h="114">
                    <a:moveTo>
                      <a:pt x="5" y="114"/>
                    </a:moveTo>
                    <a:cubicBezTo>
                      <a:pt x="4" y="114"/>
                      <a:pt x="4" y="114"/>
                      <a:pt x="4" y="114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2"/>
                      <a:pt x="0" y="111"/>
                      <a:pt x="0" y="11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7" y="0"/>
                      <a:pt x="67" y="1"/>
                    </a:cubicBezTo>
                    <a:cubicBezTo>
                      <a:pt x="68" y="1"/>
                      <a:pt x="68" y="2"/>
                      <a:pt x="68" y="3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8" y="16"/>
                      <a:pt x="68" y="17"/>
                      <a:pt x="67" y="17"/>
                    </a:cubicBezTo>
                    <a:cubicBezTo>
                      <a:pt x="67" y="18"/>
                      <a:pt x="66" y="18"/>
                      <a:pt x="65" y="17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9" y="82"/>
                      <a:pt x="59" y="82"/>
                      <a:pt x="59" y="82"/>
                    </a:cubicBezTo>
                    <a:cubicBezTo>
                      <a:pt x="59" y="83"/>
                      <a:pt x="58" y="84"/>
                      <a:pt x="58" y="84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5" y="114"/>
                      <a:pt x="5" y="114"/>
                      <a:pt x="5" y="114"/>
                    </a:cubicBezTo>
                    <a:close/>
                    <a:moveTo>
                      <a:pt x="4" y="110"/>
                    </a:moveTo>
                    <a:cubicBezTo>
                      <a:pt x="5" y="110"/>
                      <a:pt x="5" y="110"/>
                      <a:pt x="5" y="110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5" y="12"/>
                      <a:pt x="55" y="12"/>
                      <a:pt x="55" y="12"/>
                    </a:cubicBezTo>
                    <a:cubicBezTo>
                      <a:pt x="4" y="41"/>
                      <a:pt x="4" y="41"/>
                      <a:pt x="4" y="41"/>
                    </a:cubicBezTo>
                    <a:lnTo>
                      <a:pt x="4" y="110"/>
                    </a:lnTo>
                    <a:close/>
                    <a:moveTo>
                      <a:pt x="59" y="9"/>
                    </a:moveTo>
                    <a:cubicBezTo>
                      <a:pt x="64" y="12"/>
                      <a:pt x="64" y="12"/>
                      <a:pt x="64" y="12"/>
                    </a:cubicBezTo>
                    <a:cubicBezTo>
                      <a:pt x="64" y="6"/>
                      <a:pt x="64" y="6"/>
                      <a:pt x="64" y="6"/>
                    </a:cubicBezTo>
                    <a:lnTo>
                      <a:pt x="59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9" name="Freeform 625">
                <a:extLst>
                  <a:ext uri="{FF2B5EF4-FFF2-40B4-BE49-F238E27FC236}">
                    <a16:creationId xmlns:a16="http://schemas.microsoft.com/office/drawing/2014/main" id="{B8EDDEE7-AC14-4462-B886-2F13B06773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25277" y="6683287"/>
                <a:ext cx="134880" cy="80928"/>
              </a:xfrm>
              <a:custGeom>
                <a:avLst/>
                <a:gdLst>
                  <a:gd name="T0" fmla="*/ 3 w 55"/>
                  <a:gd name="T1" fmla="*/ 33 h 33"/>
                  <a:gd name="T2" fmla="*/ 2 w 55"/>
                  <a:gd name="T3" fmla="*/ 33 h 33"/>
                  <a:gd name="T4" fmla="*/ 1 w 55"/>
                  <a:gd name="T5" fmla="*/ 33 h 33"/>
                  <a:gd name="T6" fmla="*/ 0 w 55"/>
                  <a:gd name="T7" fmla="*/ 31 h 33"/>
                  <a:gd name="T8" fmla="*/ 1 w 55"/>
                  <a:gd name="T9" fmla="*/ 29 h 33"/>
                  <a:gd name="T10" fmla="*/ 52 w 55"/>
                  <a:gd name="T11" fmla="*/ 0 h 33"/>
                  <a:gd name="T12" fmla="*/ 54 w 55"/>
                  <a:gd name="T13" fmla="*/ 0 h 33"/>
                  <a:gd name="T14" fmla="*/ 55 w 55"/>
                  <a:gd name="T15" fmla="*/ 2 h 33"/>
                  <a:gd name="T16" fmla="*/ 55 w 55"/>
                  <a:gd name="T17" fmla="*/ 3 h 33"/>
                  <a:gd name="T18" fmla="*/ 54 w 55"/>
                  <a:gd name="T19" fmla="*/ 4 h 33"/>
                  <a:gd name="T20" fmla="*/ 4 w 55"/>
                  <a:gd name="T21" fmla="*/ 33 h 33"/>
                  <a:gd name="T22" fmla="*/ 3 w 55"/>
                  <a:gd name="T2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33">
                    <a:moveTo>
                      <a:pt x="3" y="33"/>
                    </a:moveTo>
                    <a:cubicBezTo>
                      <a:pt x="3" y="33"/>
                      <a:pt x="2" y="33"/>
                      <a:pt x="2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2"/>
                      <a:pt x="0" y="32"/>
                      <a:pt x="0" y="31"/>
                    </a:cubicBezTo>
                    <a:cubicBezTo>
                      <a:pt x="0" y="30"/>
                      <a:pt x="1" y="30"/>
                      <a:pt x="1" y="29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53" y="0"/>
                      <a:pt x="54" y="0"/>
                    </a:cubicBezTo>
                    <a:cubicBezTo>
                      <a:pt x="54" y="1"/>
                      <a:pt x="55" y="1"/>
                      <a:pt x="55" y="2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5" y="3"/>
                      <a:pt x="54" y="4"/>
                      <a:pt x="54" y="4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4" y="33"/>
                      <a:pt x="3" y="33"/>
                      <a:pt x="3" y="3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0" name="Freeform 626">
                <a:extLst>
                  <a:ext uri="{FF2B5EF4-FFF2-40B4-BE49-F238E27FC236}">
                    <a16:creationId xmlns:a16="http://schemas.microsoft.com/office/drawing/2014/main" id="{1B6388C6-6B51-4DA6-B55A-C921C1A19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42519" y="6254783"/>
                <a:ext cx="26976" cy="29051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2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7 h 12"/>
                  <a:gd name="T18" fmla="*/ 3 w 11"/>
                  <a:gd name="T19" fmla="*/ 12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2" y="12"/>
                      <a:pt x="1" y="12"/>
                    </a:cubicBezTo>
                    <a:cubicBezTo>
                      <a:pt x="1" y="11"/>
                      <a:pt x="0" y="10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6"/>
                      <a:pt x="11" y="7"/>
                      <a:pt x="10" y="7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1" name="Freeform 627">
                <a:extLst>
                  <a:ext uri="{FF2B5EF4-FFF2-40B4-BE49-F238E27FC236}">
                    <a16:creationId xmlns:a16="http://schemas.microsoft.com/office/drawing/2014/main" id="{5240E32F-791B-40BA-AE2D-731BCB21BF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24089" y="5342786"/>
                <a:ext cx="43577" cy="41502"/>
              </a:xfrm>
              <a:custGeom>
                <a:avLst/>
                <a:gdLst>
                  <a:gd name="T0" fmla="*/ 9 w 18"/>
                  <a:gd name="T1" fmla="*/ 17 h 17"/>
                  <a:gd name="T2" fmla="*/ 8 w 18"/>
                  <a:gd name="T3" fmla="*/ 17 h 17"/>
                  <a:gd name="T4" fmla="*/ 1 w 18"/>
                  <a:gd name="T5" fmla="*/ 12 h 17"/>
                  <a:gd name="T6" fmla="*/ 0 w 18"/>
                  <a:gd name="T7" fmla="*/ 11 h 17"/>
                  <a:gd name="T8" fmla="*/ 1 w 18"/>
                  <a:gd name="T9" fmla="*/ 9 h 17"/>
                  <a:gd name="T10" fmla="*/ 15 w 18"/>
                  <a:gd name="T11" fmla="*/ 1 h 17"/>
                  <a:gd name="T12" fmla="*/ 17 w 18"/>
                  <a:gd name="T13" fmla="*/ 1 h 17"/>
                  <a:gd name="T14" fmla="*/ 18 w 18"/>
                  <a:gd name="T15" fmla="*/ 3 h 17"/>
                  <a:gd name="T16" fmla="*/ 18 w 18"/>
                  <a:gd name="T17" fmla="*/ 11 h 17"/>
                  <a:gd name="T18" fmla="*/ 17 w 18"/>
                  <a:gd name="T19" fmla="*/ 13 h 17"/>
                  <a:gd name="T20" fmla="*/ 10 w 18"/>
                  <a:gd name="T21" fmla="*/ 17 h 17"/>
                  <a:gd name="T22" fmla="*/ 9 w 18"/>
                  <a:gd name="T23" fmla="*/ 17 h 17"/>
                  <a:gd name="T24" fmla="*/ 6 w 18"/>
                  <a:gd name="T25" fmla="*/ 11 h 17"/>
                  <a:gd name="T26" fmla="*/ 9 w 18"/>
                  <a:gd name="T27" fmla="*/ 13 h 17"/>
                  <a:gd name="T28" fmla="*/ 14 w 18"/>
                  <a:gd name="T29" fmla="*/ 10 h 17"/>
                  <a:gd name="T30" fmla="*/ 14 w 18"/>
                  <a:gd name="T31" fmla="*/ 6 h 17"/>
                  <a:gd name="T32" fmla="*/ 6 w 18"/>
                  <a:gd name="T33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7">
                    <a:moveTo>
                      <a:pt x="9" y="17"/>
                    </a:moveTo>
                    <a:cubicBezTo>
                      <a:pt x="9" y="17"/>
                      <a:pt x="8" y="17"/>
                      <a:pt x="8" y="17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6" y="0"/>
                      <a:pt x="17" y="1"/>
                    </a:cubicBezTo>
                    <a:cubicBezTo>
                      <a:pt x="18" y="1"/>
                      <a:pt x="18" y="2"/>
                      <a:pt x="18" y="3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2"/>
                      <a:pt x="18" y="12"/>
                      <a:pt x="17" y="13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9" y="17"/>
                      <a:pt x="9" y="17"/>
                    </a:cubicBezTo>
                    <a:close/>
                    <a:moveTo>
                      <a:pt x="6" y="11"/>
                    </a:moveTo>
                    <a:cubicBezTo>
                      <a:pt x="9" y="13"/>
                      <a:pt x="9" y="13"/>
                      <a:pt x="9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6"/>
                      <a:pt x="14" y="6"/>
                      <a:pt x="14" y="6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628">
                <a:extLst>
                  <a:ext uri="{FF2B5EF4-FFF2-40B4-BE49-F238E27FC236}">
                    <a16:creationId xmlns:a16="http://schemas.microsoft.com/office/drawing/2014/main" id="{D69BDD85-136C-48EA-9805-0F2B8697F25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657044" y="6754877"/>
                <a:ext cx="12450" cy="11413"/>
              </a:xfrm>
              <a:custGeom>
                <a:avLst/>
                <a:gdLst>
                  <a:gd name="T0" fmla="*/ 2 w 5"/>
                  <a:gd name="T1" fmla="*/ 5 h 5"/>
                  <a:gd name="T2" fmla="*/ 1 w 5"/>
                  <a:gd name="T3" fmla="*/ 4 h 5"/>
                  <a:gd name="T4" fmla="*/ 0 w 5"/>
                  <a:gd name="T5" fmla="*/ 3 h 5"/>
                  <a:gd name="T6" fmla="*/ 0 w 5"/>
                  <a:gd name="T7" fmla="*/ 2 h 5"/>
                  <a:gd name="T8" fmla="*/ 1 w 5"/>
                  <a:gd name="T9" fmla="*/ 0 h 5"/>
                  <a:gd name="T10" fmla="*/ 3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4 w 5"/>
                  <a:gd name="T17" fmla="*/ 4 h 5"/>
                  <a:gd name="T18" fmla="*/ 3 w 5"/>
                  <a:gd name="T19" fmla="*/ 4 h 5"/>
                  <a:gd name="T20" fmla="*/ 2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5"/>
                      <a:pt x="2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1"/>
                      <a:pt x="5" y="1"/>
                      <a:pt x="5" y="2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3" name="Freeform 629">
                <a:extLst>
                  <a:ext uri="{FF2B5EF4-FFF2-40B4-BE49-F238E27FC236}">
                    <a16:creationId xmlns:a16="http://schemas.microsoft.com/office/drawing/2014/main" id="{D2CE788D-EB96-4795-91E6-C43E0CDF04E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214014" y="6254783"/>
                <a:ext cx="115167" cy="75740"/>
              </a:xfrm>
              <a:custGeom>
                <a:avLst/>
                <a:gdLst>
                  <a:gd name="T0" fmla="*/ 45 w 47"/>
                  <a:gd name="T1" fmla="*/ 31 h 31"/>
                  <a:gd name="T2" fmla="*/ 44 w 47"/>
                  <a:gd name="T3" fmla="*/ 31 h 31"/>
                  <a:gd name="T4" fmla="*/ 1 w 47"/>
                  <a:gd name="T5" fmla="*/ 7 h 31"/>
                  <a:gd name="T6" fmla="*/ 0 w 47"/>
                  <a:gd name="T7" fmla="*/ 5 h 31"/>
                  <a:gd name="T8" fmla="*/ 0 w 47"/>
                  <a:gd name="T9" fmla="*/ 2 h 31"/>
                  <a:gd name="T10" fmla="*/ 1 w 47"/>
                  <a:gd name="T11" fmla="*/ 1 h 31"/>
                  <a:gd name="T12" fmla="*/ 3 w 47"/>
                  <a:gd name="T13" fmla="*/ 1 h 31"/>
                  <a:gd name="T14" fmla="*/ 46 w 47"/>
                  <a:gd name="T15" fmla="*/ 25 h 31"/>
                  <a:gd name="T16" fmla="*/ 47 w 47"/>
                  <a:gd name="T17" fmla="*/ 27 h 31"/>
                  <a:gd name="T18" fmla="*/ 47 w 47"/>
                  <a:gd name="T19" fmla="*/ 29 h 31"/>
                  <a:gd name="T20" fmla="*/ 46 w 47"/>
                  <a:gd name="T21" fmla="*/ 31 h 31"/>
                  <a:gd name="T22" fmla="*/ 45 w 47"/>
                  <a:gd name="T2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31">
                    <a:moveTo>
                      <a:pt x="45" y="31"/>
                    </a:moveTo>
                    <a:cubicBezTo>
                      <a:pt x="44" y="31"/>
                      <a:pt x="44" y="31"/>
                      <a:pt x="44" y="3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6" y="25"/>
                      <a:pt x="47" y="26"/>
                      <a:pt x="47" y="27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7" y="30"/>
                      <a:pt x="46" y="31"/>
                      <a:pt x="46" y="31"/>
                    </a:cubicBezTo>
                    <a:cubicBezTo>
                      <a:pt x="45" y="31"/>
                      <a:pt x="45" y="31"/>
                      <a:pt x="45" y="3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4" name="Freeform 630">
                <a:extLst>
                  <a:ext uri="{FF2B5EF4-FFF2-40B4-BE49-F238E27FC236}">
                    <a16:creationId xmlns:a16="http://schemas.microsoft.com/office/drawing/2014/main" id="{EA60E254-6C15-46EE-AC31-6D065486AF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214014" y="6217432"/>
                <a:ext cx="131768" cy="102716"/>
              </a:xfrm>
              <a:custGeom>
                <a:avLst/>
                <a:gdLst>
                  <a:gd name="T0" fmla="*/ 52 w 54"/>
                  <a:gd name="T1" fmla="*/ 42 h 42"/>
                  <a:gd name="T2" fmla="*/ 51 w 54"/>
                  <a:gd name="T3" fmla="*/ 42 h 42"/>
                  <a:gd name="T4" fmla="*/ 10 w 54"/>
                  <a:gd name="T5" fmla="*/ 18 h 42"/>
                  <a:gd name="T6" fmla="*/ 10 w 54"/>
                  <a:gd name="T7" fmla="*/ 19 h 42"/>
                  <a:gd name="T8" fmla="*/ 9 w 54"/>
                  <a:gd name="T9" fmla="*/ 21 h 42"/>
                  <a:gd name="T10" fmla="*/ 7 w 54"/>
                  <a:gd name="T11" fmla="*/ 21 h 42"/>
                  <a:gd name="T12" fmla="*/ 1 w 54"/>
                  <a:gd name="T13" fmla="*/ 17 h 42"/>
                  <a:gd name="T14" fmla="*/ 0 w 54"/>
                  <a:gd name="T15" fmla="*/ 16 h 42"/>
                  <a:gd name="T16" fmla="*/ 0 w 54"/>
                  <a:gd name="T17" fmla="*/ 2 h 42"/>
                  <a:gd name="T18" fmla="*/ 1 w 54"/>
                  <a:gd name="T19" fmla="*/ 0 h 42"/>
                  <a:gd name="T20" fmla="*/ 3 w 54"/>
                  <a:gd name="T21" fmla="*/ 0 h 42"/>
                  <a:gd name="T22" fmla="*/ 53 w 54"/>
                  <a:gd name="T23" fmla="*/ 29 h 42"/>
                  <a:gd name="T24" fmla="*/ 54 w 54"/>
                  <a:gd name="T25" fmla="*/ 31 h 42"/>
                  <a:gd name="T26" fmla="*/ 54 w 54"/>
                  <a:gd name="T27" fmla="*/ 40 h 42"/>
                  <a:gd name="T28" fmla="*/ 53 w 54"/>
                  <a:gd name="T29" fmla="*/ 42 h 42"/>
                  <a:gd name="T30" fmla="*/ 52 w 54"/>
                  <a:gd name="T31" fmla="*/ 42 h 42"/>
                  <a:gd name="T32" fmla="*/ 8 w 54"/>
                  <a:gd name="T33" fmla="*/ 13 h 42"/>
                  <a:gd name="T34" fmla="*/ 9 w 54"/>
                  <a:gd name="T35" fmla="*/ 13 h 42"/>
                  <a:gd name="T36" fmla="*/ 50 w 54"/>
                  <a:gd name="T37" fmla="*/ 36 h 42"/>
                  <a:gd name="T38" fmla="*/ 50 w 54"/>
                  <a:gd name="T39" fmla="*/ 32 h 42"/>
                  <a:gd name="T40" fmla="*/ 4 w 54"/>
                  <a:gd name="T41" fmla="*/ 5 h 42"/>
                  <a:gd name="T42" fmla="*/ 4 w 54"/>
                  <a:gd name="T43" fmla="*/ 14 h 42"/>
                  <a:gd name="T44" fmla="*/ 6 w 54"/>
                  <a:gd name="T45" fmla="*/ 16 h 42"/>
                  <a:gd name="T46" fmla="*/ 6 w 54"/>
                  <a:gd name="T47" fmla="*/ 15 h 42"/>
                  <a:gd name="T48" fmla="*/ 7 w 54"/>
                  <a:gd name="T49" fmla="*/ 13 h 42"/>
                  <a:gd name="T50" fmla="*/ 8 w 54"/>
                  <a:gd name="T51" fmla="*/ 1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42">
                    <a:moveTo>
                      <a:pt x="52" y="42"/>
                    </a:moveTo>
                    <a:cubicBezTo>
                      <a:pt x="51" y="42"/>
                      <a:pt x="51" y="42"/>
                      <a:pt x="51" y="42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20"/>
                      <a:pt x="9" y="20"/>
                      <a:pt x="9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53" y="29"/>
                      <a:pt x="53" y="29"/>
                      <a:pt x="53" y="29"/>
                    </a:cubicBezTo>
                    <a:cubicBezTo>
                      <a:pt x="53" y="29"/>
                      <a:pt x="54" y="30"/>
                      <a:pt x="54" y="31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4" y="41"/>
                      <a:pt x="53" y="41"/>
                      <a:pt x="53" y="42"/>
                    </a:cubicBezTo>
                    <a:cubicBezTo>
                      <a:pt x="52" y="42"/>
                      <a:pt x="52" y="42"/>
                      <a:pt x="52" y="42"/>
                    </a:cubicBezTo>
                    <a:close/>
                    <a:moveTo>
                      <a:pt x="8" y="13"/>
                    </a:moveTo>
                    <a:cubicBezTo>
                      <a:pt x="8" y="13"/>
                      <a:pt x="8" y="13"/>
                      <a:pt x="9" y="13"/>
                    </a:cubicBezTo>
                    <a:cubicBezTo>
                      <a:pt x="50" y="36"/>
                      <a:pt x="50" y="36"/>
                      <a:pt x="50" y="3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4"/>
                      <a:pt x="6" y="13"/>
                      <a:pt x="7" y="13"/>
                    </a:cubicBezTo>
                    <a:cubicBezTo>
                      <a:pt x="7" y="13"/>
                      <a:pt x="7" y="13"/>
                      <a:pt x="8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5" name="Freeform 631">
                <a:extLst>
                  <a:ext uri="{FF2B5EF4-FFF2-40B4-BE49-F238E27FC236}">
                    <a16:creationId xmlns:a16="http://schemas.microsoft.com/office/drawing/2014/main" id="{EE03483E-68CC-40B1-A4C5-21DDAA6C3D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8" y="6512093"/>
                <a:ext cx="154594" cy="259385"/>
              </a:xfrm>
              <a:custGeom>
                <a:avLst/>
                <a:gdLst>
                  <a:gd name="T0" fmla="*/ 2 w 63"/>
                  <a:gd name="T1" fmla="*/ 106 h 106"/>
                  <a:gd name="T2" fmla="*/ 1 w 63"/>
                  <a:gd name="T3" fmla="*/ 106 h 106"/>
                  <a:gd name="T4" fmla="*/ 0 w 63"/>
                  <a:gd name="T5" fmla="*/ 104 h 106"/>
                  <a:gd name="T6" fmla="*/ 0 w 63"/>
                  <a:gd name="T7" fmla="*/ 103 h 106"/>
                  <a:gd name="T8" fmla="*/ 0 w 63"/>
                  <a:gd name="T9" fmla="*/ 102 h 106"/>
                  <a:gd name="T10" fmla="*/ 0 w 63"/>
                  <a:gd name="T11" fmla="*/ 102 h 106"/>
                  <a:gd name="T12" fmla="*/ 0 w 63"/>
                  <a:gd name="T13" fmla="*/ 36 h 106"/>
                  <a:gd name="T14" fmla="*/ 1 w 63"/>
                  <a:gd name="T15" fmla="*/ 35 h 106"/>
                  <a:gd name="T16" fmla="*/ 60 w 63"/>
                  <a:gd name="T17" fmla="*/ 1 h 106"/>
                  <a:gd name="T18" fmla="*/ 62 w 63"/>
                  <a:gd name="T19" fmla="*/ 1 h 106"/>
                  <a:gd name="T20" fmla="*/ 63 w 63"/>
                  <a:gd name="T21" fmla="*/ 2 h 106"/>
                  <a:gd name="T22" fmla="*/ 63 w 63"/>
                  <a:gd name="T23" fmla="*/ 70 h 106"/>
                  <a:gd name="T24" fmla="*/ 62 w 63"/>
                  <a:gd name="T25" fmla="*/ 72 h 106"/>
                  <a:gd name="T26" fmla="*/ 3 w 63"/>
                  <a:gd name="T27" fmla="*/ 106 h 106"/>
                  <a:gd name="T28" fmla="*/ 2 w 63"/>
                  <a:gd name="T29" fmla="*/ 106 h 106"/>
                  <a:gd name="T30" fmla="*/ 4 w 63"/>
                  <a:gd name="T31" fmla="*/ 101 h 106"/>
                  <a:gd name="T32" fmla="*/ 5 w 63"/>
                  <a:gd name="T33" fmla="*/ 101 h 106"/>
                  <a:gd name="T34" fmla="*/ 59 w 63"/>
                  <a:gd name="T35" fmla="*/ 69 h 106"/>
                  <a:gd name="T36" fmla="*/ 59 w 63"/>
                  <a:gd name="T37" fmla="*/ 6 h 106"/>
                  <a:gd name="T38" fmla="*/ 4 w 63"/>
                  <a:gd name="T39" fmla="*/ 38 h 106"/>
                  <a:gd name="T40" fmla="*/ 4 w 63"/>
                  <a:gd name="T41" fmla="*/ 101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106">
                    <a:moveTo>
                      <a:pt x="2" y="106"/>
                    </a:moveTo>
                    <a:cubicBezTo>
                      <a:pt x="2" y="106"/>
                      <a:pt x="2" y="106"/>
                      <a:pt x="1" y="106"/>
                    </a:cubicBezTo>
                    <a:cubicBezTo>
                      <a:pt x="1" y="106"/>
                      <a:pt x="0" y="105"/>
                      <a:pt x="0" y="104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103"/>
                      <a:pt x="0" y="102"/>
                      <a:pt x="0" y="102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2" y="0"/>
                      <a:pt x="62" y="1"/>
                    </a:cubicBezTo>
                    <a:cubicBezTo>
                      <a:pt x="63" y="1"/>
                      <a:pt x="63" y="2"/>
                      <a:pt x="63" y="2"/>
                    </a:cubicBezTo>
                    <a:cubicBezTo>
                      <a:pt x="63" y="70"/>
                      <a:pt x="63" y="70"/>
                      <a:pt x="63" y="70"/>
                    </a:cubicBezTo>
                    <a:cubicBezTo>
                      <a:pt x="63" y="71"/>
                      <a:pt x="63" y="72"/>
                      <a:pt x="62" y="72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3" y="106"/>
                      <a:pt x="3" y="106"/>
                      <a:pt x="2" y="106"/>
                    </a:cubicBezTo>
                    <a:close/>
                    <a:moveTo>
                      <a:pt x="4" y="101"/>
                    </a:moveTo>
                    <a:cubicBezTo>
                      <a:pt x="4" y="101"/>
                      <a:pt x="4" y="101"/>
                      <a:pt x="5" y="101"/>
                    </a:cubicBezTo>
                    <a:cubicBezTo>
                      <a:pt x="59" y="69"/>
                      <a:pt x="59" y="69"/>
                      <a:pt x="59" y="69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4" y="10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632">
                <a:extLst>
                  <a:ext uri="{FF2B5EF4-FFF2-40B4-BE49-F238E27FC236}">
                    <a16:creationId xmlns:a16="http://schemas.microsoft.com/office/drawing/2014/main" id="{CDFE96F6-B029-43A0-AB57-05268C3674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214014" y="6112640"/>
                <a:ext cx="158744" cy="180532"/>
              </a:xfrm>
              <a:custGeom>
                <a:avLst/>
                <a:gdLst>
                  <a:gd name="T0" fmla="*/ 63 w 65"/>
                  <a:gd name="T1" fmla="*/ 74 h 74"/>
                  <a:gd name="T2" fmla="*/ 62 w 65"/>
                  <a:gd name="T3" fmla="*/ 73 h 74"/>
                  <a:gd name="T4" fmla="*/ 12 w 65"/>
                  <a:gd name="T5" fmla="*/ 45 h 74"/>
                  <a:gd name="T6" fmla="*/ 11 w 65"/>
                  <a:gd name="T7" fmla="*/ 43 h 74"/>
                  <a:gd name="T8" fmla="*/ 11 w 65"/>
                  <a:gd name="T9" fmla="*/ 40 h 74"/>
                  <a:gd name="T10" fmla="*/ 9 w 65"/>
                  <a:gd name="T11" fmla="*/ 42 h 74"/>
                  <a:gd name="T12" fmla="*/ 7 w 65"/>
                  <a:gd name="T13" fmla="*/ 42 h 74"/>
                  <a:gd name="T14" fmla="*/ 1 w 65"/>
                  <a:gd name="T15" fmla="*/ 38 h 74"/>
                  <a:gd name="T16" fmla="*/ 0 w 65"/>
                  <a:gd name="T17" fmla="*/ 37 h 74"/>
                  <a:gd name="T18" fmla="*/ 1 w 65"/>
                  <a:gd name="T19" fmla="*/ 35 h 74"/>
                  <a:gd name="T20" fmla="*/ 62 w 65"/>
                  <a:gd name="T21" fmla="*/ 0 h 74"/>
                  <a:gd name="T22" fmla="*/ 64 w 65"/>
                  <a:gd name="T23" fmla="*/ 0 h 74"/>
                  <a:gd name="T24" fmla="*/ 65 w 65"/>
                  <a:gd name="T25" fmla="*/ 2 h 74"/>
                  <a:gd name="T26" fmla="*/ 65 w 65"/>
                  <a:gd name="T27" fmla="*/ 72 h 74"/>
                  <a:gd name="T28" fmla="*/ 64 w 65"/>
                  <a:gd name="T29" fmla="*/ 73 h 74"/>
                  <a:gd name="T30" fmla="*/ 63 w 65"/>
                  <a:gd name="T31" fmla="*/ 74 h 74"/>
                  <a:gd name="T32" fmla="*/ 15 w 65"/>
                  <a:gd name="T33" fmla="*/ 42 h 74"/>
                  <a:gd name="T34" fmla="*/ 61 w 65"/>
                  <a:gd name="T35" fmla="*/ 68 h 74"/>
                  <a:gd name="T36" fmla="*/ 61 w 65"/>
                  <a:gd name="T37" fmla="*/ 5 h 74"/>
                  <a:gd name="T38" fmla="*/ 6 w 65"/>
                  <a:gd name="T39" fmla="*/ 37 h 74"/>
                  <a:gd name="T40" fmla="*/ 8 w 65"/>
                  <a:gd name="T41" fmla="*/ 38 h 74"/>
                  <a:gd name="T42" fmla="*/ 12 w 65"/>
                  <a:gd name="T43" fmla="*/ 35 h 74"/>
                  <a:gd name="T44" fmla="*/ 14 w 65"/>
                  <a:gd name="T45" fmla="*/ 35 h 74"/>
                  <a:gd name="T46" fmla="*/ 15 w 65"/>
                  <a:gd name="T47" fmla="*/ 37 h 74"/>
                  <a:gd name="T48" fmla="*/ 15 w 65"/>
                  <a:gd name="T49" fmla="*/ 4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5" h="74">
                    <a:moveTo>
                      <a:pt x="63" y="74"/>
                    </a:moveTo>
                    <a:cubicBezTo>
                      <a:pt x="62" y="74"/>
                      <a:pt x="62" y="74"/>
                      <a:pt x="62" y="73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1" y="44"/>
                      <a:pt x="11" y="44"/>
                      <a:pt x="11" y="43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8" y="42"/>
                      <a:pt x="7" y="42"/>
                      <a:pt x="7" y="42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7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3" y="0"/>
                      <a:pt x="64" y="0"/>
                    </a:cubicBezTo>
                    <a:cubicBezTo>
                      <a:pt x="64" y="0"/>
                      <a:pt x="65" y="1"/>
                      <a:pt x="65" y="2"/>
                    </a:cubicBezTo>
                    <a:cubicBezTo>
                      <a:pt x="65" y="72"/>
                      <a:pt x="65" y="72"/>
                      <a:pt x="65" y="72"/>
                    </a:cubicBezTo>
                    <a:cubicBezTo>
                      <a:pt x="65" y="72"/>
                      <a:pt x="64" y="73"/>
                      <a:pt x="64" y="73"/>
                    </a:cubicBezTo>
                    <a:cubicBezTo>
                      <a:pt x="63" y="74"/>
                      <a:pt x="63" y="74"/>
                      <a:pt x="63" y="74"/>
                    </a:cubicBezTo>
                    <a:close/>
                    <a:moveTo>
                      <a:pt x="15" y="42"/>
                    </a:moveTo>
                    <a:cubicBezTo>
                      <a:pt x="61" y="68"/>
                      <a:pt x="61" y="68"/>
                      <a:pt x="61" y="68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5"/>
                      <a:pt x="13" y="35"/>
                      <a:pt x="14" y="35"/>
                    </a:cubicBezTo>
                    <a:cubicBezTo>
                      <a:pt x="14" y="36"/>
                      <a:pt x="15" y="36"/>
                      <a:pt x="15" y="37"/>
                    </a:cubicBezTo>
                    <a:lnTo>
                      <a:pt x="15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7" name="Freeform 633">
                <a:extLst>
                  <a:ext uri="{FF2B5EF4-FFF2-40B4-BE49-F238E27FC236}">
                    <a16:creationId xmlns:a16="http://schemas.microsoft.com/office/drawing/2014/main" id="{31FE7E70-F757-4641-8E70-1ED840A53F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40594" y="6210169"/>
                <a:ext cx="46689" cy="48764"/>
              </a:xfrm>
              <a:custGeom>
                <a:avLst/>
                <a:gdLst>
                  <a:gd name="T0" fmla="*/ 17 w 19"/>
                  <a:gd name="T1" fmla="*/ 20 h 20"/>
                  <a:gd name="T2" fmla="*/ 16 w 19"/>
                  <a:gd name="T3" fmla="*/ 19 h 20"/>
                  <a:gd name="T4" fmla="*/ 1 w 19"/>
                  <a:gd name="T5" fmla="*/ 10 h 20"/>
                  <a:gd name="T6" fmla="*/ 0 w 19"/>
                  <a:gd name="T7" fmla="*/ 9 h 20"/>
                  <a:gd name="T8" fmla="*/ 1 w 19"/>
                  <a:gd name="T9" fmla="*/ 7 h 20"/>
                  <a:gd name="T10" fmla="*/ 13 w 19"/>
                  <a:gd name="T11" fmla="*/ 0 h 20"/>
                  <a:gd name="T12" fmla="*/ 15 w 19"/>
                  <a:gd name="T13" fmla="*/ 0 h 20"/>
                  <a:gd name="T14" fmla="*/ 18 w 19"/>
                  <a:gd name="T15" fmla="*/ 2 h 20"/>
                  <a:gd name="T16" fmla="*/ 19 w 19"/>
                  <a:gd name="T17" fmla="*/ 4 h 20"/>
                  <a:gd name="T18" fmla="*/ 19 w 19"/>
                  <a:gd name="T19" fmla="*/ 18 h 20"/>
                  <a:gd name="T20" fmla="*/ 18 w 19"/>
                  <a:gd name="T21" fmla="*/ 19 h 20"/>
                  <a:gd name="T22" fmla="*/ 17 w 19"/>
                  <a:gd name="T23" fmla="*/ 20 h 20"/>
                  <a:gd name="T24" fmla="*/ 6 w 19"/>
                  <a:gd name="T25" fmla="*/ 9 h 20"/>
                  <a:gd name="T26" fmla="*/ 15 w 19"/>
                  <a:gd name="T27" fmla="*/ 14 h 20"/>
                  <a:gd name="T28" fmla="*/ 15 w 19"/>
                  <a:gd name="T29" fmla="*/ 5 h 20"/>
                  <a:gd name="T30" fmla="*/ 14 w 19"/>
                  <a:gd name="T31" fmla="*/ 4 h 20"/>
                  <a:gd name="T32" fmla="*/ 6 w 19"/>
                  <a:gd name="T33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20">
                    <a:moveTo>
                      <a:pt x="17" y="20"/>
                    </a:moveTo>
                    <a:cubicBezTo>
                      <a:pt x="17" y="20"/>
                      <a:pt x="16" y="20"/>
                      <a:pt x="16" y="1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19" y="3"/>
                      <a:pt x="19" y="4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9"/>
                      <a:pt x="18" y="19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6" y="9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4"/>
                      <a:pt x="14" y="4"/>
                      <a:pt x="14" y="4"/>
                    </a:cubicBez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8" name="Freeform 634">
                <a:extLst>
                  <a:ext uri="{FF2B5EF4-FFF2-40B4-BE49-F238E27FC236}">
                    <a16:creationId xmlns:a16="http://schemas.microsoft.com/office/drawing/2014/main" id="{2BB16ABD-DDFD-448D-8BBE-82BDE28F1F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8" y="6487192"/>
                <a:ext cx="26976" cy="26976"/>
              </a:xfrm>
              <a:custGeom>
                <a:avLst/>
                <a:gdLst>
                  <a:gd name="T0" fmla="*/ 9 w 11"/>
                  <a:gd name="T1" fmla="*/ 11 h 11"/>
                  <a:gd name="T2" fmla="*/ 8 w 11"/>
                  <a:gd name="T3" fmla="*/ 11 h 11"/>
                  <a:gd name="T4" fmla="*/ 1 w 11"/>
                  <a:gd name="T5" fmla="*/ 7 h 11"/>
                  <a:gd name="T6" fmla="*/ 0 w 11"/>
                  <a:gd name="T7" fmla="*/ 6 h 11"/>
                  <a:gd name="T8" fmla="*/ 1 w 11"/>
                  <a:gd name="T9" fmla="*/ 4 h 11"/>
                  <a:gd name="T10" fmla="*/ 8 w 11"/>
                  <a:gd name="T11" fmla="*/ 0 h 11"/>
                  <a:gd name="T12" fmla="*/ 10 w 11"/>
                  <a:gd name="T13" fmla="*/ 0 h 11"/>
                  <a:gd name="T14" fmla="*/ 11 w 11"/>
                  <a:gd name="T15" fmla="*/ 2 h 11"/>
                  <a:gd name="T16" fmla="*/ 11 w 11"/>
                  <a:gd name="T17" fmla="*/ 9 h 11"/>
                  <a:gd name="T18" fmla="*/ 10 w 11"/>
                  <a:gd name="T19" fmla="*/ 11 h 11"/>
                  <a:gd name="T20" fmla="*/ 9 w 11"/>
                  <a:gd name="T21" fmla="*/ 11 h 11"/>
                  <a:gd name="T22" fmla="*/ 6 w 11"/>
                  <a:gd name="T23" fmla="*/ 6 h 11"/>
                  <a:gd name="T24" fmla="*/ 7 w 11"/>
                  <a:gd name="T25" fmla="*/ 6 h 11"/>
                  <a:gd name="T26" fmla="*/ 7 w 11"/>
                  <a:gd name="T27" fmla="*/ 5 h 11"/>
                  <a:gd name="T28" fmla="*/ 6 w 11"/>
                  <a:gd name="T2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9" y="11"/>
                      <a:pt x="9" y="11"/>
                      <a:pt x="8" y="1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1" y="11"/>
                      <a:pt x="10" y="11"/>
                    </a:cubicBezTo>
                    <a:cubicBezTo>
                      <a:pt x="10" y="11"/>
                      <a:pt x="10" y="11"/>
                      <a:pt x="9" y="11"/>
                    </a:cubicBezTo>
                    <a:close/>
                    <a:moveTo>
                      <a:pt x="6" y="6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635">
                <a:extLst>
                  <a:ext uri="{FF2B5EF4-FFF2-40B4-BE49-F238E27FC236}">
                    <a16:creationId xmlns:a16="http://schemas.microsoft.com/office/drawing/2014/main" id="{3372D636-4757-4238-8E69-F99DEA5A80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8" y="6381363"/>
                <a:ext cx="154594" cy="123467"/>
              </a:xfrm>
              <a:custGeom>
                <a:avLst/>
                <a:gdLst>
                  <a:gd name="T0" fmla="*/ 53 w 63"/>
                  <a:gd name="T1" fmla="*/ 50 h 50"/>
                  <a:gd name="T2" fmla="*/ 52 w 63"/>
                  <a:gd name="T3" fmla="*/ 49 h 50"/>
                  <a:gd name="T4" fmla="*/ 1 w 63"/>
                  <a:gd name="T5" fmla="*/ 20 h 50"/>
                  <a:gd name="T6" fmla="*/ 0 w 63"/>
                  <a:gd name="T7" fmla="*/ 18 h 50"/>
                  <a:gd name="T8" fmla="*/ 0 w 63"/>
                  <a:gd name="T9" fmla="*/ 2 h 50"/>
                  <a:gd name="T10" fmla="*/ 1 w 63"/>
                  <a:gd name="T11" fmla="*/ 1 h 50"/>
                  <a:gd name="T12" fmla="*/ 3 w 63"/>
                  <a:gd name="T13" fmla="*/ 1 h 50"/>
                  <a:gd name="T14" fmla="*/ 62 w 63"/>
                  <a:gd name="T15" fmla="*/ 35 h 50"/>
                  <a:gd name="T16" fmla="*/ 63 w 63"/>
                  <a:gd name="T17" fmla="*/ 37 h 50"/>
                  <a:gd name="T18" fmla="*/ 63 w 63"/>
                  <a:gd name="T19" fmla="*/ 43 h 50"/>
                  <a:gd name="T20" fmla="*/ 62 w 63"/>
                  <a:gd name="T21" fmla="*/ 44 h 50"/>
                  <a:gd name="T22" fmla="*/ 54 w 63"/>
                  <a:gd name="T23" fmla="*/ 49 h 50"/>
                  <a:gd name="T24" fmla="*/ 53 w 63"/>
                  <a:gd name="T25" fmla="*/ 50 h 50"/>
                  <a:gd name="T26" fmla="*/ 4 w 63"/>
                  <a:gd name="T27" fmla="*/ 17 h 50"/>
                  <a:gd name="T28" fmla="*/ 53 w 63"/>
                  <a:gd name="T29" fmla="*/ 45 h 50"/>
                  <a:gd name="T30" fmla="*/ 59 w 63"/>
                  <a:gd name="T31" fmla="*/ 42 h 50"/>
                  <a:gd name="T32" fmla="*/ 59 w 63"/>
                  <a:gd name="T33" fmla="*/ 38 h 50"/>
                  <a:gd name="T34" fmla="*/ 4 w 63"/>
                  <a:gd name="T35" fmla="*/ 6 h 50"/>
                  <a:gd name="T36" fmla="*/ 4 w 63"/>
                  <a:gd name="T37" fmla="*/ 17 h 50"/>
                  <a:gd name="T38" fmla="*/ 61 w 63"/>
                  <a:gd name="T39" fmla="*/ 43 h 50"/>
                  <a:gd name="T40" fmla="*/ 61 w 63"/>
                  <a:gd name="T41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50">
                    <a:moveTo>
                      <a:pt x="53" y="50"/>
                    </a:moveTo>
                    <a:cubicBezTo>
                      <a:pt x="52" y="50"/>
                      <a:pt x="52" y="50"/>
                      <a:pt x="52" y="4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5"/>
                      <a:pt x="63" y="36"/>
                      <a:pt x="63" y="37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43"/>
                      <a:pt x="63" y="44"/>
                      <a:pt x="62" y="44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4" y="50"/>
                      <a:pt x="53" y="50"/>
                      <a:pt x="53" y="50"/>
                    </a:cubicBezTo>
                    <a:close/>
                    <a:moveTo>
                      <a:pt x="4" y="17"/>
                    </a:moveTo>
                    <a:cubicBezTo>
                      <a:pt x="53" y="45"/>
                      <a:pt x="53" y="45"/>
                      <a:pt x="53" y="45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  <a:moveTo>
                      <a:pt x="61" y="43"/>
                    </a:moveTo>
                    <a:cubicBezTo>
                      <a:pt x="61" y="43"/>
                      <a:pt x="61" y="43"/>
                      <a:pt x="61" y="4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636">
                <a:extLst>
                  <a:ext uri="{FF2B5EF4-FFF2-40B4-BE49-F238E27FC236}">
                    <a16:creationId xmlns:a16="http://schemas.microsoft.com/office/drawing/2014/main" id="{ADB0E566-5A4F-482A-B211-3FFEF7FD71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98396" y="5747426"/>
                <a:ext cx="72628" cy="68478"/>
              </a:xfrm>
              <a:custGeom>
                <a:avLst/>
                <a:gdLst>
                  <a:gd name="T0" fmla="*/ 11 w 30"/>
                  <a:gd name="T1" fmla="*/ 28 h 28"/>
                  <a:gd name="T2" fmla="*/ 10 w 30"/>
                  <a:gd name="T3" fmla="*/ 28 h 28"/>
                  <a:gd name="T4" fmla="*/ 1 w 30"/>
                  <a:gd name="T5" fmla="*/ 23 h 28"/>
                  <a:gd name="T6" fmla="*/ 0 w 30"/>
                  <a:gd name="T7" fmla="*/ 21 h 28"/>
                  <a:gd name="T8" fmla="*/ 0 w 30"/>
                  <a:gd name="T9" fmla="*/ 2 h 28"/>
                  <a:gd name="T10" fmla="*/ 1 w 30"/>
                  <a:gd name="T11" fmla="*/ 0 h 28"/>
                  <a:gd name="T12" fmla="*/ 3 w 30"/>
                  <a:gd name="T13" fmla="*/ 0 h 28"/>
                  <a:gd name="T14" fmla="*/ 29 w 30"/>
                  <a:gd name="T15" fmla="*/ 15 h 28"/>
                  <a:gd name="T16" fmla="*/ 30 w 30"/>
                  <a:gd name="T17" fmla="*/ 17 h 28"/>
                  <a:gd name="T18" fmla="*/ 29 w 30"/>
                  <a:gd name="T19" fmla="*/ 18 h 28"/>
                  <a:gd name="T20" fmla="*/ 12 w 30"/>
                  <a:gd name="T21" fmla="*/ 28 h 28"/>
                  <a:gd name="T22" fmla="*/ 11 w 30"/>
                  <a:gd name="T23" fmla="*/ 28 h 28"/>
                  <a:gd name="T24" fmla="*/ 4 w 30"/>
                  <a:gd name="T25" fmla="*/ 20 h 28"/>
                  <a:gd name="T26" fmla="*/ 11 w 30"/>
                  <a:gd name="T27" fmla="*/ 24 h 28"/>
                  <a:gd name="T28" fmla="*/ 24 w 30"/>
                  <a:gd name="T29" fmla="*/ 17 h 28"/>
                  <a:gd name="T30" fmla="*/ 4 w 30"/>
                  <a:gd name="T31" fmla="*/ 5 h 28"/>
                  <a:gd name="T32" fmla="*/ 4 w 30"/>
                  <a:gd name="T33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8">
                    <a:moveTo>
                      <a:pt x="11" y="28"/>
                    </a:moveTo>
                    <a:cubicBezTo>
                      <a:pt x="11" y="28"/>
                      <a:pt x="10" y="28"/>
                      <a:pt x="10" y="28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30" y="16"/>
                      <a:pt x="30" y="17"/>
                    </a:cubicBezTo>
                    <a:cubicBezTo>
                      <a:pt x="30" y="17"/>
                      <a:pt x="29" y="18"/>
                      <a:pt x="29" y="1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28"/>
                      <a:pt x="11" y="28"/>
                      <a:pt x="11" y="28"/>
                    </a:cubicBezTo>
                    <a:close/>
                    <a:moveTo>
                      <a:pt x="4" y="20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637">
                <a:extLst>
                  <a:ext uri="{FF2B5EF4-FFF2-40B4-BE49-F238E27FC236}">
                    <a16:creationId xmlns:a16="http://schemas.microsoft.com/office/drawing/2014/main" id="{A4D1294C-F8EC-4347-BAAF-6A98111B133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61139" y="6296285"/>
                <a:ext cx="12450" cy="34239"/>
              </a:xfrm>
              <a:custGeom>
                <a:avLst/>
                <a:gdLst>
                  <a:gd name="T0" fmla="*/ 3 w 5"/>
                  <a:gd name="T1" fmla="*/ 14 h 14"/>
                  <a:gd name="T2" fmla="*/ 2 w 5"/>
                  <a:gd name="T3" fmla="*/ 14 h 14"/>
                  <a:gd name="T4" fmla="*/ 1 w 5"/>
                  <a:gd name="T5" fmla="*/ 13 h 14"/>
                  <a:gd name="T6" fmla="*/ 0 w 5"/>
                  <a:gd name="T7" fmla="*/ 11 h 14"/>
                  <a:gd name="T8" fmla="*/ 0 w 5"/>
                  <a:gd name="T9" fmla="*/ 2 h 14"/>
                  <a:gd name="T10" fmla="*/ 1 w 5"/>
                  <a:gd name="T11" fmla="*/ 0 h 14"/>
                  <a:gd name="T12" fmla="*/ 3 w 5"/>
                  <a:gd name="T13" fmla="*/ 0 h 14"/>
                  <a:gd name="T14" fmla="*/ 4 w 5"/>
                  <a:gd name="T15" fmla="*/ 1 h 14"/>
                  <a:gd name="T16" fmla="*/ 5 w 5"/>
                  <a:gd name="T17" fmla="*/ 3 h 14"/>
                  <a:gd name="T18" fmla="*/ 5 w 5"/>
                  <a:gd name="T19" fmla="*/ 12 h 14"/>
                  <a:gd name="T20" fmla="*/ 4 w 5"/>
                  <a:gd name="T21" fmla="*/ 14 h 14"/>
                  <a:gd name="T22" fmla="*/ 3 w 5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4">
                    <a:moveTo>
                      <a:pt x="3" y="14"/>
                    </a:moveTo>
                    <a:cubicBezTo>
                      <a:pt x="3" y="14"/>
                      <a:pt x="3" y="14"/>
                      <a:pt x="2" y="14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3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4" y="14"/>
                      <a:pt x="3" y="1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638">
                <a:extLst>
                  <a:ext uri="{FF2B5EF4-FFF2-40B4-BE49-F238E27FC236}">
                    <a16:creationId xmlns:a16="http://schemas.microsoft.com/office/drawing/2014/main" id="{85CD502F-6A7F-4E90-BC36-C7F212B0329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61139" y="6323261"/>
                <a:ext cx="12450" cy="149406"/>
              </a:xfrm>
              <a:custGeom>
                <a:avLst/>
                <a:gdLst>
                  <a:gd name="T0" fmla="*/ 2 w 5"/>
                  <a:gd name="T1" fmla="*/ 61 h 61"/>
                  <a:gd name="T2" fmla="*/ 1 w 5"/>
                  <a:gd name="T3" fmla="*/ 61 h 61"/>
                  <a:gd name="T4" fmla="*/ 0 w 5"/>
                  <a:gd name="T5" fmla="*/ 59 h 61"/>
                  <a:gd name="T6" fmla="*/ 0 w 5"/>
                  <a:gd name="T7" fmla="*/ 2 h 61"/>
                  <a:gd name="T8" fmla="*/ 1 w 5"/>
                  <a:gd name="T9" fmla="*/ 1 h 61"/>
                  <a:gd name="T10" fmla="*/ 3 w 5"/>
                  <a:gd name="T11" fmla="*/ 1 h 61"/>
                  <a:gd name="T12" fmla="*/ 4 w 5"/>
                  <a:gd name="T13" fmla="*/ 2 h 61"/>
                  <a:gd name="T14" fmla="*/ 5 w 5"/>
                  <a:gd name="T15" fmla="*/ 3 h 61"/>
                  <a:gd name="T16" fmla="*/ 5 w 5"/>
                  <a:gd name="T17" fmla="*/ 58 h 61"/>
                  <a:gd name="T18" fmla="*/ 4 w 5"/>
                  <a:gd name="T19" fmla="*/ 60 h 61"/>
                  <a:gd name="T20" fmla="*/ 3 w 5"/>
                  <a:gd name="T21" fmla="*/ 61 h 61"/>
                  <a:gd name="T22" fmla="*/ 2 w 5"/>
                  <a:gd name="T2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61">
                    <a:moveTo>
                      <a:pt x="2" y="61"/>
                    </a:moveTo>
                    <a:cubicBezTo>
                      <a:pt x="1" y="61"/>
                      <a:pt x="1" y="61"/>
                      <a:pt x="1" y="61"/>
                    </a:cubicBezTo>
                    <a:cubicBezTo>
                      <a:pt x="0" y="61"/>
                      <a:pt x="0" y="60"/>
                      <a:pt x="0" y="5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5" y="59"/>
                      <a:pt x="5" y="60"/>
                      <a:pt x="4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2" y="61"/>
                      <a:pt x="2" y="61"/>
                      <a:pt x="2" y="6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639">
                <a:extLst>
                  <a:ext uri="{FF2B5EF4-FFF2-40B4-BE49-F238E27FC236}">
                    <a16:creationId xmlns:a16="http://schemas.microsoft.com/office/drawing/2014/main" id="{3000E8E4-7790-4769-996C-6BDF3EF468A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61139" y="5965309"/>
                <a:ext cx="12450" cy="335125"/>
              </a:xfrm>
              <a:custGeom>
                <a:avLst/>
                <a:gdLst>
                  <a:gd name="T0" fmla="*/ 2 w 5"/>
                  <a:gd name="T1" fmla="*/ 137 h 137"/>
                  <a:gd name="T2" fmla="*/ 0 w 5"/>
                  <a:gd name="T3" fmla="*/ 135 h 137"/>
                  <a:gd name="T4" fmla="*/ 0 w 5"/>
                  <a:gd name="T5" fmla="*/ 2 h 137"/>
                  <a:gd name="T6" fmla="*/ 1 w 5"/>
                  <a:gd name="T7" fmla="*/ 0 h 137"/>
                  <a:gd name="T8" fmla="*/ 3 w 5"/>
                  <a:gd name="T9" fmla="*/ 0 h 137"/>
                  <a:gd name="T10" fmla="*/ 4 w 5"/>
                  <a:gd name="T11" fmla="*/ 1 h 137"/>
                  <a:gd name="T12" fmla="*/ 5 w 5"/>
                  <a:gd name="T13" fmla="*/ 3 h 137"/>
                  <a:gd name="T14" fmla="*/ 5 w 5"/>
                  <a:gd name="T15" fmla="*/ 134 h 137"/>
                  <a:gd name="T16" fmla="*/ 4 w 5"/>
                  <a:gd name="T17" fmla="*/ 136 h 137"/>
                  <a:gd name="T18" fmla="*/ 3 w 5"/>
                  <a:gd name="T19" fmla="*/ 137 h 137"/>
                  <a:gd name="T20" fmla="*/ 2 w 5"/>
                  <a:gd name="T21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37">
                    <a:moveTo>
                      <a:pt x="2" y="137"/>
                    </a:moveTo>
                    <a:cubicBezTo>
                      <a:pt x="1" y="137"/>
                      <a:pt x="0" y="136"/>
                      <a:pt x="0" y="13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134"/>
                      <a:pt x="5" y="134"/>
                      <a:pt x="5" y="134"/>
                    </a:cubicBezTo>
                    <a:cubicBezTo>
                      <a:pt x="5" y="135"/>
                      <a:pt x="5" y="135"/>
                      <a:pt x="4" y="136"/>
                    </a:cubicBezTo>
                    <a:cubicBezTo>
                      <a:pt x="3" y="137"/>
                      <a:pt x="3" y="137"/>
                      <a:pt x="3" y="137"/>
                    </a:cubicBezTo>
                    <a:cubicBezTo>
                      <a:pt x="2" y="137"/>
                      <a:pt x="2" y="137"/>
                      <a:pt x="2" y="1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640">
                <a:extLst>
                  <a:ext uri="{FF2B5EF4-FFF2-40B4-BE49-F238E27FC236}">
                    <a16:creationId xmlns:a16="http://schemas.microsoft.com/office/drawing/2014/main" id="{52B9C3A3-FF17-4498-A753-677EB0EACE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44689" y="5744314"/>
                <a:ext cx="328901" cy="551971"/>
              </a:xfrm>
              <a:custGeom>
                <a:avLst/>
                <a:gdLst>
                  <a:gd name="T0" fmla="*/ 5 w 134"/>
                  <a:gd name="T1" fmla="*/ 225 h 225"/>
                  <a:gd name="T2" fmla="*/ 4 w 134"/>
                  <a:gd name="T3" fmla="*/ 225 h 225"/>
                  <a:gd name="T4" fmla="*/ 3 w 134"/>
                  <a:gd name="T5" fmla="*/ 223 h 225"/>
                  <a:gd name="T6" fmla="*/ 3 w 134"/>
                  <a:gd name="T7" fmla="*/ 93 h 225"/>
                  <a:gd name="T8" fmla="*/ 1 w 134"/>
                  <a:gd name="T9" fmla="*/ 92 h 225"/>
                  <a:gd name="T10" fmla="*/ 0 w 134"/>
                  <a:gd name="T11" fmla="*/ 90 h 225"/>
                  <a:gd name="T12" fmla="*/ 0 w 134"/>
                  <a:gd name="T13" fmla="*/ 75 h 225"/>
                  <a:gd name="T14" fmla="*/ 1 w 134"/>
                  <a:gd name="T15" fmla="*/ 73 h 225"/>
                  <a:gd name="T16" fmla="*/ 127 w 134"/>
                  <a:gd name="T17" fmla="*/ 0 h 225"/>
                  <a:gd name="T18" fmla="*/ 129 w 134"/>
                  <a:gd name="T19" fmla="*/ 0 h 225"/>
                  <a:gd name="T20" fmla="*/ 133 w 134"/>
                  <a:gd name="T21" fmla="*/ 2 h 225"/>
                  <a:gd name="T22" fmla="*/ 134 w 134"/>
                  <a:gd name="T23" fmla="*/ 4 h 225"/>
                  <a:gd name="T24" fmla="*/ 134 w 134"/>
                  <a:gd name="T25" fmla="*/ 146 h 225"/>
                  <a:gd name="T26" fmla="*/ 133 w 134"/>
                  <a:gd name="T27" fmla="*/ 148 h 225"/>
                  <a:gd name="T28" fmla="*/ 70 w 134"/>
                  <a:gd name="T29" fmla="*/ 184 h 225"/>
                  <a:gd name="T30" fmla="*/ 70 w 134"/>
                  <a:gd name="T31" fmla="*/ 184 h 225"/>
                  <a:gd name="T32" fmla="*/ 71 w 134"/>
                  <a:gd name="T33" fmla="*/ 186 h 225"/>
                  <a:gd name="T34" fmla="*/ 70 w 134"/>
                  <a:gd name="T35" fmla="*/ 188 h 225"/>
                  <a:gd name="T36" fmla="*/ 68 w 134"/>
                  <a:gd name="T37" fmla="*/ 189 h 225"/>
                  <a:gd name="T38" fmla="*/ 67 w 134"/>
                  <a:gd name="T39" fmla="*/ 189 h 225"/>
                  <a:gd name="T40" fmla="*/ 67 w 134"/>
                  <a:gd name="T41" fmla="*/ 190 h 225"/>
                  <a:gd name="T42" fmla="*/ 6 w 134"/>
                  <a:gd name="T43" fmla="*/ 225 h 225"/>
                  <a:gd name="T44" fmla="*/ 5 w 134"/>
                  <a:gd name="T45" fmla="*/ 225 h 225"/>
                  <a:gd name="T46" fmla="*/ 4 w 134"/>
                  <a:gd name="T47" fmla="*/ 89 h 225"/>
                  <a:gd name="T48" fmla="*/ 6 w 134"/>
                  <a:gd name="T49" fmla="*/ 90 h 225"/>
                  <a:gd name="T50" fmla="*/ 7 w 134"/>
                  <a:gd name="T51" fmla="*/ 92 h 225"/>
                  <a:gd name="T52" fmla="*/ 7 w 134"/>
                  <a:gd name="T53" fmla="*/ 219 h 225"/>
                  <a:gd name="T54" fmla="*/ 64 w 134"/>
                  <a:gd name="T55" fmla="*/ 187 h 225"/>
                  <a:gd name="T56" fmla="*/ 65 w 134"/>
                  <a:gd name="T57" fmla="*/ 185 h 225"/>
                  <a:gd name="T58" fmla="*/ 64 w 134"/>
                  <a:gd name="T59" fmla="*/ 184 h 225"/>
                  <a:gd name="T60" fmla="*/ 65 w 134"/>
                  <a:gd name="T61" fmla="*/ 182 h 225"/>
                  <a:gd name="T62" fmla="*/ 130 w 134"/>
                  <a:gd name="T63" fmla="*/ 145 h 225"/>
                  <a:gd name="T64" fmla="*/ 130 w 134"/>
                  <a:gd name="T65" fmla="*/ 5 h 225"/>
                  <a:gd name="T66" fmla="*/ 128 w 134"/>
                  <a:gd name="T67" fmla="*/ 4 h 225"/>
                  <a:gd name="T68" fmla="*/ 4 w 134"/>
                  <a:gd name="T69" fmla="*/ 76 h 225"/>
                  <a:gd name="T70" fmla="*/ 4 w 134"/>
                  <a:gd name="T71" fmla="*/ 89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4" h="225">
                    <a:moveTo>
                      <a:pt x="5" y="225"/>
                    </a:moveTo>
                    <a:cubicBezTo>
                      <a:pt x="5" y="225"/>
                      <a:pt x="4" y="225"/>
                      <a:pt x="4" y="225"/>
                    </a:cubicBezTo>
                    <a:cubicBezTo>
                      <a:pt x="3" y="224"/>
                      <a:pt x="3" y="224"/>
                      <a:pt x="3" y="223"/>
                    </a:cubicBezTo>
                    <a:cubicBezTo>
                      <a:pt x="3" y="93"/>
                      <a:pt x="3" y="93"/>
                      <a:pt x="3" y="93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1"/>
                      <a:pt x="0" y="90"/>
                      <a:pt x="0" y="9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4"/>
                      <a:pt x="0" y="74"/>
                      <a:pt x="1" y="73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8" y="0"/>
                      <a:pt x="128" y="0"/>
                      <a:pt x="129" y="0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3" y="3"/>
                      <a:pt x="134" y="3"/>
                      <a:pt x="134" y="4"/>
                    </a:cubicBezTo>
                    <a:cubicBezTo>
                      <a:pt x="134" y="146"/>
                      <a:pt x="134" y="146"/>
                      <a:pt x="134" y="146"/>
                    </a:cubicBezTo>
                    <a:cubicBezTo>
                      <a:pt x="134" y="147"/>
                      <a:pt x="133" y="148"/>
                      <a:pt x="133" y="148"/>
                    </a:cubicBezTo>
                    <a:cubicBezTo>
                      <a:pt x="70" y="184"/>
                      <a:pt x="70" y="184"/>
                      <a:pt x="70" y="184"/>
                    </a:cubicBezTo>
                    <a:cubicBezTo>
                      <a:pt x="70" y="184"/>
                      <a:pt x="70" y="184"/>
                      <a:pt x="70" y="184"/>
                    </a:cubicBezTo>
                    <a:cubicBezTo>
                      <a:pt x="71" y="184"/>
                      <a:pt x="71" y="185"/>
                      <a:pt x="71" y="186"/>
                    </a:cubicBezTo>
                    <a:cubicBezTo>
                      <a:pt x="71" y="187"/>
                      <a:pt x="71" y="187"/>
                      <a:pt x="70" y="188"/>
                    </a:cubicBezTo>
                    <a:cubicBezTo>
                      <a:pt x="68" y="189"/>
                      <a:pt x="68" y="189"/>
                      <a:pt x="68" y="189"/>
                    </a:cubicBezTo>
                    <a:cubicBezTo>
                      <a:pt x="68" y="189"/>
                      <a:pt x="67" y="189"/>
                      <a:pt x="67" y="189"/>
                    </a:cubicBezTo>
                    <a:cubicBezTo>
                      <a:pt x="67" y="189"/>
                      <a:pt x="67" y="190"/>
                      <a:pt x="67" y="190"/>
                    </a:cubicBezTo>
                    <a:cubicBezTo>
                      <a:pt x="6" y="225"/>
                      <a:pt x="6" y="225"/>
                      <a:pt x="6" y="225"/>
                    </a:cubicBezTo>
                    <a:cubicBezTo>
                      <a:pt x="6" y="225"/>
                      <a:pt x="5" y="225"/>
                      <a:pt x="5" y="225"/>
                    </a:cubicBezTo>
                    <a:close/>
                    <a:moveTo>
                      <a:pt x="4" y="89"/>
                    </a:moveTo>
                    <a:cubicBezTo>
                      <a:pt x="6" y="90"/>
                      <a:pt x="6" y="90"/>
                      <a:pt x="6" y="90"/>
                    </a:cubicBezTo>
                    <a:cubicBezTo>
                      <a:pt x="7" y="90"/>
                      <a:pt x="7" y="91"/>
                      <a:pt x="7" y="92"/>
                    </a:cubicBezTo>
                    <a:cubicBezTo>
                      <a:pt x="7" y="219"/>
                      <a:pt x="7" y="219"/>
                      <a:pt x="7" y="219"/>
                    </a:cubicBezTo>
                    <a:cubicBezTo>
                      <a:pt x="64" y="187"/>
                      <a:pt x="64" y="187"/>
                      <a:pt x="64" y="187"/>
                    </a:cubicBezTo>
                    <a:cubicBezTo>
                      <a:pt x="64" y="186"/>
                      <a:pt x="64" y="186"/>
                      <a:pt x="65" y="185"/>
                    </a:cubicBezTo>
                    <a:cubicBezTo>
                      <a:pt x="64" y="185"/>
                      <a:pt x="64" y="184"/>
                      <a:pt x="64" y="184"/>
                    </a:cubicBezTo>
                    <a:cubicBezTo>
                      <a:pt x="64" y="183"/>
                      <a:pt x="64" y="183"/>
                      <a:pt x="65" y="182"/>
                    </a:cubicBezTo>
                    <a:cubicBezTo>
                      <a:pt x="130" y="145"/>
                      <a:pt x="130" y="145"/>
                      <a:pt x="130" y="145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4" y="76"/>
                      <a:pt x="4" y="76"/>
                      <a:pt x="4" y="76"/>
                    </a:cubicBezTo>
                    <a:lnTo>
                      <a:pt x="4" y="8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641">
                <a:extLst>
                  <a:ext uri="{FF2B5EF4-FFF2-40B4-BE49-F238E27FC236}">
                    <a16:creationId xmlns:a16="http://schemas.microsoft.com/office/drawing/2014/main" id="{15174227-295C-4E00-887C-43F4B85FF1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274382" y="5575195"/>
                <a:ext cx="93379" cy="84041"/>
              </a:xfrm>
              <a:custGeom>
                <a:avLst/>
                <a:gdLst>
                  <a:gd name="T0" fmla="*/ 20 w 38"/>
                  <a:gd name="T1" fmla="*/ 34 h 34"/>
                  <a:gd name="T2" fmla="*/ 19 w 38"/>
                  <a:gd name="T3" fmla="*/ 33 h 34"/>
                  <a:gd name="T4" fmla="*/ 1 w 38"/>
                  <a:gd name="T5" fmla="*/ 23 h 34"/>
                  <a:gd name="T6" fmla="*/ 0 w 38"/>
                  <a:gd name="T7" fmla="*/ 21 h 34"/>
                  <a:gd name="T8" fmla="*/ 0 w 38"/>
                  <a:gd name="T9" fmla="*/ 2 h 34"/>
                  <a:gd name="T10" fmla="*/ 1 w 38"/>
                  <a:gd name="T11" fmla="*/ 0 h 34"/>
                  <a:gd name="T12" fmla="*/ 3 w 38"/>
                  <a:gd name="T13" fmla="*/ 0 h 34"/>
                  <a:gd name="T14" fmla="*/ 37 w 38"/>
                  <a:gd name="T15" fmla="*/ 20 h 34"/>
                  <a:gd name="T16" fmla="*/ 38 w 38"/>
                  <a:gd name="T17" fmla="*/ 22 h 34"/>
                  <a:gd name="T18" fmla="*/ 37 w 38"/>
                  <a:gd name="T19" fmla="*/ 24 h 34"/>
                  <a:gd name="T20" fmla="*/ 21 w 38"/>
                  <a:gd name="T21" fmla="*/ 33 h 34"/>
                  <a:gd name="T22" fmla="*/ 20 w 38"/>
                  <a:gd name="T23" fmla="*/ 34 h 34"/>
                  <a:gd name="T24" fmla="*/ 4 w 38"/>
                  <a:gd name="T25" fmla="*/ 20 h 34"/>
                  <a:gd name="T26" fmla="*/ 20 w 38"/>
                  <a:gd name="T27" fmla="*/ 29 h 34"/>
                  <a:gd name="T28" fmla="*/ 32 w 38"/>
                  <a:gd name="T29" fmla="*/ 22 h 34"/>
                  <a:gd name="T30" fmla="*/ 4 w 38"/>
                  <a:gd name="T31" fmla="*/ 5 h 34"/>
                  <a:gd name="T32" fmla="*/ 4 w 38"/>
                  <a:gd name="T33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34">
                    <a:moveTo>
                      <a:pt x="20" y="34"/>
                    </a:moveTo>
                    <a:cubicBezTo>
                      <a:pt x="19" y="34"/>
                      <a:pt x="19" y="33"/>
                      <a:pt x="19" y="3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1"/>
                      <a:pt x="38" y="21"/>
                      <a:pt x="38" y="22"/>
                    </a:cubicBezTo>
                    <a:cubicBezTo>
                      <a:pt x="38" y="23"/>
                      <a:pt x="38" y="23"/>
                      <a:pt x="37" y="24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0" y="33"/>
                      <a:pt x="20" y="34"/>
                      <a:pt x="20" y="34"/>
                    </a:cubicBezTo>
                    <a:close/>
                    <a:moveTo>
                      <a:pt x="4" y="20"/>
                    </a:moveTo>
                    <a:cubicBezTo>
                      <a:pt x="20" y="29"/>
                      <a:pt x="20" y="29"/>
                      <a:pt x="20" y="29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642">
                <a:extLst>
                  <a:ext uri="{FF2B5EF4-FFF2-40B4-BE49-F238E27FC236}">
                    <a16:creationId xmlns:a16="http://schemas.microsoft.com/office/drawing/2014/main" id="{2F65434E-604D-46A5-AD4C-F4D72A8437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58969" y="5785815"/>
                <a:ext cx="85078" cy="53952"/>
              </a:xfrm>
              <a:custGeom>
                <a:avLst/>
                <a:gdLst>
                  <a:gd name="T0" fmla="*/ 17 w 35"/>
                  <a:gd name="T1" fmla="*/ 22 h 22"/>
                  <a:gd name="T2" fmla="*/ 16 w 35"/>
                  <a:gd name="T3" fmla="*/ 22 h 22"/>
                  <a:gd name="T4" fmla="*/ 1 w 35"/>
                  <a:gd name="T5" fmla="*/ 13 h 22"/>
                  <a:gd name="T6" fmla="*/ 0 w 35"/>
                  <a:gd name="T7" fmla="*/ 11 h 22"/>
                  <a:gd name="T8" fmla="*/ 1 w 35"/>
                  <a:gd name="T9" fmla="*/ 10 h 22"/>
                  <a:gd name="T10" fmla="*/ 17 w 35"/>
                  <a:gd name="T11" fmla="*/ 0 h 22"/>
                  <a:gd name="T12" fmla="*/ 19 w 35"/>
                  <a:gd name="T13" fmla="*/ 0 h 22"/>
                  <a:gd name="T14" fmla="*/ 34 w 35"/>
                  <a:gd name="T15" fmla="*/ 9 h 22"/>
                  <a:gd name="T16" fmla="*/ 35 w 35"/>
                  <a:gd name="T17" fmla="*/ 10 h 22"/>
                  <a:gd name="T18" fmla="*/ 34 w 35"/>
                  <a:gd name="T19" fmla="*/ 12 h 22"/>
                  <a:gd name="T20" fmla="*/ 18 w 35"/>
                  <a:gd name="T21" fmla="*/ 22 h 22"/>
                  <a:gd name="T22" fmla="*/ 17 w 35"/>
                  <a:gd name="T23" fmla="*/ 22 h 22"/>
                  <a:gd name="T24" fmla="*/ 6 w 35"/>
                  <a:gd name="T25" fmla="*/ 11 h 22"/>
                  <a:gd name="T26" fmla="*/ 17 w 35"/>
                  <a:gd name="T27" fmla="*/ 18 h 22"/>
                  <a:gd name="T28" fmla="*/ 29 w 35"/>
                  <a:gd name="T29" fmla="*/ 10 h 22"/>
                  <a:gd name="T30" fmla="*/ 18 w 35"/>
                  <a:gd name="T31" fmla="*/ 4 h 22"/>
                  <a:gd name="T32" fmla="*/ 6 w 35"/>
                  <a:gd name="T33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2">
                    <a:moveTo>
                      <a:pt x="17" y="22"/>
                    </a:moveTo>
                    <a:cubicBezTo>
                      <a:pt x="16" y="22"/>
                      <a:pt x="16" y="22"/>
                      <a:pt x="16" y="2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3"/>
                      <a:pt x="0" y="12"/>
                      <a:pt x="0" y="11"/>
                    </a:cubicBezTo>
                    <a:cubicBezTo>
                      <a:pt x="0" y="11"/>
                      <a:pt x="0" y="10"/>
                      <a:pt x="1" y="1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8" y="0"/>
                      <a:pt x="19" y="0"/>
                      <a:pt x="19" y="0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5" y="9"/>
                      <a:pt x="35" y="10"/>
                      <a:pt x="35" y="10"/>
                    </a:cubicBezTo>
                    <a:cubicBezTo>
                      <a:pt x="35" y="11"/>
                      <a:pt x="35" y="12"/>
                      <a:pt x="34" y="12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2"/>
                      <a:pt x="17" y="22"/>
                      <a:pt x="17" y="22"/>
                    </a:cubicBezTo>
                    <a:close/>
                    <a:moveTo>
                      <a:pt x="6" y="11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18" y="4"/>
                      <a:pt x="18" y="4"/>
                      <a:pt x="18" y="4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643">
                <a:extLst>
                  <a:ext uri="{FF2B5EF4-FFF2-40B4-BE49-F238E27FC236}">
                    <a16:creationId xmlns:a16="http://schemas.microsoft.com/office/drawing/2014/main" id="{A632C07F-D460-4870-9FA5-E9EB14D148A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61139" y="6465403"/>
                <a:ext cx="12450" cy="26976"/>
              </a:xfrm>
              <a:custGeom>
                <a:avLst/>
                <a:gdLst>
                  <a:gd name="T0" fmla="*/ 3 w 5"/>
                  <a:gd name="T1" fmla="*/ 11 h 11"/>
                  <a:gd name="T2" fmla="*/ 2 w 5"/>
                  <a:gd name="T3" fmla="*/ 10 h 11"/>
                  <a:gd name="T4" fmla="*/ 1 w 5"/>
                  <a:gd name="T5" fmla="*/ 9 h 11"/>
                  <a:gd name="T6" fmla="*/ 0 w 5"/>
                  <a:gd name="T7" fmla="*/ 8 h 11"/>
                  <a:gd name="T8" fmla="*/ 0 w 5"/>
                  <a:gd name="T9" fmla="*/ 3 h 11"/>
                  <a:gd name="T10" fmla="*/ 1 w 5"/>
                  <a:gd name="T11" fmla="*/ 2 h 11"/>
                  <a:gd name="T12" fmla="*/ 2 w 5"/>
                  <a:gd name="T13" fmla="*/ 1 h 11"/>
                  <a:gd name="T14" fmla="*/ 4 w 5"/>
                  <a:gd name="T15" fmla="*/ 1 h 11"/>
                  <a:gd name="T16" fmla="*/ 5 w 5"/>
                  <a:gd name="T17" fmla="*/ 2 h 11"/>
                  <a:gd name="T18" fmla="*/ 5 w 5"/>
                  <a:gd name="T19" fmla="*/ 9 h 11"/>
                  <a:gd name="T20" fmla="*/ 4 w 5"/>
                  <a:gd name="T21" fmla="*/ 10 h 11"/>
                  <a:gd name="T22" fmla="*/ 3 w 5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1">
                    <a:moveTo>
                      <a:pt x="3" y="11"/>
                    </a:moveTo>
                    <a:cubicBezTo>
                      <a:pt x="3" y="11"/>
                      <a:pt x="3" y="11"/>
                      <a:pt x="2" y="10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10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644">
                <a:extLst>
                  <a:ext uri="{FF2B5EF4-FFF2-40B4-BE49-F238E27FC236}">
                    <a16:creationId xmlns:a16="http://schemas.microsoft.com/office/drawing/2014/main" id="{C0AA9C0A-9855-4015-AE89-01882413DF3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93303" y="6305622"/>
                <a:ext cx="142143" cy="86116"/>
              </a:xfrm>
              <a:custGeom>
                <a:avLst/>
                <a:gdLst>
                  <a:gd name="T0" fmla="*/ 3 w 58"/>
                  <a:gd name="T1" fmla="*/ 35 h 35"/>
                  <a:gd name="T2" fmla="*/ 2 w 58"/>
                  <a:gd name="T3" fmla="*/ 35 h 35"/>
                  <a:gd name="T4" fmla="*/ 1 w 58"/>
                  <a:gd name="T5" fmla="*/ 34 h 35"/>
                  <a:gd name="T6" fmla="*/ 0 w 58"/>
                  <a:gd name="T7" fmla="*/ 32 h 35"/>
                  <a:gd name="T8" fmla="*/ 1 w 58"/>
                  <a:gd name="T9" fmla="*/ 30 h 35"/>
                  <a:gd name="T10" fmla="*/ 53 w 58"/>
                  <a:gd name="T11" fmla="*/ 0 h 35"/>
                  <a:gd name="T12" fmla="*/ 55 w 58"/>
                  <a:gd name="T13" fmla="*/ 0 h 35"/>
                  <a:gd name="T14" fmla="*/ 57 w 58"/>
                  <a:gd name="T15" fmla="*/ 1 h 35"/>
                  <a:gd name="T16" fmla="*/ 58 w 58"/>
                  <a:gd name="T17" fmla="*/ 3 h 35"/>
                  <a:gd name="T18" fmla="*/ 57 w 58"/>
                  <a:gd name="T19" fmla="*/ 4 h 35"/>
                  <a:gd name="T20" fmla="*/ 4 w 58"/>
                  <a:gd name="T21" fmla="*/ 35 h 35"/>
                  <a:gd name="T22" fmla="*/ 3 w 58"/>
                  <a:gd name="T2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8" h="35">
                    <a:moveTo>
                      <a:pt x="3" y="35"/>
                    </a:moveTo>
                    <a:cubicBezTo>
                      <a:pt x="3" y="35"/>
                      <a:pt x="3" y="35"/>
                      <a:pt x="2" y="3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3"/>
                      <a:pt x="0" y="32"/>
                    </a:cubicBezTo>
                    <a:cubicBezTo>
                      <a:pt x="0" y="31"/>
                      <a:pt x="0" y="31"/>
                      <a:pt x="1" y="3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4" y="0"/>
                      <a:pt x="55" y="0"/>
                      <a:pt x="55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8" y="1"/>
                      <a:pt x="58" y="2"/>
                      <a:pt x="58" y="3"/>
                    </a:cubicBezTo>
                    <a:cubicBezTo>
                      <a:pt x="58" y="3"/>
                      <a:pt x="58" y="4"/>
                      <a:pt x="57" y="4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4" y="35"/>
                      <a:pt x="4" y="35"/>
                      <a:pt x="3" y="3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645">
                <a:extLst>
                  <a:ext uri="{FF2B5EF4-FFF2-40B4-BE49-F238E27FC236}">
                    <a16:creationId xmlns:a16="http://schemas.microsoft.com/office/drawing/2014/main" id="{8B07E55E-EE9A-4F35-BB48-0B541B7F66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500566" y="6212244"/>
                <a:ext cx="419167" cy="253160"/>
              </a:xfrm>
              <a:custGeom>
                <a:avLst/>
                <a:gdLst>
                  <a:gd name="T0" fmla="*/ 68 w 171"/>
                  <a:gd name="T1" fmla="*/ 103 h 103"/>
                  <a:gd name="T2" fmla="*/ 67 w 171"/>
                  <a:gd name="T3" fmla="*/ 102 h 103"/>
                  <a:gd name="T4" fmla="*/ 1 w 171"/>
                  <a:gd name="T5" fmla="*/ 64 h 103"/>
                  <a:gd name="T6" fmla="*/ 0 w 171"/>
                  <a:gd name="T7" fmla="*/ 62 h 103"/>
                  <a:gd name="T8" fmla="*/ 1 w 171"/>
                  <a:gd name="T9" fmla="*/ 61 h 103"/>
                  <a:gd name="T10" fmla="*/ 105 w 171"/>
                  <a:gd name="T11" fmla="*/ 1 h 103"/>
                  <a:gd name="T12" fmla="*/ 107 w 171"/>
                  <a:gd name="T13" fmla="*/ 1 h 103"/>
                  <a:gd name="T14" fmla="*/ 170 w 171"/>
                  <a:gd name="T15" fmla="*/ 37 h 103"/>
                  <a:gd name="T16" fmla="*/ 171 w 171"/>
                  <a:gd name="T17" fmla="*/ 39 h 103"/>
                  <a:gd name="T18" fmla="*/ 170 w 171"/>
                  <a:gd name="T19" fmla="*/ 40 h 103"/>
                  <a:gd name="T20" fmla="*/ 118 w 171"/>
                  <a:gd name="T21" fmla="*/ 70 h 103"/>
                  <a:gd name="T22" fmla="*/ 119 w 171"/>
                  <a:gd name="T23" fmla="*/ 70 h 103"/>
                  <a:gd name="T24" fmla="*/ 120 w 171"/>
                  <a:gd name="T25" fmla="*/ 72 h 103"/>
                  <a:gd name="T26" fmla="*/ 119 w 171"/>
                  <a:gd name="T27" fmla="*/ 74 h 103"/>
                  <a:gd name="T28" fmla="*/ 69 w 171"/>
                  <a:gd name="T29" fmla="*/ 102 h 103"/>
                  <a:gd name="T30" fmla="*/ 68 w 171"/>
                  <a:gd name="T31" fmla="*/ 103 h 103"/>
                  <a:gd name="T32" fmla="*/ 6 w 171"/>
                  <a:gd name="T33" fmla="*/ 62 h 103"/>
                  <a:gd name="T34" fmla="*/ 68 w 171"/>
                  <a:gd name="T35" fmla="*/ 98 h 103"/>
                  <a:gd name="T36" fmla="*/ 114 w 171"/>
                  <a:gd name="T37" fmla="*/ 72 h 103"/>
                  <a:gd name="T38" fmla="*/ 113 w 171"/>
                  <a:gd name="T39" fmla="*/ 72 h 103"/>
                  <a:gd name="T40" fmla="*/ 112 w 171"/>
                  <a:gd name="T41" fmla="*/ 70 h 103"/>
                  <a:gd name="T42" fmla="*/ 113 w 171"/>
                  <a:gd name="T43" fmla="*/ 68 h 103"/>
                  <a:gd name="T44" fmla="*/ 165 w 171"/>
                  <a:gd name="T45" fmla="*/ 39 h 103"/>
                  <a:gd name="T46" fmla="*/ 106 w 171"/>
                  <a:gd name="T47" fmla="*/ 5 h 103"/>
                  <a:gd name="T48" fmla="*/ 6 w 171"/>
                  <a:gd name="T49" fmla="*/ 6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1" h="103">
                    <a:moveTo>
                      <a:pt x="68" y="103"/>
                    </a:moveTo>
                    <a:cubicBezTo>
                      <a:pt x="68" y="103"/>
                      <a:pt x="67" y="103"/>
                      <a:pt x="67" y="102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0" y="64"/>
                      <a:pt x="0" y="63"/>
                      <a:pt x="0" y="62"/>
                    </a:cubicBezTo>
                    <a:cubicBezTo>
                      <a:pt x="0" y="62"/>
                      <a:pt x="0" y="61"/>
                      <a:pt x="1" y="61"/>
                    </a:cubicBezTo>
                    <a:cubicBezTo>
                      <a:pt x="105" y="1"/>
                      <a:pt x="105" y="1"/>
                      <a:pt x="105" y="1"/>
                    </a:cubicBezTo>
                    <a:cubicBezTo>
                      <a:pt x="105" y="0"/>
                      <a:pt x="106" y="0"/>
                      <a:pt x="107" y="1"/>
                    </a:cubicBezTo>
                    <a:cubicBezTo>
                      <a:pt x="170" y="37"/>
                      <a:pt x="170" y="37"/>
                      <a:pt x="170" y="37"/>
                    </a:cubicBezTo>
                    <a:cubicBezTo>
                      <a:pt x="170" y="37"/>
                      <a:pt x="171" y="38"/>
                      <a:pt x="171" y="39"/>
                    </a:cubicBezTo>
                    <a:cubicBezTo>
                      <a:pt x="171" y="39"/>
                      <a:pt x="170" y="40"/>
                      <a:pt x="170" y="40"/>
                    </a:cubicBezTo>
                    <a:cubicBezTo>
                      <a:pt x="118" y="70"/>
                      <a:pt x="118" y="70"/>
                      <a:pt x="118" y="70"/>
                    </a:cubicBezTo>
                    <a:cubicBezTo>
                      <a:pt x="119" y="70"/>
                      <a:pt x="119" y="70"/>
                      <a:pt x="119" y="70"/>
                    </a:cubicBezTo>
                    <a:cubicBezTo>
                      <a:pt x="119" y="71"/>
                      <a:pt x="120" y="71"/>
                      <a:pt x="120" y="72"/>
                    </a:cubicBezTo>
                    <a:cubicBezTo>
                      <a:pt x="120" y="73"/>
                      <a:pt x="119" y="73"/>
                      <a:pt x="119" y="74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3"/>
                      <a:pt x="68" y="103"/>
                      <a:pt x="68" y="103"/>
                    </a:cubicBezTo>
                    <a:close/>
                    <a:moveTo>
                      <a:pt x="6" y="62"/>
                    </a:moveTo>
                    <a:cubicBezTo>
                      <a:pt x="68" y="98"/>
                      <a:pt x="68" y="98"/>
                      <a:pt x="68" y="98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3" y="72"/>
                      <a:pt x="113" y="72"/>
                      <a:pt x="113" y="72"/>
                    </a:cubicBezTo>
                    <a:cubicBezTo>
                      <a:pt x="113" y="71"/>
                      <a:pt x="112" y="71"/>
                      <a:pt x="112" y="70"/>
                    </a:cubicBezTo>
                    <a:cubicBezTo>
                      <a:pt x="112" y="69"/>
                      <a:pt x="113" y="69"/>
                      <a:pt x="113" y="68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06" y="5"/>
                      <a:pt x="106" y="5"/>
                      <a:pt x="106" y="5"/>
                    </a:cubicBez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646">
                <a:extLst>
                  <a:ext uri="{FF2B5EF4-FFF2-40B4-BE49-F238E27FC236}">
                    <a16:creationId xmlns:a16="http://schemas.microsoft.com/office/drawing/2014/main" id="{FBC57897-1212-44B1-9CE0-A9F7D3ABD5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18996" y="5627072"/>
                <a:ext cx="338239" cy="212696"/>
              </a:xfrm>
              <a:custGeom>
                <a:avLst/>
                <a:gdLst>
                  <a:gd name="T0" fmla="*/ 9 w 138"/>
                  <a:gd name="T1" fmla="*/ 87 h 87"/>
                  <a:gd name="T2" fmla="*/ 8 w 138"/>
                  <a:gd name="T3" fmla="*/ 87 h 87"/>
                  <a:gd name="T4" fmla="*/ 1 w 138"/>
                  <a:gd name="T5" fmla="*/ 82 h 87"/>
                  <a:gd name="T6" fmla="*/ 0 w 138"/>
                  <a:gd name="T7" fmla="*/ 81 h 87"/>
                  <a:gd name="T8" fmla="*/ 1 w 138"/>
                  <a:gd name="T9" fmla="*/ 79 h 87"/>
                  <a:gd name="T10" fmla="*/ 118 w 138"/>
                  <a:gd name="T11" fmla="*/ 11 h 87"/>
                  <a:gd name="T12" fmla="*/ 118 w 138"/>
                  <a:gd name="T13" fmla="*/ 2 h 87"/>
                  <a:gd name="T14" fmla="*/ 119 w 138"/>
                  <a:gd name="T15" fmla="*/ 0 h 87"/>
                  <a:gd name="T16" fmla="*/ 121 w 138"/>
                  <a:gd name="T17" fmla="*/ 0 h 87"/>
                  <a:gd name="T18" fmla="*/ 137 w 138"/>
                  <a:gd name="T19" fmla="*/ 10 h 87"/>
                  <a:gd name="T20" fmla="*/ 138 w 138"/>
                  <a:gd name="T21" fmla="*/ 11 h 87"/>
                  <a:gd name="T22" fmla="*/ 137 w 138"/>
                  <a:gd name="T23" fmla="*/ 13 h 87"/>
                  <a:gd name="T24" fmla="*/ 10 w 138"/>
                  <a:gd name="T25" fmla="*/ 87 h 87"/>
                  <a:gd name="T26" fmla="*/ 9 w 138"/>
                  <a:gd name="T27" fmla="*/ 87 h 87"/>
                  <a:gd name="T28" fmla="*/ 6 w 138"/>
                  <a:gd name="T29" fmla="*/ 81 h 87"/>
                  <a:gd name="T30" fmla="*/ 9 w 138"/>
                  <a:gd name="T31" fmla="*/ 83 h 87"/>
                  <a:gd name="T32" fmla="*/ 132 w 138"/>
                  <a:gd name="T33" fmla="*/ 11 h 87"/>
                  <a:gd name="T34" fmla="*/ 122 w 138"/>
                  <a:gd name="T35" fmla="*/ 6 h 87"/>
                  <a:gd name="T36" fmla="*/ 122 w 138"/>
                  <a:gd name="T37" fmla="*/ 12 h 87"/>
                  <a:gd name="T38" fmla="*/ 121 w 138"/>
                  <a:gd name="T39" fmla="*/ 14 h 87"/>
                  <a:gd name="T40" fmla="*/ 6 w 138"/>
                  <a:gd name="T41" fmla="*/ 8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87">
                    <a:moveTo>
                      <a:pt x="9" y="87"/>
                    </a:moveTo>
                    <a:cubicBezTo>
                      <a:pt x="9" y="87"/>
                      <a:pt x="8" y="87"/>
                      <a:pt x="8" y="8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0" y="82"/>
                      <a:pt x="0" y="81"/>
                      <a:pt x="0" y="81"/>
                    </a:cubicBezTo>
                    <a:cubicBezTo>
                      <a:pt x="0" y="80"/>
                      <a:pt x="0" y="79"/>
                      <a:pt x="1" y="79"/>
                    </a:cubicBezTo>
                    <a:cubicBezTo>
                      <a:pt x="118" y="11"/>
                      <a:pt x="118" y="11"/>
                      <a:pt x="118" y="11"/>
                    </a:cubicBezTo>
                    <a:cubicBezTo>
                      <a:pt x="118" y="2"/>
                      <a:pt x="118" y="2"/>
                      <a:pt x="118" y="2"/>
                    </a:cubicBezTo>
                    <a:cubicBezTo>
                      <a:pt x="118" y="1"/>
                      <a:pt x="118" y="1"/>
                      <a:pt x="119" y="0"/>
                    </a:cubicBezTo>
                    <a:cubicBezTo>
                      <a:pt x="120" y="0"/>
                      <a:pt x="120" y="0"/>
                      <a:pt x="121" y="0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8" y="10"/>
                      <a:pt x="138" y="11"/>
                      <a:pt x="138" y="11"/>
                    </a:cubicBezTo>
                    <a:cubicBezTo>
                      <a:pt x="138" y="12"/>
                      <a:pt x="138" y="13"/>
                      <a:pt x="137" y="13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0" y="87"/>
                      <a:pt x="9" y="87"/>
                      <a:pt x="9" y="87"/>
                    </a:cubicBezTo>
                    <a:close/>
                    <a:moveTo>
                      <a:pt x="6" y="81"/>
                    </a:moveTo>
                    <a:cubicBezTo>
                      <a:pt x="9" y="83"/>
                      <a:pt x="9" y="83"/>
                      <a:pt x="9" y="83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2" y="13"/>
                      <a:pt x="122" y="14"/>
                      <a:pt x="121" y="14"/>
                    </a:cubicBezTo>
                    <a:lnTo>
                      <a:pt x="6" y="8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647">
                <a:extLst>
                  <a:ext uri="{FF2B5EF4-FFF2-40B4-BE49-F238E27FC236}">
                    <a16:creationId xmlns:a16="http://schemas.microsoft.com/office/drawing/2014/main" id="{D3AC92DD-0C6A-4B8E-83C4-D0F1856033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35446" y="6175930"/>
                <a:ext cx="65365" cy="44614"/>
              </a:xfrm>
              <a:custGeom>
                <a:avLst/>
                <a:gdLst>
                  <a:gd name="T0" fmla="*/ 17 w 27"/>
                  <a:gd name="T1" fmla="*/ 18 h 18"/>
                  <a:gd name="T2" fmla="*/ 16 w 27"/>
                  <a:gd name="T3" fmla="*/ 17 h 18"/>
                  <a:gd name="T4" fmla="*/ 1 w 27"/>
                  <a:gd name="T5" fmla="*/ 9 h 18"/>
                  <a:gd name="T6" fmla="*/ 0 w 27"/>
                  <a:gd name="T7" fmla="*/ 7 h 18"/>
                  <a:gd name="T8" fmla="*/ 1 w 27"/>
                  <a:gd name="T9" fmla="*/ 5 h 18"/>
                  <a:gd name="T10" fmla="*/ 9 w 27"/>
                  <a:gd name="T11" fmla="*/ 0 h 18"/>
                  <a:gd name="T12" fmla="*/ 11 w 27"/>
                  <a:gd name="T13" fmla="*/ 0 h 18"/>
                  <a:gd name="T14" fmla="*/ 26 w 27"/>
                  <a:gd name="T15" fmla="*/ 9 h 18"/>
                  <a:gd name="T16" fmla="*/ 27 w 27"/>
                  <a:gd name="T17" fmla="*/ 11 h 18"/>
                  <a:gd name="T18" fmla="*/ 26 w 27"/>
                  <a:gd name="T19" fmla="*/ 12 h 18"/>
                  <a:gd name="T20" fmla="*/ 18 w 27"/>
                  <a:gd name="T21" fmla="*/ 17 h 18"/>
                  <a:gd name="T22" fmla="*/ 17 w 27"/>
                  <a:gd name="T23" fmla="*/ 18 h 18"/>
                  <a:gd name="T24" fmla="*/ 6 w 27"/>
                  <a:gd name="T25" fmla="*/ 7 h 18"/>
                  <a:gd name="T26" fmla="*/ 17 w 27"/>
                  <a:gd name="T27" fmla="*/ 13 h 18"/>
                  <a:gd name="T28" fmla="*/ 21 w 27"/>
                  <a:gd name="T29" fmla="*/ 11 h 18"/>
                  <a:gd name="T30" fmla="*/ 10 w 27"/>
                  <a:gd name="T31" fmla="*/ 4 h 18"/>
                  <a:gd name="T32" fmla="*/ 6 w 27"/>
                  <a:gd name="T33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8">
                    <a:moveTo>
                      <a:pt x="17" y="18"/>
                    </a:moveTo>
                    <a:cubicBezTo>
                      <a:pt x="17" y="18"/>
                      <a:pt x="16" y="17"/>
                      <a:pt x="16" y="17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8"/>
                      <a:pt x="0" y="8"/>
                      <a:pt x="0" y="7"/>
                    </a:cubicBezTo>
                    <a:cubicBezTo>
                      <a:pt x="0" y="6"/>
                      <a:pt x="0" y="6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10"/>
                      <a:pt x="27" y="11"/>
                    </a:cubicBezTo>
                    <a:cubicBezTo>
                      <a:pt x="27" y="11"/>
                      <a:pt x="27" y="12"/>
                      <a:pt x="26" y="12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7"/>
                      <a:pt x="17" y="18"/>
                      <a:pt x="17" y="18"/>
                    </a:cubicBezTo>
                    <a:close/>
                    <a:moveTo>
                      <a:pt x="6" y="7"/>
                    </a:moveTo>
                    <a:cubicBezTo>
                      <a:pt x="17" y="13"/>
                      <a:pt x="17" y="13"/>
                      <a:pt x="17" y="13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10" y="4"/>
                      <a:pt x="10" y="4"/>
                      <a:pt x="10" y="4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648">
                <a:extLst>
                  <a:ext uri="{FF2B5EF4-FFF2-40B4-BE49-F238E27FC236}">
                    <a16:creationId xmlns:a16="http://schemas.microsoft.com/office/drawing/2014/main" id="{7EBE0FED-CB60-4CA7-8F1A-3546F824D94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51160" y="6658386"/>
                <a:ext cx="122430" cy="78853"/>
              </a:xfrm>
              <a:custGeom>
                <a:avLst/>
                <a:gdLst>
                  <a:gd name="T0" fmla="*/ 46 w 50"/>
                  <a:gd name="T1" fmla="*/ 32 h 32"/>
                  <a:gd name="T2" fmla="*/ 45 w 50"/>
                  <a:gd name="T3" fmla="*/ 32 h 32"/>
                  <a:gd name="T4" fmla="*/ 1 w 50"/>
                  <a:gd name="T5" fmla="*/ 6 h 32"/>
                  <a:gd name="T6" fmla="*/ 0 w 50"/>
                  <a:gd name="T7" fmla="*/ 5 h 32"/>
                  <a:gd name="T8" fmla="*/ 0 w 50"/>
                  <a:gd name="T9" fmla="*/ 3 h 32"/>
                  <a:gd name="T10" fmla="*/ 1 w 50"/>
                  <a:gd name="T11" fmla="*/ 1 h 32"/>
                  <a:gd name="T12" fmla="*/ 3 w 50"/>
                  <a:gd name="T13" fmla="*/ 1 h 32"/>
                  <a:gd name="T14" fmla="*/ 49 w 50"/>
                  <a:gd name="T15" fmla="*/ 28 h 32"/>
                  <a:gd name="T16" fmla="*/ 50 w 50"/>
                  <a:gd name="T17" fmla="*/ 29 h 32"/>
                  <a:gd name="T18" fmla="*/ 49 w 50"/>
                  <a:gd name="T19" fmla="*/ 31 h 32"/>
                  <a:gd name="T20" fmla="*/ 47 w 50"/>
                  <a:gd name="T21" fmla="*/ 32 h 32"/>
                  <a:gd name="T22" fmla="*/ 46 w 50"/>
                  <a:gd name="T2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0" h="32">
                    <a:moveTo>
                      <a:pt x="46" y="32"/>
                    </a:moveTo>
                    <a:cubicBezTo>
                      <a:pt x="46" y="32"/>
                      <a:pt x="46" y="32"/>
                      <a:pt x="45" y="3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9"/>
                      <a:pt x="50" y="29"/>
                    </a:cubicBezTo>
                    <a:cubicBezTo>
                      <a:pt x="50" y="30"/>
                      <a:pt x="50" y="31"/>
                      <a:pt x="49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7" y="32"/>
                      <a:pt x="47" y="32"/>
                      <a:pt x="46" y="3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649">
                <a:extLst>
                  <a:ext uri="{FF2B5EF4-FFF2-40B4-BE49-F238E27FC236}">
                    <a16:creationId xmlns:a16="http://schemas.microsoft.com/office/drawing/2014/main" id="{B7440C0E-E0DB-4CA0-A4DF-7E5889E6E2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06545" y="6482004"/>
                <a:ext cx="167044" cy="277023"/>
              </a:xfrm>
              <a:custGeom>
                <a:avLst/>
                <a:gdLst>
                  <a:gd name="T0" fmla="*/ 66 w 68"/>
                  <a:gd name="T1" fmla="*/ 113 h 113"/>
                  <a:gd name="T2" fmla="*/ 65 w 68"/>
                  <a:gd name="T3" fmla="*/ 113 h 113"/>
                  <a:gd name="T4" fmla="*/ 62 w 68"/>
                  <a:gd name="T5" fmla="*/ 111 h 113"/>
                  <a:gd name="T6" fmla="*/ 61 w 68"/>
                  <a:gd name="T7" fmla="*/ 110 h 113"/>
                  <a:gd name="T8" fmla="*/ 61 w 68"/>
                  <a:gd name="T9" fmla="*/ 109 h 113"/>
                  <a:gd name="T10" fmla="*/ 1 w 68"/>
                  <a:gd name="T11" fmla="*/ 74 h 113"/>
                  <a:gd name="T12" fmla="*/ 0 w 68"/>
                  <a:gd name="T13" fmla="*/ 73 h 113"/>
                  <a:gd name="T14" fmla="*/ 0 w 68"/>
                  <a:gd name="T15" fmla="*/ 3 h 113"/>
                  <a:gd name="T16" fmla="*/ 1 w 68"/>
                  <a:gd name="T17" fmla="*/ 1 h 113"/>
                  <a:gd name="T18" fmla="*/ 3 w 68"/>
                  <a:gd name="T19" fmla="*/ 1 h 113"/>
                  <a:gd name="T20" fmla="*/ 4 w 68"/>
                  <a:gd name="T21" fmla="*/ 2 h 113"/>
                  <a:gd name="T22" fmla="*/ 5 w 68"/>
                  <a:gd name="T23" fmla="*/ 4 h 113"/>
                  <a:gd name="T24" fmla="*/ 5 w 68"/>
                  <a:gd name="T25" fmla="*/ 9 h 113"/>
                  <a:gd name="T26" fmla="*/ 10 w 68"/>
                  <a:gd name="T27" fmla="*/ 6 h 113"/>
                  <a:gd name="T28" fmla="*/ 12 w 68"/>
                  <a:gd name="T29" fmla="*/ 6 h 113"/>
                  <a:gd name="T30" fmla="*/ 67 w 68"/>
                  <a:gd name="T31" fmla="*/ 38 h 113"/>
                  <a:gd name="T32" fmla="*/ 68 w 68"/>
                  <a:gd name="T33" fmla="*/ 40 h 113"/>
                  <a:gd name="T34" fmla="*/ 68 w 68"/>
                  <a:gd name="T35" fmla="*/ 111 h 113"/>
                  <a:gd name="T36" fmla="*/ 67 w 68"/>
                  <a:gd name="T37" fmla="*/ 113 h 113"/>
                  <a:gd name="T38" fmla="*/ 66 w 68"/>
                  <a:gd name="T39" fmla="*/ 113 h 113"/>
                  <a:gd name="T40" fmla="*/ 4 w 68"/>
                  <a:gd name="T41" fmla="*/ 72 h 113"/>
                  <a:gd name="T42" fmla="*/ 64 w 68"/>
                  <a:gd name="T43" fmla="*/ 106 h 113"/>
                  <a:gd name="T44" fmla="*/ 64 w 68"/>
                  <a:gd name="T45" fmla="*/ 41 h 113"/>
                  <a:gd name="T46" fmla="*/ 11 w 68"/>
                  <a:gd name="T47" fmla="*/ 10 h 113"/>
                  <a:gd name="T48" fmla="*/ 4 w 68"/>
                  <a:gd name="T49" fmla="*/ 14 h 113"/>
                  <a:gd name="T50" fmla="*/ 4 w 68"/>
                  <a:gd name="T51" fmla="*/ 15 h 113"/>
                  <a:gd name="T52" fmla="*/ 4 w 68"/>
                  <a:gd name="T53" fmla="*/ 7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" h="113">
                    <a:moveTo>
                      <a:pt x="66" y="113"/>
                    </a:moveTo>
                    <a:cubicBezTo>
                      <a:pt x="65" y="113"/>
                      <a:pt x="65" y="113"/>
                      <a:pt x="65" y="113"/>
                    </a:cubicBezTo>
                    <a:cubicBezTo>
                      <a:pt x="62" y="111"/>
                      <a:pt x="62" y="111"/>
                      <a:pt x="62" y="111"/>
                    </a:cubicBezTo>
                    <a:cubicBezTo>
                      <a:pt x="61" y="111"/>
                      <a:pt x="61" y="110"/>
                      <a:pt x="61" y="110"/>
                    </a:cubicBezTo>
                    <a:cubicBezTo>
                      <a:pt x="61" y="110"/>
                      <a:pt x="61" y="109"/>
                      <a:pt x="61" y="109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4"/>
                      <a:pt x="0" y="73"/>
                      <a:pt x="0" y="7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1" y="6"/>
                      <a:pt x="12" y="6"/>
                      <a:pt x="12" y="6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67" y="38"/>
                      <a:pt x="68" y="39"/>
                      <a:pt x="68" y="40"/>
                    </a:cubicBezTo>
                    <a:cubicBezTo>
                      <a:pt x="68" y="111"/>
                      <a:pt x="68" y="111"/>
                      <a:pt x="68" y="111"/>
                    </a:cubicBezTo>
                    <a:cubicBezTo>
                      <a:pt x="68" y="112"/>
                      <a:pt x="67" y="113"/>
                      <a:pt x="67" y="113"/>
                    </a:cubicBezTo>
                    <a:cubicBezTo>
                      <a:pt x="67" y="113"/>
                      <a:pt x="66" y="113"/>
                      <a:pt x="66" y="113"/>
                    </a:cubicBezTo>
                    <a:close/>
                    <a:moveTo>
                      <a:pt x="4" y="72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5"/>
                      <a:pt x="4" y="15"/>
                      <a:pt x="4" y="15"/>
                    </a:cubicBezTo>
                    <a:lnTo>
                      <a:pt x="4" y="7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650">
                <a:extLst>
                  <a:ext uri="{FF2B5EF4-FFF2-40B4-BE49-F238E27FC236}">
                    <a16:creationId xmlns:a16="http://schemas.microsoft.com/office/drawing/2014/main" id="{B1023471-EBAA-44BB-BFE1-08B45DCB247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468402" y="6291097"/>
                <a:ext cx="34239" cy="24901"/>
              </a:xfrm>
              <a:custGeom>
                <a:avLst/>
                <a:gdLst>
                  <a:gd name="T0" fmla="*/ 4 w 14"/>
                  <a:gd name="T1" fmla="*/ 10 h 10"/>
                  <a:gd name="T2" fmla="*/ 3 w 14"/>
                  <a:gd name="T3" fmla="*/ 9 h 10"/>
                  <a:gd name="T4" fmla="*/ 1 w 14"/>
                  <a:gd name="T5" fmla="*/ 8 h 10"/>
                  <a:gd name="T6" fmla="*/ 0 w 14"/>
                  <a:gd name="T7" fmla="*/ 7 h 10"/>
                  <a:gd name="T8" fmla="*/ 1 w 14"/>
                  <a:gd name="T9" fmla="*/ 5 h 10"/>
                  <a:gd name="T10" fmla="*/ 9 w 14"/>
                  <a:gd name="T11" fmla="*/ 0 h 10"/>
                  <a:gd name="T12" fmla="*/ 11 w 14"/>
                  <a:gd name="T13" fmla="*/ 0 h 10"/>
                  <a:gd name="T14" fmla="*/ 13 w 14"/>
                  <a:gd name="T15" fmla="*/ 1 h 10"/>
                  <a:gd name="T16" fmla="*/ 14 w 14"/>
                  <a:gd name="T17" fmla="*/ 3 h 10"/>
                  <a:gd name="T18" fmla="*/ 13 w 14"/>
                  <a:gd name="T19" fmla="*/ 5 h 10"/>
                  <a:gd name="T20" fmla="*/ 5 w 14"/>
                  <a:gd name="T21" fmla="*/ 9 h 10"/>
                  <a:gd name="T22" fmla="*/ 4 w 14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0">
                    <a:moveTo>
                      <a:pt x="4" y="10"/>
                    </a:moveTo>
                    <a:cubicBezTo>
                      <a:pt x="3" y="10"/>
                      <a:pt x="3" y="10"/>
                      <a:pt x="3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1"/>
                      <a:pt x="14" y="2"/>
                      <a:pt x="14" y="3"/>
                    </a:cubicBezTo>
                    <a:cubicBezTo>
                      <a:pt x="14" y="4"/>
                      <a:pt x="14" y="4"/>
                      <a:pt x="13" y="5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0"/>
                      <a:pt x="4" y="10"/>
                      <a:pt x="4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651">
                <a:extLst>
                  <a:ext uri="{FF2B5EF4-FFF2-40B4-BE49-F238E27FC236}">
                    <a16:creationId xmlns:a16="http://schemas.microsoft.com/office/drawing/2014/main" id="{F3C545F7-4D69-4247-BAAC-9D15B15962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58423" y="6668761"/>
                <a:ext cx="306075" cy="264573"/>
              </a:xfrm>
              <a:custGeom>
                <a:avLst/>
                <a:gdLst>
                  <a:gd name="T0" fmla="*/ 12 w 125"/>
                  <a:gd name="T1" fmla="*/ 108 h 108"/>
                  <a:gd name="T2" fmla="*/ 11 w 125"/>
                  <a:gd name="T3" fmla="*/ 108 h 108"/>
                  <a:gd name="T4" fmla="*/ 1 w 125"/>
                  <a:gd name="T5" fmla="*/ 102 h 108"/>
                  <a:gd name="T6" fmla="*/ 0 w 125"/>
                  <a:gd name="T7" fmla="*/ 100 h 108"/>
                  <a:gd name="T8" fmla="*/ 0 w 125"/>
                  <a:gd name="T9" fmla="*/ 47 h 108"/>
                  <a:gd name="T10" fmla="*/ 1 w 125"/>
                  <a:gd name="T11" fmla="*/ 45 h 108"/>
                  <a:gd name="T12" fmla="*/ 78 w 125"/>
                  <a:gd name="T13" fmla="*/ 0 h 108"/>
                  <a:gd name="T14" fmla="*/ 80 w 125"/>
                  <a:gd name="T15" fmla="*/ 0 h 108"/>
                  <a:gd name="T16" fmla="*/ 124 w 125"/>
                  <a:gd name="T17" fmla="*/ 26 h 108"/>
                  <a:gd name="T18" fmla="*/ 125 w 125"/>
                  <a:gd name="T19" fmla="*/ 27 h 108"/>
                  <a:gd name="T20" fmla="*/ 124 w 125"/>
                  <a:gd name="T21" fmla="*/ 29 h 108"/>
                  <a:gd name="T22" fmla="*/ 51 w 125"/>
                  <a:gd name="T23" fmla="*/ 71 h 108"/>
                  <a:gd name="T24" fmla="*/ 61 w 125"/>
                  <a:gd name="T25" fmla="*/ 77 h 108"/>
                  <a:gd name="T26" fmla="*/ 62 w 125"/>
                  <a:gd name="T27" fmla="*/ 78 h 108"/>
                  <a:gd name="T28" fmla="*/ 61 w 125"/>
                  <a:gd name="T29" fmla="*/ 80 h 108"/>
                  <a:gd name="T30" fmla="*/ 13 w 125"/>
                  <a:gd name="T31" fmla="*/ 108 h 108"/>
                  <a:gd name="T32" fmla="*/ 12 w 125"/>
                  <a:gd name="T33" fmla="*/ 108 h 108"/>
                  <a:gd name="T34" fmla="*/ 4 w 125"/>
                  <a:gd name="T35" fmla="*/ 99 h 108"/>
                  <a:gd name="T36" fmla="*/ 12 w 125"/>
                  <a:gd name="T37" fmla="*/ 104 h 108"/>
                  <a:gd name="T38" fmla="*/ 56 w 125"/>
                  <a:gd name="T39" fmla="*/ 78 h 108"/>
                  <a:gd name="T40" fmla="*/ 46 w 125"/>
                  <a:gd name="T41" fmla="*/ 73 h 108"/>
                  <a:gd name="T42" fmla="*/ 45 w 125"/>
                  <a:gd name="T43" fmla="*/ 71 h 108"/>
                  <a:gd name="T44" fmla="*/ 46 w 125"/>
                  <a:gd name="T45" fmla="*/ 69 h 108"/>
                  <a:gd name="T46" fmla="*/ 119 w 125"/>
                  <a:gd name="T47" fmla="*/ 27 h 108"/>
                  <a:gd name="T48" fmla="*/ 79 w 125"/>
                  <a:gd name="T49" fmla="*/ 4 h 108"/>
                  <a:gd name="T50" fmla="*/ 4 w 125"/>
                  <a:gd name="T51" fmla="*/ 48 h 108"/>
                  <a:gd name="T52" fmla="*/ 4 w 125"/>
                  <a:gd name="T53" fmla="*/ 99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5" h="108">
                    <a:moveTo>
                      <a:pt x="12" y="108"/>
                    </a:moveTo>
                    <a:cubicBezTo>
                      <a:pt x="12" y="108"/>
                      <a:pt x="11" y="108"/>
                      <a:pt x="11" y="108"/>
                    </a:cubicBez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2"/>
                      <a:pt x="0" y="101"/>
                      <a:pt x="0" y="100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6"/>
                      <a:pt x="0" y="45"/>
                      <a:pt x="1" y="45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79" y="0"/>
                      <a:pt x="80" y="0"/>
                    </a:cubicBezTo>
                    <a:cubicBezTo>
                      <a:pt x="124" y="26"/>
                      <a:pt x="124" y="26"/>
                      <a:pt x="124" y="26"/>
                    </a:cubicBezTo>
                    <a:cubicBezTo>
                      <a:pt x="124" y="26"/>
                      <a:pt x="125" y="27"/>
                      <a:pt x="125" y="27"/>
                    </a:cubicBezTo>
                    <a:cubicBezTo>
                      <a:pt x="125" y="28"/>
                      <a:pt x="124" y="29"/>
                      <a:pt x="124" y="29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61" y="77"/>
                      <a:pt x="61" y="77"/>
                      <a:pt x="61" y="77"/>
                    </a:cubicBezTo>
                    <a:cubicBezTo>
                      <a:pt x="62" y="77"/>
                      <a:pt x="62" y="78"/>
                      <a:pt x="62" y="78"/>
                    </a:cubicBezTo>
                    <a:cubicBezTo>
                      <a:pt x="62" y="79"/>
                      <a:pt x="62" y="80"/>
                      <a:pt x="61" y="80"/>
                    </a:cubicBezTo>
                    <a:cubicBezTo>
                      <a:pt x="13" y="108"/>
                      <a:pt x="13" y="108"/>
                      <a:pt x="13" y="108"/>
                    </a:cubicBezTo>
                    <a:cubicBezTo>
                      <a:pt x="13" y="108"/>
                      <a:pt x="12" y="108"/>
                      <a:pt x="12" y="108"/>
                    </a:cubicBezTo>
                    <a:close/>
                    <a:moveTo>
                      <a:pt x="4" y="99"/>
                    </a:moveTo>
                    <a:cubicBezTo>
                      <a:pt x="12" y="104"/>
                      <a:pt x="12" y="104"/>
                      <a:pt x="12" y="104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46" y="72"/>
                      <a:pt x="45" y="72"/>
                      <a:pt x="45" y="71"/>
                    </a:cubicBezTo>
                    <a:cubicBezTo>
                      <a:pt x="45" y="70"/>
                      <a:pt x="46" y="70"/>
                      <a:pt x="46" y="69"/>
                    </a:cubicBezTo>
                    <a:cubicBezTo>
                      <a:pt x="119" y="27"/>
                      <a:pt x="119" y="27"/>
                      <a:pt x="119" y="27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4" y="48"/>
                      <a:pt x="4" y="48"/>
                      <a:pt x="4" y="48"/>
                    </a:cubicBezTo>
                    <a:lnTo>
                      <a:pt x="4" y="9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652">
                <a:extLst>
                  <a:ext uri="{FF2B5EF4-FFF2-40B4-BE49-F238E27FC236}">
                    <a16:creationId xmlns:a16="http://schemas.microsoft.com/office/drawing/2014/main" id="{D082EE12-5B39-447E-AD9D-F7B961E903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427864"/>
                <a:ext cx="76778" cy="179494"/>
              </a:xfrm>
              <a:custGeom>
                <a:avLst/>
                <a:gdLst>
                  <a:gd name="T0" fmla="*/ 29 w 31"/>
                  <a:gd name="T1" fmla="*/ 73 h 73"/>
                  <a:gd name="T2" fmla="*/ 28 w 31"/>
                  <a:gd name="T3" fmla="*/ 73 h 73"/>
                  <a:gd name="T4" fmla="*/ 1 w 31"/>
                  <a:gd name="T5" fmla="*/ 58 h 73"/>
                  <a:gd name="T6" fmla="*/ 0 w 31"/>
                  <a:gd name="T7" fmla="*/ 56 h 73"/>
                  <a:gd name="T8" fmla="*/ 0 w 31"/>
                  <a:gd name="T9" fmla="*/ 3 h 73"/>
                  <a:gd name="T10" fmla="*/ 1 w 31"/>
                  <a:gd name="T11" fmla="*/ 1 h 73"/>
                  <a:gd name="T12" fmla="*/ 3 w 31"/>
                  <a:gd name="T13" fmla="*/ 1 h 73"/>
                  <a:gd name="T14" fmla="*/ 30 w 31"/>
                  <a:gd name="T15" fmla="*/ 16 h 73"/>
                  <a:gd name="T16" fmla="*/ 31 w 31"/>
                  <a:gd name="T17" fmla="*/ 18 h 73"/>
                  <a:gd name="T18" fmla="*/ 31 w 31"/>
                  <a:gd name="T19" fmla="*/ 71 h 73"/>
                  <a:gd name="T20" fmla="*/ 30 w 31"/>
                  <a:gd name="T21" fmla="*/ 73 h 73"/>
                  <a:gd name="T22" fmla="*/ 29 w 31"/>
                  <a:gd name="T23" fmla="*/ 73 h 73"/>
                  <a:gd name="T24" fmla="*/ 4 w 31"/>
                  <a:gd name="T25" fmla="*/ 55 h 73"/>
                  <a:gd name="T26" fmla="*/ 27 w 31"/>
                  <a:gd name="T27" fmla="*/ 68 h 73"/>
                  <a:gd name="T28" fmla="*/ 27 w 31"/>
                  <a:gd name="T29" fmla="*/ 19 h 73"/>
                  <a:gd name="T30" fmla="*/ 4 w 31"/>
                  <a:gd name="T31" fmla="*/ 6 h 73"/>
                  <a:gd name="T32" fmla="*/ 4 w 31"/>
                  <a:gd name="T33" fmla="*/ 5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73">
                    <a:moveTo>
                      <a:pt x="29" y="73"/>
                    </a:moveTo>
                    <a:cubicBezTo>
                      <a:pt x="28" y="73"/>
                      <a:pt x="28" y="73"/>
                      <a:pt x="28" y="73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1" y="57"/>
                      <a:pt x="0" y="57"/>
                      <a:pt x="0" y="5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7"/>
                      <a:pt x="31" y="17"/>
                      <a:pt x="31" y="18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1" y="72"/>
                      <a:pt x="30" y="73"/>
                      <a:pt x="30" y="73"/>
                    </a:cubicBezTo>
                    <a:cubicBezTo>
                      <a:pt x="30" y="73"/>
                      <a:pt x="29" y="73"/>
                      <a:pt x="29" y="73"/>
                    </a:cubicBezTo>
                    <a:close/>
                    <a:moveTo>
                      <a:pt x="4" y="55"/>
                    </a:moveTo>
                    <a:cubicBezTo>
                      <a:pt x="27" y="68"/>
                      <a:pt x="27" y="68"/>
                      <a:pt x="27" y="68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653">
                <a:extLst>
                  <a:ext uri="{FF2B5EF4-FFF2-40B4-BE49-F238E27FC236}">
                    <a16:creationId xmlns:a16="http://schemas.microsoft.com/office/drawing/2014/main" id="{13461028-088F-433E-8462-8F567AFBA1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310622"/>
                <a:ext cx="62252" cy="61215"/>
              </a:xfrm>
              <a:custGeom>
                <a:avLst/>
                <a:gdLst>
                  <a:gd name="T0" fmla="*/ 2 w 25"/>
                  <a:gd name="T1" fmla="*/ 25 h 25"/>
                  <a:gd name="T2" fmla="*/ 1 w 25"/>
                  <a:gd name="T3" fmla="*/ 24 h 25"/>
                  <a:gd name="T4" fmla="*/ 0 w 25"/>
                  <a:gd name="T5" fmla="*/ 23 h 25"/>
                  <a:gd name="T6" fmla="*/ 0 w 25"/>
                  <a:gd name="T7" fmla="*/ 15 h 25"/>
                  <a:gd name="T8" fmla="*/ 1 w 25"/>
                  <a:gd name="T9" fmla="*/ 13 h 25"/>
                  <a:gd name="T10" fmla="*/ 22 w 25"/>
                  <a:gd name="T11" fmla="*/ 1 h 25"/>
                  <a:gd name="T12" fmla="*/ 24 w 25"/>
                  <a:gd name="T13" fmla="*/ 1 h 25"/>
                  <a:gd name="T14" fmla="*/ 25 w 25"/>
                  <a:gd name="T15" fmla="*/ 2 h 25"/>
                  <a:gd name="T16" fmla="*/ 25 w 25"/>
                  <a:gd name="T17" fmla="*/ 10 h 25"/>
                  <a:gd name="T18" fmla="*/ 24 w 25"/>
                  <a:gd name="T19" fmla="*/ 12 h 25"/>
                  <a:gd name="T20" fmla="*/ 3 w 25"/>
                  <a:gd name="T21" fmla="*/ 24 h 25"/>
                  <a:gd name="T22" fmla="*/ 2 w 25"/>
                  <a:gd name="T23" fmla="*/ 25 h 25"/>
                  <a:gd name="T24" fmla="*/ 4 w 25"/>
                  <a:gd name="T25" fmla="*/ 16 h 25"/>
                  <a:gd name="T26" fmla="*/ 4 w 25"/>
                  <a:gd name="T27" fmla="*/ 19 h 25"/>
                  <a:gd name="T28" fmla="*/ 21 w 25"/>
                  <a:gd name="T29" fmla="*/ 9 h 25"/>
                  <a:gd name="T30" fmla="*/ 21 w 25"/>
                  <a:gd name="T31" fmla="*/ 6 h 25"/>
                  <a:gd name="T32" fmla="*/ 4 w 25"/>
                  <a:gd name="T33" fmla="*/ 16 h 25"/>
                  <a:gd name="T34" fmla="*/ 23 w 25"/>
                  <a:gd name="T35" fmla="*/ 10 h 25"/>
                  <a:gd name="T36" fmla="*/ 23 w 25"/>
                  <a:gd name="T37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" y="25"/>
                    </a:moveTo>
                    <a:cubicBezTo>
                      <a:pt x="1" y="25"/>
                      <a:pt x="1" y="24"/>
                      <a:pt x="1" y="24"/>
                    </a:cubicBezTo>
                    <a:cubicBezTo>
                      <a:pt x="0" y="24"/>
                      <a:pt x="0" y="23"/>
                      <a:pt x="0" y="2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2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1"/>
                      <a:pt x="24" y="12"/>
                      <a:pt x="24" y="12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2" y="24"/>
                      <a:pt x="2" y="25"/>
                      <a:pt x="2" y="25"/>
                    </a:cubicBezTo>
                    <a:close/>
                    <a:moveTo>
                      <a:pt x="4" y="16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4" y="16"/>
                    </a:lnTo>
                    <a:close/>
                    <a:moveTo>
                      <a:pt x="23" y="10"/>
                    </a:moveTo>
                    <a:cubicBezTo>
                      <a:pt x="23" y="10"/>
                      <a:pt x="23" y="10"/>
                      <a:pt x="23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654">
                <a:extLst>
                  <a:ext uri="{FF2B5EF4-FFF2-40B4-BE49-F238E27FC236}">
                    <a16:creationId xmlns:a16="http://schemas.microsoft.com/office/drawing/2014/main" id="{162D126D-1E27-4721-8762-28149DB251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207906"/>
                <a:ext cx="62252" cy="107904"/>
              </a:xfrm>
              <a:custGeom>
                <a:avLst/>
                <a:gdLst>
                  <a:gd name="T0" fmla="*/ 23 w 25"/>
                  <a:gd name="T1" fmla="*/ 44 h 44"/>
                  <a:gd name="T2" fmla="*/ 22 w 25"/>
                  <a:gd name="T3" fmla="*/ 43 h 44"/>
                  <a:gd name="T4" fmla="*/ 1 w 25"/>
                  <a:gd name="T5" fmla="*/ 31 h 44"/>
                  <a:gd name="T6" fmla="*/ 0 w 25"/>
                  <a:gd name="T7" fmla="*/ 29 h 44"/>
                  <a:gd name="T8" fmla="*/ 0 w 25"/>
                  <a:gd name="T9" fmla="*/ 2 h 44"/>
                  <a:gd name="T10" fmla="*/ 1 w 25"/>
                  <a:gd name="T11" fmla="*/ 1 h 44"/>
                  <a:gd name="T12" fmla="*/ 3 w 25"/>
                  <a:gd name="T13" fmla="*/ 1 h 44"/>
                  <a:gd name="T14" fmla="*/ 24 w 25"/>
                  <a:gd name="T15" fmla="*/ 13 h 44"/>
                  <a:gd name="T16" fmla="*/ 25 w 25"/>
                  <a:gd name="T17" fmla="*/ 15 h 44"/>
                  <a:gd name="T18" fmla="*/ 25 w 25"/>
                  <a:gd name="T19" fmla="*/ 42 h 44"/>
                  <a:gd name="T20" fmla="*/ 24 w 25"/>
                  <a:gd name="T21" fmla="*/ 43 h 44"/>
                  <a:gd name="T22" fmla="*/ 23 w 25"/>
                  <a:gd name="T23" fmla="*/ 44 h 44"/>
                  <a:gd name="T24" fmla="*/ 4 w 25"/>
                  <a:gd name="T25" fmla="*/ 28 h 44"/>
                  <a:gd name="T26" fmla="*/ 21 w 25"/>
                  <a:gd name="T27" fmla="*/ 38 h 44"/>
                  <a:gd name="T28" fmla="*/ 21 w 25"/>
                  <a:gd name="T29" fmla="*/ 16 h 44"/>
                  <a:gd name="T30" fmla="*/ 4 w 25"/>
                  <a:gd name="T31" fmla="*/ 6 h 44"/>
                  <a:gd name="T32" fmla="*/ 4 w 25"/>
                  <a:gd name="T33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44">
                    <a:moveTo>
                      <a:pt x="23" y="44"/>
                    </a:moveTo>
                    <a:cubicBezTo>
                      <a:pt x="22" y="44"/>
                      <a:pt x="22" y="43"/>
                      <a:pt x="22" y="43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5" y="14"/>
                      <a:pt x="25" y="15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5" y="42"/>
                      <a:pt x="24" y="43"/>
                      <a:pt x="24" y="43"/>
                    </a:cubicBezTo>
                    <a:cubicBezTo>
                      <a:pt x="24" y="43"/>
                      <a:pt x="23" y="44"/>
                      <a:pt x="23" y="44"/>
                    </a:cubicBezTo>
                    <a:close/>
                    <a:moveTo>
                      <a:pt x="4" y="28"/>
                    </a:move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655">
                <a:extLst>
                  <a:ext uri="{FF2B5EF4-FFF2-40B4-BE49-F238E27FC236}">
                    <a16:creationId xmlns:a16="http://schemas.microsoft.com/office/drawing/2014/main" id="{ADBE4D66-F29B-4B0B-988D-C4308D1F6B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337598"/>
                <a:ext cx="304000" cy="230334"/>
              </a:xfrm>
              <a:custGeom>
                <a:avLst/>
                <a:gdLst>
                  <a:gd name="T0" fmla="*/ 94 w 124"/>
                  <a:gd name="T1" fmla="*/ 94 h 94"/>
                  <a:gd name="T2" fmla="*/ 93 w 124"/>
                  <a:gd name="T3" fmla="*/ 94 h 94"/>
                  <a:gd name="T4" fmla="*/ 28 w 124"/>
                  <a:gd name="T5" fmla="*/ 56 h 94"/>
                  <a:gd name="T6" fmla="*/ 3 w 124"/>
                  <a:gd name="T7" fmla="*/ 71 h 94"/>
                  <a:gd name="T8" fmla="*/ 1 w 124"/>
                  <a:gd name="T9" fmla="*/ 71 h 94"/>
                  <a:gd name="T10" fmla="*/ 0 w 124"/>
                  <a:gd name="T11" fmla="*/ 69 h 94"/>
                  <a:gd name="T12" fmla="*/ 0 w 124"/>
                  <a:gd name="T13" fmla="*/ 60 h 94"/>
                  <a:gd name="T14" fmla="*/ 1 w 124"/>
                  <a:gd name="T15" fmla="*/ 59 h 94"/>
                  <a:gd name="T16" fmla="*/ 82 w 124"/>
                  <a:gd name="T17" fmla="*/ 12 h 94"/>
                  <a:gd name="T18" fmla="*/ 84 w 124"/>
                  <a:gd name="T19" fmla="*/ 12 h 94"/>
                  <a:gd name="T20" fmla="*/ 92 w 124"/>
                  <a:gd name="T21" fmla="*/ 17 h 94"/>
                  <a:gd name="T22" fmla="*/ 121 w 124"/>
                  <a:gd name="T23" fmla="*/ 0 h 94"/>
                  <a:gd name="T24" fmla="*/ 123 w 124"/>
                  <a:gd name="T25" fmla="*/ 0 h 94"/>
                  <a:gd name="T26" fmla="*/ 124 w 124"/>
                  <a:gd name="T27" fmla="*/ 2 h 94"/>
                  <a:gd name="T28" fmla="*/ 124 w 124"/>
                  <a:gd name="T29" fmla="*/ 53 h 94"/>
                  <a:gd name="T30" fmla="*/ 123 w 124"/>
                  <a:gd name="T31" fmla="*/ 55 h 94"/>
                  <a:gd name="T32" fmla="*/ 121 w 124"/>
                  <a:gd name="T33" fmla="*/ 55 h 94"/>
                  <a:gd name="T34" fmla="*/ 96 w 124"/>
                  <a:gd name="T35" fmla="*/ 40 h 94"/>
                  <a:gd name="T36" fmla="*/ 96 w 124"/>
                  <a:gd name="T37" fmla="*/ 92 h 94"/>
                  <a:gd name="T38" fmla="*/ 95 w 124"/>
                  <a:gd name="T39" fmla="*/ 94 h 94"/>
                  <a:gd name="T40" fmla="*/ 94 w 124"/>
                  <a:gd name="T41" fmla="*/ 94 h 94"/>
                  <a:gd name="T42" fmla="*/ 28 w 124"/>
                  <a:gd name="T43" fmla="*/ 52 h 94"/>
                  <a:gd name="T44" fmla="*/ 29 w 124"/>
                  <a:gd name="T45" fmla="*/ 52 h 94"/>
                  <a:gd name="T46" fmla="*/ 92 w 124"/>
                  <a:gd name="T47" fmla="*/ 89 h 94"/>
                  <a:gd name="T48" fmla="*/ 92 w 124"/>
                  <a:gd name="T49" fmla="*/ 37 h 94"/>
                  <a:gd name="T50" fmla="*/ 93 w 124"/>
                  <a:gd name="T51" fmla="*/ 35 h 94"/>
                  <a:gd name="T52" fmla="*/ 95 w 124"/>
                  <a:gd name="T53" fmla="*/ 35 h 94"/>
                  <a:gd name="T54" fmla="*/ 120 w 124"/>
                  <a:gd name="T55" fmla="*/ 50 h 94"/>
                  <a:gd name="T56" fmla="*/ 120 w 124"/>
                  <a:gd name="T57" fmla="*/ 5 h 94"/>
                  <a:gd name="T58" fmla="*/ 93 w 124"/>
                  <a:gd name="T59" fmla="*/ 21 h 94"/>
                  <a:gd name="T60" fmla="*/ 91 w 124"/>
                  <a:gd name="T61" fmla="*/ 21 h 94"/>
                  <a:gd name="T62" fmla="*/ 83 w 124"/>
                  <a:gd name="T63" fmla="*/ 16 h 94"/>
                  <a:gd name="T64" fmla="*/ 4 w 124"/>
                  <a:gd name="T65" fmla="*/ 62 h 94"/>
                  <a:gd name="T66" fmla="*/ 4 w 124"/>
                  <a:gd name="T67" fmla="*/ 65 h 94"/>
                  <a:gd name="T68" fmla="*/ 27 w 124"/>
                  <a:gd name="T69" fmla="*/ 52 h 94"/>
                  <a:gd name="T70" fmla="*/ 28 w 124"/>
                  <a:gd name="T71" fmla="*/ 5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4" h="94">
                    <a:moveTo>
                      <a:pt x="94" y="94"/>
                    </a:moveTo>
                    <a:cubicBezTo>
                      <a:pt x="93" y="94"/>
                      <a:pt x="93" y="94"/>
                      <a:pt x="93" y="94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2" y="71"/>
                      <a:pt x="1" y="71"/>
                    </a:cubicBezTo>
                    <a:cubicBezTo>
                      <a:pt x="1" y="70"/>
                      <a:pt x="0" y="70"/>
                      <a:pt x="0" y="69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1" y="59"/>
                      <a:pt x="1" y="59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3" y="12"/>
                      <a:pt x="84" y="12"/>
                      <a:pt x="84" y="12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1" y="0"/>
                      <a:pt x="122" y="0"/>
                      <a:pt x="123" y="0"/>
                    </a:cubicBezTo>
                    <a:cubicBezTo>
                      <a:pt x="123" y="0"/>
                      <a:pt x="124" y="1"/>
                      <a:pt x="124" y="2"/>
                    </a:cubicBezTo>
                    <a:cubicBezTo>
                      <a:pt x="124" y="53"/>
                      <a:pt x="124" y="53"/>
                      <a:pt x="124" y="53"/>
                    </a:cubicBezTo>
                    <a:cubicBezTo>
                      <a:pt x="124" y="54"/>
                      <a:pt x="123" y="54"/>
                      <a:pt x="123" y="55"/>
                    </a:cubicBezTo>
                    <a:cubicBezTo>
                      <a:pt x="122" y="55"/>
                      <a:pt x="121" y="55"/>
                      <a:pt x="121" y="55"/>
                    </a:cubicBezTo>
                    <a:cubicBezTo>
                      <a:pt x="96" y="40"/>
                      <a:pt x="96" y="40"/>
                      <a:pt x="96" y="40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3"/>
                      <a:pt x="95" y="94"/>
                      <a:pt x="95" y="94"/>
                    </a:cubicBezTo>
                    <a:cubicBezTo>
                      <a:pt x="94" y="94"/>
                      <a:pt x="94" y="94"/>
                      <a:pt x="94" y="94"/>
                    </a:cubicBezTo>
                    <a:close/>
                    <a:moveTo>
                      <a:pt x="28" y="52"/>
                    </a:moveTo>
                    <a:cubicBezTo>
                      <a:pt x="28" y="52"/>
                      <a:pt x="28" y="52"/>
                      <a:pt x="29" y="52"/>
                    </a:cubicBezTo>
                    <a:cubicBezTo>
                      <a:pt x="92" y="89"/>
                      <a:pt x="92" y="89"/>
                      <a:pt x="92" y="89"/>
                    </a:cubicBezTo>
                    <a:cubicBezTo>
                      <a:pt x="92" y="37"/>
                      <a:pt x="92" y="37"/>
                      <a:pt x="92" y="37"/>
                    </a:cubicBezTo>
                    <a:cubicBezTo>
                      <a:pt x="92" y="36"/>
                      <a:pt x="92" y="35"/>
                      <a:pt x="93" y="35"/>
                    </a:cubicBezTo>
                    <a:cubicBezTo>
                      <a:pt x="93" y="35"/>
                      <a:pt x="94" y="35"/>
                      <a:pt x="95" y="35"/>
                    </a:cubicBezTo>
                    <a:cubicBezTo>
                      <a:pt x="120" y="50"/>
                      <a:pt x="120" y="50"/>
                      <a:pt x="120" y="50"/>
                    </a:cubicBezTo>
                    <a:cubicBezTo>
                      <a:pt x="120" y="5"/>
                      <a:pt x="120" y="5"/>
                      <a:pt x="120" y="5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1"/>
                      <a:pt x="92" y="21"/>
                      <a:pt x="91" y="21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7" y="52"/>
                      <a:pt x="27" y="52"/>
                      <a:pt x="28" y="5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656">
                <a:extLst>
                  <a:ext uri="{FF2B5EF4-FFF2-40B4-BE49-F238E27FC236}">
                    <a16:creationId xmlns:a16="http://schemas.microsoft.com/office/drawing/2014/main" id="{CAEE404E-AD61-4C02-823D-A6BDCF1E7B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148766"/>
                <a:ext cx="62252" cy="95454"/>
              </a:xfrm>
              <a:custGeom>
                <a:avLst/>
                <a:gdLst>
                  <a:gd name="T0" fmla="*/ 23 w 25"/>
                  <a:gd name="T1" fmla="*/ 39 h 39"/>
                  <a:gd name="T2" fmla="*/ 22 w 25"/>
                  <a:gd name="T3" fmla="*/ 38 h 39"/>
                  <a:gd name="T4" fmla="*/ 1 w 25"/>
                  <a:gd name="T5" fmla="*/ 26 h 39"/>
                  <a:gd name="T6" fmla="*/ 0 w 25"/>
                  <a:gd name="T7" fmla="*/ 24 h 39"/>
                  <a:gd name="T8" fmla="*/ 0 w 25"/>
                  <a:gd name="T9" fmla="*/ 15 h 39"/>
                  <a:gd name="T10" fmla="*/ 1 w 25"/>
                  <a:gd name="T11" fmla="*/ 13 h 39"/>
                  <a:gd name="T12" fmla="*/ 22 w 25"/>
                  <a:gd name="T13" fmla="*/ 1 h 39"/>
                  <a:gd name="T14" fmla="*/ 24 w 25"/>
                  <a:gd name="T15" fmla="*/ 1 h 39"/>
                  <a:gd name="T16" fmla="*/ 25 w 25"/>
                  <a:gd name="T17" fmla="*/ 2 h 39"/>
                  <a:gd name="T18" fmla="*/ 25 w 25"/>
                  <a:gd name="T19" fmla="*/ 37 h 39"/>
                  <a:gd name="T20" fmla="*/ 24 w 25"/>
                  <a:gd name="T21" fmla="*/ 38 h 39"/>
                  <a:gd name="T22" fmla="*/ 23 w 25"/>
                  <a:gd name="T23" fmla="*/ 39 h 39"/>
                  <a:gd name="T24" fmla="*/ 4 w 25"/>
                  <a:gd name="T25" fmla="*/ 23 h 39"/>
                  <a:gd name="T26" fmla="*/ 21 w 25"/>
                  <a:gd name="T27" fmla="*/ 33 h 39"/>
                  <a:gd name="T28" fmla="*/ 21 w 25"/>
                  <a:gd name="T29" fmla="*/ 6 h 39"/>
                  <a:gd name="T30" fmla="*/ 4 w 25"/>
                  <a:gd name="T31" fmla="*/ 16 h 39"/>
                  <a:gd name="T32" fmla="*/ 4 w 25"/>
                  <a:gd name="T33" fmla="*/ 2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9">
                    <a:moveTo>
                      <a:pt x="23" y="39"/>
                    </a:moveTo>
                    <a:cubicBezTo>
                      <a:pt x="22" y="39"/>
                      <a:pt x="22" y="39"/>
                      <a:pt x="22" y="38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6"/>
                      <a:pt x="0" y="25"/>
                      <a:pt x="0" y="2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7"/>
                      <a:pt x="24" y="38"/>
                      <a:pt x="24" y="38"/>
                    </a:cubicBezTo>
                    <a:cubicBezTo>
                      <a:pt x="24" y="39"/>
                      <a:pt x="23" y="39"/>
                      <a:pt x="23" y="39"/>
                    </a:cubicBezTo>
                    <a:close/>
                    <a:moveTo>
                      <a:pt x="4" y="23"/>
                    </a:move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657">
                <a:extLst>
                  <a:ext uri="{FF2B5EF4-FFF2-40B4-BE49-F238E27FC236}">
                    <a16:creationId xmlns:a16="http://schemas.microsoft.com/office/drawing/2014/main" id="{D7035846-DCD1-4805-A6B3-B9C57960BF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5837692"/>
                <a:ext cx="118280" cy="343426"/>
              </a:xfrm>
              <a:custGeom>
                <a:avLst/>
                <a:gdLst>
                  <a:gd name="T0" fmla="*/ 41 w 48"/>
                  <a:gd name="T1" fmla="*/ 140 h 140"/>
                  <a:gd name="T2" fmla="*/ 40 w 48"/>
                  <a:gd name="T3" fmla="*/ 140 h 140"/>
                  <a:gd name="T4" fmla="*/ 1 w 48"/>
                  <a:gd name="T5" fmla="*/ 117 h 140"/>
                  <a:gd name="T6" fmla="*/ 0 w 48"/>
                  <a:gd name="T7" fmla="*/ 115 h 140"/>
                  <a:gd name="T8" fmla="*/ 0 w 48"/>
                  <a:gd name="T9" fmla="*/ 23 h 140"/>
                  <a:gd name="T10" fmla="*/ 1 w 48"/>
                  <a:gd name="T11" fmla="*/ 21 h 140"/>
                  <a:gd name="T12" fmla="*/ 36 w 48"/>
                  <a:gd name="T13" fmla="*/ 1 h 140"/>
                  <a:gd name="T14" fmla="*/ 38 w 48"/>
                  <a:gd name="T15" fmla="*/ 1 h 140"/>
                  <a:gd name="T16" fmla="*/ 47 w 48"/>
                  <a:gd name="T17" fmla="*/ 6 h 140"/>
                  <a:gd name="T18" fmla="*/ 48 w 48"/>
                  <a:gd name="T19" fmla="*/ 8 h 140"/>
                  <a:gd name="T20" fmla="*/ 48 w 48"/>
                  <a:gd name="T21" fmla="*/ 135 h 140"/>
                  <a:gd name="T22" fmla="*/ 47 w 48"/>
                  <a:gd name="T23" fmla="*/ 137 h 140"/>
                  <a:gd name="T24" fmla="*/ 42 w 48"/>
                  <a:gd name="T25" fmla="*/ 140 h 140"/>
                  <a:gd name="T26" fmla="*/ 41 w 48"/>
                  <a:gd name="T27" fmla="*/ 140 h 140"/>
                  <a:gd name="T28" fmla="*/ 4 w 48"/>
                  <a:gd name="T29" fmla="*/ 114 h 140"/>
                  <a:gd name="T30" fmla="*/ 41 w 48"/>
                  <a:gd name="T31" fmla="*/ 136 h 140"/>
                  <a:gd name="T32" fmla="*/ 44 w 48"/>
                  <a:gd name="T33" fmla="*/ 134 h 140"/>
                  <a:gd name="T34" fmla="*/ 44 w 48"/>
                  <a:gd name="T35" fmla="*/ 9 h 140"/>
                  <a:gd name="T36" fmla="*/ 37 w 48"/>
                  <a:gd name="T37" fmla="*/ 5 h 140"/>
                  <a:gd name="T38" fmla="*/ 4 w 48"/>
                  <a:gd name="T39" fmla="*/ 24 h 140"/>
                  <a:gd name="T40" fmla="*/ 4 w 48"/>
                  <a:gd name="T41" fmla="*/ 114 h 140"/>
                  <a:gd name="T42" fmla="*/ 46 w 48"/>
                  <a:gd name="T43" fmla="*/ 135 h 140"/>
                  <a:gd name="T44" fmla="*/ 46 w 48"/>
                  <a:gd name="T45" fmla="*/ 135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" h="140">
                    <a:moveTo>
                      <a:pt x="41" y="140"/>
                    </a:moveTo>
                    <a:cubicBezTo>
                      <a:pt x="41" y="140"/>
                      <a:pt x="41" y="140"/>
                      <a:pt x="40" y="140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0" y="117"/>
                      <a:pt x="0" y="116"/>
                      <a:pt x="0" y="11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2"/>
                      <a:pt x="0" y="21"/>
                      <a:pt x="1" y="2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7" y="0"/>
                      <a:pt x="38" y="0"/>
                      <a:pt x="38" y="1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8" y="6"/>
                      <a:pt x="48" y="7"/>
                      <a:pt x="48" y="8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7"/>
                      <a:pt x="47" y="137"/>
                    </a:cubicBezTo>
                    <a:cubicBezTo>
                      <a:pt x="42" y="140"/>
                      <a:pt x="42" y="140"/>
                      <a:pt x="42" y="140"/>
                    </a:cubicBezTo>
                    <a:cubicBezTo>
                      <a:pt x="42" y="140"/>
                      <a:pt x="42" y="140"/>
                      <a:pt x="41" y="140"/>
                    </a:cubicBezTo>
                    <a:close/>
                    <a:moveTo>
                      <a:pt x="4" y="114"/>
                    </a:moveTo>
                    <a:cubicBezTo>
                      <a:pt x="41" y="136"/>
                      <a:pt x="41" y="136"/>
                      <a:pt x="41" y="136"/>
                    </a:cubicBezTo>
                    <a:cubicBezTo>
                      <a:pt x="44" y="134"/>
                      <a:pt x="44" y="134"/>
                      <a:pt x="44" y="134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4" y="24"/>
                      <a:pt x="4" y="24"/>
                      <a:pt x="4" y="24"/>
                    </a:cubicBezTo>
                    <a:lnTo>
                      <a:pt x="4" y="114"/>
                    </a:lnTo>
                    <a:close/>
                    <a:moveTo>
                      <a:pt x="46" y="135"/>
                    </a:moveTo>
                    <a:cubicBezTo>
                      <a:pt x="46" y="135"/>
                      <a:pt x="46" y="135"/>
                      <a:pt x="46" y="13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658">
                <a:extLst>
                  <a:ext uri="{FF2B5EF4-FFF2-40B4-BE49-F238E27FC236}">
                    <a16:creationId xmlns:a16="http://schemas.microsoft.com/office/drawing/2014/main" id="{8ABCFF79-3407-410B-A4A0-D69BF8B283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62573" y="5310622"/>
                <a:ext cx="84041" cy="267685"/>
              </a:xfrm>
              <a:custGeom>
                <a:avLst/>
                <a:gdLst>
                  <a:gd name="T0" fmla="*/ 32 w 34"/>
                  <a:gd name="T1" fmla="*/ 109 h 109"/>
                  <a:gd name="T2" fmla="*/ 31 w 34"/>
                  <a:gd name="T3" fmla="*/ 109 h 109"/>
                  <a:gd name="T4" fmla="*/ 1 w 34"/>
                  <a:gd name="T5" fmla="*/ 91 h 109"/>
                  <a:gd name="T6" fmla="*/ 0 w 34"/>
                  <a:gd name="T7" fmla="*/ 90 h 109"/>
                  <a:gd name="T8" fmla="*/ 0 w 34"/>
                  <a:gd name="T9" fmla="*/ 20 h 109"/>
                  <a:gd name="T10" fmla="*/ 1 w 34"/>
                  <a:gd name="T11" fmla="*/ 18 h 109"/>
                  <a:gd name="T12" fmla="*/ 31 w 34"/>
                  <a:gd name="T13" fmla="*/ 1 h 109"/>
                  <a:gd name="T14" fmla="*/ 33 w 34"/>
                  <a:gd name="T15" fmla="*/ 1 h 109"/>
                  <a:gd name="T16" fmla="*/ 34 w 34"/>
                  <a:gd name="T17" fmla="*/ 2 h 109"/>
                  <a:gd name="T18" fmla="*/ 34 w 34"/>
                  <a:gd name="T19" fmla="*/ 107 h 109"/>
                  <a:gd name="T20" fmla="*/ 33 w 34"/>
                  <a:gd name="T21" fmla="*/ 109 h 109"/>
                  <a:gd name="T22" fmla="*/ 32 w 34"/>
                  <a:gd name="T23" fmla="*/ 109 h 109"/>
                  <a:gd name="T24" fmla="*/ 4 w 34"/>
                  <a:gd name="T25" fmla="*/ 89 h 109"/>
                  <a:gd name="T26" fmla="*/ 30 w 34"/>
                  <a:gd name="T27" fmla="*/ 104 h 109"/>
                  <a:gd name="T28" fmla="*/ 30 w 34"/>
                  <a:gd name="T29" fmla="*/ 6 h 109"/>
                  <a:gd name="T30" fmla="*/ 4 w 34"/>
                  <a:gd name="T31" fmla="*/ 21 h 109"/>
                  <a:gd name="T32" fmla="*/ 4 w 34"/>
                  <a:gd name="T33" fmla="*/ 8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109">
                    <a:moveTo>
                      <a:pt x="32" y="109"/>
                    </a:moveTo>
                    <a:cubicBezTo>
                      <a:pt x="32" y="109"/>
                      <a:pt x="32" y="109"/>
                      <a:pt x="31" y="109"/>
                    </a:cubicBezTo>
                    <a:cubicBezTo>
                      <a:pt x="1" y="91"/>
                      <a:pt x="1" y="91"/>
                      <a:pt x="1" y="91"/>
                    </a:cubicBezTo>
                    <a:cubicBezTo>
                      <a:pt x="0" y="91"/>
                      <a:pt x="0" y="90"/>
                      <a:pt x="0" y="9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9"/>
                      <a:pt x="1" y="18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0"/>
                      <a:pt x="33" y="0"/>
                      <a:pt x="33" y="1"/>
                    </a:cubicBezTo>
                    <a:cubicBezTo>
                      <a:pt x="34" y="1"/>
                      <a:pt x="34" y="2"/>
                      <a:pt x="34" y="2"/>
                    </a:cubicBezTo>
                    <a:cubicBezTo>
                      <a:pt x="34" y="107"/>
                      <a:pt x="34" y="107"/>
                      <a:pt x="34" y="107"/>
                    </a:cubicBezTo>
                    <a:cubicBezTo>
                      <a:pt x="34" y="108"/>
                      <a:pt x="34" y="109"/>
                      <a:pt x="33" y="109"/>
                    </a:cubicBezTo>
                    <a:cubicBezTo>
                      <a:pt x="33" y="109"/>
                      <a:pt x="33" y="109"/>
                      <a:pt x="32" y="109"/>
                    </a:cubicBezTo>
                    <a:close/>
                    <a:moveTo>
                      <a:pt x="4" y="89"/>
                    </a:move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4" y="21"/>
                      <a:pt x="4" y="21"/>
                      <a:pt x="4" y="21"/>
                    </a:cubicBezTo>
                    <a:lnTo>
                      <a:pt x="4" y="8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659">
                <a:extLst>
                  <a:ext uri="{FF2B5EF4-FFF2-40B4-BE49-F238E27FC236}">
                    <a16:creationId xmlns:a16="http://schemas.microsoft.com/office/drawing/2014/main" id="{CD5A9A6E-916C-4D30-93A9-DC6F4199D9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565857"/>
                <a:ext cx="76778" cy="85078"/>
              </a:xfrm>
              <a:custGeom>
                <a:avLst/>
                <a:gdLst>
                  <a:gd name="T0" fmla="*/ 29 w 31"/>
                  <a:gd name="T1" fmla="*/ 35 h 35"/>
                  <a:gd name="T2" fmla="*/ 28 w 31"/>
                  <a:gd name="T3" fmla="*/ 35 h 35"/>
                  <a:gd name="T4" fmla="*/ 1 w 31"/>
                  <a:gd name="T5" fmla="*/ 20 h 35"/>
                  <a:gd name="T6" fmla="*/ 0 w 31"/>
                  <a:gd name="T7" fmla="*/ 18 h 35"/>
                  <a:gd name="T8" fmla="*/ 0 w 31"/>
                  <a:gd name="T9" fmla="*/ 2 h 35"/>
                  <a:gd name="T10" fmla="*/ 1 w 31"/>
                  <a:gd name="T11" fmla="*/ 0 h 35"/>
                  <a:gd name="T12" fmla="*/ 3 w 31"/>
                  <a:gd name="T13" fmla="*/ 0 h 35"/>
                  <a:gd name="T14" fmla="*/ 30 w 31"/>
                  <a:gd name="T15" fmla="*/ 16 h 35"/>
                  <a:gd name="T16" fmla="*/ 31 w 31"/>
                  <a:gd name="T17" fmla="*/ 17 h 35"/>
                  <a:gd name="T18" fmla="*/ 31 w 31"/>
                  <a:gd name="T19" fmla="*/ 33 h 35"/>
                  <a:gd name="T20" fmla="*/ 30 w 31"/>
                  <a:gd name="T21" fmla="*/ 35 h 35"/>
                  <a:gd name="T22" fmla="*/ 29 w 31"/>
                  <a:gd name="T23" fmla="*/ 35 h 35"/>
                  <a:gd name="T24" fmla="*/ 4 w 31"/>
                  <a:gd name="T25" fmla="*/ 17 h 35"/>
                  <a:gd name="T26" fmla="*/ 27 w 31"/>
                  <a:gd name="T27" fmla="*/ 30 h 35"/>
                  <a:gd name="T28" fmla="*/ 27 w 31"/>
                  <a:gd name="T29" fmla="*/ 19 h 35"/>
                  <a:gd name="T30" fmla="*/ 4 w 31"/>
                  <a:gd name="T31" fmla="*/ 5 h 35"/>
                  <a:gd name="T32" fmla="*/ 4 w 31"/>
                  <a:gd name="T3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35">
                    <a:moveTo>
                      <a:pt x="29" y="35"/>
                    </a:moveTo>
                    <a:cubicBezTo>
                      <a:pt x="28" y="35"/>
                      <a:pt x="28" y="35"/>
                      <a:pt x="28" y="35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1" y="17"/>
                      <a:pt x="31" y="17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1" y="34"/>
                      <a:pt x="30" y="35"/>
                      <a:pt x="30" y="35"/>
                    </a:cubicBezTo>
                    <a:cubicBezTo>
                      <a:pt x="30" y="35"/>
                      <a:pt x="29" y="35"/>
                      <a:pt x="29" y="35"/>
                    </a:cubicBezTo>
                    <a:close/>
                    <a:moveTo>
                      <a:pt x="4" y="17"/>
                    </a:move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660">
                <a:extLst>
                  <a:ext uri="{FF2B5EF4-FFF2-40B4-BE49-F238E27FC236}">
                    <a16:creationId xmlns:a16="http://schemas.microsoft.com/office/drawing/2014/main" id="{BA84F342-21AF-40DF-BD98-341B68C13E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5470403"/>
                <a:ext cx="304000" cy="320600"/>
              </a:xfrm>
              <a:custGeom>
                <a:avLst/>
                <a:gdLst>
                  <a:gd name="T0" fmla="*/ 29 w 124"/>
                  <a:gd name="T1" fmla="*/ 131 h 131"/>
                  <a:gd name="T2" fmla="*/ 28 w 124"/>
                  <a:gd name="T3" fmla="*/ 131 h 131"/>
                  <a:gd name="T4" fmla="*/ 1 w 124"/>
                  <a:gd name="T5" fmla="*/ 115 h 131"/>
                  <a:gd name="T6" fmla="*/ 0 w 124"/>
                  <a:gd name="T7" fmla="*/ 113 h 131"/>
                  <a:gd name="T8" fmla="*/ 0 w 124"/>
                  <a:gd name="T9" fmla="*/ 17 h 131"/>
                  <a:gd name="T10" fmla="*/ 1 w 124"/>
                  <a:gd name="T11" fmla="*/ 15 h 131"/>
                  <a:gd name="T12" fmla="*/ 27 w 124"/>
                  <a:gd name="T13" fmla="*/ 0 h 131"/>
                  <a:gd name="T14" fmla="*/ 29 w 124"/>
                  <a:gd name="T15" fmla="*/ 0 h 131"/>
                  <a:gd name="T16" fmla="*/ 95 w 124"/>
                  <a:gd name="T17" fmla="*/ 38 h 131"/>
                  <a:gd name="T18" fmla="*/ 96 w 124"/>
                  <a:gd name="T19" fmla="*/ 40 h 131"/>
                  <a:gd name="T20" fmla="*/ 96 w 124"/>
                  <a:gd name="T21" fmla="*/ 57 h 131"/>
                  <a:gd name="T22" fmla="*/ 123 w 124"/>
                  <a:gd name="T23" fmla="*/ 73 h 131"/>
                  <a:gd name="T24" fmla="*/ 124 w 124"/>
                  <a:gd name="T25" fmla="*/ 74 h 131"/>
                  <a:gd name="T26" fmla="*/ 124 w 124"/>
                  <a:gd name="T27" fmla="*/ 75 h 131"/>
                  <a:gd name="T28" fmla="*/ 123 w 124"/>
                  <a:gd name="T29" fmla="*/ 77 h 131"/>
                  <a:gd name="T30" fmla="*/ 30 w 124"/>
                  <a:gd name="T31" fmla="*/ 131 h 131"/>
                  <a:gd name="T32" fmla="*/ 29 w 124"/>
                  <a:gd name="T33" fmla="*/ 131 h 131"/>
                  <a:gd name="T34" fmla="*/ 4 w 124"/>
                  <a:gd name="T35" fmla="*/ 112 h 131"/>
                  <a:gd name="T36" fmla="*/ 29 w 124"/>
                  <a:gd name="T37" fmla="*/ 127 h 131"/>
                  <a:gd name="T38" fmla="*/ 119 w 124"/>
                  <a:gd name="T39" fmla="*/ 75 h 131"/>
                  <a:gd name="T40" fmla="*/ 93 w 124"/>
                  <a:gd name="T41" fmla="*/ 60 h 131"/>
                  <a:gd name="T42" fmla="*/ 92 w 124"/>
                  <a:gd name="T43" fmla="*/ 58 h 131"/>
                  <a:gd name="T44" fmla="*/ 92 w 124"/>
                  <a:gd name="T45" fmla="*/ 41 h 131"/>
                  <a:gd name="T46" fmla="*/ 28 w 124"/>
                  <a:gd name="T47" fmla="*/ 4 h 131"/>
                  <a:gd name="T48" fmla="*/ 4 w 124"/>
                  <a:gd name="T49" fmla="*/ 18 h 131"/>
                  <a:gd name="T50" fmla="*/ 4 w 124"/>
                  <a:gd name="T51" fmla="*/ 11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4" h="131">
                    <a:moveTo>
                      <a:pt x="29" y="131"/>
                    </a:moveTo>
                    <a:cubicBezTo>
                      <a:pt x="29" y="131"/>
                      <a:pt x="29" y="131"/>
                      <a:pt x="28" y="131"/>
                    </a:cubicBezTo>
                    <a:cubicBezTo>
                      <a:pt x="1" y="115"/>
                      <a:pt x="1" y="115"/>
                      <a:pt x="1" y="115"/>
                    </a:cubicBezTo>
                    <a:cubicBezTo>
                      <a:pt x="1" y="114"/>
                      <a:pt x="0" y="114"/>
                      <a:pt x="0" y="1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8" y="0"/>
                      <a:pt x="29" y="0"/>
                    </a:cubicBezTo>
                    <a:cubicBezTo>
                      <a:pt x="95" y="38"/>
                      <a:pt x="95" y="38"/>
                      <a:pt x="95" y="38"/>
                    </a:cubicBezTo>
                    <a:cubicBezTo>
                      <a:pt x="95" y="39"/>
                      <a:pt x="96" y="39"/>
                      <a:pt x="96" y="40"/>
                    </a:cubicBezTo>
                    <a:cubicBezTo>
                      <a:pt x="96" y="57"/>
                      <a:pt x="96" y="57"/>
                      <a:pt x="96" y="57"/>
                    </a:cubicBezTo>
                    <a:cubicBezTo>
                      <a:pt x="123" y="73"/>
                      <a:pt x="123" y="73"/>
                      <a:pt x="123" y="73"/>
                    </a:cubicBezTo>
                    <a:cubicBezTo>
                      <a:pt x="123" y="73"/>
                      <a:pt x="124" y="74"/>
                      <a:pt x="124" y="74"/>
                    </a:cubicBezTo>
                    <a:cubicBezTo>
                      <a:pt x="124" y="75"/>
                      <a:pt x="124" y="75"/>
                      <a:pt x="124" y="75"/>
                    </a:cubicBezTo>
                    <a:cubicBezTo>
                      <a:pt x="124" y="76"/>
                      <a:pt x="123" y="77"/>
                      <a:pt x="123" y="77"/>
                    </a:cubicBezTo>
                    <a:cubicBezTo>
                      <a:pt x="30" y="131"/>
                      <a:pt x="30" y="131"/>
                      <a:pt x="30" y="131"/>
                    </a:cubicBezTo>
                    <a:cubicBezTo>
                      <a:pt x="30" y="131"/>
                      <a:pt x="30" y="131"/>
                      <a:pt x="29" y="131"/>
                    </a:cubicBezTo>
                    <a:close/>
                    <a:moveTo>
                      <a:pt x="4" y="112"/>
                    </a:moveTo>
                    <a:cubicBezTo>
                      <a:pt x="29" y="127"/>
                      <a:pt x="29" y="127"/>
                      <a:pt x="29" y="127"/>
                    </a:cubicBezTo>
                    <a:cubicBezTo>
                      <a:pt x="119" y="75"/>
                      <a:pt x="119" y="75"/>
                      <a:pt x="119" y="75"/>
                    </a:cubicBezTo>
                    <a:cubicBezTo>
                      <a:pt x="93" y="60"/>
                      <a:pt x="93" y="60"/>
                      <a:pt x="93" y="60"/>
                    </a:cubicBezTo>
                    <a:cubicBezTo>
                      <a:pt x="92" y="59"/>
                      <a:pt x="92" y="59"/>
                      <a:pt x="92" y="58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11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661">
                <a:extLst>
                  <a:ext uri="{FF2B5EF4-FFF2-40B4-BE49-F238E27FC236}">
                    <a16:creationId xmlns:a16="http://schemas.microsoft.com/office/drawing/2014/main" id="{2CD3269C-51EA-44ED-A67B-E253A4AB79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17713" y="5170554"/>
                <a:ext cx="328901" cy="461705"/>
              </a:xfrm>
              <a:custGeom>
                <a:avLst/>
                <a:gdLst>
                  <a:gd name="T0" fmla="*/ 70 w 134"/>
                  <a:gd name="T1" fmla="*/ 188 h 188"/>
                  <a:gd name="T2" fmla="*/ 69 w 134"/>
                  <a:gd name="T3" fmla="*/ 188 h 188"/>
                  <a:gd name="T4" fmla="*/ 33 w 134"/>
                  <a:gd name="T5" fmla="*/ 167 h 188"/>
                  <a:gd name="T6" fmla="*/ 32 w 134"/>
                  <a:gd name="T7" fmla="*/ 165 h 188"/>
                  <a:gd name="T8" fmla="*/ 32 w 134"/>
                  <a:gd name="T9" fmla="*/ 60 h 188"/>
                  <a:gd name="T10" fmla="*/ 3 w 134"/>
                  <a:gd name="T11" fmla="*/ 77 h 188"/>
                  <a:gd name="T12" fmla="*/ 1 w 134"/>
                  <a:gd name="T13" fmla="*/ 77 h 188"/>
                  <a:gd name="T14" fmla="*/ 0 w 134"/>
                  <a:gd name="T15" fmla="*/ 75 h 188"/>
                  <a:gd name="T16" fmla="*/ 0 w 134"/>
                  <a:gd name="T17" fmla="*/ 2 h 188"/>
                  <a:gd name="T18" fmla="*/ 1 w 134"/>
                  <a:gd name="T19" fmla="*/ 0 h 188"/>
                  <a:gd name="T20" fmla="*/ 3 w 134"/>
                  <a:gd name="T21" fmla="*/ 0 h 188"/>
                  <a:gd name="T22" fmla="*/ 123 w 134"/>
                  <a:gd name="T23" fmla="*/ 69 h 188"/>
                  <a:gd name="T24" fmla="*/ 127 w 134"/>
                  <a:gd name="T25" fmla="*/ 67 h 188"/>
                  <a:gd name="T26" fmla="*/ 129 w 134"/>
                  <a:gd name="T27" fmla="*/ 67 h 188"/>
                  <a:gd name="T28" fmla="*/ 133 w 134"/>
                  <a:gd name="T29" fmla="*/ 70 h 188"/>
                  <a:gd name="T30" fmla="*/ 134 w 134"/>
                  <a:gd name="T31" fmla="*/ 71 h 188"/>
                  <a:gd name="T32" fmla="*/ 134 w 134"/>
                  <a:gd name="T33" fmla="*/ 150 h 188"/>
                  <a:gd name="T34" fmla="*/ 133 w 134"/>
                  <a:gd name="T35" fmla="*/ 152 h 188"/>
                  <a:gd name="T36" fmla="*/ 71 w 134"/>
                  <a:gd name="T37" fmla="*/ 188 h 188"/>
                  <a:gd name="T38" fmla="*/ 70 w 134"/>
                  <a:gd name="T39" fmla="*/ 188 h 188"/>
                  <a:gd name="T40" fmla="*/ 36 w 134"/>
                  <a:gd name="T41" fmla="*/ 164 h 188"/>
                  <a:gd name="T42" fmla="*/ 70 w 134"/>
                  <a:gd name="T43" fmla="*/ 184 h 188"/>
                  <a:gd name="T44" fmla="*/ 130 w 134"/>
                  <a:gd name="T45" fmla="*/ 149 h 188"/>
                  <a:gd name="T46" fmla="*/ 130 w 134"/>
                  <a:gd name="T47" fmla="*/ 73 h 188"/>
                  <a:gd name="T48" fmla="*/ 128 w 134"/>
                  <a:gd name="T49" fmla="*/ 71 h 188"/>
                  <a:gd name="T50" fmla="*/ 124 w 134"/>
                  <a:gd name="T51" fmla="*/ 74 h 188"/>
                  <a:gd name="T52" fmla="*/ 122 w 134"/>
                  <a:gd name="T53" fmla="*/ 74 h 188"/>
                  <a:gd name="T54" fmla="*/ 4 w 134"/>
                  <a:gd name="T55" fmla="*/ 5 h 188"/>
                  <a:gd name="T56" fmla="*/ 4 w 134"/>
                  <a:gd name="T57" fmla="*/ 72 h 188"/>
                  <a:gd name="T58" fmla="*/ 33 w 134"/>
                  <a:gd name="T59" fmla="*/ 55 h 188"/>
                  <a:gd name="T60" fmla="*/ 35 w 134"/>
                  <a:gd name="T61" fmla="*/ 55 h 188"/>
                  <a:gd name="T62" fmla="*/ 36 w 134"/>
                  <a:gd name="T63" fmla="*/ 57 h 188"/>
                  <a:gd name="T64" fmla="*/ 36 w 134"/>
                  <a:gd name="T65" fmla="*/ 16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188">
                    <a:moveTo>
                      <a:pt x="70" y="188"/>
                    </a:moveTo>
                    <a:cubicBezTo>
                      <a:pt x="70" y="188"/>
                      <a:pt x="69" y="188"/>
                      <a:pt x="69" y="188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32" y="167"/>
                      <a:pt x="32" y="166"/>
                      <a:pt x="32" y="165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2" y="77"/>
                      <a:pt x="2" y="77"/>
                      <a:pt x="1" y="77"/>
                    </a:cubicBezTo>
                    <a:cubicBezTo>
                      <a:pt x="0" y="76"/>
                      <a:pt x="0" y="76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3" y="69"/>
                      <a:pt x="123" y="69"/>
                      <a:pt x="123" y="69"/>
                    </a:cubicBezTo>
                    <a:cubicBezTo>
                      <a:pt x="127" y="67"/>
                      <a:pt x="127" y="67"/>
                      <a:pt x="127" y="67"/>
                    </a:cubicBezTo>
                    <a:cubicBezTo>
                      <a:pt x="128" y="67"/>
                      <a:pt x="129" y="67"/>
                      <a:pt x="129" y="67"/>
                    </a:cubicBezTo>
                    <a:cubicBezTo>
                      <a:pt x="133" y="70"/>
                      <a:pt x="133" y="70"/>
                      <a:pt x="133" y="70"/>
                    </a:cubicBezTo>
                    <a:cubicBezTo>
                      <a:pt x="134" y="70"/>
                      <a:pt x="134" y="71"/>
                      <a:pt x="134" y="71"/>
                    </a:cubicBezTo>
                    <a:cubicBezTo>
                      <a:pt x="134" y="150"/>
                      <a:pt x="134" y="150"/>
                      <a:pt x="134" y="150"/>
                    </a:cubicBezTo>
                    <a:cubicBezTo>
                      <a:pt x="134" y="151"/>
                      <a:pt x="134" y="151"/>
                      <a:pt x="133" y="152"/>
                    </a:cubicBezTo>
                    <a:cubicBezTo>
                      <a:pt x="71" y="188"/>
                      <a:pt x="71" y="188"/>
                      <a:pt x="71" y="188"/>
                    </a:cubicBezTo>
                    <a:cubicBezTo>
                      <a:pt x="71" y="188"/>
                      <a:pt x="70" y="188"/>
                      <a:pt x="70" y="188"/>
                    </a:cubicBezTo>
                    <a:close/>
                    <a:moveTo>
                      <a:pt x="36" y="164"/>
                    </a:moveTo>
                    <a:cubicBezTo>
                      <a:pt x="70" y="184"/>
                      <a:pt x="70" y="184"/>
                      <a:pt x="70" y="184"/>
                    </a:cubicBezTo>
                    <a:cubicBezTo>
                      <a:pt x="130" y="149"/>
                      <a:pt x="130" y="149"/>
                      <a:pt x="130" y="149"/>
                    </a:cubicBezTo>
                    <a:cubicBezTo>
                      <a:pt x="130" y="73"/>
                      <a:pt x="130" y="73"/>
                      <a:pt x="130" y="73"/>
                    </a:cubicBezTo>
                    <a:cubicBezTo>
                      <a:pt x="128" y="71"/>
                      <a:pt x="128" y="71"/>
                      <a:pt x="128" y="71"/>
                    </a:cubicBezTo>
                    <a:cubicBezTo>
                      <a:pt x="124" y="74"/>
                      <a:pt x="124" y="74"/>
                      <a:pt x="124" y="74"/>
                    </a:cubicBezTo>
                    <a:cubicBezTo>
                      <a:pt x="124" y="74"/>
                      <a:pt x="123" y="74"/>
                      <a:pt x="122" y="7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4" y="54"/>
                      <a:pt x="34" y="54"/>
                      <a:pt x="35" y="55"/>
                    </a:cubicBezTo>
                    <a:cubicBezTo>
                      <a:pt x="36" y="55"/>
                      <a:pt x="36" y="56"/>
                      <a:pt x="36" y="57"/>
                    </a:cubicBezTo>
                    <a:lnTo>
                      <a:pt x="36" y="1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662">
                <a:extLst>
                  <a:ext uri="{FF2B5EF4-FFF2-40B4-BE49-F238E27FC236}">
                    <a16:creationId xmlns:a16="http://schemas.microsoft.com/office/drawing/2014/main" id="{2B194882-FF36-48AF-AC9E-9A830224DF1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130163" y="5156029"/>
                <a:ext cx="316450" cy="190907"/>
              </a:xfrm>
              <a:custGeom>
                <a:avLst/>
                <a:gdLst>
                  <a:gd name="T0" fmla="*/ 123 w 129"/>
                  <a:gd name="T1" fmla="*/ 78 h 78"/>
                  <a:gd name="T2" fmla="*/ 122 w 129"/>
                  <a:gd name="T3" fmla="*/ 78 h 78"/>
                  <a:gd name="T4" fmla="*/ 1 w 129"/>
                  <a:gd name="T5" fmla="*/ 7 h 78"/>
                  <a:gd name="T6" fmla="*/ 0 w 129"/>
                  <a:gd name="T7" fmla="*/ 6 h 78"/>
                  <a:gd name="T8" fmla="*/ 0 w 129"/>
                  <a:gd name="T9" fmla="*/ 2 h 78"/>
                  <a:gd name="T10" fmla="*/ 1 w 129"/>
                  <a:gd name="T11" fmla="*/ 0 h 78"/>
                  <a:gd name="T12" fmla="*/ 3 w 129"/>
                  <a:gd name="T13" fmla="*/ 0 h 78"/>
                  <a:gd name="T14" fmla="*/ 128 w 129"/>
                  <a:gd name="T15" fmla="*/ 72 h 78"/>
                  <a:gd name="T16" fmla="*/ 129 w 129"/>
                  <a:gd name="T17" fmla="*/ 74 h 78"/>
                  <a:gd name="T18" fmla="*/ 128 w 129"/>
                  <a:gd name="T19" fmla="*/ 76 h 78"/>
                  <a:gd name="T20" fmla="*/ 124 w 129"/>
                  <a:gd name="T21" fmla="*/ 78 h 78"/>
                  <a:gd name="T22" fmla="*/ 123 w 129"/>
                  <a:gd name="T2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78">
                    <a:moveTo>
                      <a:pt x="123" y="78"/>
                    </a:moveTo>
                    <a:cubicBezTo>
                      <a:pt x="123" y="78"/>
                      <a:pt x="123" y="78"/>
                      <a:pt x="122" y="7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2"/>
                      <a:pt x="128" y="72"/>
                      <a:pt x="128" y="72"/>
                    </a:cubicBezTo>
                    <a:cubicBezTo>
                      <a:pt x="128" y="73"/>
                      <a:pt x="129" y="73"/>
                      <a:pt x="129" y="74"/>
                    </a:cubicBezTo>
                    <a:cubicBezTo>
                      <a:pt x="129" y="75"/>
                      <a:pt x="128" y="76"/>
                      <a:pt x="128" y="76"/>
                    </a:cubicBezTo>
                    <a:cubicBezTo>
                      <a:pt x="124" y="78"/>
                      <a:pt x="124" y="78"/>
                      <a:pt x="124" y="78"/>
                    </a:cubicBezTo>
                    <a:cubicBezTo>
                      <a:pt x="124" y="78"/>
                      <a:pt x="124" y="78"/>
                      <a:pt x="123" y="7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7" name="Freeform 663">
                <a:extLst>
                  <a:ext uri="{FF2B5EF4-FFF2-40B4-BE49-F238E27FC236}">
                    <a16:creationId xmlns:a16="http://schemas.microsoft.com/office/drawing/2014/main" id="{01629111-D6C9-4519-B65A-E22345FB22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65590" y="5217244"/>
                <a:ext cx="266648" cy="323712"/>
              </a:xfrm>
              <a:custGeom>
                <a:avLst/>
                <a:gdLst>
                  <a:gd name="T0" fmla="*/ 6 w 109"/>
                  <a:gd name="T1" fmla="*/ 132 h 132"/>
                  <a:gd name="T2" fmla="*/ 5 w 109"/>
                  <a:gd name="T3" fmla="*/ 132 h 132"/>
                  <a:gd name="T4" fmla="*/ 4 w 109"/>
                  <a:gd name="T5" fmla="*/ 130 h 132"/>
                  <a:gd name="T6" fmla="*/ 4 w 109"/>
                  <a:gd name="T7" fmla="*/ 53 h 132"/>
                  <a:gd name="T8" fmla="*/ 1 w 109"/>
                  <a:gd name="T9" fmla="*/ 51 h 132"/>
                  <a:gd name="T10" fmla="*/ 0 w 109"/>
                  <a:gd name="T11" fmla="*/ 49 h 132"/>
                  <a:gd name="T12" fmla="*/ 1 w 109"/>
                  <a:gd name="T13" fmla="*/ 47 h 132"/>
                  <a:gd name="T14" fmla="*/ 82 w 109"/>
                  <a:gd name="T15" fmla="*/ 1 h 132"/>
                  <a:gd name="T16" fmla="*/ 84 w 109"/>
                  <a:gd name="T17" fmla="*/ 1 h 132"/>
                  <a:gd name="T18" fmla="*/ 91 w 109"/>
                  <a:gd name="T19" fmla="*/ 5 h 132"/>
                  <a:gd name="T20" fmla="*/ 92 w 109"/>
                  <a:gd name="T21" fmla="*/ 7 h 132"/>
                  <a:gd name="T22" fmla="*/ 91 w 109"/>
                  <a:gd name="T23" fmla="*/ 9 h 132"/>
                  <a:gd name="T24" fmla="*/ 55 w 109"/>
                  <a:gd name="T25" fmla="*/ 30 h 132"/>
                  <a:gd name="T26" fmla="*/ 108 w 109"/>
                  <a:gd name="T27" fmla="*/ 60 h 132"/>
                  <a:gd name="T28" fmla="*/ 109 w 109"/>
                  <a:gd name="T29" fmla="*/ 62 h 132"/>
                  <a:gd name="T30" fmla="*/ 108 w 109"/>
                  <a:gd name="T31" fmla="*/ 63 h 132"/>
                  <a:gd name="T32" fmla="*/ 28 w 109"/>
                  <a:gd name="T33" fmla="*/ 110 h 132"/>
                  <a:gd name="T34" fmla="*/ 28 w 109"/>
                  <a:gd name="T35" fmla="*/ 119 h 132"/>
                  <a:gd name="T36" fmla="*/ 27 w 109"/>
                  <a:gd name="T37" fmla="*/ 120 h 132"/>
                  <a:gd name="T38" fmla="*/ 7 w 109"/>
                  <a:gd name="T39" fmla="*/ 132 h 132"/>
                  <a:gd name="T40" fmla="*/ 6 w 109"/>
                  <a:gd name="T41" fmla="*/ 132 h 132"/>
                  <a:gd name="T42" fmla="*/ 6 w 109"/>
                  <a:gd name="T43" fmla="*/ 49 h 132"/>
                  <a:gd name="T44" fmla="*/ 7 w 109"/>
                  <a:gd name="T45" fmla="*/ 50 h 132"/>
                  <a:gd name="T46" fmla="*/ 8 w 109"/>
                  <a:gd name="T47" fmla="*/ 51 h 132"/>
                  <a:gd name="T48" fmla="*/ 8 w 109"/>
                  <a:gd name="T49" fmla="*/ 127 h 132"/>
                  <a:gd name="T50" fmla="*/ 24 w 109"/>
                  <a:gd name="T51" fmla="*/ 118 h 132"/>
                  <a:gd name="T52" fmla="*/ 24 w 109"/>
                  <a:gd name="T53" fmla="*/ 108 h 132"/>
                  <a:gd name="T54" fmla="*/ 25 w 109"/>
                  <a:gd name="T55" fmla="*/ 107 h 132"/>
                  <a:gd name="T56" fmla="*/ 103 w 109"/>
                  <a:gd name="T57" fmla="*/ 62 h 132"/>
                  <a:gd name="T58" fmla="*/ 50 w 109"/>
                  <a:gd name="T59" fmla="*/ 31 h 132"/>
                  <a:gd name="T60" fmla="*/ 49 w 109"/>
                  <a:gd name="T61" fmla="*/ 30 h 132"/>
                  <a:gd name="T62" fmla="*/ 50 w 109"/>
                  <a:gd name="T63" fmla="*/ 28 h 132"/>
                  <a:gd name="T64" fmla="*/ 86 w 109"/>
                  <a:gd name="T65" fmla="*/ 7 h 132"/>
                  <a:gd name="T66" fmla="*/ 83 w 109"/>
                  <a:gd name="T67" fmla="*/ 5 h 132"/>
                  <a:gd name="T68" fmla="*/ 6 w 109"/>
                  <a:gd name="T69" fmla="*/ 49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" h="132">
                    <a:moveTo>
                      <a:pt x="6" y="132"/>
                    </a:moveTo>
                    <a:cubicBezTo>
                      <a:pt x="6" y="132"/>
                      <a:pt x="5" y="132"/>
                      <a:pt x="5" y="132"/>
                    </a:cubicBezTo>
                    <a:cubicBezTo>
                      <a:pt x="4" y="131"/>
                      <a:pt x="4" y="131"/>
                      <a:pt x="4" y="130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0"/>
                      <a:pt x="0" y="49"/>
                    </a:cubicBezTo>
                    <a:cubicBezTo>
                      <a:pt x="0" y="48"/>
                      <a:pt x="0" y="48"/>
                      <a:pt x="1" y="47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3" y="0"/>
                      <a:pt x="84" y="1"/>
                    </a:cubicBezTo>
                    <a:cubicBezTo>
                      <a:pt x="91" y="5"/>
                      <a:pt x="91" y="5"/>
                      <a:pt x="91" y="5"/>
                    </a:cubicBezTo>
                    <a:cubicBezTo>
                      <a:pt x="92" y="6"/>
                      <a:pt x="92" y="6"/>
                      <a:pt x="92" y="7"/>
                    </a:cubicBezTo>
                    <a:cubicBezTo>
                      <a:pt x="92" y="8"/>
                      <a:pt x="92" y="8"/>
                      <a:pt x="91" y="9"/>
                    </a:cubicBezTo>
                    <a:cubicBezTo>
                      <a:pt x="55" y="30"/>
                      <a:pt x="55" y="30"/>
                      <a:pt x="55" y="30"/>
                    </a:cubicBezTo>
                    <a:cubicBezTo>
                      <a:pt x="108" y="60"/>
                      <a:pt x="108" y="60"/>
                      <a:pt x="108" y="60"/>
                    </a:cubicBezTo>
                    <a:cubicBezTo>
                      <a:pt x="108" y="60"/>
                      <a:pt x="109" y="61"/>
                      <a:pt x="109" y="62"/>
                    </a:cubicBezTo>
                    <a:cubicBezTo>
                      <a:pt x="109" y="62"/>
                      <a:pt x="108" y="63"/>
                      <a:pt x="108" y="63"/>
                    </a:cubicBezTo>
                    <a:cubicBezTo>
                      <a:pt x="28" y="110"/>
                      <a:pt x="28" y="110"/>
                      <a:pt x="28" y="110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9"/>
                      <a:pt x="27" y="120"/>
                      <a:pt x="27" y="120"/>
                    </a:cubicBezTo>
                    <a:cubicBezTo>
                      <a:pt x="7" y="132"/>
                      <a:pt x="7" y="132"/>
                      <a:pt x="7" y="132"/>
                    </a:cubicBezTo>
                    <a:cubicBezTo>
                      <a:pt x="7" y="132"/>
                      <a:pt x="6" y="132"/>
                      <a:pt x="6" y="132"/>
                    </a:cubicBezTo>
                    <a:close/>
                    <a:moveTo>
                      <a:pt x="6" y="49"/>
                    </a:moveTo>
                    <a:cubicBezTo>
                      <a:pt x="7" y="50"/>
                      <a:pt x="7" y="50"/>
                      <a:pt x="7" y="50"/>
                    </a:cubicBezTo>
                    <a:cubicBezTo>
                      <a:pt x="8" y="50"/>
                      <a:pt x="8" y="51"/>
                      <a:pt x="8" y="51"/>
                    </a:cubicBezTo>
                    <a:cubicBezTo>
                      <a:pt x="8" y="127"/>
                      <a:pt x="8" y="127"/>
                      <a:pt x="8" y="127"/>
                    </a:cubicBezTo>
                    <a:cubicBezTo>
                      <a:pt x="24" y="118"/>
                      <a:pt x="24" y="118"/>
                      <a:pt x="24" y="118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108"/>
                      <a:pt x="24" y="107"/>
                      <a:pt x="25" y="107"/>
                    </a:cubicBezTo>
                    <a:cubicBezTo>
                      <a:pt x="103" y="62"/>
                      <a:pt x="103" y="62"/>
                      <a:pt x="103" y="62"/>
                    </a:cubicBezTo>
                    <a:cubicBezTo>
                      <a:pt x="50" y="31"/>
                      <a:pt x="50" y="31"/>
                      <a:pt x="50" y="31"/>
                    </a:cubicBezTo>
                    <a:cubicBezTo>
                      <a:pt x="49" y="31"/>
                      <a:pt x="49" y="30"/>
                      <a:pt x="49" y="30"/>
                    </a:cubicBezTo>
                    <a:cubicBezTo>
                      <a:pt x="49" y="29"/>
                      <a:pt x="49" y="28"/>
                      <a:pt x="50" y="28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3" y="5"/>
                      <a:pt x="83" y="5"/>
                      <a:pt x="83" y="5"/>
                    </a:cubicBezTo>
                    <a:lnTo>
                      <a:pt x="6" y="4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8" name="Freeform 664">
                <a:extLst>
                  <a:ext uri="{FF2B5EF4-FFF2-40B4-BE49-F238E27FC236}">
                    <a16:creationId xmlns:a16="http://schemas.microsoft.com/office/drawing/2014/main" id="{15FCF2E6-9ED2-4F25-8D5D-C425C98652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70136" y="5278458"/>
                <a:ext cx="59140" cy="68478"/>
              </a:xfrm>
              <a:custGeom>
                <a:avLst/>
                <a:gdLst>
                  <a:gd name="T0" fmla="*/ 2 w 24"/>
                  <a:gd name="T1" fmla="*/ 28 h 28"/>
                  <a:gd name="T2" fmla="*/ 1 w 24"/>
                  <a:gd name="T3" fmla="*/ 27 h 28"/>
                  <a:gd name="T4" fmla="*/ 0 w 24"/>
                  <a:gd name="T5" fmla="*/ 26 h 28"/>
                  <a:gd name="T6" fmla="*/ 0 w 24"/>
                  <a:gd name="T7" fmla="*/ 2 h 28"/>
                  <a:gd name="T8" fmla="*/ 1 w 24"/>
                  <a:gd name="T9" fmla="*/ 0 h 28"/>
                  <a:gd name="T10" fmla="*/ 3 w 24"/>
                  <a:gd name="T11" fmla="*/ 0 h 28"/>
                  <a:gd name="T12" fmla="*/ 23 w 24"/>
                  <a:gd name="T13" fmla="*/ 12 h 28"/>
                  <a:gd name="T14" fmla="*/ 24 w 24"/>
                  <a:gd name="T15" fmla="*/ 14 h 28"/>
                  <a:gd name="T16" fmla="*/ 23 w 24"/>
                  <a:gd name="T17" fmla="*/ 16 h 28"/>
                  <a:gd name="T18" fmla="*/ 3 w 24"/>
                  <a:gd name="T19" fmla="*/ 27 h 28"/>
                  <a:gd name="T20" fmla="*/ 2 w 24"/>
                  <a:gd name="T21" fmla="*/ 28 h 28"/>
                  <a:gd name="T22" fmla="*/ 4 w 24"/>
                  <a:gd name="T23" fmla="*/ 6 h 28"/>
                  <a:gd name="T24" fmla="*/ 4 w 24"/>
                  <a:gd name="T25" fmla="*/ 22 h 28"/>
                  <a:gd name="T26" fmla="*/ 18 w 24"/>
                  <a:gd name="T27" fmla="*/ 14 h 28"/>
                  <a:gd name="T28" fmla="*/ 4 w 24"/>
                  <a:gd name="T2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28">
                    <a:moveTo>
                      <a:pt x="2" y="28"/>
                    </a:moveTo>
                    <a:cubicBezTo>
                      <a:pt x="1" y="28"/>
                      <a:pt x="1" y="28"/>
                      <a:pt x="1" y="27"/>
                    </a:cubicBezTo>
                    <a:cubicBezTo>
                      <a:pt x="0" y="27"/>
                      <a:pt x="0" y="26"/>
                      <a:pt x="0" y="2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4" y="13"/>
                      <a:pt x="24" y="13"/>
                      <a:pt x="24" y="14"/>
                    </a:cubicBezTo>
                    <a:cubicBezTo>
                      <a:pt x="24" y="15"/>
                      <a:pt x="24" y="15"/>
                      <a:pt x="23" y="16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2" y="28"/>
                      <a:pt x="2" y="28"/>
                      <a:pt x="2" y="28"/>
                    </a:cubicBezTo>
                    <a:close/>
                    <a:moveTo>
                      <a:pt x="4" y="6"/>
                    </a:moveTo>
                    <a:cubicBezTo>
                      <a:pt x="4" y="22"/>
                      <a:pt x="4" y="22"/>
                      <a:pt x="4" y="22"/>
                    </a:cubicBezTo>
                    <a:cubicBezTo>
                      <a:pt x="18" y="14"/>
                      <a:pt x="18" y="14"/>
                      <a:pt x="18" y="14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9" name="Freeform 665">
                <a:extLst>
                  <a:ext uri="{FF2B5EF4-FFF2-40B4-BE49-F238E27FC236}">
                    <a16:creationId xmlns:a16="http://schemas.microsoft.com/office/drawing/2014/main" id="{C4EFF590-8451-498E-B383-CAACEFBFA5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24089" y="5195455"/>
                <a:ext cx="83003" cy="86116"/>
              </a:xfrm>
              <a:custGeom>
                <a:avLst/>
                <a:gdLst>
                  <a:gd name="T0" fmla="*/ 32 w 34"/>
                  <a:gd name="T1" fmla="*/ 35 h 35"/>
                  <a:gd name="T2" fmla="*/ 31 w 34"/>
                  <a:gd name="T3" fmla="*/ 35 h 35"/>
                  <a:gd name="T4" fmla="*/ 1 w 34"/>
                  <a:gd name="T5" fmla="*/ 18 h 35"/>
                  <a:gd name="T6" fmla="*/ 0 w 34"/>
                  <a:gd name="T7" fmla="*/ 16 h 35"/>
                  <a:gd name="T8" fmla="*/ 1 w 34"/>
                  <a:gd name="T9" fmla="*/ 14 h 35"/>
                  <a:gd name="T10" fmla="*/ 24 w 34"/>
                  <a:gd name="T11" fmla="*/ 1 h 35"/>
                  <a:gd name="T12" fmla="*/ 26 w 34"/>
                  <a:gd name="T13" fmla="*/ 1 h 35"/>
                  <a:gd name="T14" fmla="*/ 33 w 34"/>
                  <a:gd name="T15" fmla="*/ 5 h 35"/>
                  <a:gd name="T16" fmla="*/ 34 w 34"/>
                  <a:gd name="T17" fmla="*/ 6 h 35"/>
                  <a:gd name="T18" fmla="*/ 34 w 34"/>
                  <a:gd name="T19" fmla="*/ 33 h 35"/>
                  <a:gd name="T20" fmla="*/ 33 w 34"/>
                  <a:gd name="T21" fmla="*/ 35 h 35"/>
                  <a:gd name="T22" fmla="*/ 32 w 34"/>
                  <a:gd name="T23" fmla="*/ 35 h 35"/>
                  <a:gd name="T24" fmla="*/ 6 w 34"/>
                  <a:gd name="T25" fmla="*/ 16 h 35"/>
                  <a:gd name="T26" fmla="*/ 30 w 34"/>
                  <a:gd name="T27" fmla="*/ 30 h 35"/>
                  <a:gd name="T28" fmla="*/ 30 w 34"/>
                  <a:gd name="T29" fmla="*/ 8 h 35"/>
                  <a:gd name="T30" fmla="*/ 25 w 34"/>
                  <a:gd name="T31" fmla="*/ 5 h 35"/>
                  <a:gd name="T32" fmla="*/ 6 w 34"/>
                  <a:gd name="T3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5">
                    <a:moveTo>
                      <a:pt x="32" y="35"/>
                    </a:moveTo>
                    <a:cubicBezTo>
                      <a:pt x="32" y="35"/>
                      <a:pt x="31" y="35"/>
                      <a:pt x="31" y="35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1" y="14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5" y="0"/>
                      <a:pt x="26" y="1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4" y="5"/>
                      <a:pt x="34" y="6"/>
                      <a:pt x="34" y="6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4"/>
                      <a:pt x="34" y="35"/>
                      <a:pt x="33" y="35"/>
                    </a:cubicBezTo>
                    <a:cubicBezTo>
                      <a:pt x="33" y="35"/>
                      <a:pt x="32" y="35"/>
                      <a:pt x="32" y="35"/>
                    </a:cubicBezTo>
                    <a:close/>
                    <a:moveTo>
                      <a:pt x="6" y="16"/>
                    </a:move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0" name="Freeform 666">
                <a:extLst>
                  <a:ext uri="{FF2B5EF4-FFF2-40B4-BE49-F238E27FC236}">
                    <a16:creationId xmlns:a16="http://schemas.microsoft.com/office/drawing/2014/main" id="{17578124-62EB-4943-8571-A94481FCCA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24089" y="5231769"/>
                <a:ext cx="181570" cy="140068"/>
              </a:xfrm>
              <a:custGeom>
                <a:avLst/>
                <a:gdLst>
                  <a:gd name="T0" fmla="*/ 56 w 74"/>
                  <a:gd name="T1" fmla="*/ 57 h 57"/>
                  <a:gd name="T2" fmla="*/ 55 w 74"/>
                  <a:gd name="T3" fmla="*/ 57 h 57"/>
                  <a:gd name="T4" fmla="*/ 1 w 74"/>
                  <a:gd name="T5" fmla="*/ 25 h 57"/>
                  <a:gd name="T6" fmla="*/ 0 w 74"/>
                  <a:gd name="T7" fmla="*/ 24 h 57"/>
                  <a:gd name="T8" fmla="*/ 1 w 74"/>
                  <a:gd name="T9" fmla="*/ 22 h 57"/>
                  <a:gd name="T10" fmla="*/ 39 w 74"/>
                  <a:gd name="T11" fmla="*/ 0 h 57"/>
                  <a:gd name="T12" fmla="*/ 41 w 74"/>
                  <a:gd name="T13" fmla="*/ 0 h 57"/>
                  <a:gd name="T14" fmla="*/ 73 w 74"/>
                  <a:gd name="T15" fmla="*/ 18 h 57"/>
                  <a:gd name="T16" fmla="*/ 74 w 74"/>
                  <a:gd name="T17" fmla="*/ 20 h 57"/>
                  <a:gd name="T18" fmla="*/ 74 w 74"/>
                  <a:gd name="T19" fmla="*/ 46 h 57"/>
                  <a:gd name="T20" fmla="*/ 73 w 74"/>
                  <a:gd name="T21" fmla="*/ 47 h 57"/>
                  <a:gd name="T22" fmla="*/ 57 w 74"/>
                  <a:gd name="T23" fmla="*/ 57 h 57"/>
                  <a:gd name="T24" fmla="*/ 56 w 74"/>
                  <a:gd name="T25" fmla="*/ 57 h 57"/>
                  <a:gd name="T26" fmla="*/ 6 w 74"/>
                  <a:gd name="T27" fmla="*/ 24 h 57"/>
                  <a:gd name="T28" fmla="*/ 56 w 74"/>
                  <a:gd name="T29" fmla="*/ 52 h 57"/>
                  <a:gd name="T30" fmla="*/ 70 w 74"/>
                  <a:gd name="T31" fmla="*/ 45 h 57"/>
                  <a:gd name="T32" fmla="*/ 70 w 74"/>
                  <a:gd name="T33" fmla="*/ 21 h 57"/>
                  <a:gd name="T34" fmla="*/ 40 w 74"/>
                  <a:gd name="T35" fmla="*/ 4 h 57"/>
                  <a:gd name="T36" fmla="*/ 6 w 74"/>
                  <a:gd name="T37" fmla="*/ 2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57">
                    <a:moveTo>
                      <a:pt x="56" y="57"/>
                    </a:moveTo>
                    <a:cubicBezTo>
                      <a:pt x="56" y="57"/>
                      <a:pt x="55" y="57"/>
                      <a:pt x="55" y="57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0" y="24"/>
                      <a:pt x="0" y="24"/>
                    </a:cubicBezTo>
                    <a:cubicBezTo>
                      <a:pt x="0" y="23"/>
                      <a:pt x="1" y="22"/>
                      <a:pt x="1" y="22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0" y="0"/>
                      <a:pt x="40" y="0"/>
                      <a:pt x="41" y="0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4" y="19"/>
                      <a:pt x="74" y="19"/>
                      <a:pt x="74" y="20"/>
                    </a:cubicBezTo>
                    <a:cubicBezTo>
                      <a:pt x="74" y="46"/>
                      <a:pt x="74" y="46"/>
                      <a:pt x="74" y="46"/>
                    </a:cubicBezTo>
                    <a:cubicBezTo>
                      <a:pt x="74" y="46"/>
                      <a:pt x="74" y="47"/>
                      <a:pt x="73" y="47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7"/>
                      <a:pt x="57" y="57"/>
                      <a:pt x="56" y="57"/>
                    </a:cubicBezTo>
                    <a:close/>
                    <a:moveTo>
                      <a:pt x="6" y="24"/>
                    </a:moveTo>
                    <a:cubicBezTo>
                      <a:pt x="56" y="52"/>
                      <a:pt x="56" y="52"/>
                      <a:pt x="56" y="52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70" y="21"/>
                      <a:pt x="70" y="21"/>
                      <a:pt x="70" y="21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1" name="Freeform 667">
                <a:extLst>
                  <a:ext uri="{FF2B5EF4-FFF2-40B4-BE49-F238E27FC236}">
                    <a16:creationId xmlns:a16="http://schemas.microsoft.com/office/drawing/2014/main" id="{648064A2-7C1C-4041-8466-98E5BD860C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5825242"/>
                <a:ext cx="26976" cy="32164"/>
              </a:xfrm>
              <a:custGeom>
                <a:avLst/>
                <a:gdLst>
                  <a:gd name="T0" fmla="*/ 9 w 11"/>
                  <a:gd name="T1" fmla="*/ 13 h 13"/>
                  <a:gd name="T2" fmla="*/ 8 w 11"/>
                  <a:gd name="T3" fmla="*/ 13 h 13"/>
                  <a:gd name="T4" fmla="*/ 1 w 11"/>
                  <a:gd name="T5" fmla="*/ 8 h 13"/>
                  <a:gd name="T6" fmla="*/ 0 w 11"/>
                  <a:gd name="T7" fmla="*/ 7 h 13"/>
                  <a:gd name="T8" fmla="*/ 1 w 11"/>
                  <a:gd name="T9" fmla="*/ 5 h 13"/>
                  <a:gd name="T10" fmla="*/ 8 w 11"/>
                  <a:gd name="T11" fmla="*/ 1 h 13"/>
                  <a:gd name="T12" fmla="*/ 10 w 11"/>
                  <a:gd name="T13" fmla="*/ 1 h 13"/>
                  <a:gd name="T14" fmla="*/ 11 w 11"/>
                  <a:gd name="T15" fmla="*/ 2 h 13"/>
                  <a:gd name="T16" fmla="*/ 11 w 11"/>
                  <a:gd name="T17" fmla="*/ 11 h 13"/>
                  <a:gd name="T18" fmla="*/ 10 w 11"/>
                  <a:gd name="T19" fmla="*/ 13 h 13"/>
                  <a:gd name="T20" fmla="*/ 9 w 11"/>
                  <a:gd name="T21" fmla="*/ 13 h 13"/>
                  <a:gd name="T22" fmla="*/ 6 w 11"/>
                  <a:gd name="T23" fmla="*/ 7 h 13"/>
                  <a:gd name="T24" fmla="*/ 7 w 11"/>
                  <a:gd name="T25" fmla="*/ 7 h 13"/>
                  <a:gd name="T26" fmla="*/ 7 w 11"/>
                  <a:gd name="T27" fmla="*/ 6 h 13"/>
                  <a:gd name="T28" fmla="*/ 6 w 11"/>
                  <a:gd name="T2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9" y="13"/>
                    </a:moveTo>
                    <a:cubicBezTo>
                      <a:pt x="9" y="13"/>
                      <a:pt x="8" y="13"/>
                      <a:pt x="8" y="1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9" y="0"/>
                      <a:pt x="10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0" y="13"/>
                    </a:cubicBezTo>
                    <a:cubicBezTo>
                      <a:pt x="10" y="13"/>
                      <a:pt x="9" y="13"/>
                      <a:pt x="9" y="13"/>
                    </a:cubicBezTo>
                    <a:close/>
                    <a:moveTo>
                      <a:pt x="6" y="7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2" name="Freeform 668">
                <a:extLst>
                  <a:ext uri="{FF2B5EF4-FFF2-40B4-BE49-F238E27FC236}">
                    <a16:creationId xmlns:a16="http://schemas.microsoft.com/office/drawing/2014/main" id="{38933619-2BB5-4199-B333-0734A8C615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02300" y="6508980"/>
                <a:ext cx="41502" cy="46689"/>
              </a:xfrm>
              <a:custGeom>
                <a:avLst/>
                <a:gdLst>
                  <a:gd name="T0" fmla="*/ 2 w 17"/>
                  <a:gd name="T1" fmla="*/ 19 h 19"/>
                  <a:gd name="T2" fmla="*/ 1 w 17"/>
                  <a:gd name="T3" fmla="*/ 19 h 19"/>
                  <a:gd name="T4" fmla="*/ 0 w 17"/>
                  <a:gd name="T5" fmla="*/ 17 h 19"/>
                  <a:gd name="T6" fmla="*/ 0 w 17"/>
                  <a:gd name="T7" fmla="*/ 2 h 19"/>
                  <a:gd name="T8" fmla="*/ 1 w 17"/>
                  <a:gd name="T9" fmla="*/ 0 h 19"/>
                  <a:gd name="T10" fmla="*/ 3 w 17"/>
                  <a:gd name="T11" fmla="*/ 0 h 19"/>
                  <a:gd name="T12" fmla="*/ 16 w 17"/>
                  <a:gd name="T13" fmla="*/ 7 h 19"/>
                  <a:gd name="T14" fmla="*/ 17 w 17"/>
                  <a:gd name="T15" fmla="*/ 9 h 19"/>
                  <a:gd name="T16" fmla="*/ 16 w 17"/>
                  <a:gd name="T17" fmla="*/ 11 h 19"/>
                  <a:gd name="T18" fmla="*/ 3 w 17"/>
                  <a:gd name="T19" fmla="*/ 19 h 19"/>
                  <a:gd name="T20" fmla="*/ 2 w 17"/>
                  <a:gd name="T21" fmla="*/ 19 h 19"/>
                  <a:gd name="T22" fmla="*/ 4 w 17"/>
                  <a:gd name="T23" fmla="*/ 5 h 19"/>
                  <a:gd name="T24" fmla="*/ 4 w 17"/>
                  <a:gd name="T25" fmla="*/ 13 h 19"/>
                  <a:gd name="T26" fmla="*/ 11 w 17"/>
                  <a:gd name="T27" fmla="*/ 9 h 19"/>
                  <a:gd name="T28" fmla="*/ 4 w 17"/>
                  <a:gd name="T29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cubicBezTo>
                      <a:pt x="2" y="19"/>
                      <a:pt x="1" y="19"/>
                      <a:pt x="1" y="19"/>
                    </a:cubicBezTo>
                    <a:cubicBezTo>
                      <a:pt x="1" y="18"/>
                      <a:pt x="0" y="18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7" y="8"/>
                      <a:pt x="17" y="9"/>
                      <a:pt x="17" y="9"/>
                    </a:cubicBezTo>
                    <a:cubicBezTo>
                      <a:pt x="17" y="10"/>
                      <a:pt x="17" y="11"/>
                      <a:pt x="16" y="11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2" y="19"/>
                    </a:cubicBezTo>
                    <a:close/>
                    <a:moveTo>
                      <a:pt x="4" y="5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1" y="9"/>
                      <a:pt x="11" y="9"/>
                      <a:pt x="11" y="9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3" name="Freeform 669">
                <a:extLst>
                  <a:ext uri="{FF2B5EF4-FFF2-40B4-BE49-F238E27FC236}">
                    <a16:creationId xmlns:a16="http://schemas.microsoft.com/office/drawing/2014/main" id="{4E70355F-E4B9-4BC3-9811-DC1641A5B9E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16826" y="6469554"/>
                <a:ext cx="12450" cy="15563"/>
              </a:xfrm>
              <a:custGeom>
                <a:avLst/>
                <a:gdLst>
                  <a:gd name="T0" fmla="*/ 2 w 5"/>
                  <a:gd name="T1" fmla="*/ 6 h 6"/>
                  <a:gd name="T2" fmla="*/ 1 w 5"/>
                  <a:gd name="T3" fmla="*/ 6 h 6"/>
                  <a:gd name="T4" fmla="*/ 1 w 5"/>
                  <a:gd name="T5" fmla="*/ 6 h 6"/>
                  <a:gd name="T6" fmla="*/ 0 w 5"/>
                  <a:gd name="T7" fmla="*/ 4 h 6"/>
                  <a:gd name="T8" fmla="*/ 0 w 5"/>
                  <a:gd name="T9" fmla="*/ 3 h 6"/>
                  <a:gd name="T10" fmla="*/ 1 w 5"/>
                  <a:gd name="T11" fmla="*/ 1 h 6"/>
                  <a:gd name="T12" fmla="*/ 3 w 5"/>
                  <a:gd name="T13" fmla="*/ 1 h 6"/>
                  <a:gd name="T14" fmla="*/ 4 w 5"/>
                  <a:gd name="T15" fmla="*/ 2 h 6"/>
                  <a:gd name="T16" fmla="*/ 5 w 5"/>
                  <a:gd name="T17" fmla="*/ 4 h 6"/>
                  <a:gd name="T18" fmla="*/ 4 w 5"/>
                  <a:gd name="T19" fmla="*/ 5 h 6"/>
                  <a:gd name="T20" fmla="*/ 3 w 5"/>
                  <a:gd name="T21" fmla="*/ 6 h 6"/>
                  <a:gd name="T22" fmla="*/ 2 w 5"/>
                  <a:gd name="T2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2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5" y="4"/>
                      <a:pt x="5" y="5"/>
                      <a:pt x="4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4" name="Freeform 670">
                <a:extLst>
                  <a:ext uri="{FF2B5EF4-FFF2-40B4-BE49-F238E27FC236}">
                    <a16:creationId xmlns:a16="http://schemas.microsoft.com/office/drawing/2014/main" id="{D91A3967-3050-47DD-9DFA-245BA87D2A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36539" y="6553594"/>
                <a:ext cx="85078" cy="176382"/>
              </a:xfrm>
              <a:custGeom>
                <a:avLst/>
                <a:gdLst>
                  <a:gd name="T0" fmla="*/ 2 w 35"/>
                  <a:gd name="T1" fmla="*/ 72 h 72"/>
                  <a:gd name="T2" fmla="*/ 1 w 35"/>
                  <a:gd name="T3" fmla="*/ 71 h 72"/>
                  <a:gd name="T4" fmla="*/ 0 w 35"/>
                  <a:gd name="T5" fmla="*/ 70 h 72"/>
                  <a:gd name="T6" fmla="*/ 0 w 35"/>
                  <a:gd name="T7" fmla="*/ 19 h 72"/>
                  <a:gd name="T8" fmla="*/ 1 w 35"/>
                  <a:gd name="T9" fmla="*/ 18 h 72"/>
                  <a:gd name="T10" fmla="*/ 32 w 35"/>
                  <a:gd name="T11" fmla="*/ 0 h 72"/>
                  <a:gd name="T12" fmla="*/ 34 w 35"/>
                  <a:gd name="T13" fmla="*/ 0 h 72"/>
                  <a:gd name="T14" fmla="*/ 35 w 35"/>
                  <a:gd name="T15" fmla="*/ 2 h 72"/>
                  <a:gd name="T16" fmla="*/ 35 w 35"/>
                  <a:gd name="T17" fmla="*/ 52 h 72"/>
                  <a:gd name="T18" fmla="*/ 34 w 35"/>
                  <a:gd name="T19" fmla="*/ 54 h 72"/>
                  <a:gd name="T20" fmla="*/ 3 w 35"/>
                  <a:gd name="T21" fmla="*/ 71 h 72"/>
                  <a:gd name="T22" fmla="*/ 2 w 35"/>
                  <a:gd name="T23" fmla="*/ 72 h 72"/>
                  <a:gd name="T24" fmla="*/ 4 w 35"/>
                  <a:gd name="T25" fmla="*/ 21 h 72"/>
                  <a:gd name="T26" fmla="*/ 4 w 35"/>
                  <a:gd name="T27" fmla="*/ 66 h 72"/>
                  <a:gd name="T28" fmla="*/ 31 w 35"/>
                  <a:gd name="T29" fmla="*/ 51 h 72"/>
                  <a:gd name="T30" fmla="*/ 31 w 35"/>
                  <a:gd name="T31" fmla="*/ 5 h 72"/>
                  <a:gd name="T32" fmla="*/ 4 w 35"/>
                  <a:gd name="T33" fmla="*/ 2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72">
                    <a:moveTo>
                      <a:pt x="2" y="72"/>
                    </a:moveTo>
                    <a:cubicBezTo>
                      <a:pt x="1" y="72"/>
                      <a:pt x="1" y="72"/>
                      <a:pt x="1" y="71"/>
                    </a:cubicBezTo>
                    <a:cubicBezTo>
                      <a:pt x="0" y="71"/>
                      <a:pt x="0" y="70"/>
                      <a:pt x="0" y="7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3" y="0"/>
                      <a:pt x="34" y="0"/>
                    </a:cubicBezTo>
                    <a:cubicBezTo>
                      <a:pt x="34" y="0"/>
                      <a:pt x="35" y="1"/>
                      <a:pt x="35" y="2"/>
                    </a:cubicBezTo>
                    <a:cubicBezTo>
                      <a:pt x="35" y="52"/>
                      <a:pt x="35" y="52"/>
                      <a:pt x="35" y="52"/>
                    </a:cubicBezTo>
                    <a:cubicBezTo>
                      <a:pt x="35" y="53"/>
                      <a:pt x="34" y="53"/>
                      <a:pt x="34" y="54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2"/>
                      <a:pt x="2" y="72"/>
                      <a:pt x="2" y="72"/>
                    </a:cubicBezTo>
                    <a:close/>
                    <a:moveTo>
                      <a:pt x="4" y="21"/>
                    </a:moveTo>
                    <a:cubicBezTo>
                      <a:pt x="4" y="66"/>
                      <a:pt x="4" y="66"/>
                      <a:pt x="4" y="66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5"/>
                      <a:pt x="31" y="5"/>
                      <a:pt x="31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5" name="Freeform 671">
                <a:extLst>
                  <a:ext uri="{FF2B5EF4-FFF2-40B4-BE49-F238E27FC236}">
                    <a16:creationId xmlns:a16="http://schemas.microsoft.com/office/drawing/2014/main" id="{2CD512E8-0AD2-4AC3-B216-FD8859E010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6308735"/>
                <a:ext cx="62252" cy="156668"/>
              </a:xfrm>
              <a:custGeom>
                <a:avLst/>
                <a:gdLst>
                  <a:gd name="T0" fmla="*/ 2 w 25"/>
                  <a:gd name="T1" fmla="*/ 64 h 64"/>
                  <a:gd name="T2" fmla="*/ 1 w 25"/>
                  <a:gd name="T3" fmla="*/ 64 h 64"/>
                  <a:gd name="T4" fmla="*/ 0 w 25"/>
                  <a:gd name="T5" fmla="*/ 62 h 64"/>
                  <a:gd name="T6" fmla="*/ 0 w 25"/>
                  <a:gd name="T7" fmla="*/ 2 h 64"/>
                  <a:gd name="T8" fmla="*/ 1 w 25"/>
                  <a:gd name="T9" fmla="*/ 0 h 64"/>
                  <a:gd name="T10" fmla="*/ 3 w 25"/>
                  <a:gd name="T11" fmla="*/ 0 h 64"/>
                  <a:gd name="T12" fmla="*/ 24 w 25"/>
                  <a:gd name="T13" fmla="*/ 13 h 64"/>
                  <a:gd name="T14" fmla="*/ 25 w 25"/>
                  <a:gd name="T15" fmla="*/ 14 h 64"/>
                  <a:gd name="T16" fmla="*/ 25 w 25"/>
                  <a:gd name="T17" fmla="*/ 50 h 64"/>
                  <a:gd name="T18" fmla="*/ 24 w 25"/>
                  <a:gd name="T19" fmla="*/ 52 h 64"/>
                  <a:gd name="T20" fmla="*/ 3 w 25"/>
                  <a:gd name="T21" fmla="*/ 64 h 64"/>
                  <a:gd name="T22" fmla="*/ 2 w 25"/>
                  <a:gd name="T23" fmla="*/ 64 h 64"/>
                  <a:gd name="T24" fmla="*/ 4 w 25"/>
                  <a:gd name="T25" fmla="*/ 6 h 64"/>
                  <a:gd name="T26" fmla="*/ 4 w 25"/>
                  <a:gd name="T27" fmla="*/ 59 h 64"/>
                  <a:gd name="T28" fmla="*/ 21 w 25"/>
                  <a:gd name="T29" fmla="*/ 49 h 64"/>
                  <a:gd name="T30" fmla="*/ 21 w 25"/>
                  <a:gd name="T31" fmla="*/ 16 h 64"/>
                  <a:gd name="T32" fmla="*/ 4 w 25"/>
                  <a:gd name="T33" fmla="*/ 6 h 64"/>
                  <a:gd name="T34" fmla="*/ 23 w 25"/>
                  <a:gd name="T35" fmla="*/ 50 h 64"/>
                  <a:gd name="T36" fmla="*/ 23 w 25"/>
                  <a:gd name="T37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64">
                    <a:moveTo>
                      <a:pt x="2" y="64"/>
                    </a:moveTo>
                    <a:cubicBezTo>
                      <a:pt x="1" y="64"/>
                      <a:pt x="1" y="64"/>
                      <a:pt x="1" y="64"/>
                    </a:cubicBezTo>
                    <a:cubicBezTo>
                      <a:pt x="0" y="64"/>
                      <a:pt x="0" y="63"/>
                      <a:pt x="0" y="6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5" y="14"/>
                      <a:pt x="25" y="14"/>
                    </a:cubicBezTo>
                    <a:cubicBezTo>
                      <a:pt x="25" y="50"/>
                      <a:pt x="25" y="50"/>
                      <a:pt x="25" y="50"/>
                    </a:cubicBezTo>
                    <a:cubicBezTo>
                      <a:pt x="25" y="51"/>
                      <a:pt x="24" y="52"/>
                      <a:pt x="24" y="52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2" y="64"/>
                      <a:pt x="2" y="64"/>
                      <a:pt x="2" y="64"/>
                    </a:cubicBezTo>
                    <a:close/>
                    <a:moveTo>
                      <a:pt x="4" y="6"/>
                    </a:moveTo>
                    <a:cubicBezTo>
                      <a:pt x="4" y="59"/>
                      <a:pt x="4" y="59"/>
                      <a:pt x="4" y="5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16"/>
                      <a:pt x="21" y="16"/>
                      <a:pt x="21" y="16"/>
                    </a:cubicBezTo>
                    <a:lnTo>
                      <a:pt x="4" y="6"/>
                    </a:lnTo>
                    <a:close/>
                    <a:moveTo>
                      <a:pt x="23" y="50"/>
                    </a:moveTo>
                    <a:cubicBezTo>
                      <a:pt x="23" y="50"/>
                      <a:pt x="23" y="50"/>
                      <a:pt x="23" y="5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6" name="Freeform 672">
                <a:extLst>
                  <a:ext uri="{FF2B5EF4-FFF2-40B4-BE49-F238E27FC236}">
                    <a16:creationId xmlns:a16="http://schemas.microsoft.com/office/drawing/2014/main" id="{E0713629-C5CD-497F-BC89-A137A06FCA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6431165"/>
                <a:ext cx="62252" cy="50839"/>
              </a:xfrm>
              <a:custGeom>
                <a:avLst/>
                <a:gdLst>
                  <a:gd name="T0" fmla="*/ 5 w 25"/>
                  <a:gd name="T1" fmla="*/ 21 h 21"/>
                  <a:gd name="T2" fmla="*/ 4 w 25"/>
                  <a:gd name="T3" fmla="*/ 20 h 21"/>
                  <a:gd name="T4" fmla="*/ 1 w 25"/>
                  <a:gd name="T5" fmla="*/ 18 h 21"/>
                  <a:gd name="T6" fmla="*/ 0 w 25"/>
                  <a:gd name="T7" fmla="*/ 17 h 21"/>
                  <a:gd name="T8" fmla="*/ 0 w 25"/>
                  <a:gd name="T9" fmla="*/ 14 h 21"/>
                  <a:gd name="T10" fmla="*/ 1 w 25"/>
                  <a:gd name="T11" fmla="*/ 13 h 21"/>
                  <a:gd name="T12" fmla="*/ 22 w 25"/>
                  <a:gd name="T13" fmla="*/ 0 h 21"/>
                  <a:gd name="T14" fmla="*/ 24 w 25"/>
                  <a:gd name="T15" fmla="*/ 0 h 21"/>
                  <a:gd name="T16" fmla="*/ 25 w 25"/>
                  <a:gd name="T17" fmla="*/ 2 h 21"/>
                  <a:gd name="T18" fmla="*/ 25 w 25"/>
                  <a:gd name="T19" fmla="*/ 8 h 21"/>
                  <a:gd name="T20" fmla="*/ 24 w 25"/>
                  <a:gd name="T21" fmla="*/ 10 h 21"/>
                  <a:gd name="T22" fmla="*/ 6 w 25"/>
                  <a:gd name="T23" fmla="*/ 20 h 21"/>
                  <a:gd name="T24" fmla="*/ 5 w 25"/>
                  <a:gd name="T25" fmla="*/ 21 h 21"/>
                  <a:gd name="T26" fmla="*/ 4 w 25"/>
                  <a:gd name="T27" fmla="*/ 16 h 21"/>
                  <a:gd name="T28" fmla="*/ 5 w 25"/>
                  <a:gd name="T29" fmla="*/ 16 h 21"/>
                  <a:gd name="T30" fmla="*/ 21 w 25"/>
                  <a:gd name="T31" fmla="*/ 7 h 21"/>
                  <a:gd name="T32" fmla="*/ 21 w 25"/>
                  <a:gd name="T33" fmla="*/ 6 h 21"/>
                  <a:gd name="T34" fmla="*/ 4 w 25"/>
                  <a:gd name="T35" fmla="*/ 16 h 21"/>
                  <a:gd name="T36" fmla="*/ 23 w 25"/>
                  <a:gd name="T37" fmla="*/ 8 h 21"/>
                  <a:gd name="T38" fmla="*/ 23 w 25"/>
                  <a:gd name="T3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1">
                    <a:moveTo>
                      <a:pt x="5" y="21"/>
                    </a:moveTo>
                    <a:cubicBezTo>
                      <a:pt x="5" y="21"/>
                      <a:pt x="4" y="21"/>
                      <a:pt x="4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8"/>
                      <a:pt x="0" y="17"/>
                      <a:pt x="0" y="17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3" y="0"/>
                      <a:pt x="24" y="0"/>
                    </a:cubicBezTo>
                    <a:cubicBezTo>
                      <a:pt x="24" y="1"/>
                      <a:pt x="25" y="1"/>
                      <a:pt x="25" y="2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5" y="9"/>
                      <a:pt x="24" y="10"/>
                      <a:pt x="24" y="1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1"/>
                      <a:pt x="5" y="21"/>
                      <a:pt x="5" y="21"/>
                    </a:cubicBezTo>
                    <a:close/>
                    <a:moveTo>
                      <a:pt x="4" y="16"/>
                    </a:moveTo>
                    <a:cubicBezTo>
                      <a:pt x="5" y="16"/>
                      <a:pt x="5" y="16"/>
                      <a:pt x="5" y="16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4" y="16"/>
                    </a:lnTo>
                    <a:close/>
                    <a:moveTo>
                      <a:pt x="23" y="8"/>
                    </a:moveTo>
                    <a:cubicBezTo>
                      <a:pt x="23" y="8"/>
                      <a:pt x="23" y="8"/>
                      <a:pt x="23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7" name="Freeform 673">
                <a:extLst>
                  <a:ext uri="{FF2B5EF4-FFF2-40B4-BE49-F238E27FC236}">
                    <a16:creationId xmlns:a16="http://schemas.microsoft.com/office/drawing/2014/main" id="{950E9A59-6E13-4898-9F05-A1FC62979E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93208" y="6239220"/>
                <a:ext cx="158744" cy="242784"/>
              </a:xfrm>
              <a:custGeom>
                <a:avLst/>
                <a:gdLst>
                  <a:gd name="T0" fmla="*/ 2 w 65"/>
                  <a:gd name="T1" fmla="*/ 99 h 99"/>
                  <a:gd name="T2" fmla="*/ 1 w 65"/>
                  <a:gd name="T3" fmla="*/ 99 h 99"/>
                  <a:gd name="T4" fmla="*/ 0 w 65"/>
                  <a:gd name="T5" fmla="*/ 97 h 99"/>
                  <a:gd name="T6" fmla="*/ 0 w 65"/>
                  <a:gd name="T7" fmla="*/ 37 h 99"/>
                  <a:gd name="T8" fmla="*/ 1 w 65"/>
                  <a:gd name="T9" fmla="*/ 35 h 99"/>
                  <a:gd name="T10" fmla="*/ 62 w 65"/>
                  <a:gd name="T11" fmla="*/ 0 h 99"/>
                  <a:gd name="T12" fmla="*/ 64 w 65"/>
                  <a:gd name="T13" fmla="*/ 0 h 99"/>
                  <a:gd name="T14" fmla="*/ 65 w 65"/>
                  <a:gd name="T15" fmla="*/ 2 h 99"/>
                  <a:gd name="T16" fmla="*/ 65 w 65"/>
                  <a:gd name="T17" fmla="*/ 57 h 99"/>
                  <a:gd name="T18" fmla="*/ 64 w 65"/>
                  <a:gd name="T19" fmla="*/ 58 h 99"/>
                  <a:gd name="T20" fmla="*/ 63 w 65"/>
                  <a:gd name="T21" fmla="*/ 59 h 99"/>
                  <a:gd name="T22" fmla="*/ 64 w 65"/>
                  <a:gd name="T23" fmla="*/ 60 h 99"/>
                  <a:gd name="T24" fmla="*/ 65 w 65"/>
                  <a:gd name="T25" fmla="*/ 61 h 99"/>
                  <a:gd name="T26" fmla="*/ 65 w 65"/>
                  <a:gd name="T27" fmla="*/ 62 h 99"/>
                  <a:gd name="T28" fmla="*/ 64 w 65"/>
                  <a:gd name="T29" fmla="*/ 64 h 99"/>
                  <a:gd name="T30" fmla="*/ 15 w 65"/>
                  <a:gd name="T31" fmla="*/ 92 h 99"/>
                  <a:gd name="T32" fmla="*/ 14 w 65"/>
                  <a:gd name="T33" fmla="*/ 93 h 99"/>
                  <a:gd name="T34" fmla="*/ 3 w 65"/>
                  <a:gd name="T35" fmla="*/ 99 h 99"/>
                  <a:gd name="T36" fmla="*/ 2 w 65"/>
                  <a:gd name="T37" fmla="*/ 99 h 99"/>
                  <a:gd name="T38" fmla="*/ 4 w 65"/>
                  <a:gd name="T39" fmla="*/ 38 h 99"/>
                  <a:gd name="T40" fmla="*/ 4 w 65"/>
                  <a:gd name="T41" fmla="*/ 94 h 99"/>
                  <a:gd name="T42" fmla="*/ 13 w 65"/>
                  <a:gd name="T43" fmla="*/ 89 h 99"/>
                  <a:gd name="T44" fmla="*/ 14 w 65"/>
                  <a:gd name="T45" fmla="*/ 88 h 99"/>
                  <a:gd name="T46" fmla="*/ 60 w 65"/>
                  <a:gd name="T47" fmla="*/ 62 h 99"/>
                  <a:gd name="T48" fmla="*/ 58 w 65"/>
                  <a:gd name="T49" fmla="*/ 61 h 99"/>
                  <a:gd name="T50" fmla="*/ 57 w 65"/>
                  <a:gd name="T51" fmla="*/ 59 h 99"/>
                  <a:gd name="T52" fmla="*/ 58 w 65"/>
                  <a:gd name="T53" fmla="*/ 57 h 99"/>
                  <a:gd name="T54" fmla="*/ 61 w 65"/>
                  <a:gd name="T55" fmla="*/ 56 h 99"/>
                  <a:gd name="T56" fmla="*/ 61 w 65"/>
                  <a:gd name="T57" fmla="*/ 5 h 99"/>
                  <a:gd name="T58" fmla="*/ 4 w 65"/>
                  <a:gd name="T59" fmla="*/ 3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" h="99">
                    <a:moveTo>
                      <a:pt x="2" y="99"/>
                    </a:moveTo>
                    <a:cubicBezTo>
                      <a:pt x="2" y="99"/>
                      <a:pt x="1" y="99"/>
                      <a:pt x="1" y="99"/>
                    </a:cubicBezTo>
                    <a:cubicBezTo>
                      <a:pt x="1" y="99"/>
                      <a:pt x="0" y="98"/>
                      <a:pt x="0" y="9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3" y="0"/>
                      <a:pt x="63" y="0"/>
                      <a:pt x="64" y="0"/>
                    </a:cubicBezTo>
                    <a:cubicBezTo>
                      <a:pt x="65" y="0"/>
                      <a:pt x="65" y="1"/>
                      <a:pt x="65" y="2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5" y="57"/>
                      <a:pt x="65" y="58"/>
                      <a:pt x="64" y="58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5" y="60"/>
                      <a:pt x="65" y="61"/>
                      <a:pt x="65" y="61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5" y="63"/>
                      <a:pt x="65" y="64"/>
                      <a:pt x="64" y="64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3"/>
                      <a:pt x="14" y="93"/>
                      <a:pt x="14" y="93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3" y="99"/>
                      <a:pt x="3" y="99"/>
                      <a:pt x="2" y="99"/>
                    </a:cubicBezTo>
                    <a:close/>
                    <a:moveTo>
                      <a:pt x="4" y="38"/>
                    </a:moveTo>
                    <a:cubicBezTo>
                      <a:pt x="4" y="94"/>
                      <a:pt x="4" y="94"/>
                      <a:pt x="4" y="94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89"/>
                      <a:pt x="13" y="89"/>
                      <a:pt x="14" y="88"/>
                    </a:cubicBezTo>
                    <a:cubicBezTo>
                      <a:pt x="60" y="62"/>
                      <a:pt x="60" y="62"/>
                      <a:pt x="60" y="62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7" y="60"/>
                      <a:pt x="57" y="60"/>
                      <a:pt x="57" y="59"/>
                    </a:cubicBezTo>
                    <a:cubicBezTo>
                      <a:pt x="57" y="58"/>
                      <a:pt x="57" y="58"/>
                      <a:pt x="58" y="57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1" y="5"/>
                      <a:pt x="61" y="5"/>
                      <a:pt x="61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8" name="Freeform 674">
                <a:extLst>
                  <a:ext uri="{FF2B5EF4-FFF2-40B4-BE49-F238E27FC236}">
                    <a16:creationId xmlns:a16="http://schemas.microsoft.com/office/drawing/2014/main" id="{5F614A16-434C-46FA-BD6A-B52E7831989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767024" y="6303547"/>
                <a:ext cx="62252" cy="39426"/>
              </a:xfrm>
              <a:custGeom>
                <a:avLst/>
                <a:gdLst>
                  <a:gd name="T0" fmla="*/ 23 w 25"/>
                  <a:gd name="T1" fmla="*/ 16 h 16"/>
                  <a:gd name="T2" fmla="*/ 22 w 25"/>
                  <a:gd name="T3" fmla="*/ 16 h 16"/>
                  <a:gd name="T4" fmla="*/ 1 w 25"/>
                  <a:gd name="T5" fmla="*/ 4 h 16"/>
                  <a:gd name="T6" fmla="*/ 0 w 25"/>
                  <a:gd name="T7" fmla="*/ 2 h 16"/>
                  <a:gd name="T8" fmla="*/ 0 w 25"/>
                  <a:gd name="T9" fmla="*/ 2 h 16"/>
                  <a:gd name="T10" fmla="*/ 1 w 25"/>
                  <a:gd name="T11" fmla="*/ 0 h 16"/>
                  <a:gd name="T12" fmla="*/ 3 w 25"/>
                  <a:gd name="T13" fmla="*/ 0 h 16"/>
                  <a:gd name="T14" fmla="*/ 24 w 25"/>
                  <a:gd name="T15" fmla="*/ 12 h 16"/>
                  <a:gd name="T16" fmla="*/ 25 w 25"/>
                  <a:gd name="T17" fmla="*/ 14 h 16"/>
                  <a:gd name="T18" fmla="*/ 25 w 25"/>
                  <a:gd name="T19" fmla="*/ 14 h 16"/>
                  <a:gd name="T20" fmla="*/ 24 w 25"/>
                  <a:gd name="T21" fmla="*/ 16 h 16"/>
                  <a:gd name="T22" fmla="*/ 23 w 25"/>
                  <a:gd name="T2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16">
                    <a:moveTo>
                      <a:pt x="23" y="16"/>
                    </a:moveTo>
                    <a:cubicBezTo>
                      <a:pt x="22" y="16"/>
                      <a:pt x="22" y="16"/>
                      <a:pt x="22" y="1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3"/>
                      <a:pt x="25" y="13"/>
                      <a:pt x="25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5"/>
                      <a:pt x="24" y="16"/>
                      <a:pt x="24" y="16"/>
                    </a:cubicBezTo>
                    <a:cubicBezTo>
                      <a:pt x="24" y="16"/>
                      <a:pt x="23" y="16"/>
                      <a:pt x="23" y="1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9" name="Freeform 675">
                <a:extLst>
                  <a:ext uri="{FF2B5EF4-FFF2-40B4-BE49-F238E27FC236}">
                    <a16:creationId xmlns:a16="http://schemas.microsoft.com/office/drawing/2014/main" id="{8F9B553C-AB74-45AB-A2AE-6CA97618E3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17467" y="6335711"/>
                <a:ext cx="80928" cy="85078"/>
              </a:xfrm>
              <a:custGeom>
                <a:avLst/>
                <a:gdLst>
                  <a:gd name="T0" fmla="*/ 31 w 33"/>
                  <a:gd name="T1" fmla="*/ 35 h 35"/>
                  <a:gd name="T2" fmla="*/ 30 w 33"/>
                  <a:gd name="T3" fmla="*/ 35 h 35"/>
                  <a:gd name="T4" fmla="*/ 7 w 33"/>
                  <a:gd name="T5" fmla="*/ 21 h 35"/>
                  <a:gd name="T6" fmla="*/ 3 w 33"/>
                  <a:gd name="T7" fmla="*/ 24 h 35"/>
                  <a:gd name="T8" fmla="*/ 1 w 33"/>
                  <a:gd name="T9" fmla="*/ 24 h 35"/>
                  <a:gd name="T10" fmla="*/ 1 w 33"/>
                  <a:gd name="T11" fmla="*/ 23 h 35"/>
                  <a:gd name="T12" fmla="*/ 0 w 33"/>
                  <a:gd name="T13" fmla="*/ 21 h 35"/>
                  <a:gd name="T14" fmla="*/ 0 w 33"/>
                  <a:gd name="T15" fmla="*/ 19 h 35"/>
                  <a:gd name="T16" fmla="*/ 1 w 33"/>
                  <a:gd name="T17" fmla="*/ 17 h 35"/>
                  <a:gd name="T18" fmla="*/ 30 w 33"/>
                  <a:gd name="T19" fmla="*/ 0 h 35"/>
                  <a:gd name="T20" fmla="*/ 32 w 33"/>
                  <a:gd name="T21" fmla="*/ 0 h 35"/>
                  <a:gd name="T22" fmla="*/ 33 w 33"/>
                  <a:gd name="T23" fmla="*/ 2 h 35"/>
                  <a:gd name="T24" fmla="*/ 33 w 33"/>
                  <a:gd name="T25" fmla="*/ 33 h 35"/>
                  <a:gd name="T26" fmla="*/ 32 w 33"/>
                  <a:gd name="T27" fmla="*/ 35 h 35"/>
                  <a:gd name="T28" fmla="*/ 31 w 33"/>
                  <a:gd name="T29" fmla="*/ 35 h 35"/>
                  <a:gd name="T30" fmla="*/ 8 w 33"/>
                  <a:gd name="T31" fmla="*/ 17 h 35"/>
                  <a:gd name="T32" fmla="*/ 8 w 33"/>
                  <a:gd name="T33" fmla="*/ 17 h 35"/>
                  <a:gd name="T34" fmla="*/ 29 w 33"/>
                  <a:gd name="T35" fmla="*/ 29 h 35"/>
                  <a:gd name="T36" fmla="*/ 29 w 33"/>
                  <a:gd name="T37" fmla="*/ 5 h 35"/>
                  <a:gd name="T38" fmla="*/ 8 w 33"/>
                  <a:gd name="T3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3" h="35">
                    <a:moveTo>
                      <a:pt x="31" y="35"/>
                    </a:moveTo>
                    <a:cubicBezTo>
                      <a:pt x="31" y="35"/>
                      <a:pt x="31" y="35"/>
                      <a:pt x="30" y="35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3" y="24"/>
                      <a:pt x="2" y="24"/>
                      <a:pt x="1" y="24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8"/>
                      <a:pt x="0" y="17"/>
                      <a:pt x="1" y="17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33" y="0"/>
                      <a:pt x="33" y="1"/>
                      <a:pt x="33" y="2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3" y="34"/>
                      <a:pt x="33" y="34"/>
                      <a:pt x="32" y="35"/>
                    </a:cubicBezTo>
                    <a:cubicBezTo>
                      <a:pt x="32" y="35"/>
                      <a:pt x="32" y="35"/>
                      <a:pt x="31" y="35"/>
                    </a:cubicBezTo>
                    <a:close/>
                    <a:moveTo>
                      <a:pt x="8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5"/>
                      <a:pt x="29" y="5"/>
                      <a:pt x="29" y="5"/>
                    </a:cubicBezTo>
                    <a:lnTo>
                      <a:pt x="8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0" name="Freeform 676">
                <a:extLst>
                  <a:ext uri="{FF2B5EF4-FFF2-40B4-BE49-F238E27FC236}">
                    <a16:creationId xmlns:a16="http://schemas.microsoft.com/office/drawing/2014/main" id="{AFCEED99-ED48-4E5A-A6E0-7CDABD59CD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6450878"/>
                <a:ext cx="57065" cy="63290"/>
              </a:xfrm>
              <a:custGeom>
                <a:avLst/>
                <a:gdLst>
                  <a:gd name="T0" fmla="*/ 21 w 23"/>
                  <a:gd name="T1" fmla="*/ 26 h 26"/>
                  <a:gd name="T2" fmla="*/ 20 w 23"/>
                  <a:gd name="T3" fmla="*/ 26 h 26"/>
                  <a:gd name="T4" fmla="*/ 1 w 23"/>
                  <a:gd name="T5" fmla="*/ 15 h 26"/>
                  <a:gd name="T6" fmla="*/ 0 w 23"/>
                  <a:gd name="T7" fmla="*/ 13 h 26"/>
                  <a:gd name="T8" fmla="*/ 1 w 23"/>
                  <a:gd name="T9" fmla="*/ 12 h 26"/>
                  <a:gd name="T10" fmla="*/ 20 w 23"/>
                  <a:gd name="T11" fmla="*/ 1 h 26"/>
                  <a:gd name="T12" fmla="*/ 22 w 23"/>
                  <a:gd name="T13" fmla="*/ 1 h 26"/>
                  <a:gd name="T14" fmla="*/ 23 w 23"/>
                  <a:gd name="T15" fmla="*/ 2 h 26"/>
                  <a:gd name="T16" fmla="*/ 23 w 23"/>
                  <a:gd name="T17" fmla="*/ 24 h 26"/>
                  <a:gd name="T18" fmla="*/ 22 w 23"/>
                  <a:gd name="T19" fmla="*/ 26 h 26"/>
                  <a:gd name="T20" fmla="*/ 21 w 23"/>
                  <a:gd name="T21" fmla="*/ 26 h 26"/>
                  <a:gd name="T22" fmla="*/ 6 w 23"/>
                  <a:gd name="T23" fmla="*/ 13 h 26"/>
                  <a:gd name="T24" fmla="*/ 19 w 23"/>
                  <a:gd name="T25" fmla="*/ 21 h 26"/>
                  <a:gd name="T26" fmla="*/ 19 w 23"/>
                  <a:gd name="T27" fmla="*/ 6 h 26"/>
                  <a:gd name="T28" fmla="*/ 6 w 23"/>
                  <a:gd name="T2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" h="26">
                    <a:moveTo>
                      <a:pt x="21" y="26"/>
                    </a:moveTo>
                    <a:cubicBezTo>
                      <a:pt x="20" y="26"/>
                      <a:pt x="20" y="26"/>
                      <a:pt x="20" y="26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0"/>
                      <a:pt x="21" y="0"/>
                      <a:pt x="22" y="1"/>
                    </a:cubicBezTo>
                    <a:cubicBezTo>
                      <a:pt x="22" y="1"/>
                      <a:pt x="23" y="2"/>
                      <a:pt x="23" y="2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5"/>
                      <a:pt x="22" y="26"/>
                      <a:pt x="22" y="26"/>
                    </a:cubicBezTo>
                    <a:cubicBezTo>
                      <a:pt x="22" y="26"/>
                      <a:pt x="21" y="26"/>
                      <a:pt x="21" y="26"/>
                    </a:cubicBezTo>
                    <a:close/>
                    <a:moveTo>
                      <a:pt x="6" y="13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19" y="6"/>
                      <a:pt x="19" y="6"/>
                      <a:pt x="19" y="6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1" name="Freeform 677">
                <a:extLst>
                  <a:ext uri="{FF2B5EF4-FFF2-40B4-BE49-F238E27FC236}">
                    <a16:creationId xmlns:a16="http://schemas.microsoft.com/office/drawing/2014/main" id="{997E23FA-471B-4D9D-B467-0298E647D3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24089" y="6389663"/>
                <a:ext cx="298812" cy="185720"/>
              </a:xfrm>
              <a:custGeom>
                <a:avLst/>
                <a:gdLst>
                  <a:gd name="T0" fmla="*/ 58 w 122"/>
                  <a:gd name="T1" fmla="*/ 76 h 76"/>
                  <a:gd name="T2" fmla="*/ 57 w 122"/>
                  <a:gd name="T3" fmla="*/ 76 h 76"/>
                  <a:gd name="T4" fmla="*/ 1 w 122"/>
                  <a:gd name="T5" fmla="*/ 44 h 76"/>
                  <a:gd name="T6" fmla="*/ 0 w 122"/>
                  <a:gd name="T7" fmla="*/ 42 h 76"/>
                  <a:gd name="T8" fmla="*/ 1 w 122"/>
                  <a:gd name="T9" fmla="*/ 40 h 76"/>
                  <a:gd name="T10" fmla="*/ 51 w 122"/>
                  <a:gd name="T11" fmla="*/ 12 h 76"/>
                  <a:gd name="T12" fmla="*/ 51 w 122"/>
                  <a:gd name="T13" fmla="*/ 2 h 76"/>
                  <a:gd name="T14" fmla="*/ 52 w 122"/>
                  <a:gd name="T15" fmla="*/ 1 h 76"/>
                  <a:gd name="T16" fmla="*/ 52 w 122"/>
                  <a:gd name="T17" fmla="*/ 0 h 76"/>
                  <a:gd name="T18" fmla="*/ 54 w 122"/>
                  <a:gd name="T19" fmla="*/ 0 h 76"/>
                  <a:gd name="T20" fmla="*/ 113 w 122"/>
                  <a:gd name="T21" fmla="*/ 34 h 76"/>
                  <a:gd name="T22" fmla="*/ 114 w 122"/>
                  <a:gd name="T23" fmla="*/ 33 h 76"/>
                  <a:gd name="T24" fmla="*/ 116 w 122"/>
                  <a:gd name="T25" fmla="*/ 33 h 76"/>
                  <a:gd name="T26" fmla="*/ 121 w 122"/>
                  <a:gd name="T27" fmla="*/ 36 h 76"/>
                  <a:gd name="T28" fmla="*/ 122 w 122"/>
                  <a:gd name="T29" fmla="*/ 38 h 76"/>
                  <a:gd name="T30" fmla="*/ 122 w 122"/>
                  <a:gd name="T31" fmla="*/ 39 h 76"/>
                  <a:gd name="T32" fmla="*/ 121 w 122"/>
                  <a:gd name="T33" fmla="*/ 40 h 76"/>
                  <a:gd name="T34" fmla="*/ 59 w 122"/>
                  <a:gd name="T35" fmla="*/ 76 h 76"/>
                  <a:gd name="T36" fmla="*/ 58 w 122"/>
                  <a:gd name="T37" fmla="*/ 76 h 76"/>
                  <a:gd name="T38" fmla="*/ 6 w 122"/>
                  <a:gd name="T39" fmla="*/ 42 h 76"/>
                  <a:gd name="T40" fmla="*/ 58 w 122"/>
                  <a:gd name="T41" fmla="*/ 72 h 76"/>
                  <a:gd name="T42" fmla="*/ 116 w 122"/>
                  <a:gd name="T43" fmla="*/ 38 h 76"/>
                  <a:gd name="T44" fmla="*/ 115 w 122"/>
                  <a:gd name="T45" fmla="*/ 38 h 76"/>
                  <a:gd name="T46" fmla="*/ 114 w 122"/>
                  <a:gd name="T47" fmla="*/ 38 h 76"/>
                  <a:gd name="T48" fmla="*/ 112 w 122"/>
                  <a:gd name="T49" fmla="*/ 38 h 76"/>
                  <a:gd name="T50" fmla="*/ 55 w 122"/>
                  <a:gd name="T51" fmla="*/ 5 h 76"/>
                  <a:gd name="T52" fmla="*/ 55 w 122"/>
                  <a:gd name="T53" fmla="*/ 13 h 76"/>
                  <a:gd name="T54" fmla="*/ 54 w 122"/>
                  <a:gd name="T55" fmla="*/ 15 h 76"/>
                  <a:gd name="T56" fmla="*/ 6 w 122"/>
                  <a:gd name="T57" fmla="*/ 42 h 76"/>
                  <a:gd name="T58" fmla="*/ 53 w 122"/>
                  <a:gd name="T59" fmla="*/ 13 h 76"/>
                  <a:gd name="T60" fmla="*/ 53 w 122"/>
                  <a:gd name="T61" fmla="*/ 1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2" h="76">
                    <a:moveTo>
                      <a:pt x="58" y="76"/>
                    </a:moveTo>
                    <a:cubicBezTo>
                      <a:pt x="58" y="76"/>
                      <a:pt x="58" y="76"/>
                      <a:pt x="57" y="76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1" y="43"/>
                      <a:pt x="0" y="43"/>
                      <a:pt x="0" y="42"/>
                    </a:cubicBezTo>
                    <a:cubicBezTo>
                      <a:pt x="0" y="41"/>
                      <a:pt x="1" y="41"/>
                      <a:pt x="1" y="4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1" y="2"/>
                      <a:pt x="51" y="1"/>
                      <a:pt x="52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4" y="0"/>
                      <a:pt x="54" y="0"/>
                    </a:cubicBezTo>
                    <a:cubicBezTo>
                      <a:pt x="113" y="34"/>
                      <a:pt x="113" y="34"/>
                      <a:pt x="113" y="34"/>
                    </a:cubicBezTo>
                    <a:cubicBezTo>
                      <a:pt x="114" y="33"/>
                      <a:pt x="114" y="33"/>
                      <a:pt x="114" y="33"/>
                    </a:cubicBezTo>
                    <a:cubicBezTo>
                      <a:pt x="114" y="33"/>
                      <a:pt x="115" y="33"/>
                      <a:pt x="116" y="33"/>
                    </a:cubicBezTo>
                    <a:cubicBezTo>
                      <a:pt x="121" y="36"/>
                      <a:pt x="121" y="36"/>
                      <a:pt x="121" y="36"/>
                    </a:cubicBezTo>
                    <a:cubicBezTo>
                      <a:pt x="122" y="37"/>
                      <a:pt x="122" y="37"/>
                      <a:pt x="122" y="38"/>
                    </a:cubicBezTo>
                    <a:cubicBezTo>
                      <a:pt x="122" y="39"/>
                      <a:pt x="122" y="39"/>
                      <a:pt x="122" y="39"/>
                    </a:cubicBezTo>
                    <a:cubicBezTo>
                      <a:pt x="122" y="39"/>
                      <a:pt x="122" y="40"/>
                      <a:pt x="121" y="40"/>
                    </a:cubicBezTo>
                    <a:cubicBezTo>
                      <a:pt x="59" y="76"/>
                      <a:pt x="59" y="76"/>
                      <a:pt x="59" y="76"/>
                    </a:cubicBezTo>
                    <a:cubicBezTo>
                      <a:pt x="59" y="76"/>
                      <a:pt x="59" y="76"/>
                      <a:pt x="58" y="76"/>
                    </a:cubicBezTo>
                    <a:close/>
                    <a:moveTo>
                      <a:pt x="6" y="42"/>
                    </a:moveTo>
                    <a:cubicBezTo>
                      <a:pt x="58" y="72"/>
                      <a:pt x="58" y="72"/>
                      <a:pt x="58" y="72"/>
                    </a:cubicBezTo>
                    <a:cubicBezTo>
                      <a:pt x="116" y="38"/>
                      <a:pt x="116" y="38"/>
                      <a:pt x="116" y="38"/>
                    </a:cubicBezTo>
                    <a:cubicBezTo>
                      <a:pt x="115" y="38"/>
                      <a:pt x="115" y="38"/>
                      <a:pt x="115" y="38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3" y="38"/>
                      <a:pt x="113" y="38"/>
                      <a:pt x="112" y="38"/>
                    </a:cubicBezTo>
                    <a:cubicBezTo>
                      <a:pt x="55" y="5"/>
                      <a:pt x="55" y="5"/>
                      <a:pt x="55" y="5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5" y="14"/>
                      <a:pt x="54" y="14"/>
                      <a:pt x="54" y="15"/>
                    </a:cubicBezTo>
                    <a:lnTo>
                      <a:pt x="6" y="42"/>
                    </a:lnTo>
                    <a:close/>
                    <a:moveTo>
                      <a:pt x="53" y="13"/>
                    </a:move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2" name="Freeform 678">
                <a:extLst>
                  <a:ext uri="{FF2B5EF4-FFF2-40B4-BE49-F238E27FC236}">
                    <a16:creationId xmlns:a16="http://schemas.microsoft.com/office/drawing/2014/main" id="{497D2721-7EA0-4385-A5A8-FA29882B6DE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40689" y="6381363"/>
                <a:ext cx="152519" cy="96491"/>
              </a:xfrm>
              <a:custGeom>
                <a:avLst/>
                <a:gdLst>
                  <a:gd name="T0" fmla="*/ 60 w 62"/>
                  <a:gd name="T1" fmla="*/ 39 h 39"/>
                  <a:gd name="T2" fmla="*/ 59 w 62"/>
                  <a:gd name="T3" fmla="*/ 39 h 39"/>
                  <a:gd name="T4" fmla="*/ 1 w 62"/>
                  <a:gd name="T5" fmla="*/ 6 h 39"/>
                  <a:gd name="T6" fmla="*/ 0 w 62"/>
                  <a:gd name="T7" fmla="*/ 4 h 39"/>
                  <a:gd name="T8" fmla="*/ 1 w 62"/>
                  <a:gd name="T9" fmla="*/ 2 h 39"/>
                  <a:gd name="T10" fmla="*/ 4 w 62"/>
                  <a:gd name="T11" fmla="*/ 0 h 39"/>
                  <a:gd name="T12" fmla="*/ 6 w 62"/>
                  <a:gd name="T13" fmla="*/ 0 h 39"/>
                  <a:gd name="T14" fmla="*/ 30 w 62"/>
                  <a:gd name="T15" fmla="*/ 14 h 39"/>
                  <a:gd name="T16" fmla="*/ 31 w 62"/>
                  <a:gd name="T17" fmla="*/ 16 h 39"/>
                  <a:gd name="T18" fmla="*/ 31 w 62"/>
                  <a:gd name="T19" fmla="*/ 18 h 39"/>
                  <a:gd name="T20" fmla="*/ 61 w 62"/>
                  <a:gd name="T21" fmla="*/ 36 h 39"/>
                  <a:gd name="T22" fmla="*/ 62 w 62"/>
                  <a:gd name="T23" fmla="*/ 37 h 39"/>
                  <a:gd name="T24" fmla="*/ 61 w 62"/>
                  <a:gd name="T25" fmla="*/ 39 h 39"/>
                  <a:gd name="T26" fmla="*/ 60 w 62"/>
                  <a:gd name="T2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2" h="39">
                    <a:moveTo>
                      <a:pt x="60" y="39"/>
                    </a:moveTo>
                    <a:cubicBezTo>
                      <a:pt x="60" y="39"/>
                      <a:pt x="59" y="39"/>
                      <a:pt x="59" y="3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4"/>
                      <a:pt x="31" y="15"/>
                      <a:pt x="31" y="16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61" y="36"/>
                      <a:pt x="61" y="36"/>
                      <a:pt x="61" y="36"/>
                    </a:cubicBezTo>
                    <a:cubicBezTo>
                      <a:pt x="62" y="36"/>
                      <a:pt x="62" y="37"/>
                      <a:pt x="62" y="37"/>
                    </a:cubicBezTo>
                    <a:cubicBezTo>
                      <a:pt x="62" y="38"/>
                      <a:pt x="62" y="39"/>
                      <a:pt x="61" y="39"/>
                    </a:cubicBezTo>
                    <a:cubicBezTo>
                      <a:pt x="61" y="39"/>
                      <a:pt x="60" y="39"/>
                      <a:pt x="60" y="3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3" name="Freeform 679">
                <a:extLst>
                  <a:ext uri="{FF2B5EF4-FFF2-40B4-BE49-F238E27FC236}">
                    <a16:creationId xmlns:a16="http://schemas.microsoft.com/office/drawing/2014/main" id="{133B37B9-6475-44FB-89EB-BFADD108C80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33426" y="6418714"/>
                <a:ext cx="88191" cy="56027"/>
              </a:xfrm>
              <a:custGeom>
                <a:avLst/>
                <a:gdLst>
                  <a:gd name="T0" fmla="*/ 33 w 36"/>
                  <a:gd name="T1" fmla="*/ 23 h 23"/>
                  <a:gd name="T2" fmla="*/ 32 w 36"/>
                  <a:gd name="T3" fmla="*/ 23 h 23"/>
                  <a:gd name="T4" fmla="*/ 1 w 36"/>
                  <a:gd name="T5" fmla="*/ 5 h 23"/>
                  <a:gd name="T6" fmla="*/ 0 w 36"/>
                  <a:gd name="T7" fmla="*/ 3 h 23"/>
                  <a:gd name="T8" fmla="*/ 0 w 36"/>
                  <a:gd name="T9" fmla="*/ 2 h 23"/>
                  <a:gd name="T10" fmla="*/ 1 w 36"/>
                  <a:gd name="T11" fmla="*/ 0 h 23"/>
                  <a:gd name="T12" fmla="*/ 3 w 36"/>
                  <a:gd name="T13" fmla="*/ 0 h 23"/>
                  <a:gd name="T14" fmla="*/ 35 w 36"/>
                  <a:gd name="T15" fmla="*/ 19 h 23"/>
                  <a:gd name="T16" fmla="*/ 36 w 36"/>
                  <a:gd name="T17" fmla="*/ 20 h 23"/>
                  <a:gd name="T18" fmla="*/ 35 w 36"/>
                  <a:gd name="T19" fmla="*/ 22 h 23"/>
                  <a:gd name="T20" fmla="*/ 34 w 36"/>
                  <a:gd name="T21" fmla="*/ 23 h 23"/>
                  <a:gd name="T22" fmla="*/ 33 w 36"/>
                  <a:gd name="T2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23">
                    <a:moveTo>
                      <a:pt x="33" y="23"/>
                    </a:moveTo>
                    <a:cubicBezTo>
                      <a:pt x="32" y="23"/>
                      <a:pt x="32" y="23"/>
                      <a:pt x="32" y="23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6" y="19"/>
                      <a:pt x="36" y="20"/>
                      <a:pt x="36" y="20"/>
                    </a:cubicBezTo>
                    <a:cubicBezTo>
                      <a:pt x="36" y="21"/>
                      <a:pt x="36" y="22"/>
                      <a:pt x="35" y="22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3" y="23"/>
                      <a:pt x="33" y="23"/>
                      <a:pt x="33" y="2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4" name="Freeform 680">
                <a:extLst>
                  <a:ext uri="{FF2B5EF4-FFF2-40B4-BE49-F238E27FC236}">
                    <a16:creationId xmlns:a16="http://schemas.microsoft.com/office/drawing/2014/main" id="{8004848F-05B8-44CE-A7FC-5C89D27B9B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24089" y="6293172"/>
                <a:ext cx="97529" cy="179494"/>
              </a:xfrm>
              <a:custGeom>
                <a:avLst/>
                <a:gdLst>
                  <a:gd name="T0" fmla="*/ 36 w 40"/>
                  <a:gd name="T1" fmla="*/ 73 h 73"/>
                  <a:gd name="T2" fmla="*/ 35 w 40"/>
                  <a:gd name="T3" fmla="*/ 72 h 73"/>
                  <a:gd name="T4" fmla="*/ 1 w 40"/>
                  <a:gd name="T5" fmla="*/ 53 h 73"/>
                  <a:gd name="T6" fmla="*/ 0 w 40"/>
                  <a:gd name="T7" fmla="*/ 51 h 73"/>
                  <a:gd name="T8" fmla="*/ 0 w 40"/>
                  <a:gd name="T9" fmla="*/ 18 h 73"/>
                  <a:gd name="T10" fmla="*/ 1 w 40"/>
                  <a:gd name="T11" fmla="*/ 16 h 73"/>
                  <a:gd name="T12" fmla="*/ 28 w 40"/>
                  <a:gd name="T13" fmla="*/ 0 h 73"/>
                  <a:gd name="T14" fmla="*/ 30 w 40"/>
                  <a:gd name="T15" fmla="*/ 0 h 73"/>
                  <a:gd name="T16" fmla="*/ 39 w 40"/>
                  <a:gd name="T17" fmla="*/ 5 h 73"/>
                  <a:gd name="T18" fmla="*/ 40 w 40"/>
                  <a:gd name="T19" fmla="*/ 7 h 73"/>
                  <a:gd name="T20" fmla="*/ 40 w 40"/>
                  <a:gd name="T21" fmla="*/ 69 h 73"/>
                  <a:gd name="T22" fmla="*/ 39 w 40"/>
                  <a:gd name="T23" fmla="*/ 71 h 73"/>
                  <a:gd name="T24" fmla="*/ 37 w 40"/>
                  <a:gd name="T25" fmla="*/ 72 h 73"/>
                  <a:gd name="T26" fmla="*/ 36 w 40"/>
                  <a:gd name="T27" fmla="*/ 73 h 73"/>
                  <a:gd name="T28" fmla="*/ 4 w 40"/>
                  <a:gd name="T29" fmla="*/ 50 h 73"/>
                  <a:gd name="T30" fmla="*/ 36 w 40"/>
                  <a:gd name="T31" fmla="*/ 68 h 73"/>
                  <a:gd name="T32" fmla="*/ 36 w 40"/>
                  <a:gd name="T33" fmla="*/ 68 h 73"/>
                  <a:gd name="T34" fmla="*/ 36 w 40"/>
                  <a:gd name="T35" fmla="*/ 8 h 73"/>
                  <a:gd name="T36" fmla="*/ 29 w 40"/>
                  <a:gd name="T37" fmla="*/ 4 h 73"/>
                  <a:gd name="T38" fmla="*/ 4 w 40"/>
                  <a:gd name="T39" fmla="*/ 19 h 73"/>
                  <a:gd name="T40" fmla="*/ 4 w 40"/>
                  <a:gd name="T41" fmla="*/ 5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73">
                    <a:moveTo>
                      <a:pt x="36" y="73"/>
                    </a:moveTo>
                    <a:cubicBezTo>
                      <a:pt x="36" y="73"/>
                      <a:pt x="35" y="72"/>
                      <a:pt x="35" y="72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2"/>
                      <a:pt x="0" y="52"/>
                      <a:pt x="0" y="5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0" y="16"/>
                      <a:pt x="1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30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40" y="6"/>
                      <a:pt x="40" y="6"/>
                      <a:pt x="40" y="7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0" y="70"/>
                      <a:pt x="40" y="71"/>
                      <a:pt x="39" y="71"/>
                    </a:cubicBezTo>
                    <a:cubicBezTo>
                      <a:pt x="37" y="72"/>
                      <a:pt x="37" y="72"/>
                      <a:pt x="37" y="72"/>
                    </a:cubicBezTo>
                    <a:cubicBezTo>
                      <a:pt x="37" y="72"/>
                      <a:pt x="36" y="73"/>
                      <a:pt x="36" y="73"/>
                    </a:cubicBezTo>
                    <a:close/>
                    <a:moveTo>
                      <a:pt x="4" y="50"/>
                    </a:moveTo>
                    <a:cubicBezTo>
                      <a:pt x="36" y="68"/>
                      <a:pt x="36" y="68"/>
                      <a:pt x="36" y="68"/>
                    </a:cubicBezTo>
                    <a:cubicBezTo>
                      <a:pt x="36" y="68"/>
                      <a:pt x="36" y="68"/>
                      <a:pt x="36" y="68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4" y="19"/>
                      <a:pt x="4" y="19"/>
                      <a:pt x="4" y="19"/>
                    </a:cubicBezTo>
                    <a:lnTo>
                      <a:pt x="4" y="5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5" name="Freeform 681">
                <a:extLst>
                  <a:ext uri="{FF2B5EF4-FFF2-40B4-BE49-F238E27FC236}">
                    <a16:creationId xmlns:a16="http://schemas.microsoft.com/office/drawing/2014/main" id="{9F274BE9-4E9C-4039-898C-146665C33C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51065" y="6254783"/>
                <a:ext cx="70553" cy="83003"/>
              </a:xfrm>
              <a:custGeom>
                <a:avLst/>
                <a:gdLst>
                  <a:gd name="T0" fmla="*/ 2 w 29"/>
                  <a:gd name="T1" fmla="*/ 34 h 34"/>
                  <a:gd name="T2" fmla="*/ 1 w 29"/>
                  <a:gd name="T3" fmla="*/ 34 h 34"/>
                  <a:gd name="T4" fmla="*/ 0 w 29"/>
                  <a:gd name="T5" fmla="*/ 32 h 34"/>
                  <a:gd name="T6" fmla="*/ 0 w 29"/>
                  <a:gd name="T7" fmla="*/ 2 h 34"/>
                  <a:gd name="T8" fmla="*/ 1 w 29"/>
                  <a:gd name="T9" fmla="*/ 1 h 34"/>
                  <a:gd name="T10" fmla="*/ 3 w 29"/>
                  <a:gd name="T11" fmla="*/ 1 h 34"/>
                  <a:gd name="T12" fmla="*/ 28 w 29"/>
                  <a:gd name="T13" fmla="*/ 15 h 34"/>
                  <a:gd name="T14" fmla="*/ 29 w 29"/>
                  <a:gd name="T15" fmla="*/ 17 h 34"/>
                  <a:gd name="T16" fmla="*/ 28 w 29"/>
                  <a:gd name="T17" fmla="*/ 19 h 34"/>
                  <a:gd name="T18" fmla="*/ 3 w 29"/>
                  <a:gd name="T19" fmla="*/ 34 h 34"/>
                  <a:gd name="T20" fmla="*/ 2 w 29"/>
                  <a:gd name="T21" fmla="*/ 34 h 34"/>
                  <a:gd name="T22" fmla="*/ 4 w 29"/>
                  <a:gd name="T23" fmla="*/ 6 h 34"/>
                  <a:gd name="T24" fmla="*/ 4 w 29"/>
                  <a:gd name="T25" fmla="*/ 28 h 34"/>
                  <a:gd name="T26" fmla="*/ 23 w 29"/>
                  <a:gd name="T27" fmla="*/ 17 h 34"/>
                  <a:gd name="T28" fmla="*/ 4 w 29"/>
                  <a:gd name="T2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34">
                    <a:moveTo>
                      <a:pt x="2" y="34"/>
                    </a:move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3"/>
                      <a:pt x="0" y="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6"/>
                      <a:pt x="29" y="16"/>
                      <a:pt x="29" y="17"/>
                    </a:cubicBezTo>
                    <a:cubicBezTo>
                      <a:pt x="29" y="18"/>
                      <a:pt x="29" y="18"/>
                      <a:pt x="28" y="19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4"/>
                      <a:pt x="2" y="34"/>
                      <a:pt x="2" y="34"/>
                    </a:cubicBezTo>
                    <a:close/>
                    <a:moveTo>
                      <a:pt x="4" y="6"/>
                    </a:moveTo>
                    <a:cubicBezTo>
                      <a:pt x="4" y="28"/>
                      <a:pt x="4" y="28"/>
                      <a:pt x="4" y="28"/>
                    </a:cubicBezTo>
                    <a:cubicBezTo>
                      <a:pt x="23" y="17"/>
                      <a:pt x="23" y="17"/>
                      <a:pt x="23" y="1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6" name="Freeform 682">
                <a:extLst>
                  <a:ext uri="{FF2B5EF4-FFF2-40B4-BE49-F238E27FC236}">
                    <a16:creationId xmlns:a16="http://schemas.microsoft.com/office/drawing/2014/main" id="{D56B7D5B-0626-40B3-B357-57E2BF2154E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24089" y="6291097"/>
                <a:ext cx="26976" cy="19713"/>
              </a:xfrm>
              <a:custGeom>
                <a:avLst/>
                <a:gdLst>
                  <a:gd name="T0" fmla="*/ 9 w 11"/>
                  <a:gd name="T1" fmla="*/ 8 h 8"/>
                  <a:gd name="T2" fmla="*/ 8 w 11"/>
                  <a:gd name="T3" fmla="*/ 8 h 8"/>
                  <a:gd name="T4" fmla="*/ 1 w 11"/>
                  <a:gd name="T5" fmla="*/ 4 h 8"/>
                  <a:gd name="T6" fmla="*/ 0 w 11"/>
                  <a:gd name="T7" fmla="*/ 2 h 8"/>
                  <a:gd name="T8" fmla="*/ 1 w 11"/>
                  <a:gd name="T9" fmla="*/ 0 h 8"/>
                  <a:gd name="T10" fmla="*/ 1 w 11"/>
                  <a:gd name="T11" fmla="*/ 0 h 8"/>
                  <a:gd name="T12" fmla="*/ 3 w 11"/>
                  <a:gd name="T13" fmla="*/ 0 h 8"/>
                  <a:gd name="T14" fmla="*/ 10 w 11"/>
                  <a:gd name="T15" fmla="*/ 4 h 8"/>
                  <a:gd name="T16" fmla="*/ 11 w 11"/>
                  <a:gd name="T17" fmla="*/ 6 h 8"/>
                  <a:gd name="T18" fmla="*/ 11 w 11"/>
                  <a:gd name="T19" fmla="*/ 6 h 8"/>
                  <a:gd name="T20" fmla="*/ 10 w 11"/>
                  <a:gd name="T21" fmla="*/ 8 h 8"/>
                  <a:gd name="T22" fmla="*/ 9 w 11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cubicBezTo>
                      <a:pt x="9" y="8"/>
                      <a:pt x="8" y="8"/>
                      <a:pt x="8" y="8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7"/>
                      <a:pt x="11" y="8"/>
                      <a:pt x="10" y="8"/>
                    </a:cubicBezTo>
                    <a:cubicBezTo>
                      <a:pt x="10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7" name="Freeform 683">
                <a:extLst>
                  <a:ext uri="{FF2B5EF4-FFF2-40B4-BE49-F238E27FC236}">
                    <a16:creationId xmlns:a16="http://schemas.microsoft.com/office/drawing/2014/main" id="{2CF56739-9AFB-472C-9FC0-161C2C7804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6580570"/>
                <a:ext cx="137993" cy="242784"/>
              </a:xfrm>
              <a:custGeom>
                <a:avLst/>
                <a:gdLst>
                  <a:gd name="T0" fmla="*/ 28 w 56"/>
                  <a:gd name="T1" fmla="*/ 99 h 99"/>
                  <a:gd name="T2" fmla="*/ 27 w 56"/>
                  <a:gd name="T3" fmla="*/ 98 h 99"/>
                  <a:gd name="T4" fmla="*/ 1 w 56"/>
                  <a:gd name="T5" fmla="*/ 83 h 99"/>
                  <a:gd name="T6" fmla="*/ 0 w 56"/>
                  <a:gd name="T7" fmla="*/ 82 h 99"/>
                  <a:gd name="T8" fmla="*/ 0 w 56"/>
                  <a:gd name="T9" fmla="*/ 32 h 99"/>
                  <a:gd name="T10" fmla="*/ 1 w 56"/>
                  <a:gd name="T11" fmla="*/ 30 h 99"/>
                  <a:gd name="T12" fmla="*/ 53 w 56"/>
                  <a:gd name="T13" fmla="*/ 1 h 99"/>
                  <a:gd name="T14" fmla="*/ 55 w 56"/>
                  <a:gd name="T15" fmla="*/ 1 h 99"/>
                  <a:gd name="T16" fmla="*/ 56 w 56"/>
                  <a:gd name="T17" fmla="*/ 2 h 99"/>
                  <a:gd name="T18" fmla="*/ 56 w 56"/>
                  <a:gd name="T19" fmla="*/ 82 h 99"/>
                  <a:gd name="T20" fmla="*/ 55 w 56"/>
                  <a:gd name="T21" fmla="*/ 83 h 99"/>
                  <a:gd name="T22" fmla="*/ 29 w 56"/>
                  <a:gd name="T23" fmla="*/ 98 h 99"/>
                  <a:gd name="T24" fmla="*/ 28 w 56"/>
                  <a:gd name="T25" fmla="*/ 99 h 99"/>
                  <a:gd name="T26" fmla="*/ 4 w 56"/>
                  <a:gd name="T27" fmla="*/ 80 h 99"/>
                  <a:gd name="T28" fmla="*/ 28 w 56"/>
                  <a:gd name="T29" fmla="*/ 94 h 99"/>
                  <a:gd name="T30" fmla="*/ 52 w 56"/>
                  <a:gd name="T31" fmla="*/ 80 h 99"/>
                  <a:gd name="T32" fmla="*/ 52 w 56"/>
                  <a:gd name="T33" fmla="*/ 6 h 99"/>
                  <a:gd name="T34" fmla="*/ 4 w 56"/>
                  <a:gd name="T35" fmla="*/ 33 h 99"/>
                  <a:gd name="T36" fmla="*/ 4 w 56"/>
                  <a:gd name="T37" fmla="*/ 8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99">
                    <a:moveTo>
                      <a:pt x="28" y="99"/>
                    </a:moveTo>
                    <a:cubicBezTo>
                      <a:pt x="28" y="99"/>
                      <a:pt x="28" y="98"/>
                      <a:pt x="27" y="98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2"/>
                      <a:pt x="0" y="8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4" y="0"/>
                      <a:pt x="54" y="0"/>
                      <a:pt x="55" y="1"/>
                    </a:cubicBezTo>
                    <a:cubicBezTo>
                      <a:pt x="56" y="1"/>
                      <a:pt x="56" y="2"/>
                      <a:pt x="56" y="2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56" y="82"/>
                      <a:pt x="56" y="83"/>
                      <a:pt x="55" y="83"/>
                    </a:cubicBezTo>
                    <a:cubicBezTo>
                      <a:pt x="29" y="98"/>
                      <a:pt x="29" y="98"/>
                      <a:pt x="29" y="98"/>
                    </a:cubicBezTo>
                    <a:cubicBezTo>
                      <a:pt x="29" y="98"/>
                      <a:pt x="29" y="99"/>
                      <a:pt x="28" y="99"/>
                    </a:cubicBezTo>
                    <a:close/>
                    <a:moveTo>
                      <a:pt x="4" y="80"/>
                    </a:moveTo>
                    <a:cubicBezTo>
                      <a:pt x="28" y="94"/>
                      <a:pt x="28" y="94"/>
                      <a:pt x="28" y="94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4" y="33"/>
                      <a:pt x="4" y="33"/>
                      <a:pt x="4" y="33"/>
                    </a:cubicBezTo>
                    <a:lnTo>
                      <a:pt x="4" y="8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8" name="Freeform 684">
                <a:extLst>
                  <a:ext uri="{FF2B5EF4-FFF2-40B4-BE49-F238E27FC236}">
                    <a16:creationId xmlns:a16="http://schemas.microsoft.com/office/drawing/2014/main" id="{9E14D9DA-C923-40FA-8410-AAB129C3B5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6778740"/>
                <a:ext cx="68478" cy="78853"/>
              </a:xfrm>
              <a:custGeom>
                <a:avLst/>
                <a:gdLst>
                  <a:gd name="T0" fmla="*/ 26 w 28"/>
                  <a:gd name="T1" fmla="*/ 32 h 32"/>
                  <a:gd name="T2" fmla="*/ 25 w 28"/>
                  <a:gd name="T3" fmla="*/ 32 h 32"/>
                  <a:gd name="T4" fmla="*/ 1 w 28"/>
                  <a:gd name="T5" fmla="*/ 18 h 32"/>
                  <a:gd name="T6" fmla="*/ 0 w 28"/>
                  <a:gd name="T7" fmla="*/ 16 h 32"/>
                  <a:gd name="T8" fmla="*/ 1 w 28"/>
                  <a:gd name="T9" fmla="*/ 15 h 32"/>
                  <a:gd name="T10" fmla="*/ 25 w 28"/>
                  <a:gd name="T11" fmla="*/ 1 h 32"/>
                  <a:gd name="T12" fmla="*/ 27 w 28"/>
                  <a:gd name="T13" fmla="*/ 1 h 32"/>
                  <a:gd name="T14" fmla="*/ 28 w 28"/>
                  <a:gd name="T15" fmla="*/ 2 h 32"/>
                  <a:gd name="T16" fmla="*/ 28 w 28"/>
                  <a:gd name="T17" fmla="*/ 30 h 32"/>
                  <a:gd name="T18" fmla="*/ 27 w 28"/>
                  <a:gd name="T19" fmla="*/ 32 h 32"/>
                  <a:gd name="T20" fmla="*/ 26 w 28"/>
                  <a:gd name="T21" fmla="*/ 32 h 32"/>
                  <a:gd name="T22" fmla="*/ 6 w 28"/>
                  <a:gd name="T23" fmla="*/ 16 h 32"/>
                  <a:gd name="T24" fmla="*/ 24 w 28"/>
                  <a:gd name="T25" fmla="*/ 27 h 32"/>
                  <a:gd name="T26" fmla="*/ 24 w 28"/>
                  <a:gd name="T27" fmla="*/ 6 h 32"/>
                  <a:gd name="T28" fmla="*/ 6 w 28"/>
                  <a:gd name="T2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2">
                    <a:moveTo>
                      <a:pt x="26" y="32"/>
                    </a:moveTo>
                    <a:cubicBezTo>
                      <a:pt x="26" y="32"/>
                      <a:pt x="25" y="32"/>
                      <a:pt x="25" y="32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8"/>
                      <a:pt x="0" y="17"/>
                      <a:pt x="0" y="16"/>
                    </a:cubicBezTo>
                    <a:cubicBezTo>
                      <a:pt x="0" y="16"/>
                      <a:pt x="0" y="15"/>
                      <a:pt x="1" y="15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0"/>
                      <a:pt x="26" y="0"/>
                      <a:pt x="27" y="1"/>
                    </a:cubicBezTo>
                    <a:cubicBezTo>
                      <a:pt x="28" y="1"/>
                      <a:pt x="28" y="2"/>
                      <a:pt x="28" y="2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31"/>
                      <a:pt x="28" y="32"/>
                      <a:pt x="27" y="32"/>
                    </a:cubicBezTo>
                    <a:cubicBezTo>
                      <a:pt x="27" y="32"/>
                      <a:pt x="26" y="32"/>
                      <a:pt x="26" y="32"/>
                    </a:cubicBezTo>
                    <a:close/>
                    <a:moveTo>
                      <a:pt x="6" y="16"/>
                    </a:move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6"/>
                      <a:pt x="24" y="6"/>
                      <a:pt x="24" y="6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9" name="Freeform 685">
                <a:extLst>
                  <a:ext uri="{FF2B5EF4-FFF2-40B4-BE49-F238E27FC236}">
                    <a16:creationId xmlns:a16="http://schemas.microsoft.com/office/drawing/2014/main" id="{0B5F65F4-F130-47B2-AC9A-E4858BA7BA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6854481"/>
                <a:ext cx="53952" cy="64327"/>
              </a:xfrm>
              <a:custGeom>
                <a:avLst/>
                <a:gdLst>
                  <a:gd name="T0" fmla="*/ 20 w 22"/>
                  <a:gd name="T1" fmla="*/ 26 h 26"/>
                  <a:gd name="T2" fmla="*/ 19 w 22"/>
                  <a:gd name="T3" fmla="*/ 25 h 26"/>
                  <a:gd name="T4" fmla="*/ 1 w 22"/>
                  <a:gd name="T5" fmla="*/ 15 h 26"/>
                  <a:gd name="T6" fmla="*/ 0 w 22"/>
                  <a:gd name="T7" fmla="*/ 13 h 26"/>
                  <a:gd name="T8" fmla="*/ 1 w 22"/>
                  <a:gd name="T9" fmla="*/ 11 h 26"/>
                  <a:gd name="T10" fmla="*/ 19 w 22"/>
                  <a:gd name="T11" fmla="*/ 1 h 26"/>
                  <a:gd name="T12" fmla="*/ 21 w 22"/>
                  <a:gd name="T13" fmla="*/ 1 h 26"/>
                  <a:gd name="T14" fmla="*/ 22 w 22"/>
                  <a:gd name="T15" fmla="*/ 2 h 26"/>
                  <a:gd name="T16" fmla="*/ 22 w 22"/>
                  <a:gd name="T17" fmla="*/ 24 h 26"/>
                  <a:gd name="T18" fmla="*/ 21 w 22"/>
                  <a:gd name="T19" fmla="*/ 25 h 26"/>
                  <a:gd name="T20" fmla="*/ 20 w 22"/>
                  <a:gd name="T21" fmla="*/ 26 h 26"/>
                  <a:gd name="T22" fmla="*/ 6 w 22"/>
                  <a:gd name="T23" fmla="*/ 13 h 26"/>
                  <a:gd name="T24" fmla="*/ 18 w 22"/>
                  <a:gd name="T25" fmla="*/ 20 h 26"/>
                  <a:gd name="T26" fmla="*/ 18 w 22"/>
                  <a:gd name="T27" fmla="*/ 6 h 26"/>
                  <a:gd name="T28" fmla="*/ 6 w 22"/>
                  <a:gd name="T2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" h="26">
                    <a:moveTo>
                      <a:pt x="20" y="26"/>
                    </a:moveTo>
                    <a:cubicBezTo>
                      <a:pt x="20" y="26"/>
                      <a:pt x="19" y="25"/>
                      <a:pt x="19" y="2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4"/>
                      <a:pt x="0" y="14"/>
                      <a:pt x="0" y="13"/>
                    </a:cubicBezTo>
                    <a:cubicBezTo>
                      <a:pt x="0" y="12"/>
                      <a:pt x="0" y="12"/>
                      <a:pt x="1" y="1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20" y="0"/>
                      <a:pt x="20" y="0"/>
                      <a:pt x="21" y="1"/>
                    </a:cubicBezTo>
                    <a:cubicBezTo>
                      <a:pt x="22" y="1"/>
                      <a:pt x="22" y="2"/>
                      <a:pt x="22" y="2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2" y="24"/>
                      <a:pt x="22" y="25"/>
                      <a:pt x="21" y="25"/>
                    </a:cubicBezTo>
                    <a:cubicBezTo>
                      <a:pt x="21" y="25"/>
                      <a:pt x="20" y="26"/>
                      <a:pt x="20" y="26"/>
                    </a:cubicBezTo>
                    <a:close/>
                    <a:moveTo>
                      <a:pt x="6" y="13"/>
                    </a:move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6"/>
                      <a:pt x="18" y="6"/>
                      <a:pt x="18" y="6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0" name="Freeform 686">
                <a:extLst>
                  <a:ext uri="{FF2B5EF4-FFF2-40B4-BE49-F238E27FC236}">
                    <a16:creationId xmlns:a16="http://schemas.microsoft.com/office/drawing/2014/main" id="{3B4A5398-469C-4733-9B1A-72A200EF67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6512093"/>
                <a:ext cx="35276" cy="38389"/>
              </a:xfrm>
              <a:custGeom>
                <a:avLst/>
                <a:gdLst>
                  <a:gd name="T0" fmla="*/ 12 w 14"/>
                  <a:gd name="T1" fmla="*/ 16 h 16"/>
                  <a:gd name="T2" fmla="*/ 11 w 14"/>
                  <a:gd name="T3" fmla="*/ 16 h 16"/>
                  <a:gd name="T4" fmla="*/ 1 w 14"/>
                  <a:gd name="T5" fmla="*/ 10 h 16"/>
                  <a:gd name="T6" fmla="*/ 0 w 14"/>
                  <a:gd name="T7" fmla="*/ 8 h 16"/>
                  <a:gd name="T8" fmla="*/ 1 w 14"/>
                  <a:gd name="T9" fmla="*/ 6 h 16"/>
                  <a:gd name="T10" fmla="*/ 11 w 14"/>
                  <a:gd name="T11" fmla="*/ 1 h 16"/>
                  <a:gd name="T12" fmla="*/ 13 w 14"/>
                  <a:gd name="T13" fmla="*/ 1 h 16"/>
                  <a:gd name="T14" fmla="*/ 14 w 14"/>
                  <a:gd name="T15" fmla="*/ 2 h 16"/>
                  <a:gd name="T16" fmla="*/ 14 w 14"/>
                  <a:gd name="T17" fmla="*/ 14 h 16"/>
                  <a:gd name="T18" fmla="*/ 13 w 14"/>
                  <a:gd name="T19" fmla="*/ 16 h 16"/>
                  <a:gd name="T20" fmla="*/ 12 w 14"/>
                  <a:gd name="T21" fmla="*/ 16 h 16"/>
                  <a:gd name="T22" fmla="*/ 6 w 14"/>
                  <a:gd name="T23" fmla="*/ 8 h 16"/>
                  <a:gd name="T24" fmla="*/ 10 w 14"/>
                  <a:gd name="T25" fmla="*/ 11 h 16"/>
                  <a:gd name="T26" fmla="*/ 10 w 14"/>
                  <a:gd name="T27" fmla="*/ 6 h 16"/>
                  <a:gd name="T28" fmla="*/ 6 w 14"/>
                  <a:gd name="T2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12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5"/>
                      <a:pt x="13" y="16"/>
                      <a:pt x="13" y="16"/>
                    </a:cubicBezTo>
                    <a:cubicBezTo>
                      <a:pt x="13" y="16"/>
                      <a:pt x="12" y="16"/>
                      <a:pt x="12" y="16"/>
                    </a:cubicBezTo>
                    <a:close/>
                    <a:moveTo>
                      <a:pt x="6" y="8"/>
                    </a:move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1" name="Freeform 687">
                <a:extLst>
                  <a:ext uri="{FF2B5EF4-FFF2-40B4-BE49-F238E27FC236}">
                    <a16:creationId xmlns:a16="http://schemas.microsoft.com/office/drawing/2014/main" id="{8A9E587A-21A9-4840-B08B-6B98DCF14A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68402" y="6386550"/>
                <a:ext cx="284286" cy="277023"/>
              </a:xfrm>
              <a:custGeom>
                <a:avLst/>
                <a:gdLst>
                  <a:gd name="T0" fmla="*/ 114 w 116"/>
                  <a:gd name="T1" fmla="*/ 113 h 113"/>
                  <a:gd name="T2" fmla="*/ 113 w 116"/>
                  <a:gd name="T3" fmla="*/ 112 h 113"/>
                  <a:gd name="T4" fmla="*/ 48 w 116"/>
                  <a:gd name="T5" fmla="*/ 75 h 113"/>
                  <a:gd name="T6" fmla="*/ 39 w 116"/>
                  <a:gd name="T7" fmla="*/ 80 h 113"/>
                  <a:gd name="T8" fmla="*/ 37 w 116"/>
                  <a:gd name="T9" fmla="*/ 80 h 113"/>
                  <a:gd name="T10" fmla="*/ 36 w 116"/>
                  <a:gd name="T11" fmla="*/ 78 h 113"/>
                  <a:gd name="T12" fmla="*/ 36 w 116"/>
                  <a:gd name="T13" fmla="*/ 53 h 113"/>
                  <a:gd name="T14" fmla="*/ 1 w 116"/>
                  <a:gd name="T15" fmla="*/ 32 h 113"/>
                  <a:gd name="T16" fmla="*/ 0 w 116"/>
                  <a:gd name="T17" fmla="*/ 31 h 113"/>
                  <a:gd name="T18" fmla="*/ 1 w 116"/>
                  <a:gd name="T19" fmla="*/ 29 h 113"/>
                  <a:gd name="T20" fmla="*/ 50 w 116"/>
                  <a:gd name="T21" fmla="*/ 0 h 113"/>
                  <a:gd name="T22" fmla="*/ 52 w 116"/>
                  <a:gd name="T23" fmla="*/ 0 h 113"/>
                  <a:gd name="T24" fmla="*/ 112 w 116"/>
                  <a:gd name="T25" fmla="*/ 35 h 113"/>
                  <a:gd name="T26" fmla="*/ 113 w 116"/>
                  <a:gd name="T27" fmla="*/ 34 h 113"/>
                  <a:gd name="T28" fmla="*/ 115 w 116"/>
                  <a:gd name="T29" fmla="*/ 34 h 113"/>
                  <a:gd name="T30" fmla="*/ 116 w 116"/>
                  <a:gd name="T31" fmla="*/ 36 h 113"/>
                  <a:gd name="T32" fmla="*/ 116 w 116"/>
                  <a:gd name="T33" fmla="*/ 111 h 113"/>
                  <a:gd name="T34" fmla="*/ 115 w 116"/>
                  <a:gd name="T35" fmla="*/ 112 h 113"/>
                  <a:gd name="T36" fmla="*/ 114 w 116"/>
                  <a:gd name="T37" fmla="*/ 113 h 113"/>
                  <a:gd name="T38" fmla="*/ 48 w 116"/>
                  <a:gd name="T39" fmla="*/ 71 h 113"/>
                  <a:gd name="T40" fmla="*/ 49 w 116"/>
                  <a:gd name="T41" fmla="*/ 71 h 113"/>
                  <a:gd name="T42" fmla="*/ 112 w 116"/>
                  <a:gd name="T43" fmla="*/ 107 h 113"/>
                  <a:gd name="T44" fmla="*/ 112 w 116"/>
                  <a:gd name="T45" fmla="*/ 39 h 113"/>
                  <a:gd name="T46" fmla="*/ 111 w 116"/>
                  <a:gd name="T47" fmla="*/ 39 h 113"/>
                  <a:gd name="T48" fmla="*/ 51 w 116"/>
                  <a:gd name="T49" fmla="*/ 4 h 113"/>
                  <a:gd name="T50" fmla="*/ 6 w 116"/>
                  <a:gd name="T51" fmla="*/ 31 h 113"/>
                  <a:gd name="T52" fmla="*/ 39 w 116"/>
                  <a:gd name="T53" fmla="*/ 50 h 113"/>
                  <a:gd name="T54" fmla="*/ 40 w 116"/>
                  <a:gd name="T55" fmla="*/ 51 h 113"/>
                  <a:gd name="T56" fmla="*/ 40 w 116"/>
                  <a:gd name="T57" fmla="*/ 75 h 113"/>
                  <a:gd name="T58" fmla="*/ 47 w 116"/>
                  <a:gd name="T59" fmla="*/ 71 h 113"/>
                  <a:gd name="T60" fmla="*/ 48 w 116"/>
                  <a:gd name="T61" fmla="*/ 7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6" h="113">
                    <a:moveTo>
                      <a:pt x="114" y="113"/>
                    </a:moveTo>
                    <a:cubicBezTo>
                      <a:pt x="114" y="113"/>
                      <a:pt x="113" y="113"/>
                      <a:pt x="113" y="112"/>
                    </a:cubicBezTo>
                    <a:cubicBezTo>
                      <a:pt x="48" y="75"/>
                      <a:pt x="48" y="75"/>
                      <a:pt x="48" y="75"/>
                    </a:cubicBezTo>
                    <a:cubicBezTo>
                      <a:pt x="39" y="80"/>
                      <a:pt x="39" y="80"/>
                      <a:pt x="39" y="80"/>
                    </a:cubicBezTo>
                    <a:cubicBezTo>
                      <a:pt x="38" y="80"/>
                      <a:pt x="37" y="80"/>
                      <a:pt x="37" y="80"/>
                    </a:cubicBezTo>
                    <a:cubicBezTo>
                      <a:pt x="36" y="80"/>
                      <a:pt x="36" y="79"/>
                      <a:pt x="36" y="78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1" y="0"/>
                      <a:pt x="52" y="0"/>
                      <a:pt x="52" y="0"/>
                    </a:cubicBezTo>
                    <a:cubicBezTo>
                      <a:pt x="112" y="35"/>
                      <a:pt x="112" y="35"/>
                      <a:pt x="112" y="35"/>
                    </a:cubicBezTo>
                    <a:cubicBezTo>
                      <a:pt x="113" y="34"/>
                      <a:pt x="113" y="34"/>
                      <a:pt x="113" y="34"/>
                    </a:cubicBezTo>
                    <a:cubicBezTo>
                      <a:pt x="114" y="34"/>
                      <a:pt x="114" y="34"/>
                      <a:pt x="115" y="34"/>
                    </a:cubicBezTo>
                    <a:cubicBezTo>
                      <a:pt x="116" y="35"/>
                      <a:pt x="116" y="35"/>
                      <a:pt x="116" y="36"/>
                    </a:cubicBezTo>
                    <a:cubicBezTo>
                      <a:pt x="116" y="111"/>
                      <a:pt x="116" y="111"/>
                      <a:pt x="116" y="111"/>
                    </a:cubicBezTo>
                    <a:cubicBezTo>
                      <a:pt x="116" y="111"/>
                      <a:pt x="116" y="112"/>
                      <a:pt x="115" y="112"/>
                    </a:cubicBezTo>
                    <a:cubicBezTo>
                      <a:pt x="115" y="113"/>
                      <a:pt x="114" y="113"/>
                      <a:pt x="114" y="113"/>
                    </a:cubicBezTo>
                    <a:close/>
                    <a:moveTo>
                      <a:pt x="48" y="71"/>
                    </a:moveTo>
                    <a:cubicBezTo>
                      <a:pt x="48" y="71"/>
                      <a:pt x="49" y="71"/>
                      <a:pt x="49" y="71"/>
                    </a:cubicBezTo>
                    <a:cubicBezTo>
                      <a:pt x="112" y="107"/>
                      <a:pt x="112" y="107"/>
                      <a:pt x="112" y="107"/>
                    </a:cubicBezTo>
                    <a:cubicBezTo>
                      <a:pt x="112" y="39"/>
                      <a:pt x="112" y="39"/>
                      <a:pt x="112" y="39"/>
                    </a:cubicBezTo>
                    <a:cubicBezTo>
                      <a:pt x="112" y="39"/>
                      <a:pt x="112" y="39"/>
                      <a:pt x="111" y="39"/>
                    </a:cubicBezTo>
                    <a:cubicBezTo>
                      <a:pt x="51" y="4"/>
                      <a:pt x="51" y="4"/>
                      <a:pt x="51" y="4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39" y="50"/>
                      <a:pt x="39" y="50"/>
                      <a:pt x="39" y="50"/>
                    </a:cubicBezTo>
                    <a:cubicBezTo>
                      <a:pt x="39" y="50"/>
                      <a:pt x="40" y="51"/>
                      <a:pt x="40" y="51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7" y="71"/>
                      <a:pt x="48" y="71"/>
                      <a:pt x="48" y="7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2" name="Freeform 688">
                <a:extLst>
                  <a:ext uri="{FF2B5EF4-FFF2-40B4-BE49-F238E27FC236}">
                    <a16:creationId xmlns:a16="http://schemas.microsoft.com/office/drawing/2014/main" id="{C99A0BBD-C97D-4F24-888A-598C047FC9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6458141"/>
                <a:ext cx="137993" cy="200245"/>
              </a:xfrm>
              <a:custGeom>
                <a:avLst/>
                <a:gdLst>
                  <a:gd name="T0" fmla="*/ 2 w 56"/>
                  <a:gd name="T1" fmla="*/ 82 h 82"/>
                  <a:gd name="T2" fmla="*/ 1 w 56"/>
                  <a:gd name="T3" fmla="*/ 82 h 82"/>
                  <a:gd name="T4" fmla="*/ 0 w 56"/>
                  <a:gd name="T5" fmla="*/ 80 h 82"/>
                  <a:gd name="T6" fmla="*/ 0 w 56"/>
                  <a:gd name="T7" fmla="*/ 12 h 82"/>
                  <a:gd name="T8" fmla="*/ 1 w 56"/>
                  <a:gd name="T9" fmla="*/ 10 h 82"/>
                  <a:gd name="T10" fmla="*/ 17 w 56"/>
                  <a:gd name="T11" fmla="*/ 1 h 82"/>
                  <a:gd name="T12" fmla="*/ 19 w 56"/>
                  <a:gd name="T13" fmla="*/ 1 h 82"/>
                  <a:gd name="T14" fmla="*/ 55 w 56"/>
                  <a:gd name="T15" fmla="*/ 22 h 82"/>
                  <a:gd name="T16" fmla="*/ 56 w 56"/>
                  <a:gd name="T17" fmla="*/ 23 h 82"/>
                  <a:gd name="T18" fmla="*/ 56 w 56"/>
                  <a:gd name="T19" fmla="*/ 50 h 82"/>
                  <a:gd name="T20" fmla="*/ 55 w 56"/>
                  <a:gd name="T21" fmla="*/ 52 h 82"/>
                  <a:gd name="T22" fmla="*/ 3 w 56"/>
                  <a:gd name="T23" fmla="*/ 82 h 82"/>
                  <a:gd name="T24" fmla="*/ 2 w 56"/>
                  <a:gd name="T25" fmla="*/ 82 h 82"/>
                  <a:gd name="T26" fmla="*/ 4 w 56"/>
                  <a:gd name="T27" fmla="*/ 13 h 82"/>
                  <a:gd name="T28" fmla="*/ 4 w 56"/>
                  <a:gd name="T29" fmla="*/ 77 h 82"/>
                  <a:gd name="T30" fmla="*/ 52 w 56"/>
                  <a:gd name="T31" fmla="*/ 49 h 82"/>
                  <a:gd name="T32" fmla="*/ 52 w 56"/>
                  <a:gd name="T33" fmla="*/ 25 h 82"/>
                  <a:gd name="T34" fmla="*/ 18 w 56"/>
                  <a:gd name="T35" fmla="*/ 5 h 82"/>
                  <a:gd name="T36" fmla="*/ 4 w 56"/>
                  <a:gd name="T37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82">
                    <a:moveTo>
                      <a:pt x="2" y="82"/>
                    </a:moveTo>
                    <a:cubicBezTo>
                      <a:pt x="2" y="82"/>
                      <a:pt x="2" y="82"/>
                      <a:pt x="1" y="82"/>
                    </a:cubicBezTo>
                    <a:cubicBezTo>
                      <a:pt x="1" y="82"/>
                      <a:pt x="0" y="81"/>
                      <a:pt x="0" y="8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8" y="0"/>
                      <a:pt x="18" y="0"/>
                      <a:pt x="19" y="1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6" y="22"/>
                      <a:pt x="56" y="23"/>
                      <a:pt x="56" y="23"/>
                    </a:cubicBezTo>
                    <a:cubicBezTo>
                      <a:pt x="56" y="50"/>
                      <a:pt x="56" y="50"/>
                      <a:pt x="56" y="50"/>
                    </a:cubicBezTo>
                    <a:cubicBezTo>
                      <a:pt x="56" y="51"/>
                      <a:pt x="56" y="52"/>
                      <a:pt x="55" y="52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3" y="82"/>
                      <a:pt x="3" y="82"/>
                      <a:pt x="2" y="82"/>
                    </a:cubicBezTo>
                    <a:close/>
                    <a:moveTo>
                      <a:pt x="4" y="13"/>
                    </a:moveTo>
                    <a:cubicBezTo>
                      <a:pt x="4" y="77"/>
                      <a:pt x="4" y="77"/>
                      <a:pt x="4" y="77"/>
                    </a:cubicBezTo>
                    <a:cubicBezTo>
                      <a:pt x="52" y="49"/>
                      <a:pt x="52" y="49"/>
                      <a:pt x="52" y="49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18" y="5"/>
                      <a:pt x="18" y="5"/>
                      <a:pt x="18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3" name="Freeform 689">
                <a:extLst>
                  <a:ext uri="{FF2B5EF4-FFF2-40B4-BE49-F238E27FC236}">
                    <a16:creationId xmlns:a16="http://schemas.microsoft.com/office/drawing/2014/main" id="{B22766E4-7750-440F-A262-98133DEDA0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10" y="6190455"/>
                <a:ext cx="301925" cy="179494"/>
              </a:xfrm>
              <a:custGeom>
                <a:avLst/>
                <a:gdLst>
                  <a:gd name="T0" fmla="*/ 17 w 123"/>
                  <a:gd name="T1" fmla="*/ 73 h 73"/>
                  <a:gd name="T2" fmla="*/ 16 w 123"/>
                  <a:gd name="T3" fmla="*/ 72 h 73"/>
                  <a:gd name="T4" fmla="*/ 1 w 123"/>
                  <a:gd name="T5" fmla="*/ 64 h 73"/>
                  <a:gd name="T6" fmla="*/ 0 w 123"/>
                  <a:gd name="T7" fmla="*/ 62 h 73"/>
                  <a:gd name="T8" fmla="*/ 1 w 123"/>
                  <a:gd name="T9" fmla="*/ 60 h 73"/>
                  <a:gd name="T10" fmla="*/ 105 w 123"/>
                  <a:gd name="T11" fmla="*/ 0 h 73"/>
                  <a:gd name="T12" fmla="*/ 107 w 123"/>
                  <a:gd name="T13" fmla="*/ 0 h 73"/>
                  <a:gd name="T14" fmla="*/ 122 w 123"/>
                  <a:gd name="T15" fmla="*/ 9 h 73"/>
                  <a:gd name="T16" fmla="*/ 123 w 123"/>
                  <a:gd name="T17" fmla="*/ 10 h 73"/>
                  <a:gd name="T18" fmla="*/ 122 w 123"/>
                  <a:gd name="T19" fmla="*/ 12 h 73"/>
                  <a:gd name="T20" fmla="*/ 18 w 123"/>
                  <a:gd name="T21" fmla="*/ 72 h 73"/>
                  <a:gd name="T22" fmla="*/ 17 w 123"/>
                  <a:gd name="T23" fmla="*/ 73 h 73"/>
                  <a:gd name="T24" fmla="*/ 6 w 123"/>
                  <a:gd name="T25" fmla="*/ 62 h 73"/>
                  <a:gd name="T26" fmla="*/ 17 w 123"/>
                  <a:gd name="T27" fmla="*/ 68 h 73"/>
                  <a:gd name="T28" fmla="*/ 117 w 123"/>
                  <a:gd name="T29" fmla="*/ 10 h 73"/>
                  <a:gd name="T30" fmla="*/ 106 w 123"/>
                  <a:gd name="T31" fmla="*/ 4 h 73"/>
                  <a:gd name="T32" fmla="*/ 6 w 123"/>
                  <a:gd name="T33" fmla="*/ 6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3" h="73">
                    <a:moveTo>
                      <a:pt x="17" y="73"/>
                    </a:moveTo>
                    <a:cubicBezTo>
                      <a:pt x="17" y="73"/>
                      <a:pt x="17" y="72"/>
                      <a:pt x="16" y="72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6" y="0"/>
                      <a:pt x="107" y="0"/>
                      <a:pt x="107" y="0"/>
                    </a:cubicBezTo>
                    <a:cubicBezTo>
                      <a:pt x="122" y="9"/>
                      <a:pt x="122" y="9"/>
                      <a:pt x="122" y="9"/>
                    </a:cubicBezTo>
                    <a:cubicBezTo>
                      <a:pt x="123" y="9"/>
                      <a:pt x="123" y="10"/>
                      <a:pt x="123" y="10"/>
                    </a:cubicBezTo>
                    <a:cubicBezTo>
                      <a:pt x="123" y="11"/>
                      <a:pt x="123" y="12"/>
                      <a:pt x="122" y="12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8" y="72"/>
                      <a:pt x="18" y="73"/>
                      <a:pt x="17" y="73"/>
                    </a:cubicBezTo>
                    <a:close/>
                    <a:moveTo>
                      <a:pt x="6" y="62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17" y="10"/>
                      <a:pt x="117" y="10"/>
                      <a:pt x="117" y="10"/>
                    </a:cubicBezTo>
                    <a:cubicBezTo>
                      <a:pt x="106" y="4"/>
                      <a:pt x="106" y="4"/>
                      <a:pt x="106" y="4"/>
                    </a:cubicBez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4" name="Freeform 690">
                <a:extLst>
                  <a:ext uri="{FF2B5EF4-FFF2-40B4-BE49-F238E27FC236}">
                    <a16:creationId xmlns:a16="http://schemas.microsoft.com/office/drawing/2014/main" id="{83E1C7C9-A44F-402E-84DD-44D6C3548D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84211" y="5788928"/>
                <a:ext cx="93379" cy="104791"/>
              </a:xfrm>
              <a:custGeom>
                <a:avLst/>
                <a:gdLst>
                  <a:gd name="T0" fmla="*/ 2 w 38"/>
                  <a:gd name="T1" fmla="*/ 43 h 43"/>
                  <a:gd name="T2" fmla="*/ 1 w 38"/>
                  <a:gd name="T3" fmla="*/ 43 h 43"/>
                  <a:gd name="T4" fmla="*/ 0 w 38"/>
                  <a:gd name="T5" fmla="*/ 41 h 43"/>
                  <a:gd name="T6" fmla="*/ 0 w 38"/>
                  <a:gd name="T7" fmla="*/ 2 h 43"/>
                  <a:gd name="T8" fmla="*/ 1 w 38"/>
                  <a:gd name="T9" fmla="*/ 1 h 43"/>
                  <a:gd name="T10" fmla="*/ 3 w 38"/>
                  <a:gd name="T11" fmla="*/ 1 h 43"/>
                  <a:gd name="T12" fmla="*/ 37 w 38"/>
                  <a:gd name="T13" fmla="*/ 20 h 43"/>
                  <a:gd name="T14" fmla="*/ 38 w 38"/>
                  <a:gd name="T15" fmla="*/ 22 h 43"/>
                  <a:gd name="T16" fmla="*/ 37 w 38"/>
                  <a:gd name="T17" fmla="*/ 23 h 43"/>
                  <a:gd name="T18" fmla="*/ 3 w 38"/>
                  <a:gd name="T19" fmla="*/ 43 h 43"/>
                  <a:gd name="T20" fmla="*/ 2 w 38"/>
                  <a:gd name="T21" fmla="*/ 43 h 43"/>
                  <a:gd name="T22" fmla="*/ 4 w 38"/>
                  <a:gd name="T23" fmla="*/ 6 h 43"/>
                  <a:gd name="T24" fmla="*/ 4 w 38"/>
                  <a:gd name="T25" fmla="*/ 37 h 43"/>
                  <a:gd name="T26" fmla="*/ 32 w 38"/>
                  <a:gd name="T27" fmla="*/ 22 h 43"/>
                  <a:gd name="T28" fmla="*/ 4 w 38"/>
                  <a:gd name="T29" fmla="*/ 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43">
                    <a:moveTo>
                      <a:pt x="2" y="43"/>
                    </a:moveTo>
                    <a:cubicBezTo>
                      <a:pt x="2" y="43"/>
                      <a:pt x="1" y="43"/>
                      <a:pt x="1" y="43"/>
                    </a:cubicBezTo>
                    <a:cubicBezTo>
                      <a:pt x="0" y="42"/>
                      <a:pt x="0" y="42"/>
                      <a:pt x="0" y="4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0"/>
                      <a:pt x="38" y="21"/>
                      <a:pt x="38" y="22"/>
                    </a:cubicBezTo>
                    <a:cubicBezTo>
                      <a:pt x="38" y="22"/>
                      <a:pt x="37" y="23"/>
                      <a:pt x="37" y="2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3"/>
                      <a:pt x="2" y="43"/>
                      <a:pt x="2" y="43"/>
                    </a:cubicBezTo>
                    <a:close/>
                    <a:moveTo>
                      <a:pt x="4" y="6"/>
                    </a:moveTo>
                    <a:cubicBezTo>
                      <a:pt x="4" y="37"/>
                      <a:pt x="4" y="37"/>
                      <a:pt x="4" y="37"/>
                    </a:cubicBezTo>
                    <a:cubicBezTo>
                      <a:pt x="32" y="22"/>
                      <a:pt x="32" y="22"/>
                      <a:pt x="32" y="22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5" name="Freeform 691">
                <a:extLst>
                  <a:ext uri="{FF2B5EF4-FFF2-40B4-BE49-F238E27FC236}">
                    <a16:creationId xmlns:a16="http://schemas.microsoft.com/office/drawing/2014/main" id="{69FE2F24-B45F-4058-91A7-03B87B49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77399" y="6665649"/>
                <a:ext cx="66403" cy="44614"/>
              </a:xfrm>
              <a:custGeom>
                <a:avLst/>
                <a:gdLst>
                  <a:gd name="T0" fmla="*/ 14 w 27"/>
                  <a:gd name="T1" fmla="*/ 18 h 18"/>
                  <a:gd name="T2" fmla="*/ 13 w 27"/>
                  <a:gd name="T3" fmla="*/ 18 h 18"/>
                  <a:gd name="T4" fmla="*/ 1 w 27"/>
                  <a:gd name="T5" fmla="*/ 11 h 18"/>
                  <a:gd name="T6" fmla="*/ 0 w 27"/>
                  <a:gd name="T7" fmla="*/ 9 h 18"/>
                  <a:gd name="T8" fmla="*/ 0 w 27"/>
                  <a:gd name="T9" fmla="*/ 7 h 18"/>
                  <a:gd name="T10" fmla="*/ 1 w 27"/>
                  <a:gd name="T11" fmla="*/ 5 h 18"/>
                  <a:gd name="T12" fmla="*/ 10 w 27"/>
                  <a:gd name="T13" fmla="*/ 0 h 18"/>
                  <a:gd name="T14" fmla="*/ 12 w 27"/>
                  <a:gd name="T15" fmla="*/ 0 h 18"/>
                  <a:gd name="T16" fmla="*/ 26 w 27"/>
                  <a:gd name="T17" fmla="*/ 8 h 18"/>
                  <a:gd name="T18" fmla="*/ 27 w 27"/>
                  <a:gd name="T19" fmla="*/ 10 h 18"/>
                  <a:gd name="T20" fmla="*/ 26 w 27"/>
                  <a:gd name="T21" fmla="*/ 11 h 18"/>
                  <a:gd name="T22" fmla="*/ 15 w 27"/>
                  <a:gd name="T23" fmla="*/ 18 h 18"/>
                  <a:gd name="T24" fmla="*/ 14 w 27"/>
                  <a:gd name="T25" fmla="*/ 18 h 18"/>
                  <a:gd name="T26" fmla="*/ 4 w 27"/>
                  <a:gd name="T27" fmla="*/ 8 h 18"/>
                  <a:gd name="T28" fmla="*/ 14 w 27"/>
                  <a:gd name="T29" fmla="*/ 14 h 18"/>
                  <a:gd name="T30" fmla="*/ 21 w 27"/>
                  <a:gd name="T31" fmla="*/ 10 h 18"/>
                  <a:gd name="T32" fmla="*/ 11 w 27"/>
                  <a:gd name="T33" fmla="*/ 4 h 18"/>
                  <a:gd name="T34" fmla="*/ 4 w 27"/>
                  <a:gd name="T35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18">
                    <a:moveTo>
                      <a:pt x="14" y="18"/>
                    </a:moveTo>
                    <a:cubicBezTo>
                      <a:pt x="14" y="18"/>
                      <a:pt x="13" y="18"/>
                      <a:pt x="13" y="18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7" y="8"/>
                      <a:pt x="27" y="9"/>
                      <a:pt x="27" y="10"/>
                    </a:cubicBezTo>
                    <a:cubicBezTo>
                      <a:pt x="27" y="10"/>
                      <a:pt x="27" y="11"/>
                      <a:pt x="26" y="11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4" y="18"/>
                      <a:pt x="14" y="18"/>
                    </a:cubicBezTo>
                    <a:close/>
                    <a:moveTo>
                      <a:pt x="4" y="8"/>
                    </a:moveTo>
                    <a:cubicBezTo>
                      <a:pt x="14" y="14"/>
                      <a:pt x="14" y="14"/>
                      <a:pt x="14" y="14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11" y="4"/>
                      <a:pt x="11" y="4"/>
                      <a:pt x="11" y="4"/>
                    </a:cubicBezTo>
                    <a:lnTo>
                      <a:pt x="4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6" name="Freeform 692">
                <a:extLst>
                  <a:ext uri="{FF2B5EF4-FFF2-40B4-BE49-F238E27FC236}">
                    <a16:creationId xmlns:a16="http://schemas.microsoft.com/office/drawing/2014/main" id="{6D722DF2-A63B-4B4A-BF1B-813E692F54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85945" y="6391738"/>
                <a:ext cx="678552" cy="656762"/>
              </a:xfrm>
              <a:custGeom>
                <a:avLst/>
                <a:gdLst>
                  <a:gd name="T0" fmla="*/ 80 w 277"/>
                  <a:gd name="T1" fmla="*/ 268 h 268"/>
                  <a:gd name="T2" fmla="*/ 79 w 277"/>
                  <a:gd name="T3" fmla="*/ 267 h 268"/>
                  <a:gd name="T4" fmla="*/ 1 w 277"/>
                  <a:gd name="T5" fmla="*/ 223 h 268"/>
                  <a:gd name="T6" fmla="*/ 0 w 277"/>
                  <a:gd name="T7" fmla="*/ 221 h 268"/>
                  <a:gd name="T8" fmla="*/ 0 w 277"/>
                  <a:gd name="T9" fmla="*/ 215 h 268"/>
                  <a:gd name="T10" fmla="*/ 1 w 277"/>
                  <a:gd name="T11" fmla="*/ 214 h 268"/>
                  <a:gd name="T12" fmla="*/ 3 w 277"/>
                  <a:gd name="T13" fmla="*/ 214 h 268"/>
                  <a:gd name="T14" fmla="*/ 12 w 277"/>
                  <a:gd name="T15" fmla="*/ 219 h 268"/>
                  <a:gd name="T16" fmla="*/ 61 w 277"/>
                  <a:gd name="T17" fmla="*/ 191 h 268"/>
                  <a:gd name="T18" fmla="*/ 63 w 277"/>
                  <a:gd name="T19" fmla="*/ 191 h 268"/>
                  <a:gd name="T20" fmla="*/ 126 w 277"/>
                  <a:gd name="T21" fmla="*/ 227 h 268"/>
                  <a:gd name="T22" fmla="*/ 201 w 277"/>
                  <a:gd name="T23" fmla="*/ 184 h 268"/>
                  <a:gd name="T24" fmla="*/ 144 w 277"/>
                  <a:gd name="T25" fmla="*/ 151 h 268"/>
                  <a:gd name="T26" fmla="*/ 143 w 277"/>
                  <a:gd name="T27" fmla="*/ 149 h 268"/>
                  <a:gd name="T28" fmla="*/ 143 w 277"/>
                  <a:gd name="T29" fmla="*/ 77 h 268"/>
                  <a:gd name="T30" fmla="*/ 90 w 277"/>
                  <a:gd name="T31" fmla="*/ 46 h 268"/>
                  <a:gd name="T32" fmla="*/ 89 w 277"/>
                  <a:gd name="T33" fmla="*/ 44 h 268"/>
                  <a:gd name="T34" fmla="*/ 90 w 277"/>
                  <a:gd name="T35" fmla="*/ 42 h 268"/>
                  <a:gd name="T36" fmla="*/ 145 w 277"/>
                  <a:gd name="T37" fmla="*/ 11 h 268"/>
                  <a:gd name="T38" fmla="*/ 145 w 277"/>
                  <a:gd name="T39" fmla="*/ 2 h 268"/>
                  <a:gd name="T40" fmla="*/ 146 w 277"/>
                  <a:gd name="T41" fmla="*/ 1 h 268"/>
                  <a:gd name="T42" fmla="*/ 148 w 277"/>
                  <a:gd name="T43" fmla="*/ 1 h 268"/>
                  <a:gd name="T44" fmla="*/ 208 w 277"/>
                  <a:gd name="T45" fmla="*/ 36 h 268"/>
                  <a:gd name="T46" fmla="*/ 209 w 277"/>
                  <a:gd name="T47" fmla="*/ 37 h 268"/>
                  <a:gd name="T48" fmla="*/ 208 w 277"/>
                  <a:gd name="T49" fmla="*/ 39 h 268"/>
                  <a:gd name="T50" fmla="*/ 157 w 277"/>
                  <a:gd name="T51" fmla="*/ 69 h 268"/>
                  <a:gd name="T52" fmla="*/ 157 w 277"/>
                  <a:gd name="T53" fmla="*/ 142 h 268"/>
                  <a:gd name="T54" fmla="*/ 209 w 277"/>
                  <a:gd name="T55" fmla="*/ 113 h 268"/>
                  <a:gd name="T56" fmla="*/ 211 w 277"/>
                  <a:gd name="T57" fmla="*/ 113 h 268"/>
                  <a:gd name="T58" fmla="*/ 211 w 277"/>
                  <a:gd name="T59" fmla="*/ 113 h 268"/>
                  <a:gd name="T60" fmla="*/ 276 w 277"/>
                  <a:gd name="T61" fmla="*/ 151 h 268"/>
                  <a:gd name="T62" fmla="*/ 277 w 277"/>
                  <a:gd name="T63" fmla="*/ 153 h 268"/>
                  <a:gd name="T64" fmla="*/ 276 w 277"/>
                  <a:gd name="T65" fmla="*/ 154 h 268"/>
                  <a:gd name="T66" fmla="*/ 81 w 277"/>
                  <a:gd name="T67" fmla="*/ 267 h 268"/>
                  <a:gd name="T68" fmla="*/ 80 w 277"/>
                  <a:gd name="T69" fmla="*/ 268 h 268"/>
                  <a:gd name="T70" fmla="*/ 4 w 277"/>
                  <a:gd name="T71" fmla="*/ 220 h 268"/>
                  <a:gd name="T72" fmla="*/ 80 w 277"/>
                  <a:gd name="T73" fmla="*/ 263 h 268"/>
                  <a:gd name="T74" fmla="*/ 271 w 277"/>
                  <a:gd name="T75" fmla="*/ 153 h 268"/>
                  <a:gd name="T76" fmla="*/ 209 w 277"/>
                  <a:gd name="T77" fmla="*/ 117 h 268"/>
                  <a:gd name="T78" fmla="*/ 156 w 277"/>
                  <a:gd name="T79" fmla="*/ 147 h 268"/>
                  <a:gd name="T80" fmla="*/ 154 w 277"/>
                  <a:gd name="T81" fmla="*/ 147 h 268"/>
                  <a:gd name="T82" fmla="*/ 153 w 277"/>
                  <a:gd name="T83" fmla="*/ 146 h 268"/>
                  <a:gd name="T84" fmla="*/ 153 w 277"/>
                  <a:gd name="T85" fmla="*/ 67 h 268"/>
                  <a:gd name="T86" fmla="*/ 154 w 277"/>
                  <a:gd name="T87" fmla="*/ 66 h 268"/>
                  <a:gd name="T88" fmla="*/ 203 w 277"/>
                  <a:gd name="T89" fmla="*/ 37 h 268"/>
                  <a:gd name="T90" fmla="*/ 149 w 277"/>
                  <a:gd name="T91" fmla="*/ 6 h 268"/>
                  <a:gd name="T92" fmla="*/ 149 w 277"/>
                  <a:gd name="T93" fmla="*/ 12 h 268"/>
                  <a:gd name="T94" fmla="*/ 148 w 277"/>
                  <a:gd name="T95" fmla="*/ 14 h 268"/>
                  <a:gd name="T96" fmla="*/ 95 w 277"/>
                  <a:gd name="T97" fmla="*/ 44 h 268"/>
                  <a:gd name="T98" fmla="*/ 146 w 277"/>
                  <a:gd name="T99" fmla="*/ 74 h 268"/>
                  <a:gd name="T100" fmla="*/ 147 w 277"/>
                  <a:gd name="T101" fmla="*/ 76 h 268"/>
                  <a:gd name="T102" fmla="*/ 147 w 277"/>
                  <a:gd name="T103" fmla="*/ 148 h 268"/>
                  <a:gd name="T104" fmla="*/ 206 w 277"/>
                  <a:gd name="T105" fmla="*/ 182 h 268"/>
                  <a:gd name="T106" fmla="*/ 207 w 277"/>
                  <a:gd name="T107" fmla="*/ 184 h 268"/>
                  <a:gd name="T108" fmla="*/ 206 w 277"/>
                  <a:gd name="T109" fmla="*/ 186 h 268"/>
                  <a:gd name="T110" fmla="*/ 127 w 277"/>
                  <a:gd name="T111" fmla="*/ 231 h 268"/>
                  <a:gd name="T112" fmla="*/ 125 w 277"/>
                  <a:gd name="T113" fmla="*/ 231 h 268"/>
                  <a:gd name="T114" fmla="*/ 62 w 277"/>
                  <a:gd name="T115" fmla="*/ 195 h 268"/>
                  <a:gd name="T116" fmla="*/ 13 w 277"/>
                  <a:gd name="T117" fmla="*/ 223 h 268"/>
                  <a:gd name="T118" fmla="*/ 11 w 277"/>
                  <a:gd name="T119" fmla="*/ 223 h 268"/>
                  <a:gd name="T120" fmla="*/ 4 w 277"/>
                  <a:gd name="T121" fmla="*/ 219 h 268"/>
                  <a:gd name="T122" fmla="*/ 4 w 277"/>
                  <a:gd name="T123" fmla="*/ 22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7" h="268">
                    <a:moveTo>
                      <a:pt x="80" y="268"/>
                    </a:moveTo>
                    <a:cubicBezTo>
                      <a:pt x="79" y="268"/>
                      <a:pt x="79" y="268"/>
                      <a:pt x="79" y="267"/>
                    </a:cubicBezTo>
                    <a:cubicBezTo>
                      <a:pt x="1" y="223"/>
                      <a:pt x="1" y="223"/>
                      <a:pt x="1" y="223"/>
                    </a:cubicBezTo>
                    <a:cubicBezTo>
                      <a:pt x="0" y="222"/>
                      <a:pt x="0" y="222"/>
                      <a:pt x="0" y="221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15"/>
                      <a:pt x="0" y="214"/>
                      <a:pt x="1" y="214"/>
                    </a:cubicBezTo>
                    <a:cubicBezTo>
                      <a:pt x="1" y="213"/>
                      <a:pt x="2" y="213"/>
                      <a:pt x="3" y="214"/>
                    </a:cubicBezTo>
                    <a:cubicBezTo>
                      <a:pt x="12" y="219"/>
                      <a:pt x="12" y="219"/>
                      <a:pt x="12" y="219"/>
                    </a:cubicBezTo>
                    <a:cubicBezTo>
                      <a:pt x="61" y="191"/>
                      <a:pt x="61" y="191"/>
                      <a:pt x="61" y="191"/>
                    </a:cubicBezTo>
                    <a:cubicBezTo>
                      <a:pt x="62" y="190"/>
                      <a:pt x="62" y="190"/>
                      <a:pt x="63" y="191"/>
                    </a:cubicBezTo>
                    <a:cubicBezTo>
                      <a:pt x="126" y="227"/>
                      <a:pt x="126" y="227"/>
                      <a:pt x="126" y="227"/>
                    </a:cubicBezTo>
                    <a:cubicBezTo>
                      <a:pt x="201" y="184"/>
                      <a:pt x="201" y="184"/>
                      <a:pt x="201" y="184"/>
                    </a:cubicBezTo>
                    <a:cubicBezTo>
                      <a:pt x="144" y="151"/>
                      <a:pt x="144" y="151"/>
                      <a:pt x="144" y="151"/>
                    </a:cubicBezTo>
                    <a:cubicBezTo>
                      <a:pt x="144" y="151"/>
                      <a:pt x="143" y="150"/>
                      <a:pt x="143" y="149"/>
                    </a:cubicBezTo>
                    <a:cubicBezTo>
                      <a:pt x="143" y="77"/>
                      <a:pt x="143" y="77"/>
                      <a:pt x="143" y="77"/>
                    </a:cubicBezTo>
                    <a:cubicBezTo>
                      <a:pt x="90" y="46"/>
                      <a:pt x="90" y="46"/>
                      <a:pt x="90" y="46"/>
                    </a:cubicBezTo>
                    <a:cubicBezTo>
                      <a:pt x="89" y="46"/>
                      <a:pt x="89" y="45"/>
                      <a:pt x="89" y="44"/>
                    </a:cubicBezTo>
                    <a:cubicBezTo>
                      <a:pt x="89" y="43"/>
                      <a:pt x="89" y="43"/>
                      <a:pt x="90" y="42"/>
                    </a:cubicBezTo>
                    <a:cubicBezTo>
                      <a:pt x="145" y="11"/>
                      <a:pt x="145" y="11"/>
                      <a:pt x="145" y="11"/>
                    </a:cubicBezTo>
                    <a:cubicBezTo>
                      <a:pt x="145" y="2"/>
                      <a:pt x="145" y="2"/>
                      <a:pt x="145" y="2"/>
                    </a:cubicBezTo>
                    <a:cubicBezTo>
                      <a:pt x="145" y="2"/>
                      <a:pt x="145" y="1"/>
                      <a:pt x="146" y="1"/>
                    </a:cubicBezTo>
                    <a:cubicBezTo>
                      <a:pt x="146" y="0"/>
                      <a:pt x="147" y="0"/>
                      <a:pt x="148" y="1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9" y="36"/>
                      <a:pt x="209" y="37"/>
                      <a:pt x="209" y="37"/>
                    </a:cubicBezTo>
                    <a:cubicBezTo>
                      <a:pt x="209" y="38"/>
                      <a:pt x="209" y="39"/>
                      <a:pt x="208" y="39"/>
                    </a:cubicBezTo>
                    <a:cubicBezTo>
                      <a:pt x="157" y="69"/>
                      <a:pt x="157" y="69"/>
                      <a:pt x="157" y="69"/>
                    </a:cubicBezTo>
                    <a:cubicBezTo>
                      <a:pt x="157" y="142"/>
                      <a:pt x="157" y="142"/>
                      <a:pt x="157" y="142"/>
                    </a:cubicBezTo>
                    <a:cubicBezTo>
                      <a:pt x="209" y="113"/>
                      <a:pt x="209" y="113"/>
                      <a:pt x="209" y="113"/>
                    </a:cubicBezTo>
                    <a:cubicBezTo>
                      <a:pt x="209" y="112"/>
                      <a:pt x="210" y="112"/>
                      <a:pt x="211" y="113"/>
                    </a:cubicBezTo>
                    <a:cubicBezTo>
                      <a:pt x="211" y="113"/>
                      <a:pt x="211" y="113"/>
                      <a:pt x="211" y="113"/>
                    </a:cubicBezTo>
                    <a:cubicBezTo>
                      <a:pt x="276" y="151"/>
                      <a:pt x="276" y="151"/>
                      <a:pt x="276" y="151"/>
                    </a:cubicBezTo>
                    <a:cubicBezTo>
                      <a:pt x="277" y="151"/>
                      <a:pt x="277" y="152"/>
                      <a:pt x="277" y="153"/>
                    </a:cubicBezTo>
                    <a:cubicBezTo>
                      <a:pt x="277" y="153"/>
                      <a:pt x="277" y="154"/>
                      <a:pt x="276" y="154"/>
                    </a:cubicBezTo>
                    <a:cubicBezTo>
                      <a:pt x="81" y="267"/>
                      <a:pt x="81" y="267"/>
                      <a:pt x="81" y="267"/>
                    </a:cubicBezTo>
                    <a:cubicBezTo>
                      <a:pt x="80" y="268"/>
                      <a:pt x="80" y="268"/>
                      <a:pt x="80" y="268"/>
                    </a:cubicBezTo>
                    <a:close/>
                    <a:moveTo>
                      <a:pt x="4" y="220"/>
                    </a:moveTo>
                    <a:cubicBezTo>
                      <a:pt x="80" y="263"/>
                      <a:pt x="80" y="263"/>
                      <a:pt x="80" y="263"/>
                    </a:cubicBezTo>
                    <a:cubicBezTo>
                      <a:pt x="271" y="153"/>
                      <a:pt x="271" y="153"/>
                      <a:pt x="271" y="153"/>
                    </a:cubicBezTo>
                    <a:cubicBezTo>
                      <a:pt x="209" y="117"/>
                      <a:pt x="209" y="117"/>
                      <a:pt x="209" y="117"/>
                    </a:cubicBez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6" y="148"/>
                      <a:pt x="155" y="148"/>
                      <a:pt x="154" y="147"/>
                    </a:cubicBezTo>
                    <a:cubicBezTo>
                      <a:pt x="154" y="147"/>
                      <a:pt x="153" y="146"/>
                      <a:pt x="153" y="146"/>
                    </a:cubicBezTo>
                    <a:cubicBezTo>
                      <a:pt x="153" y="67"/>
                      <a:pt x="153" y="67"/>
                      <a:pt x="153" y="67"/>
                    </a:cubicBezTo>
                    <a:cubicBezTo>
                      <a:pt x="153" y="67"/>
                      <a:pt x="154" y="66"/>
                      <a:pt x="154" y="66"/>
                    </a:cubicBezTo>
                    <a:cubicBezTo>
                      <a:pt x="203" y="37"/>
                      <a:pt x="203" y="37"/>
                      <a:pt x="203" y="3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12"/>
                      <a:pt x="149" y="12"/>
                      <a:pt x="149" y="12"/>
                    </a:cubicBezTo>
                    <a:cubicBezTo>
                      <a:pt x="149" y="13"/>
                      <a:pt x="148" y="13"/>
                      <a:pt x="148" y="14"/>
                    </a:cubicBezTo>
                    <a:cubicBezTo>
                      <a:pt x="95" y="44"/>
                      <a:pt x="95" y="44"/>
                      <a:pt x="95" y="44"/>
                    </a:cubicBezTo>
                    <a:cubicBezTo>
                      <a:pt x="146" y="74"/>
                      <a:pt x="146" y="74"/>
                      <a:pt x="146" y="74"/>
                    </a:cubicBezTo>
                    <a:cubicBezTo>
                      <a:pt x="147" y="74"/>
                      <a:pt x="147" y="75"/>
                      <a:pt x="147" y="76"/>
                    </a:cubicBezTo>
                    <a:cubicBezTo>
                      <a:pt x="147" y="148"/>
                      <a:pt x="147" y="148"/>
                      <a:pt x="147" y="148"/>
                    </a:cubicBezTo>
                    <a:cubicBezTo>
                      <a:pt x="206" y="182"/>
                      <a:pt x="206" y="182"/>
                      <a:pt x="206" y="182"/>
                    </a:cubicBezTo>
                    <a:cubicBezTo>
                      <a:pt x="207" y="183"/>
                      <a:pt x="207" y="183"/>
                      <a:pt x="207" y="184"/>
                    </a:cubicBezTo>
                    <a:cubicBezTo>
                      <a:pt x="207" y="185"/>
                      <a:pt x="207" y="185"/>
                      <a:pt x="206" y="186"/>
                    </a:cubicBezTo>
                    <a:cubicBezTo>
                      <a:pt x="127" y="231"/>
                      <a:pt x="127" y="231"/>
                      <a:pt x="127" y="231"/>
                    </a:cubicBezTo>
                    <a:cubicBezTo>
                      <a:pt x="127" y="232"/>
                      <a:pt x="126" y="232"/>
                      <a:pt x="125" y="231"/>
                    </a:cubicBezTo>
                    <a:cubicBezTo>
                      <a:pt x="62" y="195"/>
                      <a:pt x="62" y="195"/>
                      <a:pt x="62" y="195"/>
                    </a:cubicBezTo>
                    <a:cubicBezTo>
                      <a:pt x="13" y="223"/>
                      <a:pt x="13" y="223"/>
                      <a:pt x="13" y="223"/>
                    </a:cubicBezTo>
                    <a:cubicBezTo>
                      <a:pt x="12" y="223"/>
                      <a:pt x="12" y="223"/>
                      <a:pt x="11" y="223"/>
                    </a:cubicBezTo>
                    <a:cubicBezTo>
                      <a:pt x="4" y="219"/>
                      <a:pt x="4" y="219"/>
                      <a:pt x="4" y="219"/>
                    </a:cubicBezTo>
                    <a:lnTo>
                      <a:pt x="4" y="2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7" name="Freeform 693">
                <a:extLst>
                  <a:ext uri="{FF2B5EF4-FFF2-40B4-BE49-F238E27FC236}">
                    <a16:creationId xmlns:a16="http://schemas.microsoft.com/office/drawing/2014/main" id="{F6A66B1A-2C49-448F-96F1-12F328C05B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6528693"/>
                <a:ext cx="76778" cy="163931"/>
              </a:xfrm>
              <a:custGeom>
                <a:avLst/>
                <a:gdLst>
                  <a:gd name="T0" fmla="*/ 27 w 31"/>
                  <a:gd name="T1" fmla="*/ 67 h 67"/>
                  <a:gd name="T2" fmla="*/ 26 w 31"/>
                  <a:gd name="T3" fmla="*/ 66 h 67"/>
                  <a:gd name="T4" fmla="*/ 11 w 31"/>
                  <a:gd name="T5" fmla="*/ 58 h 67"/>
                  <a:gd name="T6" fmla="*/ 3 w 31"/>
                  <a:gd name="T7" fmla="*/ 63 h 67"/>
                  <a:gd name="T8" fmla="*/ 1 w 31"/>
                  <a:gd name="T9" fmla="*/ 63 h 67"/>
                  <a:gd name="T10" fmla="*/ 0 w 31"/>
                  <a:gd name="T11" fmla="*/ 61 h 67"/>
                  <a:gd name="T12" fmla="*/ 0 w 31"/>
                  <a:gd name="T13" fmla="*/ 11 h 67"/>
                  <a:gd name="T14" fmla="*/ 1 w 31"/>
                  <a:gd name="T15" fmla="*/ 9 h 67"/>
                  <a:gd name="T16" fmla="*/ 16 w 31"/>
                  <a:gd name="T17" fmla="*/ 0 h 67"/>
                  <a:gd name="T18" fmla="*/ 18 w 31"/>
                  <a:gd name="T19" fmla="*/ 0 h 67"/>
                  <a:gd name="T20" fmla="*/ 30 w 31"/>
                  <a:gd name="T21" fmla="*/ 7 h 67"/>
                  <a:gd name="T22" fmla="*/ 31 w 31"/>
                  <a:gd name="T23" fmla="*/ 9 h 67"/>
                  <a:gd name="T24" fmla="*/ 31 w 31"/>
                  <a:gd name="T25" fmla="*/ 63 h 67"/>
                  <a:gd name="T26" fmla="*/ 30 w 31"/>
                  <a:gd name="T27" fmla="*/ 65 h 67"/>
                  <a:gd name="T28" fmla="*/ 28 w 31"/>
                  <a:gd name="T29" fmla="*/ 66 h 67"/>
                  <a:gd name="T30" fmla="*/ 27 w 31"/>
                  <a:gd name="T31" fmla="*/ 67 h 67"/>
                  <a:gd name="T32" fmla="*/ 11 w 31"/>
                  <a:gd name="T33" fmla="*/ 54 h 67"/>
                  <a:gd name="T34" fmla="*/ 12 w 31"/>
                  <a:gd name="T35" fmla="*/ 54 h 67"/>
                  <a:gd name="T36" fmla="*/ 27 w 31"/>
                  <a:gd name="T37" fmla="*/ 62 h 67"/>
                  <a:gd name="T38" fmla="*/ 27 w 31"/>
                  <a:gd name="T39" fmla="*/ 62 h 67"/>
                  <a:gd name="T40" fmla="*/ 27 w 31"/>
                  <a:gd name="T41" fmla="*/ 10 h 67"/>
                  <a:gd name="T42" fmla="*/ 17 w 31"/>
                  <a:gd name="T43" fmla="*/ 4 h 67"/>
                  <a:gd name="T44" fmla="*/ 4 w 31"/>
                  <a:gd name="T45" fmla="*/ 12 h 67"/>
                  <a:gd name="T46" fmla="*/ 4 w 31"/>
                  <a:gd name="T47" fmla="*/ 58 h 67"/>
                  <a:gd name="T48" fmla="*/ 10 w 31"/>
                  <a:gd name="T49" fmla="*/ 54 h 67"/>
                  <a:gd name="T50" fmla="*/ 11 w 31"/>
                  <a:gd name="T51" fmla="*/ 5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67">
                    <a:moveTo>
                      <a:pt x="27" y="67"/>
                    </a:moveTo>
                    <a:cubicBezTo>
                      <a:pt x="26" y="67"/>
                      <a:pt x="26" y="67"/>
                      <a:pt x="26" y="66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2" y="63"/>
                      <a:pt x="1" y="63"/>
                    </a:cubicBezTo>
                    <a:cubicBezTo>
                      <a:pt x="1" y="62"/>
                      <a:pt x="0" y="62"/>
                      <a:pt x="0" y="6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7" y="0"/>
                      <a:pt x="17" y="0"/>
                      <a:pt x="18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0" y="8"/>
                      <a:pt x="31" y="8"/>
                      <a:pt x="31" y="9"/>
                    </a:cubicBezTo>
                    <a:cubicBezTo>
                      <a:pt x="31" y="63"/>
                      <a:pt x="31" y="63"/>
                      <a:pt x="31" y="63"/>
                    </a:cubicBezTo>
                    <a:cubicBezTo>
                      <a:pt x="31" y="64"/>
                      <a:pt x="30" y="65"/>
                      <a:pt x="30" y="65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27" y="67"/>
                      <a:pt x="27" y="67"/>
                      <a:pt x="27" y="67"/>
                    </a:cubicBezTo>
                    <a:close/>
                    <a:moveTo>
                      <a:pt x="11" y="54"/>
                    </a:moveTo>
                    <a:cubicBezTo>
                      <a:pt x="11" y="54"/>
                      <a:pt x="12" y="54"/>
                      <a:pt x="12" y="54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58"/>
                      <a:pt x="4" y="58"/>
                      <a:pt x="4" y="58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10" y="54"/>
                      <a:pt x="11" y="54"/>
                      <a:pt x="11" y="5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8" name="Freeform 694">
                <a:extLst>
                  <a:ext uri="{FF2B5EF4-FFF2-40B4-BE49-F238E27FC236}">
                    <a16:creationId xmlns:a16="http://schemas.microsoft.com/office/drawing/2014/main" id="{796B95CB-A317-42AE-807B-4CC0FADFFD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1945" y="6688474"/>
                <a:ext cx="127618" cy="93379"/>
              </a:xfrm>
              <a:custGeom>
                <a:avLst/>
                <a:gdLst>
                  <a:gd name="T0" fmla="*/ 50 w 52"/>
                  <a:gd name="T1" fmla="*/ 38 h 38"/>
                  <a:gd name="T2" fmla="*/ 49 w 52"/>
                  <a:gd name="T3" fmla="*/ 38 h 38"/>
                  <a:gd name="T4" fmla="*/ 1 w 52"/>
                  <a:gd name="T5" fmla="*/ 10 h 38"/>
                  <a:gd name="T6" fmla="*/ 0 w 52"/>
                  <a:gd name="T7" fmla="*/ 8 h 38"/>
                  <a:gd name="T8" fmla="*/ 1 w 52"/>
                  <a:gd name="T9" fmla="*/ 6 h 38"/>
                  <a:gd name="T10" fmla="*/ 12 w 52"/>
                  <a:gd name="T11" fmla="*/ 0 h 38"/>
                  <a:gd name="T12" fmla="*/ 14 w 52"/>
                  <a:gd name="T13" fmla="*/ 0 h 38"/>
                  <a:gd name="T14" fmla="*/ 51 w 52"/>
                  <a:gd name="T15" fmla="*/ 22 h 38"/>
                  <a:gd name="T16" fmla="*/ 52 w 52"/>
                  <a:gd name="T17" fmla="*/ 23 h 38"/>
                  <a:gd name="T18" fmla="*/ 52 w 52"/>
                  <a:gd name="T19" fmla="*/ 36 h 38"/>
                  <a:gd name="T20" fmla="*/ 51 w 52"/>
                  <a:gd name="T21" fmla="*/ 38 h 38"/>
                  <a:gd name="T22" fmla="*/ 50 w 52"/>
                  <a:gd name="T23" fmla="*/ 38 h 38"/>
                  <a:gd name="T24" fmla="*/ 6 w 52"/>
                  <a:gd name="T25" fmla="*/ 8 h 38"/>
                  <a:gd name="T26" fmla="*/ 48 w 52"/>
                  <a:gd name="T27" fmla="*/ 32 h 38"/>
                  <a:gd name="T28" fmla="*/ 48 w 52"/>
                  <a:gd name="T29" fmla="*/ 24 h 38"/>
                  <a:gd name="T30" fmla="*/ 13 w 52"/>
                  <a:gd name="T31" fmla="*/ 4 h 38"/>
                  <a:gd name="T32" fmla="*/ 6 w 52"/>
                  <a:gd name="T3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38">
                    <a:moveTo>
                      <a:pt x="50" y="38"/>
                    </a:moveTo>
                    <a:cubicBezTo>
                      <a:pt x="50" y="38"/>
                      <a:pt x="49" y="38"/>
                      <a:pt x="49" y="38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52" y="22"/>
                      <a:pt x="52" y="23"/>
                      <a:pt x="52" y="23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7"/>
                      <a:pt x="52" y="37"/>
                      <a:pt x="51" y="38"/>
                    </a:cubicBezTo>
                    <a:cubicBezTo>
                      <a:pt x="51" y="38"/>
                      <a:pt x="50" y="38"/>
                      <a:pt x="50" y="38"/>
                    </a:cubicBezTo>
                    <a:close/>
                    <a:moveTo>
                      <a:pt x="6" y="8"/>
                    </a:move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13" y="4"/>
                      <a:pt x="13" y="4"/>
                      <a:pt x="13" y="4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9" name="Freeform 695">
                <a:extLst>
                  <a:ext uri="{FF2B5EF4-FFF2-40B4-BE49-F238E27FC236}">
                    <a16:creationId xmlns:a16="http://schemas.microsoft.com/office/drawing/2014/main" id="{12730DD3-83B5-4F17-8347-541141C862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09563" y="6681212"/>
                <a:ext cx="112054" cy="90266"/>
              </a:xfrm>
              <a:custGeom>
                <a:avLst/>
                <a:gdLst>
                  <a:gd name="T0" fmla="*/ 2 w 46"/>
                  <a:gd name="T1" fmla="*/ 37 h 37"/>
                  <a:gd name="T2" fmla="*/ 1 w 46"/>
                  <a:gd name="T3" fmla="*/ 37 h 37"/>
                  <a:gd name="T4" fmla="*/ 0 w 46"/>
                  <a:gd name="T5" fmla="*/ 35 h 37"/>
                  <a:gd name="T6" fmla="*/ 0 w 46"/>
                  <a:gd name="T7" fmla="*/ 20 h 37"/>
                  <a:gd name="T8" fmla="*/ 1 w 46"/>
                  <a:gd name="T9" fmla="*/ 18 h 37"/>
                  <a:gd name="T10" fmla="*/ 32 w 46"/>
                  <a:gd name="T11" fmla="*/ 0 h 37"/>
                  <a:gd name="T12" fmla="*/ 34 w 46"/>
                  <a:gd name="T13" fmla="*/ 0 h 37"/>
                  <a:gd name="T14" fmla="*/ 35 w 46"/>
                  <a:gd name="T15" fmla="*/ 2 h 37"/>
                  <a:gd name="T16" fmla="*/ 35 w 46"/>
                  <a:gd name="T17" fmla="*/ 3 h 37"/>
                  <a:gd name="T18" fmla="*/ 45 w 46"/>
                  <a:gd name="T19" fmla="*/ 9 h 37"/>
                  <a:gd name="T20" fmla="*/ 46 w 46"/>
                  <a:gd name="T21" fmla="*/ 11 h 37"/>
                  <a:gd name="T22" fmla="*/ 45 w 46"/>
                  <a:gd name="T23" fmla="*/ 13 h 37"/>
                  <a:gd name="T24" fmla="*/ 3 w 46"/>
                  <a:gd name="T25" fmla="*/ 37 h 37"/>
                  <a:gd name="T26" fmla="*/ 2 w 46"/>
                  <a:gd name="T27" fmla="*/ 37 h 37"/>
                  <a:gd name="T28" fmla="*/ 4 w 46"/>
                  <a:gd name="T29" fmla="*/ 21 h 37"/>
                  <a:gd name="T30" fmla="*/ 4 w 46"/>
                  <a:gd name="T31" fmla="*/ 32 h 37"/>
                  <a:gd name="T32" fmla="*/ 40 w 46"/>
                  <a:gd name="T33" fmla="*/ 11 h 37"/>
                  <a:gd name="T34" fmla="*/ 32 w 46"/>
                  <a:gd name="T35" fmla="*/ 6 h 37"/>
                  <a:gd name="T36" fmla="*/ 31 w 46"/>
                  <a:gd name="T37" fmla="*/ 5 h 37"/>
                  <a:gd name="T38" fmla="*/ 4 w 46"/>
                  <a:gd name="T39" fmla="*/ 2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37">
                    <a:moveTo>
                      <a:pt x="2" y="37"/>
                    </a:moveTo>
                    <a:cubicBezTo>
                      <a:pt x="1" y="37"/>
                      <a:pt x="1" y="37"/>
                      <a:pt x="1" y="37"/>
                    </a:cubicBezTo>
                    <a:cubicBezTo>
                      <a:pt x="0" y="37"/>
                      <a:pt x="0" y="36"/>
                      <a:pt x="0" y="3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3" y="0"/>
                      <a:pt x="34" y="0"/>
                    </a:cubicBezTo>
                    <a:cubicBezTo>
                      <a:pt x="34" y="0"/>
                      <a:pt x="35" y="1"/>
                      <a:pt x="35" y="2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6" y="10"/>
                      <a:pt x="46" y="10"/>
                      <a:pt x="46" y="11"/>
                    </a:cubicBezTo>
                    <a:cubicBezTo>
                      <a:pt x="46" y="12"/>
                      <a:pt x="46" y="12"/>
                      <a:pt x="45" y="13"/>
                    </a:cubicBezTo>
                    <a:cubicBezTo>
                      <a:pt x="3" y="37"/>
                      <a:pt x="3" y="37"/>
                      <a:pt x="3" y="37"/>
                    </a:cubicBezTo>
                    <a:cubicBezTo>
                      <a:pt x="3" y="37"/>
                      <a:pt x="2" y="37"/>
                      <a:pt x="2" y="37"/>
                    </a:cubicBezTo>
                    <a:close/>
                    <a:moveTo>
                      <a:pt x="4" y="21"/>
                    </a:moveTo>
                    <a:cubicBezTo>
                      <a:pt x="4" y="32"/>
                      <a:pt x="4" y="32"/>
                      <a:pt x="4" y="32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1" y="6"/>
                      <a:pt x="31" y="5"/>
                      <a:pt x="31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0" name="Freeform 696">
                <a:extLst>
                  <a:ext uri="{FF2B5EF4-FFF2-40B4-BE49-F238E27FC236}">
                    <a16:creationId xmlns:a16="http://schemas.microsoft.com/office/drawing/2014/main" id="{2990DADA-D8EF-460F-B7AA-0FF35281B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70136" y="6479929"/>
                <a:ext cx="352764" cy="289473"/>
              </a:xfrm>
              <a:custGeom>
                <a:avLst/>
                <a:gdLst>
                  <a:gd name="T0" fmla="*/ 56 w 144"/>
                  <a:gd name="T1" fmla="*/ 118 h 118"/>
                  <a:gd name="T2" fmla="*/ 55 w 144"/>
                  <a:gd name="T3" fmla="*/ 118 h 118"/>
                  <a:gd name="T4" fmla="*/ 54 w 144"/>
                  <a:gd name="T5" fmla="*/ 116 h 118"/>
                  <a:gd name="T6" fmla="*/ 54 w 144"/>
                  <a:gd name="T7" fmla="*/ 41 h 118"/>
                  <a:gd name="T8" fmla="*/ 1 w 144"/>
                  <a:gd name="T9" fmla="*/ 10 h 118"/>
                  <a:gd name="T10" fmla="*/ 0 w 144"/>
                  <a:gd name="T11" fmla="*/ 8 h 118"/>
                  <a:gd name="T12" fmla="*/ 0 w 144"/>
                  <a:gd name="T13" fmla="*/ 7 h 118"/>
                  <a:gd name="T14" fmla="*/ 1 w 144"/>
                  <a:gd name="T15" fmla="*/ 5 h 118"/>
                  <a:gd name="T16" fmla="*/ 3 w 144"/>
                  <a:gd name="T17" fmla="*/ 5 h 118"/>
                  <a:gd name="T18" fmla="*/ 58 w 144"/>
                  <a:gd name="T19" fmla="*/ 37 h 118"/>
                  <a:gd name="T20" fmla="*/ 119 w 144"/>
                  <a:gd name="T21" fmla="*/ 2 h 118"/>
                  <a:gd name="T22" fmla="*/ 119 w 144"/>
                  <a:gd name="T23" fmla="*/ 2 h 118"/>
                  <a:gd name="T24" fmla="*/ 121 w 144"/>
                  <a:gd name="T25" fmla="*/ 1 h 118"/>
                  <a:gd name="T26" fmla="*/ 123 w 144"/>
                  <a:gd name="T27" fmla="*/ 1 h 118"/>
                  <a:gd name="T28" fmla="*/ 143 w 144"/>
                  <a:gd name="T29" fmla="*/ 12 h 118"/>
                  <a:gd name="T30" fmla="*/ 144 w 144"/>
                  <a:gd name="T31" fmla="*/ 14 h 118"/>
                  <a:gd name="T32" fmla="*/ 143 w 144"/>
                  <a:gd name="T33" fmla="*/ 16 h 118"/>
                  <a:gd name="T34" fmla="*/ 132 w 144"/>
                  <a:gd name="T35" fmla="*/ 22 h 118"/>
                  <a:gd name="T36" fmla="*/ 130 w 144"/>
                  <a:gd name="T37" fmla="*/ 22 h 118"/>
                  <a:gd name="T38" fmla="*/ 117 w 144"/>
                  <a:gd name="T39" fmla="*/ 14 h 118"/>
                  <a:gd name="T40" fmla="*/ 117 w 144"/>
                  <a:gd name="T41" fmla="*/ 30 h 118"/>
                  <a:gd name="T42" fmla="*/ 116 w 144"/>
                  <a:gd name="T43" fmla="*/ 31 h 118"/>
                  <a:gd name="T44" fmla="*/ 84 w 144"/>
                  <a:gd name="T45" fmla="*/ 50 h 118"/>
                  <a:gd name="T46" fmla="*/ 84 w 144"/>
                  <a:gd name="T47" fmla="*/ 101 h 118"/>
                  <a:gd name="T48" fmla="*/ 83 w 144"/>
                  <a:gd name="T49" fmla="*/ 102 h 118"/>
                  <a:gd name="T50" fmla="*/ 57 w 144"/>
                  <a:gd name="T51" fmla="*/ 118 h 118"/>
                  <a:gd name="T52" fmla="*/ 56 w 144"/>
                  <a:gd name="T53" fmla="*/ 118 h 118"/>
                  <a:gd name="T54" fmla="*/ 58 w 144"/>
                  <a:gd name="T55" fmla="*/ 41 h 118"/>
                  <a:gd name="T56" fmla="*/ 58 w 144"/>
                  <a:gd name="T57" fmla="*/ 112 h 118"/>
                  <a:gd name="T58" fmla="*/ 80 w 144"/>
                  <a:gd name="T59" fmla="*/ 99 h 118"/>
                  <a:gd name="T60" fmla="*/ 80 w 144"/>
                  <a:gd name="T61" fmla="*/ 48 h 118"/>
                  <a:gd name="T62" fmla="*/ 81 w 144"/>
                  <a:gd name="T63" fmla="*/ 47 h 118"/>
                  <a:gd name="T64" fmla="*/ 113 w 144"/>
                  <a:gd name="T65" fmla="*/ 29 h 118"/>
                  <a:gd name="T66" fmla="*/ 113 w 144"/>
                  <a:gd name="T67" fmla="*/ 11 h 118"/>
                  <a:gd name="T68" fmla="*/ 113 w 144"/>
                  <a:gd name="T69" fmla="*/ 10 h 118"/>
                  <a:gd name="T70" fmla="*/ 59 w 144"/>
                  <a:gd name="T71" fmla="*/ 41 h 118"/>
                  <a:gd name="T72" fmla="*/ 58 w 144"/>
                  <a:gd name="T73" fmla="*/ 41 h 118"/>
                  <a:gd name="T74" fmla="*/ 115 w 144"/>
                  <a:gd name="T75" fmla="*/ 9 h 118"/>
                  <a:gd name="T76" fmla="*/ 116 w 144"/>
                  <a:gd name="T77" fmla="*/ 9 h 118"/>
                  <a:gd name="T78" fmla="*/ 131 w 144"/>
                  <a:gd name="T79" fmla="*/ 18 h 118"/>
                  <a:gd name="T80" fmla="*/ 138 w 144"/>
                  <a:gd name="T81" fmla="*/ 14 h 118"/>
                  <a:gd name="T82" fmla="*/ 122 w 144"/>
                  <a:gd name="T83" fmla="*/ 5 h 118"/>
                  <a:gd name="T84" fmla="*/ 121 w 144"/>
                  <a:gd name="T85" fmla="*/ 5 h 118"/>
                  <a:gd name="T86" fmla="*/ 121 w 144"/>
                  <a:gd name="T87" fmla="*/ 5 h 118"/>
                  <a:gd name="T88" fmla="*/ 115 w 144"/>
                  <a:gd name="T89" fmla="*/ 9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4" h="118">
                    <a:moveTo>
                      <a:pt x="56" y="118"/>
                    </a:moveTo>
                    <a:cubicBezTo>
                      <a:pt x="56" y="118"/>
                      <a:pt x="55" y="118"/>
                      <a:pt x="55" y="118"/>
                    </a:cubicBezTo>
                    <a:cubicBezTo>
                      <a:pt x="54" y="117"/>
                      <a:pt x="54" y="117"/>
                      <a:pt x="54" y="116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1" y="4"/>
                      <a:pt x="2" y="4"/>
                      <a:pt x="3" y="5"/>
                    </a:cubicBezTo>
                    <a:cubicBezTo>
                      <a:pt x="58" y="37"/>
                      <a:pt x="58" y="37"/>
                      <a:pt x="58" y="37"/>
                    </a:cubicBezTo>
                    <a:cubicBezTo>
                      <a:pt x="119" y="2"/>
                      <a:pt x="119" y="2"/>
                      <a:pt x="119" y="2"/>
                    </a:cubicBezTo>
                    <a:cubicBezTo>
                      <a:pt x="119" y="2"/>
                      <a:pt x="119" y="2"/>
                      <a:pt x="119" y="2"/>
                    </a:cubicBezTo>
                    <a:cubicBezTo>
                      <a:pt x="121" y="1"/>
                      <a:pt x="121" y="1"/>
                      <a:pt x="121" y="1"/>
                    </a:cubicBezTo>
                    <a:cubicBezTo>
                      <a:pt x="122" y="0"/>
                      <a:pt x="122" y="0"/>
                      <a:pt x="123" y="1"/>
                    </a:cubicBezTo>
                    <a:cubicBezTo>
                      <a:pt x="143" y="12"/>
                      <a:pt x="143" y="12"/>
                      <a:pt x="143" y="12"/>
                    </a:cubicBezTo>
                    <a:cubicBezTo>
                      <a:pt x="144" y="13"/>
                      <a:pt x="144" y="13"/>
                      <a:pt x="144" y="14"/>
                    </a:cubicBezTo>
                    <a:cubicBezTo>
                      <a:pt x="144" y="15"/>
                      <a:pt x="144" y="15"/>
                      <a:pt x="143" y="16"/>
                    </a:cubicBezTo>
                    <a:cubicBezTo>
                      <a:pt x="132" y="22"/>
                      <a:pt x="132" y="22"/>
                      <a:pt x="132" y="22"/>
                    </a:cubicBezTo>
                    <a:cubicBezTo>
                      <a:pt x="131" y="22"/>
                      <a:pt x="131" y="22"/>
                      <a:pt x="130" y="22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7" y="30"/>
                      <a:pt x="117" y="30"/>
                      <a:pt x="117" y="30"/>
                    </a:cubicBezTo>
                    <a:cubicBezTo>
                      <a:pt x="117" y="30"/>
                      <a:pt x="116" y="31"/>
                      <a:pt x="116" y="31"/>
                    </a:cubicBezTo>
                    <a:cubicBezTo>
                      <a:pt x="84" y="50"/>
                      <a:pt x="84" y="50"/>
                      <a:pt x="84" y="50"/>
                    </a:cubicBezTo>
                    <a:cubicBezTo>
                      <a:pt x="84" y="101"/>
                      <a:pt x="84" y="101"/>
                      <a:pt x="84" y="101"/>
                    </a:cubicBezTo>
                    <a:cubicBezTo>
                      <a:pt x="84" y="101"/>
                      <a:pt x="84" y="102"/>
                      <a:pt x="83" y="102"/>
                    </a:cubicBezTo>
                    <a:cubicBezTo>
                      <a:pt x="57" y="118"/>
                      <a:pt x="57" y="118"/>
                      <a:pt x="57" y="118"/>
                    </a:cubicBezTo>
                    <a:cubicBezTo>
                      <a:pt x="57" y="118"/>
                      <a:pt x="56" y="118"/>
                      <a:pt x="56" y="118"/>
                    </a:cubicBezTo>
                    <a:close/>
                    <a:moveTo>
                      <a:pt x="58" y="41"/>
                    </a:moveTo>
                    <a:cubicBezTo>
                      <a:pt x="58" y="112"/>
                      <a:pt x="58" y="112"/>
                      <a:pt x="58" y="112"/>
                    </a:cubicBezTo>
                    <a:cubicBezTo>
                      <a:pt x="80" y="99"/>
                      <a:pt x="80" y="99"/>
                      <a:pt x="80" y="99"/>
                    </a:cubicBezTo>
                    <a:cubicBezTo>
                      <a:pt x="80" y="48"/>
                      <a:pt x="80" y="48"/>
                      <a:pt x="80" y="48"/>
                    </a:cubicBezTo>
                    <a:cubicBezTo>
                      <a:pt x="80" y="48"/>
                      <a:pt x="81" y="47"/>
                      <a:pt x="81" y="47"/>
                    </a:cubicBezTo>
                    <a:cubicBezTo>
                      <a:pt x="113" y="29"/>
                      <a:pt x="113" y="29"/>
                      <a:pt x="113" y="29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3" y="10"/>
                      <a:pt x="113" y="10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41"/>
                      <a:pt x="58" y="41"/>
                      <a:pt x="58" y="41"/>
                    </a:cubicBezTo>
                    <a:close/>
                    <a:moveTo>
                      <a:pt x="115" y="9"/>
                    </a:moveTo>
                    <a:cubicBezTo>
                      <a:pt x="115" y="9"/>
                      <a:pt x="115" y="9"/>
                      <a:pt x="116" y="9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8" y="14"/>
                      <a:pt x="138" y="14"/>
                      <a:pt x="138" y="14"/>
                    </a:cubicBezTo>
                    <a:cubicBezTo>
                      <a:pt x="122" y="5"/>
                      <a:pt x="122" y="5"/>
                      <a:pt x="122" y="5"/>
                    </a:cubicBezTo>
                    <a:cubicBezTo>
                      <a:pt x="121" y="5"/>
                      <a:pt x="121" y="5"/>
                      <a:pt x="121" y="5"/>
                    </a:cubicBezTo>
                    <a:cubicBezTo>
                      <a:pt x="121" y="5"/>
                      <a:pt x="121" y="5"/>
                      <a:pt x="121" y="5"/>
                    </a:cubicBezTo>
                    <a:lnTo>
                      <a:pt x="115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697">
                <a:extLst>
                  <a:ext uri="{FF2B5EF4-FFF2-40B4-BE49-F238E27FC236}">
                    <a16:creationId xmlns:a16="http://schemas.microsoft.com/office/drawing/2014/main" id="{8ADB97F4-ABB2-4255-898A-DF812E3926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17713" y="5627072"/>
                <a:ext cx="203358" cy="144218"/>
              </a:xfrm>
              <a:custGeom>
                <a:avLst/>
                <a:gdLst>
                  <a:gd name="T0" fmla="*/ 81 w 83"/>
                  <a:gd name="T1" fmla="*/ 59 h 59"/>
                  <a:gd name="T2" fmla="*/ 80 w 83"/>
                  <a:gd name="T3" fmla="*/ 59 h 59"/>
                  <a:gd name="T4" fmla="*/ 70 w 83"/>
                  <a:gd name="T5" fmla="*/ 53 h 59"/>
                  <a:gd name="T6" fmla="*/ 69 w 83"/>
                  <a:gd name="T7" fmla="*/ 51 h 59"/>
                  <a:gd name="T8" fmla="*/ 69 w 83"/>
                  <a:gd name="T9" fmla="*/ 49 h 59"/>
                  <a:gd name="T10" fmla="*/ 67 w 83"/>
                  <a:gd name="T11" fmla="*/ 50 h 59"/>
                  <a:gd name="T12" fmla="*/ 65 w 83"/>
                  <a:gd name="T13" fmla="*/ 50 h 59"/>
                  <a:gd name="T14" fmla="*/ 1 w 83"/>
                  <a:gd name="T15" fmla="*/ 13 h 59"/>
                  <a:gd name="T16" fmla="*/ 0 w 83"/>
                  <a:gd name="T17" fmla="*/ 11 h 59"/>
                  <a:gd name="T18" fmla="*/ 1 w 83"/>
                  <a:gd name="T19" fmla="*/ 10 h 59"/>
                  <a:gd name="T20" fmla="*/ 18 w 83"/>
                  <a:gd name="T21" fmla="*/ 0 h 59"/>
                  <a:gd name="T22" fmla="*/ 20 w 83"/>
                  <a:gd name="T23" fmla="*/ 0 h 59"/>
                  <a:gd name="T24" fmla="*/ 82 w 83"/>
                  <a:gd name="T25" fmla="*/ 36 h 59"/>
                  <a:gd name="T26" fmla="*/ 83 w 83"/>
                  <a:gd name="T27" fmla="*/ 38 h 59"/>
                  <a:gd name="T28" fmla="*/ 83 w 83"/>
                  <a:gd name="T29" fmla="*/ 57 h 59"/>
                  <a:gd name="T30" fmla="*/ 82 w 83"/>
                  <a:gd name="T31" fmla="*/ 59 h 59"/>
                  <a:gd name="T32" fmla="*/ 81 w 83"/>
                  <a:gd name="T33" fmla="*/ 59 h 59"/>
                  <a:gd name="T34" fmla="*/ 73 w 83"/>
                  <a:gd name="T35" fmla="*/ 50 h 59"/>
                  <a:gd name="T36" fmla="*/ 79 w 83"/>
                  <a:gd name="T37" fmla="*/ 54 h 59"/>
                  <a:gd name="T38" fmla="*/ 79 w 83"/>
                  <a:gd name="T39" fmla="*/ 39 h 59"/>
                  <a:gd name="T40" fmla="*/ 19 w 83"/>
                  <a:gd name="T41" fmla="*/ 4 h 59"/>
                  <a:gd name="T42" fmla="*/ 6 w 83"/>
                  <a:gd name="T43" fmla="*/ 11 h 59"/>
                  <a:gd name="T44" fmla="*/ 66 w 83"/>
                  <a:gd name="T45" fmla="*/ 46 h 59"/>
                  <a:gd name="T46" fmla="*/ 70 w 83"/>
                  <a:gd name="T47" fmla="*/ 44 h 59"/>
                  <a:gd name="T48" fmla="*/ 72 w 83"/>
                  <a:gd name="T49" fmla="*/ 44 h 59"/>
                  <a:gd name="T50" fmla="*/ 73 w 83"/>
                  <a:gd name="T51" fmla="*/ 45 h 59"/>
                  <a:gd name="T52" fmla="*/ 73 w 83"/>
                  <a:gd name="T53" fmla="*/ 5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59">
                    <a:moveTo>
                      <a:pt x="81" y="59"/>
                    </a:moveTo>
                    <a:cubicBezTo>
                      <a:pt x="81" y="59"/>
                      <a:pt x="81" y="59"/>
                      <a:pt x="80" y="59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70" y="53"/>
                      <a:pt x="69" y="52"/>
                      <a:pt x="69" y="51"/>
                    </a:cubicBezTo>
                    <a:cubicBezTo>
                      <a:pt x="69" y="49"/>
                      <a:pt x="69" y="49"/>
                      <a:pt x="69" y="49"/>
                    </a:cubicBezTo>
                    <a:cubicBezTo>
                      <a:pt x="67" y="50"/>
                      <a:pt x="67" y="50"/>
                      <a:pt x="67" y="50"/>
                    </a:cubicBezTo>
                    <a:cubicBezTo>
                      <a:pt x="66" y="50"/>
                      <a:pt x="66" y="50"/>
                      <a:pt x="65" y="50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0" y="12"/>
                      <a:pt x="0" y="11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0"/>
                      <a:pt x="19" y="0"/>
                      <a:pt x="20" y="0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3" y="36"/>
                      <a:pt x="83" y="37"/>
                      <a:pt x="83" y="38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83" y="58"/>
                      <a:pt x="83" y="58"/>
                      <a:pt x="82" y="59"/>
                    </a:cubicBezTo>
                    <a:cubicBezTo>
                      <a:pt x="82" y="59"/>
                      <a:pt x="82" y="59"/>
                      <a:pt x="81" y="59"/>
                    </a:cubicBezTo>
                    <a:close/>
                    <a:moveTo>
                      <a:pt x="73" y="50"/>
                    </a:moveTo>
                    <a:cubicBezTo>
                      <a:pt x="79" y="54"/>
                      <a:pt x="79" y="54"/>
                      <a:pt x="79" y="54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6" y="46"/>
                      <a:pt x="66" y="46"/>
                      <a:pt x="66" y="46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71" y="43"/>
                      <a:pt x="72" y="43"/>
                      <a:pt x="72" y="44"/>
                    </a:cubicBezTo>
                    <a:cubicBezTo>
                      <a:pt x="73" y="44"/>
                      <a:pt x="73" y="45"/>
                      <a:pt x="73" y="45"/>
                    </a:cubicBezTo>
                    <a:lnTo>
                      <a:pt x="73" y="5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2" name="Freeform 714">
                <a:extLst>
                  <a:ext uri="{FF2B5EF4-FFF2-40B4-BE49-F238E27FC236}">
                    <a16:creationId xmlns:a16="http://schemas.microsoft.com/office/drawing/2014/main" id="{4FDEE0C6-767B-4352-924C-17FA3F0336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3400" y="5325148"/>
                <a:ext cx="34239" cy="46689"/>
              </a:xfrm>
              <a:custGeom>
                <a:avLst/>
                <a:gdLst>
                  <a:gd name="T0" fmla="*/ 2 w 14"/>
                  <a:gd name="T1" fmla="*/ 19 h 19"/>
                  <a:gd name="T2" fmla="*/ 1 w 14"/>
                  <a:gd name="T3" fmla="*/ 18 h 19"/>
                  <a:gd name="T4" fmla="*/ 0 w 14"/>
                  <a:gd name="T5" fmla="*/ 17 h 19"/>
                  <a:gd name="T6" fmla="*/ 0 w 14"/>
                  <a:gd name="T7" fmla="*/ 2 h 19"/>
                  <a:gd name="T8" fmla="*/ 1 w 14"/>
                  <a:gd name="T9" fmla="*/ 0 h 19"/>
                  <a:gd name="T10" fmla="*/ 3 w 14"/>
                  <a:gd name="T11" fmla="*/ 0 h 19"/>
                  <a:gd name="T12" fmla="*/ 10 w 14"/>
                  <a:gd name="T13" fmla="*/ 4 h 19"/>
                  <a:gd name="T14" fmla="*/ 11 w 14"/>
                  <a:gd name="T15" fmla="*/ 6 h 19"/>
                  <a:gd name="T16" fmla="*/ 10 w 14"/>
                  <a:gd name="T17" fmla="*/ 8 h 19"/>
                  <a:gd name="T18" fmla="*/ 13 w 14"/>
                  <a:gd name="T19" fmla="*/ 9 h 19"/>
                  <a:gd name="T20" fmla="*/ 14 w 14"/>
                  <a:gd name="T21" fmla="*/ 11 h 19"/>
                  <a:gd name="T22" fmla="*/ 13 w 14"/>
                  <a:gd name="T23" fmla="*/ 13 h 19"/>
                  <a:gd name="T24" fmla="*/ 3 w 14"/>
                  <a:gd name="T25" fmla="*/ 18 h 19"/>
                  <a:gd name="T26" fmla="*/ 2 w 14"/>
                  <a:gd name="T27" fmla="*/ 19 h 19"/>
                  <a:gd name="T28" fmla="*/ 4 w 14"/>
                  <a:gd name="T29" fmla="*/ 6 h 19"/>
                  <a:gd name="T30" fmla="*/ 4 w 14"/>
                  <a:gd name="T31" fmla="*/ 13 h 19"/>
                  <a:gd name="T32" fmla="*/ 8 w 14"/>
                  <a:gd name="T33" fmla="*/ 11 h 19"/>
                  <a:gd name="T34" fmla="*/ 5 w 14"/>
                  <a:gd name="T35" fmla="*/ 10 h 19"/>
                  <a:gd name="T36" fmla="*/ 4 w 14"/>
                  <a:gd name="T37" fmla="*/ 8 h 19"/>
                  <a:gd name="T38" fmla="*/ 5 w 14"/>
                  <a:gd name="T39" fmla="*/ 6 h 19"/>
                  <a:gd name="T40" fmla="*/ 4 w 14"/>
                  <a:gd name="T41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9">
                    <a:moveTo>
                      <a:pt x="2" y="19"/>
                    </a:moveTo>
                    <a:cubicBezTo>
                      <a:pt x="2" y="19"/>
                      <a:pt x="1" y="18"/>
                      <a:pt x="1" y="18"/>
                    </a:cubicBezTo>
                    <a:cubicBezTo>
                      <a:pt x="0" y="18"/>
                      <a:pt x="0" y="17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5"/>
                      <a:pt x="11" y="5"/>
                      <a:pt x="11" y="6"/>
                    </a:cubicBezTo>
                    <a:cubicBezTo>
                      <a:pt x="11" y="7"/>
                      <a:pt x="11" y="7"/>
                      <a:pt x="10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10"/>
                      <a:pt x="14" y="10"/>
                      <a:pt x="14" y="11"/>
                    </a:cubicBezTo>
                    <a:cubicBezTo>
                      <a:pt x="14" y="12"/>
                      <a:pt x="13" y="12"/>
                      <a:pt x="13" y="13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2" y="19"/>
                      <a:pt x="2" y="19"/>
                    </a:cubicBezTo>
                    <a:close/>
                    <a:moveTo>
                      <a:pt x="4" y="6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9"/>
                      <a:pt x="4" y="9"/>
                      <a:pt x="4" y="8"/>
                    </a:cubicBezTo>
                    <a:cubicBezTo>
                      <a:pt x="4" y="7"/>
                      <a:pt x="4" y="6"/>
                      <a:pt x="5" y="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3" name="Freeform 715">
                <a:extLst>
                  <a:ext uri="{FF2B5EF4-FFF2-40B4-BE49-F238E27FC236}">
                    <a16:creationId xmlns:a16="http://schemas.microsoft.com/office/drawing/2014/main" id="{4E95DA5C-2C33-4137-9EE4-D267CCDE6D8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471324" y="5335523"/>
                <a:ext cx="11413" cy="11413"/>
              </a:xfrm>
              <a:custGeom>
                <a:avLst/>
                <a:gdLst>
                  <a:gd name="T0" fmla="*/ 3 w 5"/>
                  <a:gd name="T1" fmla="*/ 5 h 5"/>
                  <a:gd name="T2" fmla="*/ 2 w 5"/>
                  <a:gd name="T3" fmla="*/ 4 h 5"/>
                  <a:gd name="T4" fmla="*/ 1 w 5"/>
                  <a:gd name="T5" fmla="*/ 4 h 5"/>
                  <a:gd name="T6" fmla="*/ 0 w 5"/>
                  <a:gd name="T7" fmla="*/ 2 h 5"/>
                  <a:gd name="T8" fmla="*/ 1 w 5"/>
                  <a:gd name="T9" fmla="*/ 0 h 5"/>
                  <a:gd name="T10" fmla="*/ 2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5 w 5"/>
                  <a:gd name="T17" fmla="*/ 3 h 5"/>
                  <a:gd name="T18" fmla="*/ 4 w 5"/>
                  <a:gd name="T19" fmla="*/ 4 h 5"/>
                  <a:gd name="T20" fmla="*/ 3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5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4"/>
                      <a:pt x="4" y="4"/>
                    </a:cubicBezTo>
                    <a:cubicBezTo>
                      <a:pt x="4" y="4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4" name="Freeform 716">
                <a:extLst>
                  <a:ext uri="{FF2B5EF4-FFF2-40B4-BE49-F238E27FC236}">
                    <a16:creationId xmlns:a16="http://schemas.microsoft.com/office/drawing/2014/main" id="{D8494396-6934-4226-AE41-D710E768A0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87925" y="5062650"/>
                <a:ext cx="149406" cy="174307"/>
              </a:xfrm>
              <a:custGeom>
                <a:avLst/>
                <a:gdLst>
                  <a:gd name="T0" fmla="*/ 2 w 61"/>
                  <a:gd name="T1" fmla="*/ 71 h 71"/>
                  <a:gd name="T2" fmla="*/ 1 w 61"/>
                  <a:gd name="T3" fmla="*/ 70 h 71"/>
                  <a:gd name="T4" fmla="*/ 0 w 61"/>
                  <a:gd name="T5" fmla="*/ 69 h 71"/>
                  <a:gd name="T6" fmla="*/ 0 w 61"/>
                  <a:gd name="T7" fmla="*/ 2 h 71"/>
                  <a:gd name="T8" fmla="*/ 1 w 61"/>
                  <a:gd name="T9" fmla="*/ 0 h 71"/>
                  <a:gd name="T10" fmla="*/ 3 w 61"/>
                  <a:gd name="T11" fmla="*/ 0 h 71"/>
                  <a:gd name="T12" fmla="*/ 60 w 61"/>
                  <a:gd name="T13" fmla="*/ 34 h 71"/>
                  <a:gd name="T14" fmla="*/ 61 w 61"/>
                  <a:gd name="T15" fmla="*/ 35 h 71"/>
                  <a:gd name="T16" fmla="*/ 60 w 61"/>
                  <a:gd name="T17" fmla="*/ 37 h 71"/>
                  <a:gd name="T18" fmla="*/ 3 w 61"/>
                  <a:gd name="T19" fmla="*/ 70 h 71"/>
                  <a:gd name="T20" fmla="*/ 2 w 61"/>
                  <a:gd name="T21" fmla="*/ 71 h 71"/>
                  <a:gd name="T22" fmla="*/ 4 w 61"/>
                  <a:gd name="T23" fmla="*/ 6 h 71"/>
                  <a:gd name="T24" fmla="*/ 4 w 61"/>
                  <a:gd name="T25" fmla="*/ 65 h 71"/>
                  <a:gd name="T26" fmla="*/ 55 w 61"/>
                  <a:gd name="T27" fmla="*/ 35 h 71"/>
                  <a:gd name="T28" fmla="*/ 4 w 61"/>
                  <a:gd name="T29" fmla="*/ 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1" h="71">
                    <a:moveTo>
                      <a:pt x="2" y="71"/>
                    </a:moveTo>
                    <a:cubicBezTo>
                      <a:pt x="1" y="71"/>
                      <a:pt x="1" y="71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1" y="34"/>
                      <a:pt x="61" y="35"/>
                      <a:pt x="61" y="35"/>
                    </a:cubicBezTo>
                    <a:cubicBezTo>
                      <a:pt x="61" y="36"/>
                      <a:pt x="61" y="37"/>
                      <a:pt x="60" y="3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2" y="71"/>
                      <a:pt x="2" y="71"/>
                      <a:pt x="2" y="71"/>
                    </a:cubicBezTo>
                    <a:close/>
                    <a:moveTo>
                      <a:pt x="4" y="6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55" y="35"/>
                      <a:pt x="55" y="35"/>
                      <a:pt x="55" y="3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5" name="Freeform 717">
                <a:extLst>
                  <a:ext uri="{FF2B5EF4-FFF2-40B4-BE49-F238E27FC236}">
                    <a16:creationId xmlns:a16="http://schemas.microsoft.com/office/drawing/2014/main" id="{A4B1D852-4C1C-4752-84E7-B633C80E8C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5163292"/>
                <a:ext cx="36314" cy="179494"/>
              </a:xfrm>
              <a:custGeom>
                <a:avLst/>
                <a:gdLst>
                  <a:gd name="T0" fmla="*/ 11 w 15"/>
                  <a:gd name="T1" fmla="*/ 73 h 73"/>
                  <a:gd name="T2" fmla="*/ 10 w 15"/>
                  <a:gd name="T3" fmla="*/ 73 h 73"/>
                  <a:gd name="T4" fmla="*/ 1 w 15"/>
                  <a:gd name="T5" fmla="*/ 68 h 73"/>
                  <a:gd name="T6" fmla="*/ 0 w 15"/>
                  <a:gd name="T7" fmla="*/ 66 h 73"/>
                  <a:gd name="T8" fmla="*/ 0 w 15"/>
                  <a:gd name="T9" fmla="*/ 9 h 73"/>
                  <a:gd name="T10" fmla="*/ 1 w 15"/>
                  <a:gd name="T11" fmla="*/ 7 h 73"/>
                  <a:gd name="T12" fmla="*/ 12 w 15"/>
                  <a:gd name="T13" fmla="*/ 0 h 73"/>
                  <a:gd name="T14" fmla="*/ 14 w 15"/>
                  <a:gd name="T15" fmla="*/ 0 h 73"/>
                  <a:gd name="T16" fmla="*/ 15 w 15"/>
                  <a:gd name="T17" fmla="*/ 2 h 73"/>
                  <a:gd name="T18" fmla="*/ 15 w 15"/>
                  <a:gd name="T19" fmla="*/ 70 h 73"/>
                  <a:gd name="T20" fmla="*/ 14 w 15"/>
                  <a:gd name="T21" fmla="*/ 72 h 73"/>
                  <a:gd name="T22" fmla="*/ 12 w 15"/>
                  <a:gd name="T23" fmla="*/ 73 h 73"/>
                  <a:gd name="T24" fmla="*/ 11 w 15"/>
                  <a:gd name="T25" fmla="*/ 73 h 73"/>
                  <a:gd name="T26" fmla="*/ 4 w 15"/>
                  <a:gd name="T27" fmla="*/ 65 h 73"/>
                  <a:gd name="T28" fmla="*/ 11 w 15"/>
                  <a:gd name="T29" fmla="*/ 69 h 73"/>
                  <a:gd name="T30" fmla="*/ 11 w 15"/>
                  <a:gd name="T31" fmla="*/ 69 h 73"/>
                  <a:gd name="T32" fmla="*/ 11 w 15"/>
                  <a:gd name="T33" fmla="*/ 6 h 73"/>
                  <a:gd name="T34" fmla="*/ 4 w 15"/>
                  <a:gd name="T35" fmla="*/ 10 h 73"/>
                  <a:gd name="T36" fmla="*/ 4 w 15"/>
                  <a:gd name="T37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" h="73">
                    <a:moveTo>
                      <a:pt x="11" y="73"/>
                    </a:moveTo>
                    <a:cubicBezTo>
                      <a:pt x="10" y="73"/>
                      <a:pt x="10" y="73"/>
                      <a:pt x="10" y="73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0" y="68"/>
                      <a:pt x="0" y="67"/>
                      <a:pt x="0" y="6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4" y="0"/>
                    </a:cubicBezTo>
                    <a:cubicBezTo>
                      <a:pt x="15" y="1"/>
                      <a:pt x="15" y="1"/>
                      <a:pt x="15" y="2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5" y="71"/>
                      <a:pt x="15" y="71"/>
                      <a:pt x="14" y="72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1" y="73"/>
                      <a:pt x="11" y="73"/>
                      <a:pt x="11" y="73"/>
                    </a:cubicBezTo>
                    <a:close/>
                    <a:moveTo>
                      <a:pt x="4" y="65"/>
                    </a:move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6" name="Freeform 718">
                <a:extLst>
                  <a:ext uri="{FF2B5EF4-FFF2-40B4-BE49-F238E27FC236}">
                    <a16:creationId xmlns:a16="http://schemas.microsoft.com/office/drawing/2014/main" id="{5366FA43-AE3A-4A61-B3E8-12C3F5BA9B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62232" y="5251482"/>
                <a:ext cx="48764" cy="39426"/>
              </a:xfrm>
              <a:custGeom>
                <a:avLst/>
                <a:gdLst>
                  <a:gd name="T0" fmla="*/ 9 w 20"/>
                  <a:gd name="T1" fmla="*/ 16 h 16"/>
                  <a:gd name="T2" fmla="*/ 8 w 20"/>
                  <a:gd name="T3" fmla="*/ 16 h 16"/>
                  <a:gd name="T4" fmla="*/ 1 w 20"/>
                  <a:gd name="T5" fmla="*/ 12 h 16"/>
                  <a:gd name="T6" fmla="*/ 0 w 20"/>
                  <a:gd name="T7" fmla="*/ 11 h 16"/>
                  <a:gd name="T8" fmla="*/ 1 w 20"/>
                  <a:gd name="T9" fmla="*/ 9 h 16"/>
                  <a:gd name="T10" fmla="*/ 17 w 20"/>
                  <a:gd name="T11" fmla="*/ 0 h 16"/>
                  <a:gd name="T12" fmla="*/ 19 w 20"/>
                  <a:gd name="T13" fmla="*/ 0 h 16"/>
                  <a:gd name="T14" fmla="*/ 20 w 20"/>
                  <a:gd name="T15" fmla="*/ 2 h 16"/>
                  <a:gd name="T16" fmla="*/ 20 w 20"/>
                  <a:gd name="T17" fmla="*/ 10 h 16"/>
                  <a:gd name="T18" fmla="*/ 19 w 20"/>
                  <a:gd name="T19" fmla="*/ 11 h 16"/>
                  <a:gd name="T20" fmla="*/ 10 w 20"/>
                  <a:gd name="T21" fmla="*/ 16 h 16"/>
                  <a:gd name="T22" fmla="*/ 9 w 20"/>
                  <a:gd name="T23" fmla="*/ 16 h 16"/>
                  <a:gd name="T24" fmla="*/ 6 w 20"/>
                  <a:gd name="T25" fmla="*/ 11 h 16"/>
                  <a:gd name="T26" fmla="*/ 9 w 20"/>
                  <a:gd name="T27" fmla="*/ 12 h 16"/>
                  <a:gd name="T28" fmla="*/ 16 w 20"/>
                  <a:gd name="T29" fmla="*/ 8 h 16"/>
                  <a:gd name="T30" fmla="*/ 16 w 20"/>
                  <a:gd name="T31" fmla="*/ 5 h 16"/>
                  <a:gd name="T32" fmla="*/ 6 w 20"/>
                  <a:gd name="T33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16">
                    <a:moveTo>
                      <a:pt x="9" y="16"/>
                    </a:moveTo>
                    <a:cubicBezTo>
                      <a:pt x="9" y="16"/>
                      <a:pt x="8" y="16"/>
                      <a:pt x="8" y="1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19" y="0"/>
                      <a:pt x="20" y="1"/>
                      <a:pt x="20" y="2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19" y="11"/>
                      <a:pt x="19" y="11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9" y="16"/>
                      <a:pt x="9" y="16"/>
                    </a:cubicBezTo>
                    <a:close/>
                    <a:moveTo>
                      <a:pt x="6" y="11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5"/>
                      <a:pt x="16" y="5"/>
                      <a:pt x="16" y="5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7" name="Freeform 719">
                <a:extLst>
                  <a:ext uri="{FF2B5EF4-FFF2-40B4-BE49-F238E27FC236}">
                    <a16:creationId xmlns:a16="http://schemas.microsoft.com/office/drawing/2014/main" id="{FE62F8E0-60BD-42F0-94EF-E915A7B0C52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02451" y="5540956"/>
                <a:ext cx="30089" cy="29051"/>
              </a:xfrm>
              <a:custGeom>
                <a:avLst/>
                <a:gdLst>
                  <a:gd name="T0" fmla="*/ 2 w 12"/>
                  <a:gd name="T1" fmla="*/ 12 h 12"/>
                  <a:gd name="T2" fmla="*/ 1 w 12"/>
                  <a:gd name="T3" fmla="*/ 12 h 12"/>
                  <a:gd name="T4" fmla="*/ 0 w 12"/>
                  <a:gd name="T5" fmla="*/ 10 h 12"/>
                  <a:gd name="T6" fmla="*/ 0 w 12"/>
                  <a:gd name="T7" fmla="*/ 7 h 12"/>
                  <a:gd name="T8" fmla="*/ 1 w 12"/>
                  <a:gd name="T9" fmla="*/ 5 h 12"/>
                  <a:gd name="T10" fmla="*/ 9 w 12"/>
                  <a:gd name="T11" fmla="*/ 0 h 12"/>
                  <a:gd name="T12" fmla="*/ 11 w 12"/>
                  <a:gd name="T13" fmla="*/ 0 h 12"/>
                  <a:gd name="T14" fmla="*/ 12 w 12"/>
                  <a:gd name="T15" fmla="*/ 2 h 12"/>
                  <a:gd name="T16" fmla="*/ 12 w 12"/>
                  <a:gd name="T17" fmla="*/ 5 h 12"/>
                  <a:gd name="T18" fmla="*/ 11 w 12"/>
                  <a:gd name="T19" fmla="*/ 7 h 12"/>
                  <a:gd name="T20" fmla="*/ 3 w 12"/>
                  <a:gd name="T21" fmla="*/ 12 h 12"/>
                  <a:gd name="T22" fmla="*/ 2 w 12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2">
                    <a:moveTo>
                      <a:pt x="2" y="12"/>
                    </a:moveTo>
                    <a:cubicBezTo>
                      <a:pt x="2" y="12"/>
                      <a:pt x="2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2" y="1"/>
                      <a:pt x="12" y="1"/>
                      <a:pt x="12" y="2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6"/>
                      <a:pt x="12" y="7"/>
                      <a:pt x="11" y="7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8" name="Freeform 720">
                <a:extLst>
                  <a:ext uri="{FF2B5EF4-FFF2-40B4-BE49-F238E27FC236}">
                    <a16:creationId xmlns:a16="http://schemas.microsoft.com/office/drawing/2014/main" id="{AEA43BBD-F3C3-4F98-BB64-B1ED09544F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02451" y="5427864"/>
                <a:ext cx="30089" cy="130730"/>
              </a:xfrm>
              <a:custGeom>
                <a:avLst/>
                <a:gdLst>
                  <a:gd name="T0" fmla="*/ 2 w 12"/>
                  <a:gd name="T1" fmla="*/ 53 h 53"/>
                  <a:gd name="T2" fmla="*/ 1 w 12"/>
                  <a:gd name="T3" fmla="*/ 53 h 53"/>
                  <a:gd name="T4" fmla="*/ 0 w 12"/>
                  <a:gd name="T5" fmla="*/ 51 h 53"/>
                  <a:gd name="T6" fmla="*/ 0 w 12"/>
                  <a:gd name="T7" fmla="*/ 3 h 53"/>
                  <a:gd name="T8" fmla="*/ 1 w 12"/>
                  <a:gd name="T9" fmla="*/ 1 h 53"/>
                  <a:gd name="T10" fmla="*/ 3 w 12"/>
                  <a:gd name="T11" fmla="*/ 1 h 53"/>
                  <a:gd name="T12" fmla="*/ 11 w 12"/>
                  <a:gd name="T13" fmla="*/ 5 h 53"/>
                  <a:gd name="T14" fmla="*/ 12 w 12"/>
                  <a:gd name="T15" fmla="*/ 7 h 53"/>
                  <a:gd name="T16" fmla="*/ 12 w 12"/>
                  <a:gd name="T17" fmla="*/ 46 h 53"/>
                  <a:gd name="T18" fmla="*/ 11 w 12"/>
                  <a:gd name="T19" fmla="*/ 48 h 53"/>
                  <a:gd name="T20" fmla="*/ 3 w 12"/>
                  <a:gd name="T21" fmla="*/ 53 h 53"/>
                  <a:gd name="T22" fmla="*/ 2 w 12"/>
                  <a:gd name="T23" fmla="*/ 53 h 53"/>
                  <a:gd name="T24" fmla="*/ 4 w 12"/>
                  <a:gd name="T25" fmla="*/ 6 h 53"/>
                  <a:gd name="T26" fmla="*/ 4 w 12"/>
                  <a:gd name="T27" fmla="*/ 47 h 53"/>
                  <a:gd name="T28" fmla="*/ 8 w 12"/>
                  <a:gd name="T29" fmla="*/ 45 h 53"/>
                  <a:gd name="T30" fmla="*/ 8 w 12"/>
                  <a:gd name="T31" fmla="*/ 8 h 53"/>
                  <a:gd name="T32" fmla="*/ 4 w 12"/>
                  <a:gd name="T33" fmla="*/ 6 h 53"/>
                  <a:gd name="T34" fmla="*/ 10 w 12"/>
                  <a:gd name="T35" fmla="*/ 46 h 53"/>
                  <a:gd name="T36" fmla="*/ 10 w 12"/>
                  <a:gd name="T37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53">
                    <a:moveTo>
                      <a:pt x="2" y="53"/>
                    </a:moveTo>
                    <a:cubicBezTo>
                      <a:pt x="2" y="53"/>
                      <a:pt x="2" y="53"/>
                      <a:pt x="1" y="53"/>
                    </a:cubicBezTo>
                    <a:cubicBezTo>
                      <a:pt x="1" y="52"/>
                      <a:pt x="0" y="52"/>
                      <a:pt x="0" y="5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7"/>
                      <a:pt x="12" y="7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7"/>
                      <a:pt x="12" y="48"/>
                      <a:pt x="11" y="48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2" y="53"/>
                    </a:cubicBezTo>
                    <a:close/>
                    <a:moveTo>
                      <a:pt x="4" y="6"/>
                    </a:moveTo>
                    <a:cubicBezTo>
                      <a:pt x="4" y="47"/>
                      <a:pt x="4" y="47"/>
                      <a:pt x="4" y="47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4" y="6"/>
                    </a:lnTo>
                    <a:close/>
                    <a:moveTo>
                      <a:pt x="10" y="46"/>
                    </a:moveTo>
                    <a:cubicBezTo>
                      <a:pt x="10" y="46"/>
                      <a:pt x="10" y="46"/>
                      <a:pt x="10" y="4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9" name="Freeform 721">
                <a:extLst>
                  <a:ext uri="{FF2B5EF4-FFF2-40B4-BE49-F238E27FC236}">
                    <a16:creationId xmlns:a16="http://schemas.microsoft.com/office/drawing/2014/main" id="{0AD1BB09-80A0-49CE-8830-92782D0D8A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8" y="5352124"/>
                <a:ext cx="117242" cy="134880"/>
              </a:xfrm>
              <a:custGeom>
                <a:avLst/>
                <a:gdLst>
                  <a:gd name="T0" fmla="*/ 46 w 48"/>
                  <a:gd name="T1" fmla="*/ 55 h 55"/>
                  <a:gd name="T2" fmla="*/ 45 w 48"/>
                  <a:gd name="T3" fmla="*/ 54 h 55"/>
                  <a:gd name="T4" fmla="*/ 1 w 48"/>
                  <a:gd name="T5" fmla="*/ 29 h 55"/>
                  <a:gd name="T6" fmla="*/ 0 w 48"/>
                  <a:gd name="T7" fmla="*/ 27 h 55"/>
                  <a:gd name="T8" fmla="*/ 1 w 48"/>
                  <a:gd name="T9" fmla="*/ 25 h 55"/>
                  <a:gd name="T10" fmla="*/ 45 w 48"/>
                  <a:gd name="T11" fmla="*/ 0 h 55"/>
                  <a:gd name="T12" fmla="*/ 47 w 48"/>
                  <a:gd name="T13" fmla="*/ 0 h 55"/>
                  <a:gd name="T14" fmla="*/ 48 w 48"/>
                  <a:gd name="T15" fmla="*/ 2 h 55"/>
                  <a:gd name="T16" fmla="*/ 48 w 48"/>
                  <a:gd name="T17" fmla="*/ 53 h 55"/>
                  <a:gd name="T18" fmla="*/ 47 w 48"/>
                  <a:gd name="T19" fmla="*/ 54 h 55"/>
                  <a:gd name="T20" fmla="*/ 46 w 48"/>
                  <a:gd name="T21" fmla="*/ 55 h 55"/>
                  <a:gd name="T22" fmla="*/ 6 w 48"/>
                  <a:gd name="T23" fmla="*/ 27 h 55"/>
                  <a:gd name="T24" fmla="*/ 44 w 48"/>
                  <a:gd name="T25" fmla="*/ 49 h 55"/>
                  <a:gd name="T26" fmla="*/ 44 w 48"/>
                  <a:gd name="T27" fmla="*/ 5 h 55"/>
                  <a:gd name="T28" fmla="*/ 6 w 48"/>
                  <a:gd name="T29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5">
                    <a:moveTo>
                      <a:pt x="46" y="55"/>
                    </a:moveTo>
                    <a:cubicBezTo>
                      <a:pt x="46" y="55"/>
                      <a:pt x="46" y="54"/>
                      <a:pt x="45" y="54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6"/>
                      <a:pt x="1" y="26"/>
                      <a:pt x="1" y="2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7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4"/>
                      <a:pt x="47" y="54"/>
                    </a:cubicBezTo>
                    <a:cubicBezTo>
                      <a:pt x="47" y="54"/>
                      <a:pt x="47" y="55"/>
                      <a:pt x="46" y="55"/>
                    </a:cubicBezTo>
                    <a:close/>
                    <a:moveTo>
                      <a:pt x="6" y="27"/>
                    </a:moveTo>
                    <a:cubicBezTo>
                      <a:pt x="44" y="49"/>
                      <a:pt x="44" y="49"/>
                      <a:pt x="44" y="49"/>
                    </a:cubicBezTo>
                    <a:cubicBezTo>
                      <a:pt x="44" y="5"/>
                      <a:pt x="44" y="5"/>
                      <a:pt x="44" y="5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23">
                <a:extLst>
                  <a:ext uri="{FF2B5EF4-FFF2-40B4-BE49-F238E27FC236}">
                    <a16:creationId xmlns:a16="http://schemas.microsoft.com/office/drawing/2014/main" id="{46366169-EA79-4942-ABB9-591E6AC92B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23994" y="5600096"/>
                <a:ext cx="51877" cy="56027"/>
              </a:xfrm>
              <a:custGeom>
                <a:avLst/>
                <a:gdLst>
                  <a:gd name="T0" fmla="*/ 2 w 21"/>
                  <a:gd name="T1" fmla="*/ 23 h 23"/>
                  <a:gd name="T2" fmla="*/ 1 w 21"/>
                  <a:gd name="T3" fmla="*/ 23 h 23"/>
                  <a:gd name="T4" fmla="*/ 0 w 21"/>
                  <a:gd name="T5" fmla="*/ 21 h 23"/>
                  <a:gd name="T6" fmla="*/ 0 w 21"/>
                  <a:gd name="T7" fmla="*/ 2 h 23"/>
                  <a:gd name="T8" fmla="*/ 1 w 21"/>
                  <a:gd name="T9" fmla="*/ 0 h 23"/>
                  <a:gd name="T10" fmla="*/ 3 w 21"/>
                  <a:gd name="T11" fmla="*/ 0 h 23"/>
                  <a:gd name="T12" fmla="*/ 20 w 21"/>
                  <a:gd name="T13" fmla="*/ 10 h 23"/>
                  <a:gd name="T14" fmla="*/ 21 w 21"/>
                  <a:gd name="T15" fmla="*/ 12 h 23"/>
                  <a:gd name="T16" fmla="*/ 20 w 21"/>
                  <a:gd name="T17" fmla="*/ 13 h 23"/>
                  <a:gd name="T18" fmla="*/ 3 w 21"/>
                  <a:gd name="T19" fmla="*/ 23 h 23"/>
                  <a:gd name="T20" fmla="*/ 2 w 21"/>
                  <a:gd name="T21" fmla="*/ 23 h 23"/>
                  <a:gd name="T22" fmla="*/ 4 w 21"/>
                  <a:gd name="T23" fmla="*/ 5 h 23"/>
                  <a:gd name="T24" fmla="*/ 4 w 21"/>
                  <a:gd name="T25" fmla="*/ 18 h 23"/>
                  <a:gd name="T26" fmla="*/ 15 w 21"/>
                  <a:gd name="T27" fmla="*/ 12 h 23"/>
                  <a:gd name="T28" fmla="*/ 4 w 21"/>
                  <a:gd name="T2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3">
                    <a:moveTo>
                      <a:pt x="2" y="23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1" y="11"/>
                      <a:pt x="21" y="12"/>
                    </a:cubicBezTo>
                    <a:cubicBezTo>
                      <a:pt x="21" y="12"/>
                      <a:pt x="20" y="13"/>
                      <a:pt x="20" y="1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  <a:moveTo>
                      <a:pt x="4" y="5"/>
                    </a:moveTo>
                    <a:cubicBezTo>
                      <a:pt x="4" y="18"/>
                      <a:pt x="4" y="18"/>
                      <a:pt x="4" y="18"/>
                    </a:cubicBezTo>
                    <a:cubicBezTo>
                      <a:pt x="15" y="12"/>
                      <a:pt x="15" y="12"/>
                      <a:pt x="15" y="12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26">
                <a:extLst>
                  <a:ext uri="{FF2B5EF4-FFF2-40B4-BE49-F238E27FC236}">
                    <a16:creationId xmlns:a16="http://schemas.microsoft.com/office/drawing/2014/main" id="{82FDF53B-F8BB-42C5-8AE4-9E4D46647E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8" y="5481816"/>
                <a:ext cx="154594" cy="147331"/>
              </a:xfrm>
              <a:custGeom>
                <a:avLst/>
                <a:gdLst>
                  <a:gd name="T0" fmla="*/ 2 w 63"/>
                  <a:gd name="T1" fmla="*/ 60 h 60"/>
                  <a:gd name="T2" fmla="*/ 1 w 63"/>
                  <a:gd name="T3" fmla="*/ 60 h 60"/>
                  <a:gd name="T4" fmla="*/ 0 w 63"/>
                  <a:gd name="T5" fmla="*/ 58 h 60"/>
                  <a:gd name="T6" fmla="*/ 0 w 63"/>
                  <a:gd name="T7" fmla="*/ 36 h 60"/>
                  <a:gd name="T8" fmla="*/ 1 w 63"/>
                  <a:gd name="T9" fmla="*/ 35 h 60"/>
                  <a:gd name="T10" fmla="*/ 60 w 63"/>
                  <a:gd name="T11" fmla="*/ 1 h 60"/>
                  <a:gd name="T12" fmla="*/ 62 w 63"/>
                  <a:gd name="T13" fmla="*/ 1 h 60"/>
                  <a:gd name="T14" fmla="*/ 63 w 63"/>
                  <a:gd name="T15" fmla="*/ 2 h 60"/>
                  <a:gd name="T16" fmla="*/ 63 w 63"/>
                  <a:gd name="T17" fmla="*/ 24 h 60"/>
                  <a:gd name="T18" fmla="*/ 62 w 63"/>
                  <a:gd name="T19" fmla="*/ 26 h 60"/>
                  <a:gd name="T20" fmla="*/ 3 w 63"/>
                  <a:gd name="T21" fmla="*/ 60 h 60"/>
                  <a:gd name="T22" fmla="*/ 2 w 63"/>
                  <a:gd name="T23" fmla="*/ 60 h 60"/>
                  <a:gd name="T24" fmla="*/ 4 w 63"/>
                  <a:gd name="T25" fmla="*/ 38 h 60"/>
                  <a:gd name="T26" fmla="*/ 4 w 63"/>
                  <a:gd name="T27" fmla="*/ 55 h 60"/>
                  <a:gd name="T28" fmla="*/ 59 w 63"/>
                  <a:gd name="T29" fmla="*/ 23 h 60"/>
                  <a:gd name="T30" fmla="*/ 59 w 63"/>
                  <a:gd name="T31" fmla="*/ 6 h 60"/>
                  <a:gd name="T32" fmla="*/ 4 w 63"/>
                  <a:gd name="T33" fmla="*/ 38 h 60"/>
                  <a:gd name="T34" fmla="*/ 61 w 63"/>
                  <a:gd name="T35" fmla="*/ 24 h 60"/>
                  <a:gd name="T36" fmla="*/ 61 w 63"/>
                  <a:gd name="T37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60">
                    <a:moveTo>
                      <a:pt x="2" y="60"/>
                    </a:moveTo>
                    <a:cubicBezTo>
                      <a:pt x="2" y="60"/>
                      <a:pt x="2" y="60"/>
                      <a:pt x="1" y="60"/>
                    </a:cubicBezTo>
                    <a:cubicBezTo>
                      <a:pt x="1" y="59"/>
                      <a:pt x="0" y="59"/>
                      <a:pt x="0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2" y="0"/>
                      <a:pt x="62" y="1"/>
                    </a:cubicBezTo>
                    <a:cubicBezTo>
                      <a:pt x="63" y="1"/>
                      <a:pt x="63" y="2"/>
                      <a:pt x="63" y="2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63" y="25"/>
                      <a:pt x="63" y="25"/>
                      <a:pt x="62" y="26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3" y="60"/>
                      <a:pt x="3" y="60"/>
                      <a:pt x="2" y="60"/>
                    </a:cubicBezTo>
                    <a:close/>
                    <a:moveTo>
                      <a:pt x="4" y="38"/>
                    </a:moveTo>
                    <a:cubicBezTo>
                      <a:pt x="4" y="55"/>
                      <a:pt x="4" y="55"/>
                      <a:pt x="4" y="55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"/>
                      <a:pt x="59" y="6"/>
                      <a:pt x="59" y="6"/>
                    </a:cubicBezTo>
                    <a:lnTo>
                      <a:pt x="4" y="38"/>
                    </a:lnTo>
                    <a:close/>
                    <a:moveTo>
                      <a:pt x="61" y="24"/>
                    </a:moveTo>
                    <a:cubicBezTo>
                      <a:pt x="61" y="24"/>
                      <a:pt x="61" y="24"/>
                      <a:pt x="61" y="2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27">
                <a:extLst>
                  <a:ext uri="{FF2B5EF4-FFF2-40B4-BE49-F238E27FC236}">
                    <a16:creationId xmlns:a16="http://schemas.microsoft.com/office/drawing/2014/main" id="{B9FC5AE3-18B6-4AB1-9776-105E122A71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8" y="5540956"/>
                <a:ext cx="154594" cy="203358"/>
              </a:xfrm>
              <a:custGeom>
                <a:avLst/>
                <a:gdLst>
                  <a:gd name="T0" fmla="*/ 2 w 63"/>
                  <a:gd name="T1" fmla="*/ 83 h 83"/>
                  <a:gd name="T2" fmla="*/ 1 w 63"/>
                  <a:gd name="T3" fmla="*/ 82 h 83"/>
                  <a:gd name="T4" fmla="*/ 0 w 63"/>
                  <a:gd name="T5" fmla="*/ 81 h 83"/>
                  <a:gd name="T6" fmla="*/ 0 w 63"/>
                  <a:gd name="T7" fmla="*/ 36 h 83"/>
                  <a:gd name="T8" fmla="*/ 1 w 63"/>
                  <a:gd name="T9" fmla="*/ 34 h 83"/>
                  <a:gd name="T10" fmla="*/ 60 w 63"/>
                  <a:gd name="T11" fmla="*/ 0 h 83"/>
                  <a:gd name="T12" fmla="*/ 62 w 63"/>
                  <a:gd name="T13" fmla="*/ 0 h 83"/>
                  <a:gd name="T14" fmla="*/ 63 w 63"/>
                  <a:gd name="T15" fmla="*/ 2 h 83"/>
                  <a:gd name="T16" fmla="*/ 63 w 63"/>
                  <a:gd name="T17" fmla="*/ 46 h 83"/>
                  <a:gd name="T18" fmla="*/ 62 w 63"/>
                  <a:gd name="T19" fmla="*/ 48 h 83"/>
                  <a:gd name="T20" fmla="*/ 3 w 63"/>
                  <a:gd name="T21" fmla="*/ 82 h 83"/>
                  <a:gd name="T22" fmla="*/ 2 w 63"/>
                  <a:gd name="T23" fmla="*/ 83 h 83"/>
                  <a:gd name="T24" fmla="*/ 4 w 63"/>
                  <a:gd name="T25" fmla="*/ 37 h 83"/>
                  <a:gd name="T26" fmla="*/ 4 w 63"/>
                  <a:gd name="T27" fmla="*/ 77 h 83"/>
                  <a:gd name="T28" fmla="*/ 59 w 63"/>
                  <a:gd name="T29" fmla="*/ 45 h 83"/>
                  <a:gd name="T30" fmla="*/ 59 w 63"/>
                  <a:gd name="T31" fmla="*/ 5 h 83"/>
                  <a:gd name="T32" fmla="*/ 4 w 63"/>
                  <a:gd name="T33" fmla="*/ 3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83">
                    <a:moveTo>
                      <a:pt x="2" y="83"/>
                    </a:moveTo>
                    <a:cubicBezTo>
                      <a:pt x="2" y="83"/>
                      <a:pt x="2" y="82"/>
                      <a:pt x="1" y="82"/>
                    </a:cubicBezTo>
                    <a:cubicBezTo>
                      <a:pt x="1" y="82"/>
                      <a:pt x="0" y="81"/>
                      <a:pt x="0" y="8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5"/>
                      <a:pt x="1" y="35"/>
                      <a:pt x="1" y="34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1" y="0"/>
                      <a:pt x="62" y="0"/>
                      <a:pt x="62" y="0"/>
                    </a:cubicBezTo>
                    <a:cubicBezTo>
                      <a:pt x="63" y="1"/>
                      <a:pt x="63" y="1"/>
                      <a:pt x="63" y="2"/>
                    </a:cubicBezTo>
                    <a:cubicBezTo>
                      <a:pt x="63" y="46"/>
                      <a:pt x="63" y="46"/>
                      <a:pt x="63" y="46"/>
                    </a:cubicBezTo>
                    <a:cubicBezTo>
                      <a:pt x="63" y="47"/>
                      <a:pt x="63" y="48"/>
                      <a:pt x="62" y="48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3" y="82"/>
                      <a:pt x="3" y="83"/>
                      <a:pt x="2" y="83"/>
                    </a:cubicBezTo>
                    <a:close/>
                    <a:moveTo>
                      <a:pt x="4" y="37"/>
                    </a:moveTo>
                    <a:cubicBezTo>
                      <a:pt x="4" y="77"/>
                      <a:pt x="4" y="77"/>
                      <a:pt x="4" y="77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5"/>
                      <a:pt x="59" y="5"/>
                      <a:pt x="59" y="5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28">
                <a:extLst>
                  <a:ext uri="{FF2B5EF4-FFF2-40B4-BE49-F238E27FC236}">
                    <a16:creationId xmlns:a16="http://schemas.microsoft.com/office/drawing/2014/main" id="{A96EAEA4-6ED5-47A2-AF9F-40414A78C4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58684" y="4932958"/>
                <a:ext cx="83003" cy="95454"/>
              </a:xfrm>
              <a:custGeom>
                <a:avLst/>
                <a:gdLst>
                  <a:gd name="T0" fmla="*/ 2 w 34"/>
                  <a:gd name="T1" fmla="*/ 39 h 39"/>
                  <a:gd name="T2" fmla="*/ 1 w 34"/>
                  <a:gd name="T3" fmla="*/ 39 h 39"/>
                  <a:gd name="T4" fmla="*/ 0 w 34"/>
                  <a:gd name="T5" fmla="*/ 37 h 39"/>
                  <a:gd name="T6" fmla="*/ 0 w 34"/>
                  <a:gd name="T7" fmla="*/ 2 h 39"/>
                  <a:gd name="T8" fmla="*/ 1 w 34"/>
                  <a:gd name="T9" fmla="*/ 1 h 39"/>
                  <a:gd name="T10" fmla="*/ 3 w 34"/>
                  <a:gd name="T11" fmla="*/ 1 h 39"/>
                  <a:gd name="T12" fmla="*/ 33 w 34"/>
                  <a:gd name="T13" fmla="*/ 18 h 39"/>
                  <a:gd name="T14" fmla="*/ 34 w 34"/>
                  <a:gd name="T15" fmla="*/ 20 h 39"/>
                  <a:gd name="T16" fmla="*/ 33 w 34"/>
                  <a:gd name="T17" fmla="*/ 21 h 39"/>
                  <a:gd name="T18" fmla="*/ 3 w 34"/>
                  <a:gd name="T19" fmla="*/ 39 h 39"/>
                  <a:gd name="T20" fmla="*/ 2 w 34"/>
                  <a:gd name="T21" fmla="*/ 39 h 39"/>
                  <a:gd name="T22" fmla="*/ 4 w 34"/>
                  <a:gd name="T23" fmla="*/ 6 h 39"/>
                  <a:gd name="T24" fmla="*/ 4 w 34"/>
                  <a:gd name="T25" fmla="*/ 34 h 39"/>
                  <a:gd name="T26" fmla="*/ 28 w 34"/>
                  <a:gd name="T27" fmla="*/ 20 h 39"/>
                  <a:gd name="T28" fmla="*/ 4 w 34"/>
                  <a:gd name="T29" fmla="*/ 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8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4" y="18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3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6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28" y="20"/>
                      <a:pt x="28" y="20"/>
                      <a:pt x="28" y="20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29">
                <a:extLst>
                  <a:ext uri="{FF2B5EF4-FFF2-40B4-BE49-F238E27FC236}">
                    <a16:creationId xmlns:a16="http://schemas.microsoft.com/office/drawing/2014/main" id="{E1A22DFD-8B28-4368-9DFC-8D94E35D49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085739" y="6837880"/>
                <a:ext cx="330976" cy="561309"/>
              </a:xfrm>
              <a:custGeom>
                <a:avLst/>
                <a:gdLst>
                  <a:gd name="T0" fmla="*/ 133 w 135"/>
                  <a:gd name="T1" fmla="*/ 229 h 229"/>
                  <a:gd name="T2" fmla="*/ 132 w 135"/>
                  <a:gd name="T3" fmla="*/ 229 h 229"/>
                  <a:gd name="T4" fmla="*/ 1 w 135"/>
                  <a:gd name="T5" fmla="*/ 154 h 229"/>
                  <a:gd name="T6" fmla="*/ 0 w 135"/>
                  <a:gd name="T7" fmla="*/ 152 h 229"/>
                  <a:gd name="T8" fmla="*/ 0 w 135"/>
                  <a:gd name="T9" fmla="*/ 2 h 229"/>
                  <a:gd name="T10" fmla="*/ 1 w 135"/>
                  <a:gd name="T11" fmla="*/ 0 h 229"/>
                  <a:gd name="T12" fmla="*/ 3 w 135"/>
                  <a:gd name="T13" fmla="*/ 0 h 229"/>
                  <a:gd name="T14" fmla="*/ 134 w 135"/>
                  <a:gd name="T15" fmla="*/ 75 h 229"/>
                  <a:gd name="T16" fmla="*/ 135 w 135"/>
                  <a:gd name="T17" fmla="*/ 77 h 229"/>
                  <a:gd name="T18" fmla="*/ 135 w 135"/>
                  <a:gd name="T19" fmla="*/ 227 h 229"/>
                  <a:gd name="T20" fmla="*/ 134 w 135"/>
                  <a:gd name="T21" fmla="*/ 229 h 229"/>
                  <a:gd name="T22" fmla="*/ 133 w 135"/>
                  <a:gd name="T23" fmla="*/ 229 h 229"/>
                  <a:gd name="T24" fmla="*/ 4 w 135"/>
                  <a:gd name="T25" fmla="*/ 151 h 229"/>
                  <a:gd name="T26" fmla="*/ 131 w 135"/>
                  <a:gd name="T27" fmla="*/ 224 h 229"/>
                  <a:gd name="T28" fmla="*/ 131 w 135"/>
                  <a:gd name="T29" fmla="*/ 78 h 229"/>
                  <a:gd name="T30" fmla="*/ 4 w 135"/>
                  <a:gd name="T31" fmla="*/ 5 h 229"/>
                  <a:gd name="T32" fmla="*/ 4 w 135"/>
                  <a:gd name="T33" fmla="*/ 151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229">
                    <a:moveTo>
                      <a:pt x="133" y="229"/>
                    </a:moveTo>
                    <a:cubicBezTo>
                      <a:pt x="132" y="229"/>
                      <a:pt x="132" y="229"/>
                      <a:pt x="132" y="229"/>
                    </a:cubicBezTo>
                    <a:cubicBezTo>
                      <a:pt x="1" y="154"/>
                      <a:pt x="1" y="154"/>
                      <a:pt x="1" y="154"/>
                    </a:cubicBezTo>
                    <a:cubicBezTo>
                      <a:pt x="1" y="153"/>
                      <a:pt x="0" y="153"/>
                      <a:pt x="0" y="15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34" y="75"/>
                      <a:pt x="134" y="75"/>
                      <a:pt x="134" y="75"/>
                    </a:cubicBezTo>
                    <a:cubicBezTo>
                      <a:pt x="134" y="75"/>
                      <a:pt x="135" y="76"/>
                      <a:pt x="135" y="77"/>
                    </a:cubicBezTo>
                    <a:cubicBezTo>
                      <a:pt x="135" y="227"/>
                      <a:pt x="135" y="227"/>
                      <a:pt x="135" y="227"/>
                    </a:cubicBezTo>
                    <a:cubicBezTo>
                      <a:pt x="135" y="228"/>
                      <a:pt x="134" y="229"/>
                      <a:pt x="134" y="229"/>
                    </a:cubicBezTo>
                    <a:cubicBezTo>
                      <a:pt x="133" y="229"/>
                      <a:pt x="133" y="229"/>
                      <a:pt x="133" y="229"/>
                    </a:cubicBezTo>
                    <a:close/>
                    <a:moveTo>
                      <a:pt x="4" y="151"/>
                    </a:moveTo>
                    <a:cubicBezTo>
                      <a:pt x="131" y="224"/>
                      <a:pt x="131" y="224"/>
                      <a:pt x="131" y="224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5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33">
                <a:extLst>
                  <a:ext uri="{FF2B5EF4-FFF2-40B4-BE49-F238E27FC236}">
                    <a16:creationId xmlns:a16="http://schemas.microsoft.com/office/drawing/2014/main" id="{90E23FE7-8471-44AB-B1B7-AB4EF7CF4F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956047" y="6024449"/>
                <a:ext cx="311262" cy="356914"/>
              </a:xfrm>
              <a:custGeom>
                <a:avLst/>
                <a:gdLst>
                  <a:gd name="T0" fmla="*/ 125 w 127"/>
                  <a:gd name="T1" fmla="*/ 146 h 146"/>
                  <a:gd name="T2" fmla="*/ 124 w 127"/>
                  <a:gd name="T3" fmla="*/ 145 h 146"/>
                  <a:gd name="T4" fmla="*/ 1 w 127"/>
                  <a:gd name="T5" fmla="*/ 74 h 146"/>
                  <a:gd name="T6" fmla="*/ 0 w 127"/>
                  <a:gd name="T7" fmla="*/ 73 h 146"/>
                  <a:gd name="T8" fmla="*/ 1 w 127"/>
                  <a:gd name="T9" fmla="*/ 71 h 146"/>
                  <a:gd name="T10" fmla="*/ 124 w 127"/>
                  <a:gd name="T11" fmla="*/ 0 h 146"/>
                  <a:gd name="T12" fmla="*/ 126 w 127"/>
                  <a:gd name="T13" fmla="*/ 0 h 146"/>
                  <a:gd name="T14" fmla="*/ 127 w 127"/>
                  <a:gd name="T15" fmla="*/ 2 h 146"/>
                  <a:gd name="T16" fmla="*/ 127 w 127"/>
                  <a:gd name="T17" fmla="*/ 144 h 146"/>
                  <a:gd name="T18" fmla="*/ 126 w 127"/>
                  <a:gd name="T19" fmla="*/ 145 h 146"/>
                  <a:gd name="T20" fmla="*/ 125 w 127"/>
                  <a:gd name="T21" fmla="*/ 146 h 146"/>
                  <a:gd name="T22" fmla="*/ 6 w 127"/>
                  <a:gd name="T23" fmla="*/ 73 h 146"/>
                  <a:gd name="T24" fmla="*/ 123 w 127"/>
                  <a:gd name="T25" fmla="*/ 140 h 146"/>
                  <a:gd name="T26" fmla="*/ 123 w 127"/>
                  <a:gd name="T27" fmla="*/ 5 h 146"/>
                  <a:gd name="T28" fmla="*/ 6 w 127"/>
                  <a:gd name="T29" fmla="*/ 7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46">
                    <a:moveTo>
                      <a:pt x="125" y="146"/>
                    </a:moveTo>
                    <a:cubicBezTo>
                      <a:pt x="125" y="146"/>
                      <a:pt x="124" y="146"/>
                      <a:pt x="124" y="145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4"/>
                      <a:pt x="0" y="73"/>
                      <a:pt x="0" y="73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5" y="0"/>
                      <a:pt x="126" y="0"/>
                    </a:cubicBezTo>
                    <a:cubicBezTo>
                      <a:pt x="126" y="0"/>
                      <a:pt x="127" y="1"/>
                      <a:pt x="127" y="2"/>
                    </a:cubicBezTo>
                    <a:cubicBezTo>
                      <a:pt x="127" y="144"/>
                      <a:pt x="127" y="144"/>
                      <a:pt x="127" y="144"/>
                    </a:cubicBezTo>
                    <a:cubicBezTo>
                      <a:pt x="127" y="144"/>
                      <a:pt x="126" y="145"/>
                      <a:pt x="126" y="145"/>
                    </a:cubicBezTo>
                    <a:cubicBezTo>
                      <a:pt x="126" y="146"/>
                      <a:pt x="125" y="146"/>
                      <a:pt x="125" y="146"/>
                    </a:cubicBezTo>
                    <a:close/>
                    <a:moveTo>
                      <a:pt x="6" y="73"/>
                    </a:move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3" y="5"/>
                      <a:pt x="123" y="5"/>
                      <a:pt x="123" y="5"/>
                    </a:cubicBezTo>
                    <a:lnTo>
                      <a:pt x="6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37">
                <a:extLst>
                  <a:ext uri="{FF2B5EF4-FFF2-40B4-BE49-F238E27FC236}">
                    <a16:creationId xmlns:a16="http://schemas.microsoft.com/office/drawing/2014/main" id="{C22A95B8-6F6E-4277-8147-94C78B4EB5E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25277" y="5555481"/>
                <a:ext cx="126580" cy="80928"/>
              </a:xfrm>
              <a:custGeom>
                <a:avLst/>
                <a:gdLst>
                  <a:gd name="T0" fmla="*/ 4 w 52"/>
                  <a:gd name="T1" fmla="*/ 33 h 33"/>
                  <a:gd name="T2" fmla="*/ 3 w 52"/>
                  <a:gd name="T3" fmla="*/ 33 h 33"/>
                  <a:gd name="T4" fmla="*/ 1 w 52"/>
                  <a:gd name="T5" fmla="*/ 31 h 33"/>
                  <a:gd name="T6" fmla="*/ 0 w 52"/>
                  <a:gd name="T7" fmla="*/ 30 h 33"/>
                  <a:gd name="T8" fmla="*/ 1 w 52"/>
                  <a:gd name="T9" fmla="*/ 28 h 33"/>
                  <a:gd name="T10" fmla="*/ 49 w 52"/>
                  <a:gd name="T11" fmla="*/ 0 h 33"/>
                  <a:gd name="T12" fmla="*/ 51 w 52"/>
                  <a:gd name="T13" fmla="*/ 0 h 33"/>
                  <a:gd name="T14" fmla="*/ 52 w 52"/>
                  <a:gd name="T15" fmla="*/ 2 h 33"/>
                  <a:gd name="T16" fmla="*/ 52 w 52"/>
                  <a:gd name="T17" fmla="*/ 5 h 33"/>
                  <a:gd name="T18" fmla="*/ 51 w 52"/>
                  <a:gd name="T19" fmla="*/ 7 h 33"/>
                  <a:gd name="T20" fmla="*/ 5 w 52"/>
                  <a:gd name="T21" fmla="*/ 33 h 33"/>
                  <a:gd name="T22" fmla="*/ 4 w 52"/>
                  <a:gd name="T2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4" y="33"/>
                    </a:moveTo>
                    <a:cubicBezTo>
                      <a:pt x="4" y="33"/>
                      <a:pt x="4" y="33"/>
                      <a:pt x="3" y="33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30"/>
                    </a:cubicBezTo>
                    <a:cubicBezTo>
                      <a:pt x="0" y="29"/>
                      <a:pt x="0" y="28"/>
                      <a:pt x="1" y="28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1" y="0"/>
                      <a:pt x="52" y="1"/>
                      <a:pt x="52" y="2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2" y="6"/>
                      <a:pt x="51" y="6"/>
                      <a:pt x="51" y="7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3"/>
                      <a:pt x="5" y="33"/>
                      <a:pt x="4" y="3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40">
                <a:extLst>
                  <a:ext uri="{FF2B5EF4-FFF2-40B4-BE49-F238E27FC236}">
                    <a16:creationId xmlns:a16="http://schemas.microsoft.com/office/drawing/2014/main" id="{3588B1F0-D446-4E06-A8B4-16622F912D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50684" y="4963046"/>
                <a:ext cx="649501" cy="383890"/>
              </a:xfrm>
              <a:custGeom>
                <a:avLst/>
                <a:gdLst>
                  <a:gd name="T0" fmla="*/ 131 w 265"/>
                  <a:gd name="T1" fmla="*/ 157 h 157"/>
                  <a:gd name="T2" fmla="*/ 130 w 265"/>
                  <a:gd name="T3" fmla="*/ 157 h 157"/>
                  <a:gd name="T4" fmla="*/ 1 w 265"/>
                  <a:gd name="T5" fmla="*/ 82 h 157"/>
                  <a:gd name="T6" fmla="*/ 0 w 265"/>
                  <a:gd name="T7" fmla="*/ 81 h 157"/>
                  <a:gd name="T8" fmla="*/ 1 w 265"/>
                  <a:gd name="T9" fmla="*/ 79 h 157"/>
                  <a:gd name="T10" fmla="*/ 115 w 265"/>
                  <a:gd name="T11" fmla="*/ 14 h 157"/>
                  <a:gd name="T12" fmla="*/ 115 w 265"/>
                  <a:gd name="T13" fmla="*/ 11 h 157"/>
                  <a:gd name="T14" fmla="*/ 116 w 265"/>
                  <a:gd name="T15" fmla="*/ 9 h 157"/>
                  <a:gd name="T16" fmla="*/ 130 w 265"/>
                  <a:gd name="T17" fmla="*/ 1 h 157"/>
                  <a:gd name="T18" fmla="*/ 132 w 265"/>
                  <a:gd name="T19" fmla="*/ 1 h 157"/>
                  <a:gd name="T20" fmla="*/ 264 w 265"/>
                  <a:gd name="T21" fmla="*/ 77 h 157"/>
                  <a:gd name="T22" fmla="*/ 265 w 265"/>
                  <a:gd name="T23" fmla="*/ 79 h 157"/>
                  <a:gd name="T24" fmla="*/ 264 w 265"/>
                  <a:gd name="T25" fmla="*/ 80 h 157"/>
                  <a:gd name="T26" fmla="*/ 132 w 265"/>
                  <a:gd name="T27" fmla="*/ 157 h 157"/>
                  <a:gd name="T28" fmla="*/ 131 w 265"/>
                  <a:gd name="T29" fmla="*/ 157 h 157"/>
                  <a:gd name="T30" fmla="*/ 6 w 265"/>
                  <a:gd name="T31" fmla="*/ 81 h 157"/>
                  <a:gd name="T32" fmla="*/ 131 w 265"/>
                  <a:gd name="T33" fmla="*/ 153 h 157"/>
                  <a:gd name="T34" fmla="*/ 259 w 265"/>
                  <a:gd name="T35" fmla="*/ 79 h 157"/>
                  <a:gd name="T36" fmla="*/ 131 w 265"/>
                  <a:gd name="T37" fmla="*/ 5 h 157"/>
                  <a:gd name="T38" fmla="*/ 119 w 265"/>
                  <a:gd name="T39" fmla="*/ 12 h 157"/>
                  <a:gd name="T40" fmla="*/ 119 w 265"/>
                  <a:gd name="T41" fmla="*/ 15 h 157"/>
                  <a:gd name="T42" fmla="*/ 118 w 265"/>
                  <a:gd name="T43" fmla="*/ 16 h 157"/>
                  <a:gd name="T44" fmla="*/ 6 w 265"/>
                  <a:gd name="T45" fmla="*/ 8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5" h="157">
                    <a:moveTo>
                      <a:pt x="131" y="157"/>
                    </a:moveTo>
                    <a:cubicBezTo>
                      <a:pt x="131" y="157"/>
                      <a:pt x="130" y="157"/>
                      <a:pt x="130" y="15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0" y="81"/>
                      <a:pt x="0" y="81"/>
                    </a:cubicBezTo>
                    <a:cubicBezTo>
                      <a:pt x="0" y="80"/>
                      <a:pt x="1" y="79"/>
                      <a:pt x="1" y="79"/>
                    </a:cubicBezTo>
                    <a:cubicBezTo>
                      <a:pt x="115" y="14"/>
                      <a:pt x="115" y="14"/>
                      <a:pt x="115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5" y="10"/>
                      <a:pt x="115" y="9"/>
                      <a:pt x="116" y="9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2" y="0"/>
                      <a:pt x="132" y="1"/>
                    </a:cubicBezTo>
                    <a:cubicBezTo>
                      <a:pt x="264" y="77"/>
                      <a:pt x="264" y="77"/>
                      <a:pt x="264" y="77"/>
                    </a:cubicBezTo>
                    <a:cubicBezTo>
                      <a:pt x="265" y="77"/>
                      <a:pt x="265" y="78"/>
                      <a:pt x="265" y="79"/>
                    </a:cubicBezTo>
                    <a:cubicBezTo>
                      <a:pt x="265" y="79"/>
                      <a:pt x="265" y="80"/>
                      <a:pt x="264" y="80"/>
                    </a:cubicBezTo>
                    <a:cubicBezTo>
                      <a:pt x="132" y="157"/>
                      <a:pt x="132" y="157"/>
                      <a:pt x="132" y="157"/>
                    </a:cubicBezTo>
                    <a:cubicBezTo>
                      <a:pt x="132" y="157"/>
                      <a:pt x="131" y="157"/>
                      <a:pt x="131" y="157"/>
                    </a:cubicBezTo>
                    <a:close/>
                    <a:moveTo>
                      <a:pt x="6" y="81"/>
                    </a:moveTo>
                    <a:cubicBezTo>
                      <a:pt x="131" y="153"/>
                      <a:pt x="131" y="153"/>
                      <a:pt x="131" y="153"/>
                    </a:cubicBezTo>
                    <a:cubicBezTo>
                      <a:pt x="259" y="79"/>
                      <a:pt x="259" y="79"/>
                      <a:pt x="259" y="79"/>
                    </a:cubicBezTo>
                    <a:cubicBezTo>
                      <a:pt x="131" y="5"/>
                      <a:pt x="131" y="5"/>
                      <a:pt x="131" y="5"/>
                    </a:cubicBezTo>
                    <a:cubicBezTo>
                      <a:pt x="119" y="12"/>
                      <a:pt x="119" y="12"/>
                      <a:pt x="119" y="12"/>
                    </a:cubicBezTo>
                    <a:cubicBezTo>
                      <a:pt x="119" y="15"/>
                      <a:pt x="119" y="15"/>
                      <a:pt x="119" y="15"/>
                    </a:cubicBezTo>
                    <a:cubicBezTo>
                      <a:pt x="119" y="15"/>
                      <a:pt x="118" y="16"/>
                      <a:pt x="118" y="16"/>
                    </a:cubicBezTo>
                    <a:lnTo>
                      <a:pt x="6" y="8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8" name="Freeform 743">
                <a:extLst>
                  <a:ext uri="{FF2B5EF4-FFF2-40B4-BE49-F238E27FC236}">
                    <a16:creationId xmlns:a16="http://schemas.microsoft.com/office/drawing/2014/main" id="{731EB2CE-2282-4997-9B08-EAE4921C393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13824" y="4986910"/>
                <a:ext cx="293624" cy="176382"/>
              </a:xfrm>
              <a:custGeom>
                <a:avLst/>
                <a:gdLst>
                  <a:gd name="T0" fmla="*/ 4 w 120"/>
                  <a:gd name="T1" fmla="*/ 72 h 72"/>
                  <a:gd name="T2" fmla="*/ 3 w 120"/>
                  <a:gd name="T3" fmla="*/ 71 h 72"/>
                  <a:gd name="T4" fmla="*/ 1 w 120"/>
                  <a:gd name="T5" fmla="*/ 70 h 72"/>
                  <a:gd name="T6" fmla="*/ 0 w 120"/>
                  <a:gd name="T7" fmla="*/ 69 h 72"/>
                  <a:gd name="T8" fmla="*/ 1 w 120"/>
                  <a:gd name="T9" fmla="*/ 67 h 72"/>
                  <a:gd name="T10" fmla="*/ 117 w 120"/>
                  <a:gd name="T11" fmla="*/ 0 h 72"/>
                  <a:gd name="T12" fmla="*/ 119 w 120"/>
                  <a:gd name="T13" fmla="*/ 0 h 72"/>
                  <a:gd name="T14" fmla="*/ 120 w 120"/>
                  <a:gd name="T15" fmla="*/ 2 h 72"/>
                  <a:gd name="T16" fmla="*/ 120 w 120"/>
                  <a:gd name="T17" fmla="*/ 4 h 72"/>
                  <a:gd name="T18" fmla="*/ 119 w 120"/>
                  <a:gd name="T19" fmla="*/ 5 h 72"/>
                  <a:gd name="T20" fmla="*/ 5 w 120"/>
                  <a:gd name="T21" fmla="*/ 71 h 72"/>
                  <a:gd name="T22" fmla="*/ 4 w 120"/>
                  <a:gd name="T2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0" h="72">
                    <a:moveTo>
                      <a:pt x="4" y="72"/>
                    </a:moveTo>
                    <a:cubicBezTo>
                      <a:pt x="3" y="72"/>
                      <a:pt x="3" y="72"/>
                      <a:pt x="3" y="71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8"/>
                      <a:pt x="1" y="67"/>
                      <a:pt x="1" y="67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20" y="0"/>
                      <a:pt x="120" y="1"/>
                      <a:pt x="120" y="2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4"/>
                      <a:pt x="120" y="5"/>
                      <a:pt x="119" y="5"/>
                    </a:cubicBezTo>
                    <a:cubicBezTo>
                      <a:pt x="5" y="71"/>
                      <a:pt x="5" y="71"/>
                      <a:pt x="5" y="71"/>
                    </a:cubicBezTo>
                    <a:cubicBezTo>
                      <a:pt x="5" y="72"/>
                      <a:pt x="4" y="72"/>
                      <a:pt x="4" y="7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9" name="Freeform 760">
                <a:extLst>
                  <a:ext uri="{FF2B5EF4-FFF2-40B4-BE49-F238E27FC236}">
                    <a16:creationId xmlns:a16="http://schemas.microsoft.com/office/drawing/2014/main" id="{096CC850-3092-463F-801B-5D52D28B41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5739126"/>
                <a:ext cx="26976" cy="30089"/>
              </a:xfrm>
              <a:custGeom>
                <a:avLst/>
                <a:gdLst>
                  <a:gd name="T0" fmla="*/ 9 w 11"/>
                  <a:gd name="T1" fmla="*/ 12 h 12"/>
                  <a:gd name="T2" fmla="*/ 8 w 11"/>
                  <a:gd name="T3" fmla="*/ 12 h 12"/>
                  <a:gd name="T4" fmla="*/ 1 w 11"/>
                  <a:gd name="T5" fmla="*/ 8 h 12"/>
                  <a:gd name="T6" fmla="*/ 0 w 11"/>
                  <a:gd name="T7" fmla="*/ 6 h 12"/>
                  <a:gd name="T8" fmla="*/ 1 w 11"/>
                  <a:gd name="T9" fmla="*/ 4 h 12"/>
                  <a:gd name="T10" fmla="*/ 8 w 11"/>
                  <a:gd name="T11" fmla="*/ 0 h 12"/>
                  <a:gd name="T12" fmla="*/ 10 w 11"/>
                  <a:gd name="T13" fmla="*/ 0 h 12"/>
                  <a:gd name="T14" fmla="*/ 11 w 11"/>
                  <a:gd name="T15" fmla="*/ 2 h 12"/>
                  <a:gd name="T16" fmla="*/ 11 w 11"/>
                  <a:gd name="T17" fmla="*/ 10 h 12"/>
                  <a:gd name="T18" fmla="*/ 10 w 11"/>
                  <a:gd name="T19" fmla="*/ 12 h 12"/>
                  <a:gd name="T20" fmla="*/ 9 w 11"/>
                  <a:gd name="T21" fmla="*/ 12 h 12"/>
                  <a:gd name="T22" fmla="*/ 6 w 11"/>
                  <a:gd name="T23" fmla="*/ 6 h 12"/>
                  <a:gd name="T24" fmla="*/ 7 w 11"/>
                  <a:gd name="T25" fmla="*/ 7 h 12"/>
                  <a:gd name="T26" fmla="*/ 7 w 11"/>
                  <a:gd name="T27" fmla="*/ 6 h 12"/>
                  <a:gd name="T28" fmla="*/ 6 w 11"/>
                  <a:gd name="T2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9" y="12"/>
                    </a:moveTo>
                    <a:cubicBezTo>
                      <a:pt x="9" y="12"/>
                      <a:pt x="8" y="12"/>
                      <a:pt x="8" y="1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5"/>
                      <a:pt x="1" y="5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1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lose/>
                    <a:moveTo>
                      <a:pt x="6" y="6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0" name="Freeform 761">
                <a:extLst>
                  <a:ext uri="{FF2B5EF4-FFF2-40B4-BE49-F238E27FC236}">
                    <a16:creationId xmlns:a16="http://schemas.microsoft.com/office/drawing/2014/main" id="{76FC6A03-CB4A-40DB-8310-B28511E485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858137" y="5616696"/>
                <a:ext cx="147331" cy="91303"/>
              </a:xfrm>
              <a:custGeom>
                <a:avLst/>
                <a:gdLst>
                  <a:gd name="T0" fmla="*/ 58 w 60"/>
                  <a:gd name="T1" fmla="*/ 37 h 37"/>
                  <a:gd name="T2" fmla="*/ 57 w 60"/>
                  <a:gd name="T3" fmla="*/ 37 h 37"/>
                  <a:gd name="T4" fmla="*/ 1 w 60"/>
                  <a:gd name="T5" fmla="*/ 5 h 37"/>
                  <a:gd name="T6" fmla="*/ 0 w 60"/>
                  <a:gd name="T7" fmla="*/ 3 h 37"/>
                  <a:gd name="T8" fmla="*/ 1 w 60"/>
                  <a:gd name="T9" fmla="*/ 1 h 37"/>
                  <a:gd name="T10" fmla="*/ 3 w 60"/>
                  <a:gd name="T11" fmla="*/ 1 h 37"/>
                  <a:gd name="T12" fmla="*/ 5 w 60"/>
                  <a:gd name="T13" fmla="*/ 1 h 37"/>
                  <a:gd name="T14" fmla="*/ 59 w 60"/>
                  <a:gd name="T15" fmla="*/ 32 h 37"/>
                  <a:gd name="T16" fmla="*/ 60 w 60"/>
                  <a:gd name="T17" fmla="*/ 34 h 37"/>
                  <a:gd name="T18" fmla="*/ 60 w 60"/>
                  <a:gd name="T19" fmla="*/ 35 h 37"/>
                  <a:gd name="T20" fmla="*/ 59 w 60"/>
                  <a:gd name="T21" fmla="*/ 37 h 37"/>
                  <a:gd name="T22" fmla="*/ 58 w 60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37">
                    <a:moveTo>
                      <a:pt x="58" y="37"/>
                    </a:moveTo>
                    <a:cubicBezTo>
                      <a:pt x="58" y="37"/>
                      <a:pt x="57" y="37"/>
                      <a:pt x="57" y="3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9" y="32"/>
                      <a:pt x="59" y="32"/>
                      <a:pt x="59" y="32"/>
                    </a:cubicBezTo>
                    <a:cubicBezTo>
                      <a:pt x="60" y="32"/>
                      <a:pt x="60" y="33"/>
                      <a:pt x="60" y="34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6"/>
                      <a:pt x="60" y="37"/>
                      <a:pt x="59" y="37"/>
                    </a:cubicBezTo>
                    <a:cubicBezTo>
                      <a:pt x="59" y="37"/>
                      <a:pt x="59" y="37"/>
                      <a:pt x="58" y="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762">
                <a:extLst>
                  <a:ext uri="{FF2B5EF4-FFF2-40B4-BE49-F238E27FC236}">
                    <a16:creationId xmlns:a16="http://schemas.microsoft.com/office/drawing/2014/main" id="{145B6322-A236-42C5-BB92-459D48907A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5540956"/>
                <a:ext cx="140068" cy="159781"/>
              </a:xfrm>
              <a:custGeom>
                <a:avLst/>
                <a:gdLst>
                  <a:gd name="T0" fmla="*/ 55 w 57"/>
                  <a:gd name="T1" fmla="*/ 65 h 65"/>
                  <a:gd name="T2" fmla="*/ 54 w 57"/>
                  <a:gd name="T3" fmla="*/ 65 h 65"/>
                  <a:gd name="T4" fmla="*/ 1 w 57"/>
                  <a:gd name="T5" fmla="*/ 34 h 65"/>
                  <a:gd name="T6" fmla="*/ 0 w 57"/>
                  <a:gd name="T7" fmla="*/ 32 h 65"/>
                  <a:gd name="T8" fmla="*/ 1 w 57"/>
                  <a:gd name="T9" fmla="*/ 31 h 65"/>
                  <a:gd name="T10" fmla="*/ 54 w 57"/>
                  <a:gd name="T11" fmla="*/ 0 h 65"/>
                  <a:gd name="T12" fmla="*/ 56 w 57"/>
                  <a:gd name="T13" fmla="*/ 0 h 65"/>
                  <a:gd name="T14" fmla="*/ 57 w 57"/>
                  <a:gd name="T15" fmla="*/ 2 h 65"/>
                  <a:gd name="T16" fmla="*/ 57 w 57"/>
                  <a:gd name="T17" fmla="*/ 63 h 65"/>
                  <a:gd name="T18" fmla="*/ 56 w 57"/>
                  <a:gd name="T19" fmla="*/ 65 h 65"/>
                  <a:gd name="T20" fmla="*/ 55 w 57"/>
                  <a:gd name="T21" fmla="*/ 65 h 65"/>
                  <a:gd name="T22" fmla="*/ 6 w 57"/>
                  <a:gd name="T23" fmla="*/ 32 h 65"/>
                  <a:gd name="T24" fmla="*/ 53 w 57"/>
                  <a:gd name="T25" fmla="*/ 59 h 65"/>
                  <a:gd name="T26" fmla="*/ 53 w 57"/>
                  <a:gd name="T27" fmla="*/ 5 h 65"/>
                  <a:gd name="T28" fmla="*/ 6 w 57"/>
                  <a:gd name="T29" fmla="*/ 3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65">
                    <a:moveTo>
                      <a:pt x="55" y="65"/>
                    </a:moveTo>
                    <a:cubicBezTo>
                      <a:pt x="55" y="65"/>
                      <a:pt x="54" y="65"/>
                      <a:pt x="54" y="6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2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0"/>
                      <a:pt x="56" y="0"/>
                    </a:cubicBezTo>
                    <a:cubicBezTo>
                      <a:pt x="57" y="0"/>
                      <a:pt x="57" y="1"/>
                      <a:pt x="57" y="2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7" y="64"/>
                      <a:pt x="57" y="64"/>
                      <a:pt x="56" y="65"/>
                    </a:cubicBezTo>
                    <a:cubicBezTo>
                      <a:pt x="56" y="65"/>
                      <a:pt x="56" y="65"/>
                      <a:pt x="55" y="65"/>
                    </a:cubicBezTo>
                    <a:close/>
                    <a:moveTo>
                      <a:pt x="6" y="32"/>
                    </a:move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2" name="Freeform 763">
                <a:extLst>
                  <a:ext uri="{FF2B5EF4-FFF2-40B4-BE49-F238E27FC236}">
                    <a16:creationId xmlns:a16="http://schemas.microsoft.com/office/drawing/2014/main" id="{E77E6C7C-EE48-4ED5-BEF6-3F595D19B9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740895" y="6119903"/>
                <a:ext cx="142143" cy="109979"/>
              </a:xfrm>
              <a:custGeom>
                <a:avLst/>
                <a:gdLst>
                  <a:gd name="T0" fmla="*/ 41 w 58"/>
                  <a:gd name="T1" fmla="*/ 45 h 45"/>
                  <a:gd name="T2" fmla="*/ 40 w 58"/>
                  <a:gd name="T3" fmla="*/ 44 h 45"/>
                  <a:gd name="T4" fmla="*/ 1 w 58"/>
                  <a:gd name="T5" fmla="*/ 22 h 45"/>
                  <a:gd name="T6" fmla="*/ 0 w 58"/>
                  <a:gd name="T7" fmla="*/ 20 h 45"/>
                  <a:gd name="T8" fmla="*/ 0 w 58"/>
                  <a:gd name="T9" fmla="*/ 2 h 45"/>
                  <a:gd name="T10" fmla="*/ 1 w 58"/>
                  <a:gd name="T11" fmla="*/ 1 h 45"/>
                  <a:gd name="T12" fmla="*/ 3 w 58"/>
                  <a:gd name="T13" fmla="*/ 1 h 45"/>
                  <a:gd name="T14" fmla="*/ 57 w 58"/>
                  <a:gd name="T15" fmla="*/ 32 h 45"/>
                  <a:gd name="T16" fmla="*/ 58 w 58"/>
                  <a:gd name="T17" fmla="*/ 34 h 45"/>
                  <a:gd name="T18" fmla="*/ 57 w 58"/>
                  <a:gd name="T19" fmla="*/ 35 h 45"/>
                  <a:gd name="T20" fmla="*/ 42 w 58"/>
                  <a:gd name="T21" fmla="*/ 44 h 45"/>
                  <a:gd name="T22" fmla="*/ 41 w 58"/>
                  <a:gd name="T23" fmla="*/ 45 h 45"/>
                  <a:gd name="T24" fmla="*/ 4 w 58"/>
                  <a:gd name="T25" fmla="*/ 19 h 45"/>
                  <a:gd name="T26" fmla="*/ 41 w 58"/>
                  <a:gd name="T27" fmla="*/ 40 h 45"/>
                  <a:gd name="T28" fmla="*/ 52 w 58"/>
                  <a:gd name="T29" fmla="*/ 34 h 45"/>
                  <a:gd name="T30" fmla="*/ 4 w 58"/>
                  <a:gd name="T31" fmla="*/ 6 h 45"/>
                  <a:gd name="T32" fmla="*/ 4 w 58"/>
                  <a:gd name="T33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8" h="45">
                    <a:moveTo>
                      <a:pt x="41" y="45"/>
                    </a:moveTo>
                    <a:cubicBezTo>
                      <a:pt x="40" y="45"/>
                      <a:pt x="40" y="45"/>
                      <a:pt x="40" y="44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0" y="21"/>
                      <a:pt x="0" y="2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8" y="32"/>
                      <a:pt x="58" y="33"/>
                      <a:pt x="58" y="34"/>
                    </a:cubicBezTo>
                    <a:cubicBezTo>
                      <a:pt x="58" y="34"/>
                      <a:pt x="58" y="35"/>
                      <a:pt x="57" y="3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1" y="45"/>
                      <a:pt x="41" y="45"/>
                      <a:pt x="41" y="45"/>
                    </a:cubicBezTo>
                    <a:close/>
                    <a:moveTo>
                      <a:pt x="4" y="19"/>
                    </a:moveTo>
                    <a:cubicBezTo>
                      <a:pt x="41" y="40"/>
                      <a:pt x="41" y="40"/>
                      <a:pt x="41" y="40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3" name="Freeform 764">
                <a:extLst>
                  <a:ext uri="{FF2B5EF4-FFF2-40B4-BE49-F238E27FC236}">
                    <a16:creationId xmlns:a16="http://schemas.microsoft.com/office/drawing/2014/main" id="{D1FF4FCA-4B8D-4383-9C73-2B3D10978D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782397" y="6121978"/>
                <a:ext cx="367290" cy="240709"/>
              </a:xfrm>
              <a:custGeom>
                <a:avLst/>
                <a:gdLst>
                  <a:gd name="T0" fmla="*/ 57 w 150"/>
                  <a:gd name="T1" fmla="*/ 98 h 98"/>
                  <a:gd name="T2" fmla="*/ 56 w 150"/>
                  <a:gd name="T3" fmla="*/ 97 h 98"/>
                  <a:gd name="T4" fmla="*/ 1 w 150"/>
                  <a:gd name="T5" fmla="*/ 66 h 98"/>
                  <a:gd name="T6" fmla="*/ 0 w 150"/>
                  <a:gd name="T7" fmla="*/ 64 h 98"/>
                  <a:gd name="T8" fmla="*/ 1 w 150"/>
                  <a:gd name="T9" fmla="*/ 62 h 98"/>
                  <a:gd name="T10" fmla="*/ 109 w 150"/>
                  <a:gd name="T11" fmla="*/ 1 h 98"/>
                  <a:gd name="T12" fmla="*/ 111 w 150"/>
                  <a:gd name="T13" fmla="*/ 1 h 98"/>
                  <a:gd name="T14" fmla="*/ 112 w 150"/>
                  <a:gd name="T15" fmla="*/ 2 h 98"/>
                  <a:gd name="T16" fmla="*/ 112 w 150"/>
                  <a:gd name="T17" fmla="*/ 19 h 98"/>
                  <a:gd name="T18" fmla="*/ 149 w 150"/>
                  <a:gd name="T19" fmla="*/ 41 h 98"/>
                  <a:gd name="T20" fmla="*/ 150 w 150"/>
                  <a:gd name="T21" fmla="*/ 43 h 98"/>
                  <a:gd name="T22" fmla="*/ 149 w 150"/>
                  <a:gd name="T23" fmla="*/ 44 h 98"/>
                  <a:gd name="T24" fmla="*/ 58 w 150"/>
                  <a:gd name="T25" fmla="*/ 97 h 98"/>
                  <a:gd name="T26" fmla="*/ 57 w 150"/>
                  <a:gd name="T27" fmla="*/ 98 h 98"/>
                  <a:gd name="T28" fmla="*/ 6 w 150"/>
                  <a:gd name="T29" fmla="*/ 64 h 98"/>
                  <a:gd name="T30" fmla="*/ 57 w 150"/>
                  <a:gd name="T31" fmla="*/ 93 h 98"/>
                  <a:gd name="T32" fmla="*/ 144 w 150"/>
                  <a:gd name="T33" fmla="*/ 43 h 98"/>
                  <a:gd name="T34" fmla="*/ 109 w 150"/>
                  <a:gd name="T35" fmla="*/ 22 h 98"/>
                  <a:gd name="T36" fmla="*/ 108 w 150"/>
                  <a:gd name="T37" fmla="*/ 20 h 98"/>
                  <a:gd name="T38" fmla="*/ 108 w 150"/>
                  <a:gd name="T39" fmla="*/ 6 h 98"/>
                  <a:gd name="T40" fmla="*/ 6 w 150"/>
                  <a:gd name="T41" fmla="*/ 6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98">
                    <a:moveTo>
                      <a:pt x="57" y="98"/>
                    </a:moveTo>
                    <a:cubicBezTo>
                      <a:pt x="56" y="98"/>
                      <a:pt x="56" y="97"/>
                      <a:pt x="56" y="9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1" y="66"/>
                      <a:pt x="0" y="65"/>
                      <a:pt x="0" y="64"/>
                    </a:cubicBezTo>
                    <a:cubicBezTo>
                      <a:pt x="0" y="63"/>
                      <a:pt x="1" y="63"/>
                      <a:pt x="1" y="62"/>
                    </a:cubicBezTo>
                    <a:cubicBezTo>
                      <a:pt x="109" y="1"/>
                      <a:pt x="109" y="1"/>
                      <a:pt x="109" y="1"/>
                    </a:cubicBezTo>
                    <a:cubicBezTo>
                      <a:pt x="109" y="0"/>
                      <a:pt x="110" y="0"/>
                      <a:pt x="111" y="1"/>
                    </a:cubicBezTo>
                    <a:cubicBezTo>
                      <a:pt x="111" y="1"/>
                      <a:pt x="112" y="2"/>
                      <a:pt x="112" y="2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50" y="41"/>
                      <a:pt x="150" y="42"/>
                      <a:pt x="150" y="43"/>
                    </a:cubicBezTo>
                    <a:cubicBezTo>
                      <a:pt x="150" y="43"/>
                      <a:pt x="150" y="44"/>
                      <a:pt x="149" y="44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7" y="97"/>
                      <a:pt x="57" y="98"/>
                      <a:pt x="57" y="98"/>
                    </a:cubicBezTo>
                    <a:close/>
                    <a:moveTo>
                      <a:pt x="6" y="64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09" y="22"/>
                      <a:pt x="109" y="22"/>
                      <a:pt x="109" y="22"/>
                    </a:cubicBezTo>
                    <a:cubicBezTo>
                      <a:pt x="108" y="22"/>
                      <a:pt x="108" y="21"/>
                      <a:pt x="108" y="20"/>
                    </a:cubicBezTo>
                    <a:cubicBezTo>
                      <a:pt x="108" y="6"/>
                      <a:pt x="108" y="6"/>
                      <a:pt x="108" y="6"/>
                    </a:cubicBezTo>
                    <a:lnTo>
                      <a:pt x="6" y="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4" name="Freeform 765">
                <a:extLst>
                  <a:ext uri="{FF2B5EF4-FFF2-40B4-BE49-F238E27FC236}">
                    <a16:creationId xmlns:a16="http://schemas.microsoft.com/office/drawing/2014/main" id="{8979B2D1-F36A-417F-A07D-3C1B183CC8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5825242"/>
                <a:ext cx="24901" cy="298811"/>
              </a:xfrm>
              <a:custGeom>
                <a:avLst/>
                <a:gdLst>
                  <a:gd name="T0" fmla="*/ 2 w 10"/>
                  <a:gd name="T1" fmla="*/ 122 h 122"/>
                  <a:gd name="T2" fmla="*/ 1 w 10"/>
                  <a:gd name="T3" fmla="*/ 122 h 122"/>
                  <a:gd name="T4" fmla="*/ 0 w 10"/>
                  <a:gd name="T5" fmla="*/ 120 h 122"/>
                  <a:gd name="T6" fmla="*/ 0 w 10"/>
                  <a:gd name="T7" fmla="*/ 2 h 122"/>
                  <a:gd name="T8" fmla="*/ 1 w 10"/>
                  <a:gd name="T9" fmla="*/ 1 h 122"/>
                  <a:gd name="T10" fmla="*/ 3 w 10"/>
                  <a:gd name="T11" fmla="*/ 1 h 122"/>
                  <a:gd name="T12" fmla="*/ 9 w 10"/>
                  <a:gd name="T13" fmla="*/ 4 h 122"/>
                  <a:gd name="T14" fmla="*/ 10 w 10"/>
                  <a:gd name="T15" fmla="*/ 6 h 122"/>
                  <a:gd name="T16" fmla="*/ 10 w 10"/>
                  <a:gd name="T17" fmla="*/ 117 h 122"/>
                  <a:gd name="T18" fmla="*/ 9 w 10"/>
                  <a:gd name="T19" fmla="*/ 119 h 122"/>
                  <a:gd name="T20" fmla="*/ 3 w 10"/>
                  <a:gd name="T21" fmla="*/ 122 h 122"/>
                  <a:gd name="T22" fmla="*/ 2 w 10"/>
                  <a:gd name="T23" fmla="*/ 122 h 122"/>
                  <a:gd name="T24" fmla="*/ 4 w 10"/>
                  <a:gd name="T25" fmla="*/ 6 h 122"/>
                  <a:gd name="T26" fmla="*/ 4 w 10"/>
                  <a:gd name="T27" fmla="*/ 117 h 122"/>
                  <a:gd name="T28" fmla="*/ 6 w 10"/>
                  <a:gd name="T29" fmla="*/ 116 h 122"/>
                  <a:gd name="T30" fmla="*/ 6 w 10"/>
                  <a:gd name="T31" fmla="*/ 7 h 122"/>
                  <a:gd name="T32" fmla="*/ 4 w 10"/>
                  <a:gd name="T33" fmla="*/ 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2">
                    <a:moveTo>
                      <a:pt x="2" y="122"/>
                    </a:moveTo>
                    <a:cubicBezTo>
                      <a:pt x="2" y="122"/>
                      <a:pt x="1" y="122"/>
                      <a:pt x="1" y="122"/>
                    </a:cubicBezTo>
                    <a:cubicBezTo>
                      <a:pt x="1" y="122"/>
                      <a:pt x="0" y="121"/>
                      <a:pt x="0" y="12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117"/>
                      <a:pt x="10" y="117"/>
                      <a:pt x="10" y="117"/>
                    </a:cubicBezTo>
                    <a:cubicBezTo>
                      <a:pt x="10" y="118"/>
                      <a:pt x="10" y="118"/>
                      <a:pt x="9" y="119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2"/>
                      <a:pt x="3" y="122"/>
                      <a:pt x="2" y="122"/>
                    </a:cubicBezTo>
                    <a:close/>
                    <a:moveTo>
                      <a:pt x="4" y="6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5" name="Freeform 766">
                <a:extLst>
                  <a:ext uri="{FF2B5EF4-FFF2-40B4-BE49-F238E27FC236}">
                    <a16:creationId xmlns:a16="http://schemas.microsoft.com/office/drawing/2014/main" id="{02A2BE85-E832-4E27-A08B-BA45AEC5AB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029332" y="5156029"/>
                <a:ext cx="123467" cy="142143"/>
              </a:xfrm>
              <a:custGeom>
                <a:avLst/>
                <a:gdLst>
                  <a:gd name="T0" fmla="*/ 2 w 50"/>
                  <a:gd name="T1" fmla="*/ 58 h 58"/>
                  <a:gd name="T2" fmla="*/ 1 w 50"/>
                  <a:gd name="T3" fmla="*/ 58 h 58"/>
                  <a:gd name="T4" fmla="*/ 0 w 50"/>
                  <a:gd name="T5" fmla="*/ 56 h 58"/>
                  <a:gd name="T6" fmla="*/ 0 w 50"/>
                  <a:gd name="T7" fmla="*/ 2 h 58"/>
                  <a:gd name="T8" fmla="*/ 1 w 50"/>
                  <a:gd name="T9" fmla="*/ 0 h 58"/>
                  <a:gd name="T10" fmla="*/ 3 w 50"/>
                  <a:gd name="T11" fmla="*/ 0 h 58"/>
                  <a:gd name="T12" fmla="*/ 49 w 50"/>
                  <a:gd name="T13" fmla="*/ 28 h 58"/>
                  <a:gd name="T14" fmla="*/ 50 w 50"/>
                  <a:gd name="T15" fmla="*/ 29 h 58"/>
                  <a:gd name="T16" fmla="*/ 49 w 50"/>
                  <a:gd name="T17" fmla="*/ 31 h 58"/>
                  <a:gd name="T18" fmla="*/ 3 w 50"/>
                  <a:gd name="T19" fmla="*/ 58 h 58"/>
                  <a:gd name="T20" fmla="*/ 2 w 50"/>
                  <a:gd name="T21" fmla="*/ 58 h 58"/>
                  <a:gd name="T22" fmla="*/ 4 w 50"/>
                  <a:gd name="T23" fmla="*/ 6 h 58"/>
                  <a:gd name="T24" fmla="*/ 4 w 50"/>
                  <a:gd name="T25" fmla="*/ 53 h 58"/>
                  <a:gd name="T26" fmla="*/ 44 w 50"/>
                  <a:gd name="T27" fmla="*/ 29 h 58"/>
                  <a:gd name="T28" fmla="*/ 4 w 50"/>
                  <a:gd name="T29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" h="58">
                    <a:moveTo>
                      <a:pt x="2" y="58"/>
                    </a:move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9"/>
                      <a:pt x="50" y="29"/>
                    </a:cubicBezTo>
                    <a:cubicBezTo>
                      <a:pt x="50" y="30"/>
                      <a:pt x="50" y="31"/>
                      <a:pt x="49" y="31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8"/>
                      <a:pt x="2" y="58"/>
                      <a:pt x="2" y="58"/>
                    </a:cubicBezTo>
                    <a:close/>
                    <a:moveTo>
                      <a:pt x="4" y="6"/>
                    </a:moveTo>
                    <a:cubicBezTo>
                      <a:pt x="4" y="53"/>
                      <a:pt x="4" y="53"/>
                      <a:pt x="4" y="53"/>
                    </a:cubicBezTo>
                    <a:cubicBezTo>
                      <a:pt x="44" y="29"/>
                      <a:pt x="44" y="29"/>
                      <a:pt x="44" y="29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6" name="Freeform 768">
                <a:extLst>
                  <a:ext uri="{FF2B5EF4-FFF2-40B4-BE49-F238E27FC236}">
                    <a16:creationId xmlns:a16="http://schemas.microsoft.com/office/drawing/2014/main" id="{DF3654E7-6FCE-4645-99BB-977BF7BFAF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010656" y="6276571"/>
                <a:ext cx="142143" cy="109979"/>
              </a:xfrm>
              <a:custGeom>
                <a:avLst/>
                <a:gdLst>
                  <a:gd name="T0" fmla="*/ 39 w 58"/>
                  <a:gd name="T1" fmla="*/ 45 h 45"/>
                  <a:gd name="T2" fmla="*/ 38 w 58"/>
                  <a:gd name="T3" fmla="*/ 45 h 45"/>
                  <a:gd name="T4" fmla="*/ 1 w 58"/>
                  <a:gd name="T5" fmla="*/ 23 h 45"/>
                  <a:gd name="T6" fmla="*/ 0 w 58"/>
                  <a:gd name="T7" fmla="*/ 21 h 45"/>
                  <a:gd name="T8" fmla="*/ 0 w 58"/>
                  <a:gd name="T9" fmla="*/ 2 h 45"/>
                  <a:gd name="T10" fmla="*/ 1 w 58"/>
                  <a:gd name="T11" fmla="*/ 0 h 45"/>
                  <a:gd name="T12" fmla="*/ 3 w 58"/>
                  <a:gd name="T13" fmla="*/ 0 h 45"/>
                  <a:gd name="T14" fmla="*/ 57 w 58"/>
                  <a:gd name="T15" fmla="*/ 32 h 45"/>
                  <a:gd name="T16" fmla="*/ 58 w 58"/>
                  <a:gd name="T17" fmla="*/ 34 h 45"/>
                  <a:gd name="T18" fmla="*/ 57 w 58"/>
                  <a:gd name="T19" fmla="*/ 35 h 45"/>
                  <a:gd name="T20" fmla="*/ 40 w 58"/>
                  <a:gd name="T21" fmla="*/ 45 h 45"/>
                  <a:gd name="T22" fmla="*/ 39 w 58"/>
                  <a:gd name="T23" fmla="*/ 45 h 45"/>
                  <a:gd name="T24" fmla="*/ 4 w 58"/>
                  <a:gd name="T25" fmla="*/ 20 h 45"/>
                  <a:gd name="T26" fmla="*/ 39 w 58"/>
                  <a:gd name="T27" fmla="*/ 41 h 45"/>
                  <a:gd name="T28" fmla="*/ 52 w 58"/>
                  <a:gd name="T29" fmla="*/ 34 h 45"/>
                  <a:gd name="T30" fmla="*/ 4 w 58"/>
                  <a:gd name="T31" fmla="*/ 6 h 45"/>
                  <a:gd name="T32" fmla="*/ 4 w 58"/>
                  <a:gd name="T33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8" h="45">
                    <a:moveTo>
                      <a:pt x="39" y="45"/>
                    </a:moveTo>
                    <a:cubicBezTo>
                      <a:pt x="39" y="45"/>
                      <a:pt x="39" y="45"/>
                      <a:pt x="38" y="45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8" y="32"/>
                      <a:pt x="58" y="33"/>
                      <a:pt x="58" y="34"/>
                    </a:cubicBezTo>
                    <a:cubicBezTo>
                      <a:pt x="58" y="34"/>
                      <a:pt x="58" y="35"/>
                      <a:pt x="57" y="35"/>
                    </a:cubicBezTo>
                    <a:cubicBezTo>
                      <a:pt x="40" y="45"/>
                      <a:pt x="40" y="45"/>
                      <a:pt x="40" y="45"/>
                    </a:cubicBezTo>
                    <a:cubicBezTo>
                      <a:pt x="40" y="45"/>
                      <a:pt x="40" y="45"/>
                      <a:pt x="39" y="45"/>
                    </a:cubicBezTo>
                    <a:close/>
                    <a:moveTo>
                      <a:pt x="4" y="20"/>
                    </a:moveTo>
                    <a:cubicBezTo>
                      <a:pt x="39" y="41"/>
                      <a:pt x="39" y="41"/>
                      <a:pt x="39" y="41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7" name="Freeform 769">
                <a:extLst>
                  <a:ext uri="{FF2B5EF4-FFF2-40B4-BE49-F238E27FC236}">
                    <a16:creationId xmlns:a16="http://schemas.microsoft.com/office/drawing/2014/main" id="{16694D3A-7650-4651-8DF2-6A443B3A6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397469" y="6923996"/>
                <a:ext cx="109979" cy="99604"/>
              </a:xfrm>
              <a:custGeom>
                <a:avLst/>
                <a:gdLst>
                  <a:gd name="T0" fmla="*/ 2 w 45"/>
                  <a:gd name="T1" fmla="*/ 41 h 41"/>
                  <a:gd name="T2" fmla="*/ 1 w 45"/>
                  <a:gd name="T3" fmla="*/ 41 h 41"/>
                  <a:gd name="T4" fmla="*/ 0 w 45"/>
                  <a:gd name="T5" fmla="*/ 39 h 41"/>
                  <a:gd name="T6" fmla="*/ 0 w 45"/>
                  <a:gd name="T7" fmla="*/ 2 h 41"/>
                  <a:gd name="T8" fmla="*/ 1 w 45"/>
                  <a:gd name="T9" fmla="*/ 1 h 41"/>
                  <a:gd name="T10" fmla="*/ 3 w 45"/>
                  <a:gd name="T11" fmla="*/ 1 h 41"/>
                  <a:gd name="T12" fmla="*/ 20 w 45"/>
                  <a:gd name="T13" fmla="*/ 10 h 41"/>
                  <a:gd name="T14" fmla="*/ 28 w 45"/>
                  <a:gd name="T15" fmla="*/ 5 h 41"/>
                  <a:gd name="T16" fmla="*/ 30 w 45"/>
                  <a:gd name="T17" fmla="*/ 5 h 41"/>
                  <a:gd name="T18" fmla="*/ 31 w 45"/>
                  <a:gd name="T19" fmla="*/ 7 h 41"/>
                  <a:gd name="T20" fmla="*/ 31 w 45"/>
                  <a:gd name="T21" fmla="*/ 7 h 41"/>
                  <a:gd name="T22" fmla="*/ 44 w 45"/>
                  <a:gd name="T23" fmla="*/ 14 h 41"/>
                  <a:gd name="T24" fmla="*/ 45 w 45"/>
                  <a:gd name="T25" fmla="*/ 16 h 41"/>
                  <a:gd name="T26" fmla="*/ 44 w 45"/>
                  <a:gd name="T27" fmla="*/ 18 h 41"/>
                  <a:gd name="T28" fmla="*/ 3 w 45"/>
                  <a:gd name="T29" fmla="*/ 41 h 41"/>
                  <a:gd name="T30" fmla="*/ 2 w 45"/>
                  <a:gd name="T31" fmla="*/ 41 h 41"/>
                  <a:gd name="T32" fmla="*/ 4 w 45"/>
                  <a:gd name="T33" fmla="*/ 6 h 41"/>
                  <a:gd name="T34" fmla="*/ 4 w 45"/>
                  <a:gd name="T35" fmla="*/ 36 h 41"/>
                  <a:gd name="T36" fmla="*/ 39 w 45"/>
                  <a:gd name="T37" fmla="*/ 16 h 41"/>
                  <a:gd name="T38" fmla="*/ 28 w 45"/>
                  <a:gd name="T39" fmla="*/ 10 h 41"/>
                  <a:gd name="T40" fmla="*/ 28 w 45"/>
                  <a:gd name="T41" fmla="*/ 10 h 41"/>
                  <a:gd name="T42" fmla="*/ 21 w 45"/>
                  <a:gd name="T43" fmla="*/ 14 h 41"/>
                  <a:gd name="T44" fmla="*/ 19 w 45"/>
                  <a:gd name="T45" fmla="*/ 14 h 41"/>
                  <a:gd name="T46" fmla="*/ 4 w 45"/>
                  <a:gd name="T47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" h="41">
                    <a:moveTo>
                      <a:pt x="2" y="41"/>
                    </a:moveTo>
                    <a:cubicBezTo>
                      <a:pt x="2" y="41"/>
                      <a:pt x="2" y="41"/>
                      <a:pt x="1" y="41"/>
                    </a:cubicBezTo>
                    <a:cubicBezTo>
                      <a:pt x="1" y="41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9" y="5"/>
                      <a:pt x="30" y="5"/>
                      <a:pt x="30" y="5"/>
                    </a:cubicBezTo>
                    <a:cubicBezTo>
                      <a:pt x="31" y="6"/>
                      <a:pt x="31" y="6"/>
                      <a:pt x="31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15"/>
                      <a:pt x="45" y="15"/>
                      <a:pt x="45" y="16"/>
                    </a:cubicBezTo>
                    <a:cubicBezTo>
                      <a:pt x="45" y="17"/>
                      <a:pt x="44" y="17"/>
                      <a:pt x="44" y="18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3" y="41"/>
                      <a:pt x="3" y="41"/>
                      <a:pt x="2" y="41"/>
                    </a:cubicBezTo>
                    <a:close/>
                    <a:moveTo>
                      <a:pt x="4" y="6"/>
                    </a:moveTo>
                    <a:cubicBezTo>
                      <a:pt x="4" y="36"/>
                      <a:pt x="4" y="36"/>
                      <a:pt x="4" y="3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0" y="15"/>
                      <a:pt x="19" y="15"/>
                      <a:pt x="19" y="14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8" name="Freeform 770">
                <a:extLst>
                  <a:ext uri="{FF2B5EF4-FFF2-40B4-BE49-F238E27FC236}">
                    <a16:creationId xmlns:a16="http://schemas.microsoft.com/office/drawing/2014/main" id="{1E9584F9-931E-4C8A-9891-1BBCA1E99C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23898" y="5346936"/>
                <a:ext cx="39427" cy="196095"/>
              </a:xfrm>
              <a:custGeom>
                <a:avLst/>
                <a:gdLst>
                  <a:gd name="T0" fmla="*/ 2 w 16"/>
                  <a:gd name="T1" fmla="*/ 80 h 80"/>
                  <a:gd name="T2" fmla="*/ 1 w 16"/>
                  <a:gd name="T3" fmla="*/ 80 h 80"/>
                  <a:gd name="T4" fmla="*/ 0 w 16"/>
                  <a:gd name="T5" fmla="*/ 78 h 80"/>
                  <a:gd name="T6" fmla="*/ 0 w 16"/>
                  <a:gd name="T7" fmla="*/ 9 h 80"/>
                  <a:gd name="T8" fmla="*/ 1 w 16"/>
                  <a:gd name="T9" fmla="*/ 8 h 80"/>
                  <a:gd name="T10" fmla="*/ 13 w 16"/>
                  <a:gd name="T11" fmla="*/ 1 h 80"/>
                  <a:gd name="T12" fmla="*/ 15 w 16"/>
                  <a:gd name="T13" fmla="*/ 1 h 80"/>
                  <a:gd name="T14" fmla="*/ 16 w 16"/>
                  <a:gd name="T15" fmla="*/ 2 h 80"/>
                  <a:gd name="T16" fmla="*/ 16 w 16"/>
                  <a:gd name="T17" fmla="*/ 71 h 80"/>
                  <a:gd name="T18" fmla="*/ 15 w 16"/>
                  <a:gd name="T19" fmla="*/ 73 h 80"/>
                  <a:gd name="T20" fmla="*/ 3 w 16"/>
                  <a:gd name="T21" fmla="*/ 80 h 80"/>
                  <a:gd name="T22" fmla="*/ 2 w 16"/>
                  <a:gd name="T23" fmla="*/ 80 h 80"/>
                  <a:gd name="T24" fmla="*/ 4 w 16"/>
                  <a:gd name="T25" fmla="*/ 11 h 80"/>
                  <a:gd name="T26" fmla="*/ 4 w 16"/>
                  <a:gd name="T27" fmla="*/ 75 h 80"/>
                  <a:gd name="T28" fmla="*/ 12 w 16"/>
                  <a:gd name="T29" fmla="*/ 70 h 80"/>
                  <a:gd name="T30" fmla="*/ 12 w 16"/>
                  <a:gd name="T31" fmla="*/ 6 h 80"/>
                  <a:gd name="T32" fmla="*/ 4 w 16"/>
                  <a:gd name="T33" fmla="*/ 1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80">
                    <a:moveTo>
                      <a:pt x="2" y="80"/>
                    </a:move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15" y="1"/>
                      <a:pt x="16" y="2"/>
                      <a:pt x="16" y="2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2"/>
                      <a:pt x="15" y="72"/>
                      <a:pt x="15" y="73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2" y="80"/>
                      <a:pt x="2" y="80"/>
                      <a:pt x="2" y="80"/>
                    </a:cubicBezTo>
                    <a:close/>
                    <a:moveTo>
                      <a:pt x="4" y="11"/>
                    </a:moveTo>
                    <a:cubicBezTo>
                      <a:pt x="4" y="75"/>
                      <a:pt x="4" y="75"/>
                      <a:pt x="4" y="75"/>
                    </a:cubicBezTo>
                    <a:cubicBezTo>
                      <a:pt x="12" y="70"/>
                      <a:pt x="12" y="70"/>
                      <a:pt x="12" y="70"/>
                    </a:cubicBezTo>
                    <a:cubicBezTo>
                      <a:pt x="12" y="6"/>
                      <a:pt x="12" y="6"/>
                      <a:pt x="12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9" name="Freeform 771">
                <a:extLst>
                  <a:ext uri="{FF2B5EF4-FFF2-40B4-BE49-F238E27FC236}">
                    <a16:creationId xmlns:a16="http://schemas.microsoft.com/office/drawing/2014/main" id="{D8D2E609-FC23-46F5-B2A9-3A758BA3CA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390206" y="6729976"/>
                <a:ext cx="100642" cy="56027"/>
              </a:xfrm>
              <a:custGeom>
                <a:avLst/>
                <a:gdLst>
                  <a:gd name="T0" fmla="*/ 32 w 41"/>
                  <a:gd name="T1" fmla="*/ 23 h 23"/>
                  <a:gd name="T2" fmla="*/ 31 w 41"/>
                  <a:gd name="T3" fmla="*/ 23 h 23"/>
                  <a:gd name="T4" fmla="*/ 24 w 41"/>
                  <a:gd name="T5" fmla="*/ 19 h 23"/>
                  <a:gd name="T6" fmla="*/ 24 w 41"/>
                  <a:gd name="T7" fmla="*/ 20 h 23"/>
                  <a:gd name="T8" fmla="*/ 23 w 41"/>
                  <a:gd name="T9" fmla="*/ 22 h 23"/>
                  <a:gd name="T10" fmla="*/ 21 w 41"/>
                  <a:gd name="T11" fmla="*/ 22 h 23"/>
                  <a:gd name="T12" fmla="*/ 1 w 41"/>
                  <a:gd name="T13" fmla="*/ 10 h 23"/>
                  <a:gd name="T14" fmla="*/ 0 w 41"/>
                  <a:gd name="T15" fmla="*/ 8 h 23"/>
                  <a:gd name="T16" fmla="*/ 1 w 41"/>
                  <a:gd name="T17" fmla="*/ 7 h 23"/>
                  <a:gd name="T18" fmla="*/ 12 w 41"/>
                  <a:gd name="T19" fmla="*/ 0 h 23"/>
                  <a:gd name="T20" fmla="*/ 14 w 41"/>
                  <a:gd name="T21" fmla="*/ 0 h 23"/>
                  <a:gd name="T22" fmla="*/ 40 w 41"/>
                  <a:gd name="T23" fmla="*/ 15 h 23"/>
                  <a:gd name="T24" fmla="*/ 41 w 41"/>
                  <a:gd name="T25" fmla="*/ 17 h 23"/>
                  <a:gd name="T26" fmla="*/ 40 w 41"/>
                  <a:gd name="T27" fmla="*/ 19 h 23"/>
                  <a:gd name="T28" fmla="*/ 33 w 41"/>
                  <a:gd name="T29" fmla="*/ 23 h 23"/>
                  <a:gd name="T30" fmla="*/ 32 w 41"/>
                  <a:gd name="T31" fmla="*/ 23 h 23"/>
                  <a:gd name="T32" fmla="*/ 22 w 41"/>
                  <a:gd name="T33" fmla="*/ 13 h 23"/>
                  <a:gd name="T34" fmla="*/ 23 w 41"/>
                  <a:gd name="T35" fmla="*/ 14 h 23"/>
                  <a:gd name="T36" fmla="*/ 32 w 41"/>
                  <a:gd name="T37" fmla="*/ 19 h 23"/>
                  <a:gd name="T38" fmla="*/ 35 w 41"/>
                  <a:gd name="T39" fmla="*/ 17 h 23"/>
                  <a:gd name="T40" fmla="*/ 13 w 41"/>
                  <a:gd name="T41" fmla="*/ 4 h 23"/>
                  <a:gd name="T42" fmla="*/ 6 w 41"/>
                  <a:gd name="T43" fmla="*/ 8 h 23"/>
                  <a:gd name="T44" fmla="*/ 20 w 41"/>
                  <a:gd name="T45" fmla="*/ 17 h 23"/>
                  <a:gd name="T46" fmla="*/ 20 w 41"/>
                  <a:gd name="T47" fmla="*/ 15 h 23"/>
                  <a:gd name="T48" fmla="*/ 21 w 41"/>
                  <a:gd name="T49" fmla="*/ 14 h 23"/>
                  <a:gd name="T50" fmla="*/ 22 w 41"/>
                  <a:gd name="T51" fmla="*/ 1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23">
                    <a:moveTo>
                      <a:pt x="32" y="23"/>
                    </a:moveTo>
                    <a:cubicBezTo>
                      <a:pt x="32" y="23"/>
                      <a:pt x="31" y="23"/>
                      <a:pt x="31" y="23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21"/>
                      <a:pt x="24" y="21"/>
                      <a:pt x="23" y="22"/>
                    </a:cubicBezTo>
                    <a:cubicBezTo>
                      <a:pt x="23" y="22"/>
                      <a:pt x="22" y="22"/>
                      <a:pt x="21" y="22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0" y="16"/>
                      <a:pt x="41" y="16"/>
                      <a:pt x="41" y="17"/>
                    </a:cubicBezTo>
                    <a:cubicBezTo>
                      <a:pt x="41" y="18"/>
                      <a:pt x="40" y="19"/>
                      <a:pt x="40" y="19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3" y="23"/>
                      <a:pt x="32" y="23"/>
                      <a:pt x="32" y="23"/>
                    </a:cubicBezTo>
                    <a:close/>
                    <a:moveTo>
                      <a:pt x="22" y="13"/>
                    </a:moveTo>
                    <a:cubicBezTo>
                      <a:pt x="23" y="13"/>
                      <a:pt x="23" y="14"/>
                      <a:pt x="23" y="1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5"/>
                      <a:pt x="21" y="14"/>
                      <a:pt x="21" y="14"/>
                    </a:cubicBezTo>
                    <a:cubicBezTo>
                      <a:pt x="22" y="14"/>
                      <a:pt x="22" y="13"/>
                      <a:pt x="22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0" name="Freeform 772">
                <a:extLst>
                  <a:ext uri="{FF2B5EF4-FFF2-40B4-BE49-F238E27FC236}">
                    <a16:creationId xmlns:a16="http://schemas.microsoft.com/office/drawing/2014/main" id="{9E0186BE-A7D9-4DAE-9058-0BB1BCCA4B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31708" y="6796378"/>
                <a:ext cx="75741" cy="158744"/>
              </a:xfrm>
              <a:custGeom>
                <a:avLst/>
                <a:gdLst>
                  <a:gd name="T0" fmla="*/ 20 w 31"/>
                  <a:gd name="T1" fmla="*/ 65 h 65"/>
                  <a:gd name="T2" fmla="*/ 19 w 31"/>
                  <a:gd name="T3" fmla="*/ 64 h 65"/>
                  <a:gd name="T4" fmla="*/ 1 w 31"/>
                  <a:gd name="T5" fmla="*/ 54 h 65"/>
                  <a:gd name="T6" fmla="*/ 0 w 31"/>
                  <a:gd name="T7" fmla="*/ 53 h 65"/>
                  <a:gd name="T8" fmla="*/ 0 w 31"/>
                  <a:gd name="T9" fmla="*/ 17 h 65"/>
                  <a:gd name="T10" fmla="*/ 1 w 31"/>
                  <a:gd name="T11" fmla="*/ 15 h 65"/>
                  <a:gd name="T12" fmla="*/ 28 w 31"/>
                  <a:gd name="T13" fmla="*/ 0 h 65"/>
                  <a:gd name="T14" fmla="*/ 30 w 31"/>
                  <a:gd name="T15" fmla="*/ 0 h 65"/>
                  <a:gd name="T16" fmla="*/ 31 w 31"/>
                  <a:gd name="T17" fmla="*/ 2 h 65"/>
                  <a:gd name="T18" fmla="*/ 31 w 31"/>
                  <a:gd name="T19" fmla="*/ 57 h 65"/>
                  <a:gd name="T20" fmla="*/ 30 w 31"/>
                  <a:gd name="T21" fmla="*/ 59 h 65"/>
                  <a:gd name="T22" fmla="*/ 21 w 31"/>
                  <a:gd name="T23" fmla="*/ 64 h 65"/>
                  <a:gd name="T24" fmla="*/ 20 w 31"/>
                  <a:gd name="T25" fmla="*/ 65 h 65"/>
                  <a:gd name="T26" fmla="*/ 4 w 31"/>
                  <a:gd name="T27" fmla="*/ 51 h 65"/>
                  <a:gd name="T28" fmla="*/ 20 w 31"/>
                  <a:gd name="T29" fmla="*/ 60 h 65"/>
                  <a:gd name="T30" fmla="*/ 27 w 31"/>
                  <a:gd name="T31" fmla="*/ 56 h 65"/>
                  <a:gd name="T32" fmla="*/ 27 w 31"/>
                  <a:gd name="T33" fmla="*/ 5 h 65"/>
                  <a:gd name="T34" fmla="*/ 4 w 31"/>
                  <a:gd name="T35" fmla="*/ 18 h 65"/>
                  <a:gd name="T36" fmla="*/ 4 w 31"/>
                  <a:gd name="T37" fmla="*/ 5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65">
                    <a:moveTo>
                      <a:pt x="20" y="65"/>
                    </a:moveTo>
                    <a:cubicBezTo>
                      <a:pt x="19" y="65"/>
                      <a:pt x="19" y="65"/>
                      <a:pt x="19" y="64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4"/>
                      <a:pt x="0" y="53"/>
                      <a:pt x="0" y="5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6"/>
                      <a:pt x="1" y="15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30" y="0"/>
                      <a:pt x="30" y="0"/>
                    </a:cubicBezTo>
                    <a:cubicBezTo>
                      <a:pt x="31" y="0"/>
                      <a:pt x="31" y="1"/>
                      <a:pt x="31" y="2"/>
                    </a:cubicBezTo>
                    <a:cubicBezTo>
                      <a:pt x="31" y="57"/>
                      <a:pt x="31" y="57"/>
                      <a:pt x="31" y="57"/>
                    </a:cubicBezTo>
                    <a:cubicBezTo>
                      <a:pt x="31" y="58"/>
                      <a:pt x="31" y="58"/>
                      <a:pt x="30" y="59"/>
                    </a:cubicBezTo>
                    <a:cubicBezTo>
                      <a:pt x="21" y="64"/>
                      <a:pt x="21" y="64"/>
                      <a:pt x="21" y="64"/>
                    </a:cubicBezTo>
                    <a:cubicBezTo>
                      <a:pt x="20" y="65"/>
                      <a:pt x="20" y="65"/>
                      <a:pt x="20" y="65"/>
                    </a:cubicBezTo>
                    <a:close/>
                    <a:moveTo>
                      <a:pt x="4" y="51"/>
                    </a:moveTo>
                    <a:cubicBezTo>
                      <a:pt x="20" y="60"/>
                      <a:pt x="20" y="60"/>
                      <a:pt x="20" y="60"/>
                    </a:cubicBezTo>
                    <a:cubicBezTo>
                      <a:pt x="27" y="56"/>
                      <a:pt x="27" y="56"/>
                      <a:pt x="27" y="56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5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1" name="Freeform 773">
                <a:extLst>
                  <a:ext uri="{FF2B5EF4-FFF2-40B4-BE49-F238E27FC236}">
                    <a16:creationId xmlns:a16="http://schemas.microsoft.com/office/drawing/2014/main" id="{C8EA79B5-7400-42D9-8D97-536DBF9F85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23898" y="5521242"/>
                <a:ext cx="39427" cy="199208"/>
              </a:xfrm>
              <a:custGeom>
                <a:avLst/>
                <a:gdLst>
                  <a:gd name="T0" fmla="*/ 14 w 16"/>
                  <a:gd name="T1" fmla="*/ 81 h 81"/>
                  <a:gd name="T2" fmla="*/ 13 w 16"/>
                  <a:gd name="T3" fmla="*/ 81 h 81"/>
                  <a:gd name="T4" fmla="*/ 1 w 16"/>
                  <a:gd name="T5" fmla="*/ 74 h 81"/>
                  <a:gd name="T6" fmla="*/ 0 w 16"/>
                  <a:gd name="T7" fmla="*/ 72 h 81"/>
                  <a:gd name="T8" fmla="*/ 0 w 16"/>
                  <a:gd name="T9" fmla="*/ 9 h 81"/>
                  <a:gd name="T10" fmla="*/ 1 w 16"/>
                  <a:gd name="T11" fmla="*/ 7 h 81"/>
                  <a:gd name="T12" fmla="*/ 13 w 16"/>
                  <a:gd name="T13" fmla="*/ 0 h 81"/>
                  <a:gd name="T14" fmla="*/ 15 w 16"/>
                  <a:gd name="T15" fmla="*/ 0 h 81"/>
                  <a:gd name="T16" fmla="*/ 16 w 16"/>
                  <a:gd name="T17" fmla="*/ 2 h 81"/>
                  <a:gd name="T18" fmla="*/ 16 w 16"/>
                  <a:gd name="T19" fmla="*/ 79 h 81"/>
                  <a:gd name="T20" fmla="*/ 15 w 16"/>
                  <a:gd name="T21" fmla="*/ 81 h 81"/>
                  <a:gd name="T22" fmla="*/ 14 w 16"/>
                  <a:gd name="T23" fmla="*/ 81 h 81"/>
                  <a:gd name="T24" fmla="*/ 4 w 16"/>
                  <a:gd name="T25" fmla="*/ 71 h 81"/>
                  <a:gd name="T26" fmla="*/ 12 w 16"/>
                  <a:gd name="T27" fmla="*/ 75 h 81"/>
                  <a:gd name="T28" fmla="*/ 12 w 16"/>
                  <a:gd name="T29" fmla="*/ 5 h 81"/>
                  <a:gd name="T30" fmla="*/ 4 w 16"/>
                  <a:gd name="T31" fmla="*/ 10 h 81"/>
                  <a:gd name="T32" fmla="*/ 4 w 16"/>
                  <a:gd name="T33" fmla="*/ 7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81">
                    <a:moveTo>
                      <a:pt x="14" y="81"/>
                    </a:moveTo>
                    <a:cubicBezTo>
                      <a:pt x="14" y="81"/>
                      <a:pt x="13" y="81"/>
                      <a:pt x="13" y="81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3"/>
                      <a:pt x="0" y="73"/>
                      <a:pt x="0" y="72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8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5" y="1"/>
                      <a:pt x="16" y="1"/>
                      <a:pt x="16" y="2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6" y="80"/>
                      <a:pt x="15" y="80"/>
                      <a:pt x="15" y="81"/>
                    </a:cubicBezTo>
                    <a:cubicBezTo>
                      <a:pt x="15" y="81"/>
                      <a:pt x="14" y="81"/>
                      <a:pt x="14" y="81"/>
                    </a:cubicBezTo>
                    <a:close/>
                    <a:moveTo>
                      <a:pt x="4" y="71"/>
                    </a:move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7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2" name="Freeform 774">
                <a:extLst>
                  <a:ext uri="{FF2B5EF4-FFF2-40B4-BE49-F238E27FC236}">
                    <a16:creationId xmlns:a16="http://schemas.microsoft.com/office/drawing/2014/main" id="{187AF01B-A420-4751-AC56-AA40186E28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0227" y="6665648"/>
                <a:ext cx="144218" cy="167044"/>
              </a:xfrm>
              <a:custGeom>
                <a:avLst/>
                <a:gdLst>
                  <a:gd name="T0" fmla="*/ 57 w 59"/>
                  <a:gd name="T1" fmla="*/ 68 h 68"/>
                  <a:gd name="T2" fmla="*/ 56 w 59"/>
                  <a:gd name="T3" fmla="*/ 67 h 68"/>
                  <a:gd name="T4" fmla="*/ 19 w 59"/>
                  <a:gd name="T5" fmla="*/ 46 h 68"/>
                  <a:gd name="T6" fmla="*/ 18 w 59"/>
                  <a:gd name="T7" fmla="*/ 44 h 68"/>
                  <a:gd name="T8" fmla="*/ 18 w 59"/>
                  <a:gd name="T9" fmla="*/ 42 h 68"/>
                  <a:gd name="T10" fmla="*/ 16 w 59"/>
                  <a:gd name="T11" fmla="*/ 43 h 68"/>
                  <a:gd name="T12" fmla="*/ 14 w 59"/>
                  <a:gd name="T13" fmla="*/ 43 h 68"/>
                  <a:gd name="T14" fmla="*/ 1 w 59"/>
                  <a:gd name="T15" fmla="*/ 36 h 68"/>
                  <a:gd name="T16" fmla="*/ 0 w 59"/>
                  <a:gd name="T17" fmla="*/ 34 h 68"/>
                  <a:gd name="T18" fmla="*/ 1 w 59"/>
                  <a:gd name="T19" fmla="*/ 32 h 68"/>
                  <a:gd name="T20" fmla="*/ 56 w 59"/>
                  <a:gd name="T21" fmla="*/ 0 h 68"/>
                  <a:gd name="T22" fmla="*/ 58 w 59"/>
                  <a:gd name="T23" fmla="*/ 0 h 68"/>
                  <a:gd name="T24" fmla="*/ 59 w 59"/>
                  <a:gd name="T25" fmla="*/ 2 h 68"/>
                  <a:gd name="T26" fmla="*/ 59 w 59"/>
                  <a:gd name="T27" fmla="*/ 66 h 68"/>
                  <a:gd name="T28" fmla="*/ 58 w 59"/>
                  <a:gd name="T29" fmla="*/ 67 h 68"/>
                  <a:gd name="T30" fmla="*/ 57 w 59"/>
                  <a:gd name="T31" fmla="*/ 68 h 68"/>
                  <a:gd name="T32" fmla="*/ 22 w 59"/>
                  <a:gd name="T33" fmla="*/ 43 h 68"/>
                  <a:gd name="T34" fmla="*/ 55 w 59"/>
                  <a:gd name="T35" fmla="*/ 62 h 68"/>
                  <a:gd name="T36" fmla="*/ 55 w 59"/>
                  <a:gd name="T37" fmla="*/ 5 h 68"/>
                  <a:gd name="T38" fmla="*/ 6 w 59"/>
                  <a:gd name="T39" fmla="*/ 34 h 68"/>
                  <a:gd name="T40" fmla="*/ 15 w 59"/>
                  <a:gd name="T41" fmla="*/ 39 h 68"/>
                  <a:gd name="T42" fmla="*/ 19 w 59"/>
                  <a:gd name="T43" fmla="*/ 37 h 68"/>
                  <a:gd name="T44" fmla="*/ 21 w 59"/>
                  <a:gd name="T45" fmla="*/ 37 h 68"/>
                  <a:gd name="T46" fmla="*/ 22 w 59"/>
                  <a:gd name="T47" fmla="*/ 39 h 68"/>
                  <a:gd name="T48" fmla="*/ 22 w 59"/>
                  <a:gd name="T49" fmla="*/ 4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68">
                    <a:moveTo>
                      <a:pt x="57" y="68"/>
                    </a:moveTo>
                    <a:cubicBezTo>
                      <a:pt x="56" y="68"/>
                      <a:pt x="56" y="68"/>
                      <a:pt x="56" y="67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18" y="46"/>
                      <a:pt x="18" y="45"/>
                      <a:pt x="18" y="44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6" y="43"/>
                      <a:pt x="16" y="43"/>
                      <a:pt x="16" y="43"/>
                    </a:cubicBezTo>
                    <a:cubicBezTo>
                      <a:pt x="15" y="44"/>
                      <a:pt x="14" y="44"/>
                      <a:pt x="14" y="43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5"/>
                      <a:pt x="0" y="35"/>
                      <a:pt x="0" y="34"/>
                    </a:cubicBezTo>
                    <a:cubicBezTo>
                      <a:pt x="0" y="33"/>
                      <a:pt x="0" y="32"/>
                      <a:pt x="1" y="3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7" y="0"/>
                      <a:pt x="58" y="0"/>
                    </a:cubicBezTo>
                    <a:cubicBezTo>
                      <a:pt x="58" y="1"/>
                      <a:pt x="59" y="1"/>
                      <a:pt x="59" y="2"/>
                    </a:cubicBezTo>
                    <a:cubicBezTo>
                      <a:pt x="59" y="66"/>
                      <a:pt x="59" y="66"/>
                      <a:pt x="59" y="66"/>
                    </a:cubicBezTo>
                    <a:cubicBezTo>
                      <a:pt x="59" y="66"/>
                      <a:pt x="58" y="67"/>
                      <a:pt x="58" y="67"/>
                    </a:cubicBezTo>
                    <a:cubicBezTo>
                      <a:pt x="58" y="68"/>
                      <a:pt x="57" y="68"/>
                      <a:pt x="57" y="68"/>
                    </a:cubicBezTo>
                    <a:close/>
                    <a:moveTo>
                      <a:pt x="22" y="43"/>
                    </a:moveTo>
                    <a:cubicBezTo>
                      <a:pt x="55" y="62"/>
                      <a:pt x="55" y="62"/>
                      <a:pt x="55" y="62"/>
                    </a:cubicBezTo>
                    <a:cubicBezTo>
                      <a:pt x="55" y="5"/>
                      <a:pt x="55" y="5"/>
                      <a:pt x="55" y="5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20" y="36"/>
                      <a:pt x="20" y="36"/>
                      <a:pt x="21" y="37"/>
                    </a:cubicBezTo>
                    <a:cubicBezTo>
                      <a:pt x="22" y="37"/>
                      <a:pt x="22" y="38"/>
                      <a:pt x="22" y="39"/>
                    </a:cubicBezTo>
                    <a:lnTo>
                      <a:pt x="22" y="4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3" name="Freeform 775">
                <a:extLst>
                  <a:ext uri="{FF2B5EF4-FFF2-40B4-BE49-F238E27FC236}">
                    <a16:creationId xmlns:a16="http://schemas.microsoft.com/office/drawing/2014/main" id="{81B916BF-40CC-4878-A125-6CEBB3E648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179585" y="6982098"/>
                <a:ext cx="107904" cy="127617"/>
              </a:xfrm>
              <a:custGeom>
                <a:avLst/>
                <a:gdLst>
                  <a:gd name="T0" fmla="*/ 2 w 44"/>
                  <a:gd name="T1" fmla="*/ 52 h 52"/>
                  <a:gd name="T2" fmla="*/ 1 w 44"/>
                  <a:gd name="T3" fmla="*/ 51 h 52"/>
                  <a:gd name="T4" fmla="*/ 0 w 44"/>
                  <a:gd name="T5" fmla="*/ 50 h 52"/>
                  <a:gd name="T6" fmla="*/ 0 w 44"/>
                  <a:gd name="T7" fmla="*/ 2 h 52"/>
                  <a:gd name="T8" fmla="*/ 1 w 44"/>
                  <a:gd name="T9" fmla="*/ 1 h 52"/>
                  <a:gd name="T10" fmla="*/ 3 w 44"/>
                  <a:gd name="T11" fmla="*/ 1 h 52"/>
                  <a:gd name="T12" fmla="*/ 43 w 44"/>
                  <a:gd name="T13" fmla="*/ 24 h 52"/>
                  <a:gd name="T14" fmla="*/ 44 w 44"/>
                  <a:gd name="T15" fmla="*/ 26 h 52"/>
                  <a:gd name="T16" fmla="*/ 43 w 44"/>
                  <a:gd name="T17" fmla="*/ 28 h 52"/>
                  <a:gd name="T18" fmla="*/ 3 w 44"/>
                  <a:gd name="T19" fmla="*/ 51 h 52"/>
                  <a:gd name="T20" fmla="*/ 2 w 44"/>
                  <a:gd name="T21" fmla="*/ 52 h 52"/>
                  <a:gd name="T22" fmla="*/ 4 w 44"/>
                  <a:gd name="T23" fmla="*/ 6 h 52"/>
                  <a:gd name="T24" fmla="*/ 4 w 44"/>
                  <a:gd name="T25" fmla="*/ 46 h 52"/>
                  <a:gd name="T26" fmla="*/ 38 w 44"/>
                  <a:gd name="T27" fmla="*/ 26 h 52"/>
                  <a:gd name="T28" fmla="*/ 4 w 44"/>
                  <a:gd name="T29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4" h="52">
                    <a:moveTo>
                      <a:pt x="2" y="52"/>
                    </a:moveTo>
                    <a:cubicBezTo>
                      <a:pt x="1" y="52"/>
                      <a:pt x="1" y="52"/>
                      <a:pt x="1" y="51"/>
                    </a:cubicBezTo>
                    <a:cubicBezTo>
                      <a:pt x="0" y="51"/>
                      <a:pt x="0" y="50"/>
                      <a:pt x="0" y="5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5"/>
                      <a:pt x="44" y="25"/>
                      <a:pt x="44" y="26"/>
                    </a:cubicBezTo>
                    <a:cubicBezTo>
                      <a:pt x="44" y="27"/>
                      <a:pt x="44" y="27"/>
                      <a:pt x="43" y="2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2" y="52"/>
                      <a:pt x="2" y="52"/>
                      <a:pt x="2" y="52"/>
                    </a:cubicBezTo>
                    <a:close/>
                    <a:moveTo>
                      <a:pt x="4" y="6"/>
                    </a:moveTo>
                    <a:cubicBezTo>
                      <a:pt x="4" y="46"/>
                      <a:pt x="4" y="46"/>
                      <a:pt x="4" y="46"/>
                    </a:cubicBezTo>
                    <a:cubicBezTo>
                      <a:pt x="38" y="26"/>
                      <a:pt x="38" y="26"/>
                      <a:pt x="38" y="2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4" name="Freeform 776">
                <a:extLst>
                  <a:ext uri="{FF2B5EF4-FFF2-40B4-BE49-F238E27FC236}">
                    <a16:creationId xmlns:a16="http://schemas.microsoft.com/office/drawing/2014/main" id="{185E3785-C336-4451-8EEB-B55957AED4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75776" y="6974835"/>
                <a:ext cx="56027" cy="51877"/>
              </a:xfrm>
              <a:custGeom>
                <a:avLst/>
                <a:gdLst>
                  <a:gd name="T0" fmla="*/ 14 w 23"/>
                  <a:gd name="T1" fmla="*/ 21 h 21"/>
                  <a:gd name="T2" fmla="*/ 13 w 23"/>
                  <a:gd name="T3" fmla="*/ 20 h 21"/>
                  <a:gd name="T4" fmla="*/ 1 w 23"/>
                  <a:gd name="T5" fmla="*/ 14 h 21"/>
                  <a:gd name="T6" fmla="*/ 0 w 23"/>
                  <a:gd name="T7" fmla="*/ 12 h 21"/>
                  <a:gd name="T8" fmla="*/ 1 w 23"/>
                  <a:gd name="T9" fmla="*/ 10 h 21"/>
                  <a:gd name="T10" fmla="*/ 20 w 23"/>
                  <a:gd name="T11" fmla="*/ 0 h 21"/>
                  <a:gd name="T12" fmla="*/ 22 w 23"/>
                  <a:gd name="T13" fmla="*/ 0 h 21"/>
                  <a:gd name="T14" fmla="*/ 23 w 23"/>
                  <a:gd name="T15" fmla="*/ 2 h 21"/>
                  <a:gd name="T16" fmla="*/ 23 w 23"/>
                  <a:gd name="T17" fmla="*/ 15 h 21"/>
                  <a:gd name="T18" fmla="*/ 22 w 23"/>
                  <a:gd name="T19" fmla="*/ 16 h 21"/>
                  <a:gd name="T20" fmla="*/ 15 w 23"/>
                  <a:gd name="T21" fmla="*/ 20 h 21"/>
                  <a:gd name="T22" fmla="*/ 14 w 23"/>
                  <a:gd name="T23" fmla="*/ 21 h 21"/>
                  <a:gd name="T24" fmla="*/ 6 w 23"/>
                  <a:gd name="T25" fmla="*/ 12 h 21"/>
                  <a:gd name="T26" fmla="*/ 14 w 23"/>
                  <a:gd name="T27" fmla="*/ 16 h 21"/>
                  <a:gd name="T28" fmla="*/ 19 w 23"/>
                  <a:gd name="T29" fmla="*/ 13 h 21"/>
                  <a:gd name="T30" fmla="*/ 19 w 23"/>
                  <a:gd name="T31" fmla="*/ 5 h 21"/>
                  <a:gd name="T32" fmla="*/ 6 w 23"/>
                  <a:gd name="T33" fmla="*/ 12 h 21"/>
                  <a:gd name="T34" fmla="*/ 21 w 23"/>
                  <a:gd name="T35" fmla="*/ 15 h 21"/>
                  <a:gd name="T36" fmla="*/ 21 w 23"/>
                  <a:gd name="T37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1">
                    <a:moveTo>
                      <a:pt x="14" y="21"/>
                    </a:moveTo>
                    <a:cubicBezTo>
                      <a:pt x="13" y="21"/>
                      <a:pt x="13" y="20"/>
                      <a:pt x="13" y="2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0" y="13"/>
                      <a:pt x="0" y="12"/>
                    </a:cubicBezTo>
                    <a:cubicBezTo>
                      <a:pt x="0" y="11"/>
                      <a:pt x="1" y="11"/>
                      <a:pt x="1" y="1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1" y="0"/>
                      <a:pt x="22" y="0"/>
                    </a:cubicBezTo>
                    <a:cubicBezTo>
                      <a:pt x="22" y="0"/>
                      <a:pt x="23" y="1"/>
                      <a:pt x="23" y="2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3" y="15"/>
                      <a:pt x="22" y="16"/>
                      <a:pt x="22" y="16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20"/>
                      <a:pt x="14" y="21"/>
                      <a:pt x="14" y="21"/>
                    </a:cubicBezTo>
                    <a:close/>
                    <a:moveTo>
                      <a:pt x="6" y="12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5"/>
                      <a:pt x="19" y="5"/>
                      <a:pt x="19" y="5"/>
                    </a:cubicBezTo>
                    <a:lnTo>
                      <a:pt x="6" y="12"/>
                    </a:lnTo>
                    <a:close/>
                    <a:moveTo>
                      <a:pt x="21" y="15"/>
                    </a:moveTo>
                    <a:cubicBezTo>
                      <a:pt x="21" y="15"/>
                      <a:pt x="21" y="15"/>
                      <a:pt x="21" y="1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5" name="Freeform 777">
                <a:extLst>
                  <a:ext uri="{FF2B5EF4-FFF2-40B4-BE49-F238E27FC236}">
                    <a16:creationId xmlns:a16="http://schemas.microsoft.com/office/drawing/2014/main" id="{566C9819-28B2-4303-8459-CD59F642F4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929728" y="6942672"/>
                <a:ext cx="250048" cy="206470"/>
              </a:xfrm>
              <a:custGeom>
                <a:avLst/>
                <a:gdLst>
                  <a:gd name="T0" fmla="*/ 2 w 102"/>
                  <a:gd name="T1" fmla="*/ 84 h 84"/>
                  <a:gd name="T2" fmla="*/ 1 w 102"/>
                  <a:gd name="T3" fmla="*/ 84 h 84"/>
                  <a:gd name="T4" fmla="*/ 0 w 102"/>
                  <a:gd name="T5" fmla="*/ 82 h 84"/>
                  <a:gd name="T6" fmla="*/ 0 w 102"/>
                  <a:gd name="T7" fmla="*/ 46 h 84"/>
                  <a:gd name="T8" fmla="*/ 1 w 102"/>
                  <a:gd name="T9" fmla="*/ 44 h 84"/>
                  <a:gd name="T10" fmla="*/ 5 w 102"/>
                  <a:gd name="T11" fmla="*/ 42 h 84"/>
                  <a:gd name="T12" fmla="*/ 1 w 102"/>
                  <a:gd name="T13" fmla="*/ 40 h 84"/>
                  <a:gd name="T14" fmla="*/ 0 w 102"/>
                  <a:gd name="T15" fmla="*/ 38 h 84"/>
                  <a:gd name="T16" fmla="*/ 0 w 102"/>
                  <a:gd name="T17" fmla="*/ 35 h 84"/>
                  <a:gd name="T18" fmla="*/ 1 w 102"/>
                  <a:gd name="T19" fmla="*/ 34 h 84"/>
                  <a:gd name="T20" fmla="*/ 59 w 102"/>
                  <a:gd name="T21" fmla="*/ 0 h 84"/>
                  <a:gd name="T22" fmla="*/ 61 w 102"/>
                  <a:gd name="T23" fmla="*/ 0 h 84"/>
                  <a:gd name="T24" fmla="*/ 101 w 102"/>
                  <a:gd name="T25" fmla="*/ 23 h 84"/>
                  <a:gd name="T26" fmla="*/ 102 w 102"/>
                  <a:gd name="T27" fmla="*/ 25 h 84"/>
                  <a:gd name="T28" fmla="*/ 101 w 102"/>
                  <a:gd name="T29" fmla="*/ 27 h 84"/>
                  <a:gd name="T30" fmla="*/ 3 w 102"/>
                  <a:gd name="T31" fmla="*/ 84 h 84"/>
                  <a:gd name="T32" fmla="*/ 2 w 102"/>
                  <a:gd name="T33" fmla="*/ 84 h 84"/>
                  <a:gd name="T34" fmla="*/ 4 w 102"/>
                  <a:gd name="T35" fmla="*/ 47 h 84"/>
                  <a:gd name="T36" fmla="*/ 4 w 102"/>
                  <a:gd name="T37" fmla="*/ 78 h 84"/>
                  <a:gd name="T38" fmla="*/ 96 w 102"/>
                  <a:gd name="T39" fmla="*/ 25 h 84"/>
                  <a:gd name="T40" fmla="*/ 60 w 102"/>
                  <a:gd name="T41" fmla="*/ 4 h 84"/>
                  <a:gd name="T42" fmla="*/ 4 w 102"/>
                  <a:gd name="T43" fmla="*/ 37 h 84"/>
                  <a:gd name="T44" fmla="*/ 4 w 102"/>
                  <a:gd name="T45" fmla="*/ 37 h 84"/>
                  <a:gd name="T46" fmla="*/ 10 w 102"/>
                  <a:gd name="T47" fmla="*/ 40 h 84"/>
                  <a:gd name="T48" fmla="*/ 11 w 102"/>
                  <a:gd name="T49" fmla="*/ 42 h 84"/>
                  <a:gd name="T50" fmla="*/ 10 w 102"/>
                  <a:gd name="T51" fmla="*/ 44 h 84"/>
                  <a:gd name="T52" fmla="*/ 4 w 102"/>
                  <a:gd name="T53" fmla="*/ 4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2" h="84">
                    <a:moveTo>
                      <a:pt x="2" y="84"/>
                    </a:moveTo>
                    <a:cubicBezTo>
                      <a:pt x="2" y="84"/>
                      <a:pt x="1" y="84"/>
                      <a:pt x="1" y="84"/>
                    </a:cubicBezTo>
                    <a:cubicBezTo>
                      <a:pt x="0" y="83"/>
                      <a:pt x="0" y="83"/>
                      <a:pt x="0" y="82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5"/>
                      <a:pt x="0" y="45"/>
                      <a:pt x="1" y="44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39"/>
                      <a:pt x="0" y="39"/>
                      <a:pt x="0" y="3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4"/>
                      <a:pt x="1" y="34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0" y="0"/>
                      <a:pt x="60" y="0"/>
                      <a:pt x="61" y="0"/>
                    </a:cubicBezTo>
                    <a:cubicBezTo>
                      <a:pt x="101" y="23"/>
                      <a:pt x="101" y="23"/>
                      <a:pt x="101" y="23"/>
                    </a:cubicBezTo>
                    <a:cubicBezTo>
                      <a:pt x="102" y="24"/>
                      <a:pt x="102" y="24"/>
                      <a:pt x="102" y="25"/>
                    </a:cubicBezTo>
                    <a:cubicBezTo>
                      <a:pt x="102" y="26"/>
                      <a:pt x="102" y="26"/>
                      <a:pt x="101" y="27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84"/>
                      <a:pt x="2" y="84"/>
                      <a:pt x="2" y="84"/>
                    </a:cubicBezTo>
                    <a:close/>
                    <a:moveTo>
                      <a:pt x="4" y="47"/>
                    </a:moveTo>
                    <a:cubicBezTo>
                      <a:pt x="4" y="78"/>
                      <a:pt x="4" y="78"/>
                      <a:pt x="4" y="78"/>
                    </a:cubicBezTo>
                    <a:cubicBezTo>
                      <a:pt x="96" y="25"/>
                      <a:pt x="96" y="25"/>
                      <a:pt x="96" y="25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1" y="41"/>
                      <a:pt x="11" y="41"/>
                      <a:pt x="11" y="42"/>
                    </a:cubicBezTo>
                    <a:cubicBezTo>
                      <a:pt x="11" y="43"/>
                      <a:pt x="11" y="43"/>
                      <a:pt x="10" y="44"/>
                    </a:cubicBezTo>
                    <a:lnTo>
                      <a:pt x="4" y="4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6" name="Freeform 778">
                <a:extLst>
                  <a:ext uri="{FF2B5EF4-FFF2-40B4-BE49-F238E27FC236}">
                    <a16:creationId xmlns:a16="http://schemas.microsoft.com/office/drawing/2014/main" id="{064238C3-89F9-4BD5-84D7-AF9531DB61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939066" y="6877307"/>
                <a:ext cx="117242" cy="70553"/>
              </a:xfrm>
              <a:custGeom>
                <a:avLst/>
                <a:gdLst>
                  <a:gd name="T0" fmla="*/ 10 w 48"/>
                  <a:gd name="T1" fmla="*/ 29 h 29"/>
                  <a:gd name="T2" fmla="*/ 9 w 48"/>
                  <a:gd name="T3" fmla="*/ 29 h 29"/>
                  <a:gd name="T4" fmla="*/ 1 w 48"/>
                  <a:gd name="T5" fmla="*/ 24 h 29"/>
                  <a:gd name="T6" fmla="*/ 0 w 48"/>
                  <a:gd name="T7" fmla="*/ 22 h 29"/>
                  <a:gd name="T8" fmla="*/ 1 w 48"/>
                  <a:gd name="T9" fmla="*/ 21 h 29"/>
                  <a:gd name="T10" fmla="*/ 36 w 48"/>
                  <a:gd name="T11" fmla="*/ 0 h 29"/>
                  <a:gd name="T12" fmla="*/ 38 w 48"/>
                  <a:gd name="T13" fmla="*/ 0 h 29"/>
                  <a:gd name="T14" fmla="*/ 47 w 48"/>
                  <a:gd name="T15" fmla="*/ 5 h 29"/>
                  <a:gd name="T16" fmla="*/ 48 w 48"/>
                  <a:gd name="T17" fmla="*/ 6 h 29"/>
                  <a:gd name="T18" fmla="*/ 47 w 48"/>
                  <a:gd name="T19" fmla="*/ 8 h 29"/>
                  <a:gd name="T20" fmla="*/ 11 w 48"/>
                  <a:gd name="T21" fmla="*/ 29 h 29"/>
                  <a:gd name="T22" fmla="*/ 10 w 48"/>
                  <a:gd name="T23" fmla="*/ 29 h 29"/>
                  <a:gd name="T24" fmla="*/ 6 w 48"/>
                  <a:gd name="T25" fmla="*/ 22 h 29"/>
                  <a:gd name="T26" fmla="*/ 10 w 48"/>
                  <a:gd name="T27" fmla="*/ 25 h 29"/>
                  <a:gd name="T28" fmla="*/ 42 w 48"/>
                  <a:gd name="T29" fmla="*/ 6 h 29"/>
                  <a:gd name="T30" fmla="*/ 37 w 48"/>
                  <a:gd name="T31" fmla="*/ 4 h 29"/>
                  <a:gd name="T32" fmla="*/ 6 w 48"/>
                  <a:gd name="T33" fmla="*/ 2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29">
                    <a:moveTo>
                      <a:pt x="10" y="29"/>
                    </a:moveTo>
                    <a:cubicBezTo>
                      <a:pt x="10" y="29"/>
                      <a:pt x="9" y="29"/>
                      <a:pt x="9" y="29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1"/>
                      <a:pt x="1" y="21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7" y="0"/>
                      <a:pt x="38" y="0"/>
                      <a:pt x="38" y="0"/>
                    </a:cubicBezTo>
                    <a:cubicBezTo>
                      <a:pt x="47" y="5"/>
                      <a:pt x="47" y="5"/>
                      <a:pt x="47" y="5"/>
                    </a:cubicBezTo>
                    <a:cubicBezTo>
                      <a:pt x="47" y="5"/>
                      <a:pt x="48" y="6"/>
                      <a:pt x="48" y="6"/>
                    </a:cubicBezTo>
                    <a:cubicBezTo>
                      <a:pt x="48" y="7"/>
                      <a:pt x="47" y="8"/>
                      <a:pt x="47" y="8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1" y="29"/>
                      <a:pt x="10" y="29"/>
                      <a:pt x="10" y="29"/>
                    </a:cubicBezTo>
                    <a:close/>
                    <a:moveTo>
                      <a:pt x="6" y="22"/>
                    </a:moveTo>
                    <a:cubicBezTo>
                      <a:pt x="10" y="25"/>
                      <a:pt x="10" y="25"/>
                      <a:pt x="10" y="25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7" y="4"/>
                      <a:pt x="37" y="4"/>
                      <a:pt x="37" y="4"/>
                    </a:cubicBezTo>
                    <a:lnTo>
                      <a:pt x="6" y="2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7" name="Freeform 782">
                <a:extLst>
                  <a:ext uri="{FF2B5EF4-FFF2-40B4-BE49-F238E27FC236}">
                    <a16:creationId xmlns:a16="http://schemas.microsoft.com/office/drawing/2014/main" id="{963AE1BE-BCEF-47F6-A5F5-B4764321ED8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160062" y="6467478"/>
                <a:ext cx="19713" cy="21788"/>
              </a:xfrm>
              <a:custGeom>
                <a:avLst/>
                <a:gdLst>
                  <a:gd name="T0" fmla="*/ 2 w 8"/>
                  <a:gd name="T1" fmla="*/ 9 h 9"/>
                  <a:gd name="T2" fmla="*/ 1 w 8"/>
                  <a:gd name="T3" fmla="*/ 9 h 9"/>
                  <a:gd name="T4" fmla="*/ 0 w 8"/>
                  <a:gd name="T5" fmla="*/ 7 h 9"/>
                  <a:gd name="T6" fmla="*/ 0 w 8"/>
                  <a:gd name="T7" fmla="*/ 2 h 9"/>
                  <a:gd name="T8" fmla="*/ 1 w 8"/>
                  <a:gd name="T9" fmla="*/ 1 h 9"/>
                  <a:gd name="T10" fmla="*/ 3 w 8"/>
                  <a:gd name="T11" fmla="*/ 1 h 9"/>
                  <a:gd name="T12" fmla="*/ 7 w 8"/>
                  <a:gd name="T13" fmla="*/ 3 h 9"/>
                  <a:gd name="T14" fmla="*/ 8 w 8"/>
                  <a:gd name="T15" fmla="*/ 5 h 9"/>
                  <a:gd name="T16" fmla="*/ 7 w 8"/>
                  <a:gd name="T17" fmla="*/ 6 h 9"/>
                  <a:gd name="T18" fmla="*/ 3 w 8"/>
                  <a:gd name="T19" fmla="*/ 9 h 9"/>
                  <a:gd name="T20" fmla="*/ 2 w 8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9">
                    <a:moveTo>
                      <a:pt x="2" y="9"/>
                    </a:moveTo>
                    <a:cubicBezTo>
                      <a:pt x="2" y="9"/>
                      <a:pt x="1" y="9"/>
                      <a:pt x="1" y="9"/>
                    </a:cubicBezTo>
                    <a:cubicBezTo>
                      <a:pt x="0" y="8"/>
                      <a:pt x="0" y="8"/>
                      <a:pt x="0" y="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4"/>
                      <a:pt x="8" y="5"/>
                    </a:cubicBezTo>
                    <a:cubicBezTo>
                      <a:pt x="8" y="5"/>
                      <a:pt x="7" y="6"/>
                      <a:pt x="7" y="6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2" y="9"/>
                      <a:pt x="2" y="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8" name="Freeform 783">
                <a:extLst>
                  <a:ext uri="{FF2B5EF4-FFF2-40B4-BE49-F238E27FC236}">
                    <a16:creationId xmlns:a16="http://schemas.microsoft.com/office/drawing/2014/main" id="{0559A0B6-AD51-4B1E-B8A3-ACC69B112B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83925" y="6870044"/>
                <a:ext cx="415017" cy="244859"/>
              </a:xfrm>
              <a:custGeom>
                <a:avLst/>
                <a:gdLst>
                  <a:gd name="T0" fmla="*/ 114 w 169"/>
                  <a:gd name="T1" fmla="*/ 100 h 100"/>
                  <a:gd name="T2" fmla="*/ 113 w 169"/>
                  <a:gd name="T3" fmla="*/ 100 h 100"/>
                  <a:gd name="T4" fmla="*/ 1 w 169"/>
                  <a:gd name="T5" fmla="*/ 35 h 100"/>
                  <a:gd name="T6" fmla="*/ 0 w 169"/>
                  <a:gd name="T7" fmla="*/ 34 h 100"/>
                  <a:gd name="T8" fmla="*/ 1 w 169"/>
                  <a:gd name="T9" fmla="*/ 32 h 100"/>
                  <a:gd name="T10" fmla="*/ 55 w 169"/>
                  <a:gd name="T11" fmla="*/ 1 h 100"/>
                  <a:gd name="T12" fmla="*/ 57 w 169"/>
                  <a:gd name="T13" fmla="*/ 1 h 100"/>
                  <a:gd name="T14" fmla="*/ 168 w 169"/>
                  <a:gd name="T15" fmla="*/ 65 h 100"/>
                  <a:gd name="T16" fmla="*/ 169 w 169"/>
                  <a:gd name="T17" fmla="*/ 67 h 100"/>
                  <a:gd name="T18" fmla="*/ 168 w 169"/>
                  <a:gd name="T19" fmla="*/ 68 h 100"/>
                  <a:gd name="T20" fmla="*/ 115 w 169"/>
                  <a:gd name="T21" fmla="*/ 100 h 100"/>
                  <a:gd name="T22" fmla="*/ 114 w 169"/>
                  <a:gd name="T23" fmla="*/ 100 h 100"/>
                  <a:gd name="T24" fmla="*/ 6 w 169"/>
                  <a:gd name="T25" fmla="*/ 34 h 100"/>
                  <a:gd name="T26" fmla="*/ 114 w 169"/>
                  <a:gd name="T27" fmla="*/ 95 h 100"/>
                  <a:gd name="T28" fmla="*/ 163 w 169"/>
                  <a:gd name="T29" fmla="*/ 67 h 100"/>
                  <a:gd name="T30" fmla="*/ 56 w 169"/>
                  <a:gd name="T31" fmla="*/ 5 h 100"/>
                  <a:gd name="T32" fmla="*/ 6 w 169"/>
                  <a:gd name="T33" fmla="*/ 3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" h="100">
                    <a:moveTo>
                      <a:pt x="114" y="100"/>
                    </a:moveTo>
                    <a:cubicBezTo>
                      <a:pt x="113" y="100"/>
                      <a:pt x="113" y="100"/>
                      <a:pt x="113" y="100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1" y="35"/>
                      <a:pt x="0" y="34"/>
                      <a:pt x="0" y="34"/>
                    </a:cubicBezTo>
                    <a:cubicBezTo>
                      <a:pt x="0" y="33"/>
                      <a:pt x="1" y="32"/>
                      <a:pt x="1" y="32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6" y="0"/>
                      <a:pt x="57" y="0"/>
                      <a:pt x="57" y="1"/>
                    </a:cubicBezTo>
                    <a:cubicBezTo>
                      <a:pt x="168" y="65"/>
                      <a:pt x="168" y="65"/>
                      <a:pt x="168" y="65"/>
                    </a:cubicBezTo>
                    <a:cubicBezTo>
                      <a:pt x="169" y="65"/>
                      <a:pt x="169" y="66"/>
                      <a:pt x="169" y="67"/>
                    </a:cubicBezTo>
                    <a:cubicBezTo>
                      <a:pt x="169" y="67"/>
                      <a:pt x="169" y="68"/>
                      <a:pt x="168" y="68"/>
                    </a:cubicBezTo>
                    <a:cubicBezTo>
                      <a:pt x="115" y="100"/>
                      <a:pt x="115" y="100"/>
                      <a:pt x="115" y="100"/>
                    </a:cubicBezTo>
                    <a:cubicBezTo>
                      <a:pt x="114" y="100"/>
                      <a:pt x="114" y="100"/>
                      <a:pt x="114" y="100"/>
                    </a:cubicBezTo>
                    <a:close/>
                    <a:moveTo>
                      <a:pt x="6" y="34"/>
                    </a:moveTo>
                    <a:cubicBezTo>
                      <a:pt x="114" y="95"/>
                      <a:pt x="114" y="95"/>
                      <a:pt x="114" y="95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56" y="5"/>
                      <a:pt x="56" y="5"/>
                      <a:pt x="56" y="5"/>
                    </a:cubicBezTo>
                    <a:lnTo>
                      <a:pt x="6" y="3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9" name="Freeform 785">
                <a:extLst>
                  <a:ext uri="{FF2B5EF4-FFF2-40B4-BE49-F238E27FC236}">
                    <a16:creationId xmlns:a16="http://schemas.microsoft.com/office/drawing/2014/main" id="{3ECCA232-AE86-4FFB-AA80-256018FEEC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375681" y="6904283"/>
                <a:ext cx="61215" cy="61215"/>
              </a:xfrm>
              <a:custGeom>
                <a:avLst/>
                <a:gdLst>
                  <a:gd name="T0" fmla="*/ 15 w 25"/>
                  <a:gd name="T1" fmla="*/ 25 h 25"/>
                  <a:gd name="T2" fmla="*/ 14 w 25"/>
                  <a:gd name="T3" fmla="*/ 25 h 25"/>
                  <a:gd name="T4" fmla="*/ 1 w 25"/>
                  <a:gd name="T5" fmla="*/ 17 h 25"/>
                  <a:gd name="T6" fmla="*/ 0 w 25"/>
                  <a:gd name="T7" fmla="*/ 15 h 25"/>
                  <a:gd name="T8" fmla="*/ 0 w 25"/>
                  <a:gd name="T9" fmla="*/ 14 h 25"/>
                  <a:gd name="T10" fmla="*/ 1 w 25"/>
                  <a:gd name="T11" fmla="*/ 12 h 25"/>
                  <a:gd name="T12" fmla="*/ 22 w 25"/>
                  <a:gd name="T13" fmla="*/ 0 h 25"/>
                  <a:gd name="T14" fmla="*/ 24 w 25"/>
                  <a:gd name="T15" fmla="*/ 0 h 25"/>
                  <a:gd name="T16" fmla="*/ 25 w 25"/>
                  <a:gd name="T17" fmla="*/ 2 h 25"/>
                  <a:gd name="T18" fmla="*/ 25 w 25"/>
                  <a:gd name="T19" fmla="*/ 18 h 25"/>
                  <a:gd name="T20" fmla="*/ 24 w 25"/>
                  <a:gd name="T21" fmla="*/ 20 h 25"/>
                  <a:gd name="T22" fmla="*/ 16 w 25"/>
                  <a:gd name="T23" fmla="*/ 25 h 25"/>
                  <a:gd name="T24" fmla="*/ 15 w 25"/>
                  <a:gd name="T25" fmla="*/ 25 h 25"/>
                  <a:gd name="T26" fmla="*/ 5 w 25"/>
                  <a:gd name="T27" fmla="*/ 15 h 25"/>
                  <a:gd name="T28" fmla="*/ 15 w 25"/>
                  <a:gd name="T29" fmla="*/ 21 h 25"/>
                  <a:gd name="T30" fmla="*/ 21 w 25"/>
                  <a:gd name="T31" fmla="*/ 17 h 25"/>
                  <a:gd name="T32" fmla="*/ 21 w 25"/>
                  <a:gd name="T33" fmla="*/ 5 h 25"/>
                  <a:gd name="T34" fmla="*/ 5 w 25"/>
                  <a:gd name="T3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25">
                    <a:moveTo>
                      <a:pt x="15" y="25"/>
                    </a:moveTo>
                    <a:cubicBezTo>
                      <a:pt x="15" y="25"/>
                      <a:pt x="15" y="25"/>
                      <a:pt x="14" y="25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0" y="13"/>
                      <a:pt x="1" y="12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4" y="0"/>
                      <a:pt x="24" y="0"/>
                    </a:cubicBezTo>
                    <a:cubicBezTo>
                      <a:pt x="25" y="0"/>
                      <a:pt x="25" y="1"/>
                      <a:pt x="25" y="2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5" y="19"/>
                      <a:pt x="25" y="20"/>
                      <a:pt x="24" y="20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6" y="25"/>
                      <a:pt x="16" y="25"/>
                      <a:pt x="15" y="25"/>
                    </a:cubicBezTo>
                    <a:close/>
                    <a:moveTo>
                      <a:pt x="5" y="15"/>
                    </a:moveTo>
                    <a:cubicBezTo>
                      <a:pt x="15" y="21"/>
                      <a:pt x="15" y="21"/>
                      <a:pt x="15" y="21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1" y="5"/>
                      <a:pt x="21" y="5"/>
                      <a:pt x="21" y="5"/>
                    </a:cubicBezTo>
                    <a:lnTo>
                      <a:pt x="5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0" name="Freeform 786">
                <a:extLst>
                  <a:ext uri="{FF2B5EF4-FFF2-40B4-BE49-F238E27FC236}">
                    <a16:creationId xmlns:a16="http://schemas.microsoft.com/office/drawing/2014/main" id="{FBCF9B3F-84A9-41BD-BB78-E8543E77ED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75776" y="6888719"/>
                <a:ext cx="156669" cy="118280"/>
              </a:xfrm>
              <a:custGeom>
                <a:avLst/>
                <a:gdLst>
                  <a:gd name="T0" fmla="*/ 42 w 64"/>
                  <a:gd name="T1" fmla="*/ 48 h 48"/>
                  <a:gd name="T2" fmla="*/ 41 w 64"/>
                  <a:gd name="T3" fmla="*/ 48 h 48"/>
                  <a:gd name="T4" fmla="*/ 1 w 64"/>
                  <a:gd name="T5" fmla="*/ 25 h 48"/>
                  <a:gd name="T6" fmla="*/ 0 w 64"/>
                  <a:gd name="T7" fmla="*/ 23 h 48"/>
                  <a:gd name="T8" fmla="*/ 1 w 64"/>
                  <a:gd name="T9" fmla="*/ 21 h 48"/>
                  <a:gd name="T10" fmla="*/ 36 w 64"/>
                  <a:gd name="T11" fmla="*/ 1 h 48"/>
                  <a:gd name="T12" fmla="*/ 38 w 64"/>
                  <a:gd name="T13" fmla="*/ 1 h 48"/>
                  <a:gd name="T14" fmla="*/ 63 w 64"/>
                  <a:gd name="T15" fmla="*/ 15 h 48"/>
                  <a:gd name="T16" fmla="*/ 64 w 64"/>
                  <a:gd name="T17" fmla="*/ 16 h 48"/>
                  <a:gd name="T18" fmla="*/ 64 w 64"/>
                  <a:gd name="T19" fmla="*/ 35 h 48"/>
                  <a:gd name="T20" fmla="*/ 63 w 64"/>
                  <a:gd name="T21" fmla="*/ 36 h 48"/>
                  <a:gd name="T22" fmla="*/ 43 w 64"/>
                  <a:gd name="T23" fmla="*/ 48 h 48"/>
                  <a:gd name="T24" fmla="*/ 42 w 64"/>
                  <a:gd name="T25" fmla="*/ 48 h 48"/>
                  <a:gd name="T26" fmla="*/ 6 w 64"/>
                  <a:gd name="T27" fmla="*/ 23 h 48"/>
                  <a:gd name="T28" fmla="*/ 42 w 64"/>
                  <a:gd name="T29" fmla="*/ 44 h 48"/>
                  <a:gd name="T30" fmla="*/ 60 w 64"/>
                  <a:gd name="T31" fmla="*/ 34 h 48"/>
                  <a:gd name="T32" fmla="*/ 60 w 64"/>
                  <a:gd name="T33" fmla="*/ 18 h 48"/>
                  <a:gd name="T34" fmla="*/ 37 w 64"/>
                  <a:gd name="T35" fmla="*/ 5 h 48"/>
                  <a:gd name="T36" fmla="*/ 6 w 64"/>
                  <a:gd name="T37" fmla="*/ 23 h 48"/>
                  <a:gd name="T38" fmla="*/ 62 w 64"/>
                  <a:gd name="T39" fmla="*/ 35 h 48"/>
                  <a:gd name="T40" fmla="*/ 62 w 64"/>
                  <a:gd name="T41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" h="48">
                    <a:moveTo>
                      <a:pt x="42" y="48"/>
                    </a:moveTo>
                    <a:cubicBezTo>
                      <a:pt x="41" y="48"/>
                      <a:pt x="41" y="48"/>
                      <a:pt x="41" y="48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0" y="24"/>
                      <a:pt x="0" y="24"/>
                      <a:pt x="0" y="23"/>
                    </a:cubicBezTo>
                    <a:cubicBezTo>
                      <a:pt x="0" y="22"/>
                      <a:pt x="0" y="22"/>
                      <a:pt x="1" y="2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7" y="0"/>
                      <a:pt x="38" y="0"/>
                      <a:pt x="38" y="1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5"/>
                      <a:pt x="64" y="16"/>
                      <a:pt x="64" y="16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4" y="35"/>
                      <a:pt x="63" y="36"/>
                      <a:pt x="63" y="36"/>
                    </a:cubicBezTo>
                    <a:cubicBezTo>
                      <a:pt x="43" y="48"/>
                      <a:pt x="43" y="48"/>
                      <a:pt x="43" y="48"/>
                    </a:cubicBezTo>
                    <a:cubicBezTo>
                      <a:pt x="43" y="48"/>
                      <a:pt x="42" y="48"/>
                      <a:pt x="42" y="48"/>
                    </a:cubicBezTo>
                    <a:close/>
                    <a:moveTo>
                      <a:pt x="6" y="23"/>
                    </a:moveTo>
                    <a:cubicBezTo>
                      <a:pt x="42" y="44"/>
                      <a:pt x="42" y="44"/>
                      <a:pt x="42" y="4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37" y="5"/>
                      <a:pt x="37" y="5"/>
                      <a:pt x="37" y="5"/>
                    </a:cubicBezTo>
                    <a:lnTo>
                      <a:pt x="6" y="23"/>
                    </a:lnTo>
                    <a:close/>
                    <a:moveTo>
                      <a:pt x="62" y="35"/>
                    </a:moveTo>
                    <a:cubicBezTo>
                      <a:pt x="62" y="35"/>
                      <a:pt x="62" y="35"/>
                      <a:pt x="62" y="3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1" name="Freeform 787">
                <a:extLst>
                  <a:ext uri="{FF2B5EF4-FFF2-40B4-BE49-F238E27FC236}">
                    <a16:creationId xmlns:a16="http://schemas.microsoft.com/office/drawing/2014/main" id="{DEE5669D-1AD9-4DD4-AA06-97FF91109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75776" y="6854481"/>
                <a:ext cx="65365" cy="73665"/>
              </a:xfrm>
              <a:custGeom>
                <a:avLst/>
                <a:gdLst>
                  <a:gd name="T0" fmla="*/ 25 w 27"/>
                  <a:gd name="T1" fmla="*/ 30 h 30"/>
                  <a:gd name="T2" fmla="*/ 24 w 27"/>
                  <a:gd name="T3" fmla="*/ 30 h 30"/>
                  <a:gd name="T4" fmla="*/ 1 w 27"/>
                  <a:gd name="T5" fmla="*/ 17 h 30"/>
                  <a:gd name="T6" fmla="*/ 0 w 27"/>
                  <a:gd name="T7" fmla="*/ 15 h 30"/>
                  <a:gd name="T8" fmla="*/ 1 w 27"/>
                  <a:gd name="T9" fmla="*/ 14 h 30"/>
                  <a:gd name="T10" fmla="*/ 24 w 27"/>
                  <a:gd name="T11" fmla="*/ 1 h 30"/>
                  <a:gd name="T12" fmla="*/ 26 w 27"/>
                  <a:gd name="T13" fmla="*/ 1 h 30"/>
                  <a:gd name="T14" fmla="*/ 27 w 27"/>
                  <a:gd name="T15" fmla="*/ 2 h 30"/>
                  <a:gd name="T16" fmla="*/ 27 w 27"/>
                  <a:gd name="T17" fmla="*/ 28 h 30"/>
                  <a:gd name="T18" fmla="*/ 26 w 27"/>
                  <a:gd name="T19" fmla="*/ 30 h 30"/>
                  <a:gd name="T20" fmla="*/ 25 w 27"/>
                  <a:gd name="T21" fmla="*/ 30 h 30"/>
                  <a:gd name="T22" fmla="*/ 6 w 27"/>
                  <a:gd name="T23" fmla="*/ 15 h 30"/>
                  <a:gd name="T24" fmla="*/ 23 w 27"/>
                  <a:gd name="T25" fmla="*/ 25 h 30"/>
                  <a:gd name="T26" fmla="*/ 23 w 27"/>
                  <a:gd name="T27" fmla="*/ 6 h 30"/>
                  <a:gd name="T28" fmla="*/ 6 w 27"/>
                  <a:gd name="T2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25" y="30"/>
                    </a:moveTo>
                    <a:cubicBezTo>
                      <a:pt x="24" y="30"/>
                      <a:pt x="24" y="30"/>
                      <a:pt x="24" y="30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5"/>
                    </a:cubicBezTo>
                    <a:cubicBezTo>
                      <a:pt x="0" y="15"/>
                      <a:pt x="0" y="14"/>
                      <a:pt x="1" y="14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5" y="0"/>
                      <a:pt x="26" y="1"/>
                    </a:cubicBezTo>
                    <a:cubicBezTo>
                      <a:pt x="26" y="1"/>
                      <a:pt x="27" y="2"/>
                      <a:pt x="27" y="2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7" y="29"/>
                      <a:pt x="26" y="30"/>
                      <a:pt x="26" y="30"/>
                    </a:cubicBezTo>
                    <a:cubicBezTo>
                      <a:pt x="25" y="30"/>
                      <a:pt x="25" y="30"/>
                      <a:pt x="25" y="30"/>
                    </a:cubicBezTo>
                    <a:close/>
                    <a:moveTo>
                      <a:pt x="6" y="15"/>
                    </a:moveTo>
                    <a:cubicBezTo>
                      <a:pt x="23" y="25"/>
                      <a:pt x="23" y="25"/>
                      <a:pt x="23" y="25"/>
                    </a:cubicBezTo>
                    <a:cubicBezTo>
                      <a:pt x="23" y="6"/>
                      <a:pt x="23" y="6"/>
                      <a:pt x="23" y="6"/>
                    </a:cubicBezTo>
                    <a:lnTo>
                      <a:pt x="6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2" name="Freeform 789">
                <a:extLst>
                  <a:ext uri="{FF2B5EF4-FFF2-40B4-BE49-F238E27FC236}">
                    <a16:creationId xmlns:a16="http://schemas.microsoft.com/office/drawing/2014/main" id="{3F0CAB44-C9F0-46AF-89FA-D1471FCB7E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75776" y="6837880"/>
                <a:ext cx="90266" cy="56027"/>
              </a:xfrm>
              <a:custGeom>
                <a:avLst/>
                <a:gdLst>
                  <a:gd name="T0" fmla="*/ 10 w 37"/>
                  <a:gd name="T1" fmla="*/ 23 h 23"/>
                  <a:gd name="T2" fmla="*/ 9 w 37"/>
                  <a:gd name="T3" fmla="*/ 23 h 23"/>
                  <a:gd name="T4" fmla="*/ 1 w 37"/>
                  <a:gd name="T5" fmla="*/ 18 h 23"/>
                  <a:gd name="T6" fmla="*/ 0 w 37"/>
                  <a:gd name="T7" fmla="*/ 17 h 23"/>
                  <a:gd name="T8" fmla="*/ 1 w 37"/>
                  <a:gd name="T9" fmla="*/ 15 h 23"/>
                  <a:gd name="T10" fmla="*/ 27 w 37"/>
                  <a:gd name="T11" fmla="*/ 0 h 23"/>
                  <a:gd name="T12" fmla="*/ 29 w 37"/>
                  <a:gd name="T13" fmla="*/ 0 h 23"/>
                  <a:gd name="T14" fmla="*/ 36 w 37"/>
                  <a:gd name="T15" fmla="*/ 4 h 23"/>
                  <a:gd name="T16" fmla="*/ 37 w 37"/>
                  <a:gd name="T17" fmla="*/ 6 h 23"/>
                  <a:gd name="T18" fmla="*/ 37 w 37"/>
                  <a:gd name="T19" fmla="*/ 7 h 23"/>
                  <a:gd name="T20" fmla="*/ 36 w 37"/>
                  <a:gd name="T21" fmla="*/ 9 h 23"/>
                  <a:gd name="T22" fmla="*/ 11 w 37"/>
                  <a:gd name="T23" fmla="*/ 23 h 23"/>
                  <a:gd name="T24" fmla="*/ 10 w 37"/>
                  <a:gd name="T25" fmla="*/ 23 h 23"/>
                  <a:gd name="T26" fmla="*/ 6 w 37"/>
                  <a:gd name="T27" fmla="*/ 17 h 23"/>
                  <a:gd name="T28" fmla="*/ 10 w 37"/>
                  <a:gd name="T29" fmla="*/ 19 h 23"/>
                  <a:gd name="T30" fmla="*/ 32 w 37"/>
                  <a:gd name="T31" fmla="*/ 7 h 23"/>
                  <a:gd name="T32" fmla="*/ 28 w 37"/>
                  <a:gd name="T33" fmla="*/ 4 h 23"/>
                  <a:gd name="T34" fmla="*/ 6 w 37"/>
                  <a:gd name="T35" fmla="*/ 17 h 23"/>
                  <a:gd name="T36" fmla="*/ 35 w 37"/>
                  <a:gd name="T37" fmla="*/ 7 h 23"/>
                  <a:gd name="T38" fmla="*/ 35 w 37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23">
                    <a:moveTo>
                      <a:pt x="10" y="23"/>
                    </a:moveTo>
                    <a:cubicBezTo>
                      <a:pt x="10" y="23"/>
                      <a:pt x="10" y="23"/>
                      <a:pt x="9" y="23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8" y="0"/>
                      <a:pt x="29" y="0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6" y="5"/>
                      <a:pt x="37" y="5"/>
                      <a:pt x="37" y="6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7" y="8"/>
                      <a:pt x="36" y="9"/>
                      <a:pt x="36" y="9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0" y="23"/>
                    </a:cubicBezTo>
                    <a:close/>
                    <a:moveTo>
                      <a:pt x="6" y="17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8" y="4"/>
                      <a:pt x="28" y="4"/>
                      <a:pt x="28" y="4"/>
                    </a:cubicBezTo>
                    <a:lnTo>
                      <a:pt x="6" y="17"/>
                    </a:lnTo>
                    <a:close/>
                    <a:moveTo>
                      <a:pt x="35" y="7"/>
                    </a:moveTo>
                    <a:cubicBezTo>
                      <a:pt x="35" y="7"/>
                      <a:pt x="35" y="7"/>
                      <a:pt x="35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3" name="Freeform 791">
                <a:extLst>
                  <a:ext uri="{FF2B5EF4-FFF2-40B4-BE49-F238E27FC236}">
                    <a16:creationId xmlns:a16="http://schemas.microsoft.com/office/drawing/2014/main" id="{918EBB48-C7A4-48BF-931D-D2B7D546504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419257" y="6781853"/>
                <a:ext cx="17638" cy="16601"/>
              </a:xfrm>
              <a:custGeom>
                <a:avLst/>
                <a:gdLst>
                  <a:gd name="T0" fmla="*/ 2 w 7"/>
                  <a:gd name="T1" fmla="*/ 7 h 7"/>
                  <a:gd name="T2" fmla="*/ 1 w 7"/>
                  <a:gd name="T3" fmla="*/ 6 h 7"/>
                  <a:gd name="T4" fmla="*/ 0 w 7"/>
                  <a:gd name="T5" fmla="*/ 5 h 7"/>
                  <a:gd name="T6" fmla="*/ 0 w 7"/>
                  <a:gd name="T7" fmla="*/ 2 h 7"/>
                  <a:gd name="T8" fmla="*/ 1 w 7"/>
                  <a:gd name="T9" fmla="*/ 0 h 7"/>
                  <a:gd name="T10" fmla="*/ 3 w 7"/>
                  <a:gd name="T11" fmla="*/ 0 h 7"/>
                  <a:gd name="T12" fmla="*/ 6 w 7"/>
                  <a:gd name="T13" fmla="*/ 2 h 7"/>
                  <a:gd name="T14" fmla="*/ 7 w 7"/>
                  <a:gd name="T15" fmla="*/ 3 h 7"/>
                  <a:gd name="T16" fmla="*/ 6 w 7"/>
                  <a:gd name="T17" fmla="*/ 5 h 7"/>
                  <a:gd name="T18" fmla="*/ 3 w 7"/>
                  <a:gd name="T19" fmla="*/ 6 h 7"/>
                  <a:gd name="T20" fmla="*/ 2 w 7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cubicBezTo>
                      <a:pt x="2" y="7"/>
                      <a:pt x="1" y="7"/>
                      <a:pt x="1" y="6"/>
                    </a:cubicBezTo>
                    <a:cubicBezTo>
                      <a:pt x="0" y="6"/>
                      <a:pt x="0" y="5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7" y="3"/>
                      <a:pt x="7" y="3"/>
                    </a:cubicBezTo>
                    <a:cubicBezTo>
                      <a:pt x="7" y="4"/>
                      <a:pt x="6" y="5"/>
                      <a:pt x="6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7"/>
                      <a:pt x="2" y="7"/>
                      <a:pt x="2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4" name="Freeform 792">
                <a:extLst>
                  <a:ext uri="{FF2B5EF4-FFF2-40B4-BE49-F238E27FC236}">
                    <a16:creationId xmlns:a16="http://schemas.microsoft.com/office/drawing/2014/main" id="{148A21CB-A09A-4D83-859D-0A134CE9F4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23898" y="6482004"/>
                <a:ext cx="59140" cy="352763"/>
              </a:xfrm>
              <a:custGeom>
                <a:avLst/>
                <a:gdLst>
                  <a:gd name="T0" fmla="*/ 19 w 24"/>
                  <a:gd name="T1" fmla="*/ 144 h 144"/>
                  <a:gd name="T2" fmla="*/ 18 w 24"/>
                  <a:gd name="T3" fmla="*/ 144 h 144"/>
                  <a:gd name="T4" fmla="*/ 1 w 24"/>
                  <a:gd name="T5" fmla="*/ 134 h 144"/>
                  <a:gd name="T6" fmla="*/ 0 w 24"/>
                  <a:gd name="T7" fmla="*/ 132 h 144"/>
                  <a:gd name="T8" fmla="*/ 0 w 24"/>
                  <a:gd name="T9" fmla="*/ 13 h 144"/>
                  <a:gd name="T10" fmla="*/ 1 w 24"/>
                  <a:gd name="T11" fmla="*/ 12 h 144"/>
                  <a:gd name="T12" fmla="*/ 21 w 24"/>
                  <a:gd name="T13" fmla="*/ 0 h 144"/>
                  <a:gd name="T14" fmla="*/ 23 w 24"/>
                  <a:gd name="T15" fmla="*/ 0 h 144"/>
                  <a:gd name="T16" fmla="*/ 24 w 24"/>
                  <a:gd name="T17" fmla="*/ 2 h 144"/>
                  <a:gd name="T18" fmla="*/ 24 w 24"/>
                  <a:gd name="T19" fmla="*/ 140 h 144"/>
                  <a:gd name="T20" fmla="*/ 23 w 24"/>
                  <a:gd name="T21" fmla="*/ 142 h 144"/>
                  <a:gd name="T22" fmla="*/ 20 w 24"/>
                  <a:gd name="T23" fmla="*/ 144 h 144"/>
                  <a:gd name="T24" fmla="*/ 19 w 24"/>
                  <a:gd name="T25" fmla="*/ 144 h 144"/>
                  <a:gd name="T26" fmla="*/ 4 w 24"/>
                  <a:gd name="T27" fmla="*/ 131 h 144"/>
                  <a:gd name="T28" fmla="*/ 19 w 24"/>
                  <a:gd name="T29" fmla="*/ 140 h 144"/>
                  <a:gd name="T30" fmla="*/ 20 w 24"/>
                  <a:gd name="T31" fmla="*/ 139 h 144"/>
                  <a:gd name="T32" fmla="*/ 20 w 24"/>
                  <a:gd name="T33" fmla="*/ 5 h 144"/>
                  <a:gd name="T34" fmla="*/ 4 w 24"/>
                  <a:gd name="T35" fmla="*/ 15 h 144"/>
                  <a:gd name="T36" fmla="*/ 4 w 24"/>
                  <a:gd name="T37" fmla="*/ 13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144">
                    <a:moveTo>
                      <a:pt x="19" y="144"/>
                    </a:moveTo>
                    <a:cubicBezTo>
                      <a:pt x="18" y="144"/>
                      <a:pt x="18" y="144"/>
                      <a:pt x="18" y="144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1" y="134"/>
                      <a:pt x="0" y="133"/>
                      <a:pt x="0" y="13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1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3" y="1"/>
                      <a:pt x="24" y="1"/>
                      <a:pt x="24" y="2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141"/>
                      <a:pt x="23" y="141"/>
                      <a:pt x="23" y="142"/>
                    </a:cubicBezTo>
                    <a:cubicBezTo>
                      <a:pt x="20" y="144"/>
                      <a:pt x="20" y="144"/>
                      <a:pt x="20" y="144"/>
                    </a:cubicBezTo>
                    <a:cubicBezTo>
                      <a:pt x="19" y="144"/>
                      <a:pt x="19" y="144"/>
                      <a:pt x="19" y="144"/>
                    </a:cubicBezTo>
                    <a:close/>
                    <a:moveTo>
                      <a:pt x="4" y="131"/>
                    </a:moveTo>
                    <a:cubicBezTo>
                      <a:pt x="19" y="140"/>
                      <a:pt x="19" y="140"/>
                      <a:pt x="19" y="140"/>
                    </a:cubicBezTo>
                    <a:cubicBezTo>
                      <a:pt x="20" y="139"/>
                      <a:pt x="20" y="139"/>
                      <a:pt x="20" y="139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5"/>
                      <a:pt x="4" y="15"/>
                      <a:pt x="4" y="15"/>
                    </a:cubicBezTo>
                    <a:lnTo>
                      <a:pt x="4" y="1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5" name="Freeform 793">
                <a:extLst>
                  <a:ext uri="{FF2B5EF4-FFF2-40B4-BE49-F238E27FC236}">
                    <a16:creationId xmlns:a16="http://schemas.microsoft.com/office/drawing/2014/main" id="{0CCD9199-C5BC-407D-AE20-D48A079791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36349" y="6805716"/>
                <a:ext cx="46689" cy="51877"/>
              </a:xfrm>
              <a:custGeom>
                <a:avLst/>
                <a:gdLst>
                  <a:gd name="T0" fmla="*/ 3 w 19"/>
                  <a:gd name="T1" fmla="*/ 21 h 21"/>
                  <a:gd name="T2" fmla="*/ 2 w 19"/>
                  <a:gd name="T3" fmla="*/ 20 h 21"/>
                  <a:gd name="T4" fmla="*/ 1 w 19"/>
                  <a:gd name="T5" fmla="*/ 20 h 21"/>
                  <a:gd name="T6" fmla="*/ 0 w 19"/>
                  <a:gd name="T7" fmla="*/ 18 h 21"/>
                  <a:gd name="T8" fmla="*/ 0 w 19"/>
                  <a:gd name="T9" fmla="*/ 2 h 21"/>
                  <a:gd name="T10" fmla="*/ 1 w 19"/>
                  <a:gd name="T11" fmla="*/ 1 h 21"/>
                  <a:gd name="T12" fmla="*/ 3 w 19"/>
                  <a:gd name="T13" fmla="*/ 1 h 21"/>
                  <a:gd name="T14" fmla="*/ 18 w 19"/>
                  <a:gd name="T15" fmla="*/ 9 h 21"/>
                  <a:gd name="T16" fmla="*/ 19 w 19"/>
                  <a:gd name="T17" fmla="*/ 11 h 21"/>
                  <a:gd name="T18" fmla="*/ 18 w 19"/>
                  <a:gd name="T19" fmla="*/ 13 h 21"/>
                  <a:gd name="T20" fmla="*/ 4 w 19"/>
                  <a:gd name="T21" fmla="*/ 20 h 21"/>
                  <a:gd name="T22" fmla="*/ 3 w 19"/>
                  <a:gd name="T23" fmla="*/ 21 h 21"/>
                  <a:gd name="T24" fmla="*/ 4 w 19"/>
                  <a:gd name="T25" fmla="*/ 6 h 21"/>
                  <a:gd name="T26" fmla="*/ 4 w 19"/>
                  <a:gd name="T27" fmla="*/ 16 h 21"/>
                  <a:gd name="T28" fmla="*/ 13 w 19"/>
                  <a:gd name="T29" fmla="*/ 11 h 21"/>
                  <a:gd name="T30" fmla="*/ 4 w 19"/>
                  <a:gd name="T31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21">
                    <a:moveTo>
                      <a:pt x="3" y="21"/>
                    </a:moveTo>
                    <a:cubicBezTo>
                      <a:pt x="3" y="21"/>
                      <a:pt x="3" y="21"/>
                      <a:pt x="2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9" y="10"/>
                      <a:pt x="19" y="10"/>
                      <a:pt x="19" y="11"/>
                    </a:cubicBezTo>
                    <a:cubicBezTo>
                      <a:pt x="19" y="12"/>
                      <a:pt x="19" y="12"/>
                      <a:pt x="18" y="13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1"/>
                      <a:pt x="4" y="21"/>
                      <a:pt x="3" y="21"/>
                    </a:cubicBezTo>
                    <a:close/>
                    <a:moveTo>
                      <a:pt x="4" y="6"/>
                    </a:moveTo>
                    <a:cubicBezTo>
                      <a:pt x="4" y="16"/>
                      <a:pt x="4" y="16"/>
                      <a:pt x="4" y="16"/>
                    </a:cubicBezTo>
                    <a:cubicBezTo>
                      <a:pt x="13" y="11"/>
                      <a:pt x="13" y="11"/>
                      <a:pt x="13" y="11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6" name="Freeform 794">
                <a:extLst>
                  <a:ext uri="{FF2B5EF4-FFF2-40B4-BE49-F238E27FC236}">
                    <a16:creationId xmlns:a16="http://schemas.microsoft.com/office/drawing/2014/main" id="{CF2B2A39-9B32-4417-A0BE-1FCE771D72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2302" y="6857593"/>
                <a:ext cx="117242" cy="129692"/>
              </a:xfrm>
              <a:custGeom>
                <a:avLst/>
                <a:gdLst>
                  <a:gd name="T0" fmla="*/ 46 w 48"/>
                  <a:gd name="T1" fmla="*/ 53 h 53"/>
                  <a:gd name="T2" fmla="*/ 45 w 48"/>
                  <a:gd name="T3" fmla="*/ 52 h 53"/>
                  <a:gd name="T4" fmla="*/ 23 w 48"/>
                  <a:gd name="T5" fmla="*/ 40 h 53"/>
                  <a:gd name="T6" fmla="*/ 9 w 48"/>
                  <a:gd name="T7" fmla="*/ 48 h 53"/>
                  <a:gd name="T8" fmla="*/ 7 w 48"/>
                  <a:gd name="T9" fmla="*/ 48 h 53"/>
                  <a:gd name="T10" fmla="*/ 1 w 48"/>
                  <a:gd name="T11" fmla="*/ 45 h 53"/>
                  <a:gd name="T12" fmla="*/ 0 w 48"/>
                  <a:gd name="T13" fmla="*/ 43 h 53"/>
                  <a:gd name="T14" fmla="*/ 1 w 48"/>
                  <a:gd name="T15" fmla="*/ 41 h 53"/>
                  <a:gd name="T16" fmla="*/ 8 w 48"/>
                  <a:gd name="T17" fmla="*/ 37 h 53"/>
                  <a:gd name="T18" fmla="*/ 8 w 48"/>
                  <a:gd name="T19" fmla="*/ 20 h 53"/>
                  <a:gd name="T20" fmla="*/ 9 w 48"/>
                  <a:gd name="T21" fmla="*/ 18 h 53"/>
                  <a:gd name="T22" fmla="*/ 40 w 48"/>
                  <a:gd name="T23" fmla="*/ 0 h 53"/>
                  <a:gd name="T24" fmla="*/ 42 w 48"/>
                  <a:gd name="T25" fmla="*/ 0 h 53"/>
                  <a:gd name="T26" fmla="*/ 47 w 48"/>
                  <a:gd name="T27" fmla="*/ 3 h 53"/>
                  <a:gd name="T28" fmla="*/ 48 w 48"/>
                  <a:gd name="T29" fmla="*/ 5 h 53"/>
                  <a:gd name="T30" fmla="*/ 48 w 48"/>
                  <a:gd name="T31" fmla="*/ 51 h 53"/>
                  <a:gd name="T32" fmla="*/ 47 w 48"/>
                  <a:gd name="T33" fmla="*/ 52 h 53"/>
                  <a:gd name="T34" fmla="*/ 46 w 48"/>
                  <a:gd name="T35" fmla="*/ 53 h 53"/>
                  <a:gd name="T36" fmla="*/ 23 w 48"/>
                  <a:gd name="T37" fmla="*/ 36 h 53"/>
                  <a:gd name="T38" fmla="*/ 24 w 48"/>
                  <a:gd name="T39" fmla="*/ 36 h 53"/>
                  <a:gd name="T40" fmla="*/ 44 w 48"/>
                  <a:gd name="T41" fmla="*/ 47 h 53"/>
                  <a:gd name="T42" fmla="*/ 44 w 48"/>
                  <a:gd name="T43" fmla="*/ 6 h 53"/>
                  <a:gd name="T44" fmla="*/ 41 w 48"/>
                  <a:gd name="T45" fmla="*/ 4 h 53"/>
                  <a:gd name="T46" fmla="*/ 12 w 48"/>
                  <a:gd name="T47" fmla="*/ 21 h 53"/>
                  <a:gd name="T48" fmla="*/ 12 w 48"/>
                  <a:gd name="T49" fmla="*/ 38 h 53"/>
                  <a:gd name="T50" fmla="*/ 11 w 48"/>
                  <a:gd name="T51" fmla="*/ 40 h 53"/>
                  <a:gd name="T52" fmla="*/ 6 w 48"/>
                  <a:gd name="T53" fmla="*/ 43 h 53"/>
                  <a:gd name="T54" fmla="*/ 8 w 48"/>
                  <a:gd name="T55" fmla="*/ 44 h 53"/>
                  <a:gd name="T56" fmla="*/ 22 w 48"/>
                  <a:gd name="T57" fmla="*/ 36 h 53"/>
                  <a:gd name="T58" fmla="*/ 23 w 48"/>
                  <a:gd name="T59" fmla="*/ 3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" h="53">
                    <a:moveTo>
                      <a:pt x="46" y="53"/>
                    </a:moveTo>
                    <a:cubicBezTo>
                      <a:pt x="46" y="53"/>
                      <a:pt x="45" y="53"/>
                      <a:pt x="45" y="52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8" y="49"/>
                      <a:pt x="7" y="49"/>
                      <a:pt x="7" y="48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2"/>
                      <a:pt x="0" y="42"/>
                      <a:pt x="1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19"/>
                      <a:pt x="8" y="18"/>
                      <a:pt x="9" y="18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41" y="0"/>
                      <a:pt x="42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8" y="4"/>
                      <a:pt x="48" y="4"/>
                      <a:pt x="48" y="5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48" y="51"/>
                      <a:pt x="48" y="52"/>
                      <a:pt x="47" y="52"/>
                    </a:cubicBezTo>
                    <a:cubicBezTo>
                      <a:pt x="47" y="53"/>
                      <a:pt x="46" y="53"/>
                      <a:pt x="46" y="53"/>
                    </a:cubicBezTo>
                    <a:close/>
                    <a:moveTo>
                      <a:pt x="23" y="36"/>
                    </a:moveTo>
                    <a:cubicBezTo>
                      <a:pt x="24" y="36"/>
                      <a:pt x="24" y="36"/>
                      <a:pt x="24" y="36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1" y="4"/>
                      <a:pt x="41" y="4"/>
                      <a:pt x="41" y="4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9"/>
                      <a:pt x="12" y="40"/>
                      <a:pt x="11" y="40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7" name="Freeform 795">
                <a:extLst>
                  <a:ext uri="{FF2B5EF4-FFF2-40B4-BE49-F238E27FC236}">
                    <a16:creationId xmlns:a16="http://schemas.microsoft.com/office/drawing/2014/main" id="{FFD71409-90EA-4868-8794-303ED62665A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581114" y="6332598"/>
                <a:ext cx="17638" cy="17638"/>
              </a:xfrm>
              <a:custGeom>
                <a:avLst/>
                <a:gdLst>
                  <a:gd name="T0" fmla="*/ 2 w 7"/>
                  <a:gd name="T1" fmla="*/ 7 h 7"/>
                  <a:gd name="T2" fmla="*/ 1 w 7"/>
                  <a:gd name="T3" fmla="*/ 7 h 7"/>
                  <a:gd name="T4" fmla="*/ 0 w 7"/>
                  <a:gd name="T5" fmla="*/ 5 h 7"/>
                  <a:gd name="T6" fmla="*/ 0 w 7"/>
                  <a:gd name="T7" fmla="*/ 2 h 7"/>
                  <a:gd name="T8" fmla="*/ 1 w 7"/>
                  <a:gd name="T9" fmla="*/ 1 h 7"/>
                  <a:gd name="T10" fmla="*/ 3 w 7"/>
                  <a:gd name="T11" fmla="*/ 1 h 7"/>
                  <a:gd name="T12" fmla="*/ 6 w 7"/>
                  <a:gd name="T13" fmla="*/ 2 h 7"/>
                  <a:gd name="T14" fmla="*/ 7 w 7"/>
                  <a:gd name="T15" fmla="*/ 4 h 7"/>
                  <a:gd name="T16" fmla="*/ 6 w 7"/>
                  <a:gd name="T17" fmla="*/ 6 h 7"/>
                  <a:gd name="T18" fmla="*/ 3 w 7"/>
                  <a:gd name="T19" fmla="*/ 7 h 7"/>
                  <a:gd name="T20" fmla="*/ 2 w 7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cubicBezTo>
                      <a:pt x="2" y="7"/>
                      <a:pt x="2" y="7"/>
                      <a:pt x="1" y="7"/>
                    </a:cubicBezTo>
                    <a:cubicBezTo>
                      <a:pt x="1" y="7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3"/>
                      <a:pt x="7" y="3"/>
                      <a:pt x="7" y="4"/>
                    </a:cubicBezTo>
                    <a:cubicBezTo>
                      <a:pt x="7" y="5"/>
                      <a:pt x="7" y="5"/>
                      <a:pt x="6" y="6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2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8" name="Freeform 796">
                <a:extLst>
                  <a:ext uri="{FF2B5EF4-FFF2-40B4-BE49-F238E27FC236}">
                    <a16:creationId xmlns:a16="http://schemas.microsoft.com/office/drawing/2014/main" id="{142C505A-5C4C-4482-89C4-E6340EF79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00185" y="6904283"/>
                <a:ext cx="41502" cy="122430"/>
              </a:xfrm>
              <a:custGeom>
                <a:avLst/>
                <a:gdLst>
                  <a:gd name="T0" fmla="*/ 15 w 17"/>
                  <a:gd name="T1" fmla="*/ 50 h 50"/>
                  <a:gd name="T2" fmla="*/ 14 w 17"/>
                  <a:gd name="T3" fmla="*/ 50 h 50"/>
                  <a:gd name="T4" fmla="*/ 1 w 17"/>
                  <a:gd name="T5" fmla="*/ 42 h 50"/>
                  <a:gd name="T6" fmla="*/ 0 w 17"/>
                  <a:gd name="T7" fmla="*/ 41 h 50"/>
                  <a:gd name="T8" fmla="*/ 0 w 17"/>
                  <a:gd name="T9" fmla="*/ 2 h 50"/>
                  <a:gd name="T10" fmla="*/ 1 w 17"/>
                  <a:gd name="T11" fmla="*/ 1 h 50"/>
                  <a:gd name="T12" fmla="*/ 3 w 17"/>
                  <a:gd name="T13" fmla="*/ 1 h 50"/>
                  <a:gd name="T14" fmla="*/ 16 w 17"/>
                  <a:gd name="T15" fmla="*/ 8 h 50"/>
                  <a:gd name="T16" fmla="*/ 17 w 17"/>
                  <a:gd name="T17" fmla="*/ 10 h 50"/>
                  <a:gd name="T18" fmla="*/ 17 w 17"/>
                  <a:gd name="T19" fmla="*/ 48 h 50"/>
                  <a:gd name="T20" fmla="*/ 16 w 17"/>
                  <a:gd name="T21" fmla="*/ 50 h 50"/>
                  <a:gd name="T22" fmla="*/ 15 w 17"/>
                  <a:gd name="T23" fmla="*/ 50 h 50"/>
                  <a:gd name="T24" fmla="*/ 4 w 17"/>
                  <a:gd name="T25" fmla="*/ 40 h 50"/>
                  <a:gd name="T26" fmla="*/ 13 w 17"/>
                  <a:gd name="T27" fmla="*/ 44 h 50"/>
                  <a:gd name="T28" fmla="*/ 13 w 17"/>
                  <a:gd name="T29" fmla="*/ 11 h 50"/>
                  <a:gd name="T30" fmla="*/ 4 w 17"/>
                  <a:gd name="T31" fmla="*/ 6 h 50"/>
                  <a:gd name="T32" fmla="*/ 4 w 17"/>
                  <a:gd name="T3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50">
                    <a:moveTo>
                      <a:pt x="15" y="50"/>
                    </a:moveTo>
                    <a:cubicBezTo>
                      <a:pt x="14" y="50"/>
                      <a:pt x="14" y="50"/>
                      <a:pt x="14" y="50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2"/>
                      <a:pt x="0" y="41"/>
                      <a:pt x="0" y="4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7" y="9"/>
                      <a:pt x="17" y="10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7" y="49"/>
                      <a:pt x="16" y="49"/>
                      <a:pt x="16" y="50"/>
                    </a:cubicBezTo>
                    <a:cubicBezTo>
                      <a:pt x="15" y="50"/>
                      <a:pt x="15" y="50"/>
                      <a:pt x="15" y="50"/>
                    </a:cubicBezTo>
                    <a:close/>
                    <a:moveTo>
                      <a:pt x="4" y="40"/>
                    </a:move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4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9" name="Freeform 798">
                <a:extLst>
                  <a:ext uri="{FF2B5EF4-FFF2-40B4-BE49-F238E27FC236}">
                    <a16:creationId xmlns:a16="http://schemas.microsoft.com/office/drawing/2014/main" id="{A3C9436E-2280-4091-A05E-DFE6E957316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579039" y="6327411"/>
                <a:ext cx="19713" cy="17638"/>
              </a:xfrm>
              <a:custGeom>
                <a:avLst/>
                <a:gdLst>
                  <a:gd name="T0" fmla="*/ 6 w 8"/>
                  <a:gd name="T1" fmla="*/ 7 h 7"/>
                  <a:gd name="T2" fmla="*/ 5 w 8"/>
                  <a:gd name="T3" fmla="*/ 6 h 7"/>
                  <a:gd name="T4" fmla="*/ 1 w 8"/>
                  <a:gd name="T5" fmla="*/ 4 h 7"/>
                  <a:gd name="T6" fmla="*/ 0 w 8"/>
                  <a:gd name="T7" fmla="*/ 3 h 7"/>
                  <a:gd name="T8" fmla="*/ 1 w 8"/>
                  <a:gd name="T9" fmla="*/ 1 h 7"/>
                  <a:gd name="T10" fmla="*/ 3 w 8"/>
                  <a:gd name="T11" fmla="*/ 1 h 7"/>
                  <a:gd name="T12" fmla="*/ 7 w 8"/>
                  <a:gd name="T13" fmla="*/ 3 h 7"/>
                  <a:gd name="T14" fmla="*/ 8 w 8"/>
                  <a:gd name="T15" fmla="*/ 4 h 7"/>
                  <a:gd name="T16" fmla="*/ 8 w 8"/>
                  <a:gd name="T17" fmla="*/ 5 h 7"/>
                  <a:gd name="T18" fmla="*/ 7 w 8"/>
                  <a:gd name="T19" fmla="*/ 6 h 7"/>
                  <a:gd name="T20" fmla="*/ 6 w 8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5" y="7"/>
                      <a:pt x="5" y="6"/>
                      <a:pt x="5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4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6"/>
                      <a:pt x="7" y="6"/>
                    </a:cubicBezTo>
                    <a:cubicBezTo>
                      <a:pt x="6" y="6"/>
                      <a:pt x="6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0" name="Freeform 799">
                <a:extLst>
                  <a:ext uri="{FF2B5EF4-FFF2-40B4-BE49-F238E27FC236}">
                    <a16:creationId xmlns:a16="http://schemas.microsoft.com/office/drawing/2014/main" id="{3E198F59-FAEA-4C57-8A9E-7468145650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1945" y="5650935"/>
                <a:ext cx="43577" cy="51877"/>
              </a:xfrm>
              <a:custGeom>
                <a:avLst/>
                <a:gdLst>
                  <a:gd name="T0" fmla="*/ 16 w 18"/>
                  <a:gd name="T1" fmla="*/ 21 h 21"/>
                  <a:gd name="T2" fmla="*/ 15 w 18"/>
                  <a:gd name="T3" fmla="*/ 20 h 21"/>
                  <a:gd name="T4" fmla="*/ 1 w 18"/>
                  <a:gd name="T5" fmla="*/ 12 h 21"/>
                  <a:gd name="T6" fmla="*/ 0 w 18"/>
                  <a:gd name="T7" fmla="*/ 10 h 21"/>
                  <a:gd name="T8" fmla="*/ 1 w 18"/>
                  <a:gd name="T9" fmla="*/ 9 h 21"/>
                  <a:gd name="T10" fmla="*/ 15 w 18"/>
                  <a:gd name="T11" fmla="*/ 0 h 21"/>
                  <a:gd name="T12" fmla="*/ 17 w 18"/>
                  <a:gd name="T13" fmla="*/ 0 h 21"/>
                  <a:gd name="T14" fmla="*/ 18 w 18"/>
                  <a:gd name="T15" fmla="*/ 2 h 21"/>
                  <a:gd name="T16" fmla="*/ 18 w 18"/>
                  <a:gd name="T17" fmla="*/ 19 h 21"/>
                  <a:gd name="T18" fmla="*/ 17 w 18"/>
                  <a:gd name="T19" fmla="*/ 20 h 21"/>
                  <a:gd name="T20" fmla="*/ 16 w 18"/>
                  <a:gd name="T21" fmla="*/ 21 h 21"/>
                  <a:gd name="T22" fmla="*/ 6 w 18"/>
                  <a:gd name="T23" fmla="*/ 10 h 21"/>
                  <a:gd name="T24" fmla="*/ 14 w 18"/>
                  <a:gd name="T25" fmla="*/ 15 h 21"/>
                  <a:gd name="T26" fmla="*/ 14 w 18"/>
                  <a:gd name="T27" fmla="*/ 6 h 21"/>
                  <a:gd name="T28" fmla="*/ 6 w 18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21">
                    <a:moveTo>
                      <a:pt x="16" y="21"/>
                    </a:moveTo>
                    <a:cubicBezTo>
                      <a:pt x="16" y="21"/>
                      <a:pt x="15" y="21"/>
                      <a:pt x="15" y="20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6" y="0"/>
                      <a:pt x="17" y="0"/>
                    </a:cubicBezTo>
                    <a:cubicBezTo>
                      <a:pt x="18" y="1"/>
                      <a:pt x="18" y="1"/>
                      <a:pt x="18" y="2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19"/>
                      <a:pt x="18" y="20"/>
                      <a:pt x="17" y="20"/>
                    </a:cubicBezTo>
                    <a:cubicBezTo>
                      <a:pt x="17" y="21"/>
                      <a:pt x="16" y="21"/>
                      <a:pt x="16" y="21"/>
                    </a:cubicBezTo>
                    <a:close/>
                    <a:moveTo>
                      <a:pt x="6" y="10"/>
                    </a:move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6"/>
                      <a:pt x="14" y="6"/>
                      <a:pt x="14" y="6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1" name="Freeform 800">
                <a:extLst>
                  <a:ext uri="{FF2B5EF4-FFF2-40B4-BE49-F238E27FC236}">
                    <a16:creationId xmlns:a16="http://schemas.microsoft.com/office/drawing/2014/main" id="{941443E6-BE86-4E6B-9B9A-E12A734733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70683" y="5531618"/>
                <a:ext cx="161856" cy="149406"/>
              </a:xfrm>
              <a:custGeom>
                <a:avLst/>
                <a:gdLst>
                  <a:gd name="T0" fmla="*/ 49 w 66"/>
                  <a:gd name="T1" fmla="*/ 61 h 61"/>
                  <a:gd name="T2" fmla="*/ 48 w 66"/>
                  <a:gd name="T3" fmla="*/ 61 h 61"/>
                  <a:gd name="T4" fmla="*/ 1 w 66"/>
                  <a:gd name="T5" fmla="*/ 34 h 61"/>
                  <a:gd name="T6" fmla="*/ 0 w 66"/>
                  <a:gd name="T7" fmla="*/ 32 h 61"/>
                  <a:gd name="T8" fmla="*/ 0 w 66"/>
                  <a:gd name="T9" fmla="*/ 16 h 61"/>
                  <a:gd name="T10" fmla="*/ 1 w 66"/>
                  <a:gd name="T11" fmla="*/ 14 h 61"/>
                  <a:gd name="T12" fmla="*/ 10 w 66"/>
                  <a:gd name="T13" fmla="*/ 9 h 61"/>
                  <a:gd name="T14" fmla="*/ 10 w 66"/>
                  <a:gd name="T15" fmla="*/ 5 h 61"/>
                  <a:gd name="T16" fmla="*/ 11 w 66"/>
                  <a:gd name="T17" fmla="*/ 3 h 61"/>
                  <a:gd name="T18" fmla="*/ 17 w 66"/>
                  <a:gd name="T19" fmla="*/ 0 h 61"/>
                  <a:gd name="T20" fmla="*/ 19 w 66"/>
                  <a:gd name="T21" fmla="*/ 0 h 61"/>
                  <a:gd name="T22" fmla="*/ 65 w 66"/>
                  <a:gd name="T23" fmla="*/ 27 h 61"/>
                  <a:gd name="T24" fmla="*/ 66 w 66"/>
                  <a:gd name="T25" fmla="*/ 29 h 61"/>
                  <a:gd name="T26" fmla="*/ 66 w 66"/>
                  <a:gd name="T27" fmla="*/ 50 h 61"/>
                  <a:gd name="T28" fmla="*/ 65 w 66"/>
                  <a:gd name="T29" fmla="*/ 52 h 61"/>
                  <a:gd name="T30" fmla="*/ 50 w 66"/>
                  <a:gd name="T31" fmla="*/ 61 h 61"/>
                  <a:gd name="T32" fmla="*/ 49 w 66"/>
                  <a:gd name="T33" fmla="*/ 61 h 61"/>
                  <a:gd name="T34" fmla="*/ 4 w 66"/>
                  <a:gd name="T35" fmla="*/ 31 h 61"/>
                  <a:gd name="T36" fmla="*/ 49 w 66"/>
                  <a:gd name="T37" fmla="*/ 57 h 61"/>
                  <a:gd name="T38" fmla="*/ 62 w 66"/>
                  <a:gd name="T39" fmla="*/ 49 h 61"/>
                  <a:gd name="T40" fmla="*/ 62 w 66"/>
                  <a:gd name="T41" fmla="*/ 30 h 61"/>
                  <a:gd name="T42" fmla="*/ 18 w 66"/>
                  <a:gd name="T43" fmla="*/ 4 h 61"/>
                  <a:gd name="T44" fmla="*/ 14 w 66"/>
                  <a:gd name="T45" fmla="*/ 6 h 61"/>
                  <a:gd name="T46" fmla="*/ 14 w 66"/>
                  <a:gd name="T47" fmla="*/ 10 h 61"/>
                  <a:gd name="T48" fmla="*/ 13 w 66"/>
                  <a:gd name="T49" fmla="*/ 12 h 61"/>
                  <a:gd name="T50" fmla="*/ 4 w 66"/>
                  <a:gd name="T51" fmla="*/ 17 h 61"/>
                  <a:gd name="T52" fmla="*/ 4 w 66"/>
                  <a:gd name="T53" fmla="*/ 3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" h="61">
                    <a:moveTo>
                      <a:pt x="49" y="61"/>
                    </a:moveTo>
                    <a:cubicBezTo>
                      <a:pt x="49" y="61"/>
                      <a:pt x="48" y="61"/>
                      <a:pt x="48" y="61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3"/>
                      <a:pt x="0" y="33"/>
                      <a:pt x="0" y="3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1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65" y="27"/>
                      <a:pt x="65" y="27"/>
                      <a:pt x="65" y="27"/>
                    </a:cubicBezTo>
                    <a:cubicBezTo>
                      <a:pt x="66" y="27"/>
                      <a:pt x="66" y="28"/>
                      <a:pt x="66" y="2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51"/>
                      <a:pt x="66" y="52"/>
                      <a:pt x="65" y="52"/>
                    </a:cubicBezTo>
                    <a:cubicBezTo>
                      <a:pt x="50" y="61"/>
                      <a:pt x="50" y="61"/>
                      <a:pt x="50" y="61"/>
                    </a:cubicBezTo>
                    <a:cubicBezTo>
                      <a:pt x="50" y="61"/>
                      <a:pt x="49" y="61"/>
                      <a:pt x="49" y="61"/>
                    </a:cubicBezTo>
                    <a:close/>
                    <a:moveTo>
                      <a:pt x="4" y="31"/>
                    </a:moveTo>
                    <a:cubicBezTo>
                      <a:pt x="49" y="57"/>
                      <a:pt x="49" y="57"/>
                      <a:pt x="49" y="57"/>
                    </a:cubicBezTo>
                    <a:cubicBezTo>
                      <a:pt x="62" y="49"/>
                      <a:pt x="62" y="49"/>
                      <a:pt x="62" y="49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1"/>
                      <a:pt x="14" y="12"/>
                      <a:pt x="13" y="12"/>
                    </a:cubicBezTo>
                    <a:cubicBezTo>
                      <a:pt x="4" y="17"/>
                      <a:pt x="4" y="17"/>
                      <a:pt x="4" y="17"/>
                    </a:cubicBez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2" name="Freeform 801">
                <a:extLst>
                  <a:ext uri="{FF2B5EF4-FFF2-40B4-BE49-F238E27FC236}">
                    <a16:creationId xmlns:a16="http://schemas.microsoft.com/office/drawing/2014/main" id="{B1E1DD7C-FF02-4279-8DB8-D4E2F42EE0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740895" y="6859668"/>
                <a:ext cx="122430" cy="142143"/>
              </a:xfrm>
              <a:custGeom>
                <a:avLst/>
                <a:gdLst>
                  <a:gd name="T0" fmla="*/ 2 w 50"/>
                  <a:gd name="T1" fmla="*/ 58 h 58"/>
                  <a:gd name="T2" fmla="*/ 1 w 50"/>
                  <a:gd name="T3" fmla="*/ 58 h 58"/>
                  <a:gd name="T4" fmla="*/ 0 w 50"/>
                  <a:gd name="T5" fmla="*/ 56 h 58"/>
                  <a:gd name="T6" fmla="*/ 0 w 50"/>
                  <a:gd name="T7" fmla="*/ 43 h 58"/>
                  <a:gd name="T8" fmla="*/ 1 w 50"/>
                  <a:gd name="T9" fmla="*/ 42 h 58"/>
                  <a:gd name="T10" fmla="*/ 8 w 50"/>
                  <a:gd name="T11" fmla="*/ 38 h 58"/>
                  <a:gd name="T12" fmla="*/ 1 w 50"/>
                  <a:gd name="T13" fmla="*/ 34 h 58"/>
                  <a:gd name="T14" fmla="*/ 0 w 50"/>
                  <a:gd name="T15" fmla="*/ 32 h 58"/>
                  <a:gd name="T16" fmla="*/ 0 w 50"/>
                  <a:gd name="T17" fmla="*/ 2 h 58"/>
                  <a:gd name="T18" fmla="*/ 1 w 50"/>
                  <a:gd name="T19" fmla="*/ 1 h 58"/>
                  <a:gd name="T20" fmla="*/ 3 w 50"/>
                  <a:gd name="T21" fmla="*/ 1 h 58"/>
                  <a:gd name="T22" fmla="*/ 49 w 50"/>
                  <a:gd name="T23" fmla="*/ 28 h 58"/>
                  <a:gd name="T24" fmla="*/ 50 w 50"/>
                  <a:gd name="T25" fmla="*/ 29 h 58"/>
                  <a:gd name="T26" fmla="*/ 49 w 50"/>
                  <a:gd name="T27" fmla="*/ 31 h 58"/>
                  <a:gd name="T28" fmla="*/ 3 w 50"/>
                  <a:gd name="T29" fmla="*/ 58 h 58"/>
                  <a:gd name="T30" fmla="*/ 2 w 50"/>
                  <a:gd name="T31" fmla="*/ 58 h 58"/>
                  <a:gd name="T32" fmla="*/ 4 w 50"/>
                  <a:gd name="T33" fmla="*/ 44 h 58"/>
                  <a:gd name="T34" fmla="*/ 4 w 50"/>
                  <a:gd name="T35" fmla="*/ 53 h 58"/>
                  <a:gd name="T36" fmla="*/ 44 w 50"/>
                  <a:gd name="T37" fmla="*/ 29 h 58"/>
                  <a:gd name="T38" fmla="*/ 4 w 50"/>
                  <a:gd name="T39" fmla="*/ 6 h 58"/>
                  <a:gd name="T40" fmla="*/ 4 w 50"/>
                  <a:gd name="T41" fmla="*/ 31 h 58"/>
                  <a:gd name="T42" fmla="*/ 13 w 50"/>
                  <a:gd name="T43" fmla="*/ 36 h 58"/>
                  <a:gd name="T44" fmla="*/ 14 w 50"/>
                  <a:gd name="T45" fmla="*/ 38 h 58"/>
                  <a:gd name="T46" fmla="*/ 13 w 50"/>
                  <a:gd name="T47" fmla="*/ 39 h 58"/>
                  <a:gd name="T48" fmla="*/ 4 w 50"/>
                  <a:gd name="T49" fmla="*/ 4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58">
                    <a:moveTo>
                      <a:pt x="2" y="58"/>
                    </a:move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6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2"/>
                      <a:pt x="1" y="42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3"/>
                      <a:pt x="0" y="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9"/>
                      <a:pt x="50" y="29"/>
                    </a:cubicBezTo>
                    <a:cubicBezTo>
                      <a:pt x="50" y="30"/>
                      <a:pt x="50" y="31"/>
                      <a:pt x="49" y="31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8"/>
                      <a:pt x="2" y="58"/>
                      <a:pt x="2" y="58"/>
                    </a:cubicBezTo>
                    <a:close/>
                    <a:moveTo>
                      <a:pt x="4" y="44"/>
                    </a:moveTo>
                    <a:cubicBezTo>
                      <a:pt x="4" y="53"/>
                      <a:pt x="4" y="53"/>
                      <a:pt x="4" y="53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3" y="36"/>
                      <a:pt x="14" y="37"/>
                      <a:pt x="14" y="38"/>
                    </a:cubicBezTo>
                    <a:cubicBezTo>
                      <a:pt x="14" y="38"/>
                      <a:pt x="13" y="39"/>
                      <a:pt x="13" y="39"/>
                    </a:cubicBezTo>
                    <a:lnTo>
                      <a:pt x="4" y="4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3" name="Freeform 802">
                <a:extLst>
                  <a:ext uri="{FF2B5EF4-FFF2-40B4-BE49-F238E27FC236}">
                    <a16:creationId xmlns:a16="http://schemas.microsoft.com/office/drawing/2014/main" id="{4ADDC5FE-3EB8-4F2A-B98C-4C689C0F9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70683" y="5443427"/>
                <a:ext cx="136955" cy="158744"/>
              </a:xfrm>
              <a:custGeom>
                <a:avLst/>
                <a:gdLst>
                  <a:gd name="T0" fmla="*/ 54 w 56"/>
                  <a:gd name="T1" fmla="*/ 65 h 65"/>
                  <a:gd name="T2" fmla="*/ 53 w 56"/>
                  <a:gd name="T3" fmla="*/ 65 h 65"/>
                  <a:gd name="T4" fmla="*/ 8 w 56"/>
                  <a:gd name="T5" fmla="*/ 38 h 65"/>
                  <a:gd name="T6" fmla="*/ 3 w 56"/>
                  <a:gd name="T7" fmla="*/ 41 h 65"/>
                  <a:gd name="T8" fmla="*/ 1 w 56"/>
                  <a:gd name="T9" fmla="*/ 41 h 65"/>
                  <a:gd name="T10" fmla="*/ 0 w 56"/>
                  <a:gd name="T11" fmla="*/ 39 h 65"/>
                  <a:gd name="T12" fmla="*/ 0 w 56"/>
                  <a:gd name="T13" fmla="*/ 2 h 65"/>
                  <a:gd name="T14" fmla="*/ 1 w 56"/>
                  <a:gd name="T15" fmla="*/ 0 h 65"/>
                  <a:gd name="T16" fmla="*/ 3 w 56"/>
                  <a:gd name="T17" fmla="*/ 0 h 65"/>
                  <a:gd name="T18" fmla="*/ 55 w 56"/>
                  <a:gd name="T19" fmla="*/ 31 h 65"/>
                  <a:gd name="T20" fmla="*/ 56 w 56"/>
                  <a:gd name="T21" fmla="*/ 32 h 65"/>
                  <a:gd name="T22" fmla="*/ 56 w 56"/>
                  <a:gd name="T23" fmla="*/ 63 h 65"/>
                  <a:gd name="T24" fmla="*/ 55 w 56"/>
                  <a:gd name="T25" fmla="*/ 65 h 65"/>
                  <a:gd name="T26" fmla="*/ 54 w 56"/>
                  <a:gd name="T27" fmla="*/ 65 h 65"/>
                  <a:gd name="T28" fmla="*/ 8 w 56"/>
                  <a:gd name="T29" fmla="*/ 34 h 65"/>
                  <a:gd name="T30" fmla="*/ 9 w 56"/>
                  <a:gd name="T31" fmla="*/ 34 h 65"/>
                  <a:gd name="T32" fmla="*/ 52 w 56"/>
                  <a:gd name="T33" fmla="*/ 59 h 65"/>
                  <a:gd name="T34" fmla="*/ 52 w 56"/>
                  <a:gd name="T35" fmla="*/ 33 h 65"/>
                  <a:gd name="T36" fmla="*/ 4 w 56"/>
                  <a:gd name="T37" fmla="*/ 6 h 65"/>
                  <a:gd name="T38" fmla="*/ 4 w 56"/>
                  <a:gd name="T39" fmla="*/ 36 h 65"/>
                  <a:gd name="T40" fmla="*/ 7 w 56"/>
                  <a:gd name="T41" fmla="*/ 34 h 65"/>
                  <a:gd name="T42" fmla="*/ 8 w 56"/>
                  <a:gd name="T43" fmla="*/ 3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65">
                    <a:moveTo>
                      <a:pt x="54" y="65"/>
                    </a:moveTo>
                    <a:cubicBezTo>
                      <a:pt x="54" y="65"/>
                      <a:pt x="53" y="65"/>
                      <a:pt x="53" y="65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2" y="41"/>
                      <a:pt x="2" y="41"/>
                      <a:pt x="1" y="41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6" y="31"/>
                      <a:pt x="56" y="32"/>
                      <a:pt x="56" y="32"/>
                    </a:cubicBezTo>
                    <a:cubicBezTo>
                      <a:pt x="56" y="63"/>
                      <a:pt x="56" y="63"/>
                      <a:pt x="56" y="63"/>
                    </a:cubicBezTo>
                    <a:cubicBezTo>
                      <a:pt x="56" y="64"/>
                      <a:pt x="56" y="64"/>
                      <a:pt x="55" y="65"/>
                    </a:cubicBezTo>
                    <a:cubicBezTo>
                      <a:pt x="55" y="65"/>
                      <a:pt x="54" y="65"/>
                      <a:pt x="54" y="65"/>
                    </a:cubicBezTo>
                    <a:close/>
                    <a:moveTo>
                      <a:pt x="8" y="34"/>
                    </a:moveTo>
                    <a:cubicBezTo>
                      <a:pt x="8" y="34"/>
                      <a:pt x="8" y="34"/>
                      <a:pt x="9" y="34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7" y="34"/>
                      <a:pt x="8" y="3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4" name="Freeform 803">
                <a:extLst>
                  <a:ext uri="{FF2B5EF4-FFF2-40B4-BE49-F238E27FC236}">
                    <a16:creationId xmlns:a16="http://schemas.microsoft.com/office/drawing/2014/main" id="{B0FF89A1-EE30-42FC-A783-B8CBBBB9E3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70683" y="5654047"/>
                <a:ext cx="41502" cy="48764"/>
              </a:xfrm>
              <a:custGeom>
                <a:avLst/>
                <a:gdLst>
                  <a:gd name="T0" fmla="*/ 15 w 17"/>
                  <a:gd name="T1" fmla="*/ 20 h 20"/>
                  <a:gd name="T2" fmla="*/ 14 w 17"/>
                  <a:gd name="T3" fmla="*/ 19 h 20"/>
                  <a:gd name="T4" fmla="*/ 1 w 17"/>
                  <a:gd name="T5" fmla="*/ 12 h 20"/>
                  <a:gd name="T6" fmla="*/ 0 w 17"/>
                  <a:gd name="T7" fmla="*/ 10 h 20"/>
                  <a:gd name="T8" fmla="*/ 1 w 17"/>
                  <a:gd name="T9" fmla="*/ 8 h 20"/>
                  <a:gd name="T10" fmla="*/ 14 w 17"/>
                  <a:gd name="T11" fmla="*/ 1 h 20"/>
                  <a:gd name="T12" fmla="*/ 16 w 17"/>
                  <a:gd name="T13" fmla="*/ 1 h 20"/>
                  <a:gd name="T14" fmla="*/ 17 w 17"/>
                  <a:gd name="T15" fmla="*/ 2 h 20"/>
                  <a:gd name="T16" fmla="*/ 17 w 17"/>
                  <a:gd name="T17" fmla="*/ 18 h 20"/>
                  <a:gd name="T18" fmla="*/ 16 w 17"/>
                  <a:gd name="T19" fmla="*/ 19 h 20"/>
                  <a:gd name="T20" fmla="*/ 15 w 17"/>
                  <a:gd name="T21" fmla="*/ 20 h 20"/>
                  <a:gd name="T22" fmla="*/ 6 w 17"/>
                  <a:gd name="T23" fmla="*/ 10 h 20"/>
                  <a:gd name="T24" fmla="*/ 13 w 17"/>
                  <a:gd name="T25" fmla="*/ 14 h 20"/>
                  <a:gd name="T26" fmla="*/ 13 w 17"/>
                  <a:gd name="T27" fmla="*/ 6 h 20"/>
                  <a:gd name="T28" fmla="*/ 6 w 17"/>
                  <a:gd name="T2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20">
                    <a:moveTo>
                      <a:pt x="15" y="20"/>
                    </a:moveTo>
                    <a:cubicBezTo>
                      <a:pt x="15" y="20"/>
                      <a:pt x="14" y="20"/>
                      <a:pt x="14" y="19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6" y="1"/>
                    </a:cubicBezTo>
                    <a:cubicBezTo>
                      <a:pt x="17" y="1"/>
                      <a:pt x="17" y="2"/>
                      <a:pt x="17" y="2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7" y="18"/>
                      <a:pt x="17" y="19"/>
                      <a:pt x="16" y="19"/>
                    </a:cubicBezTo>
                    <a:cubicBezTo>
                      <a:pt x="16" y="20"/>
                      <a:pt x="15" y="20"/>
                      <a:pt x="15" y="20"/>
                    </a:cubicBezTo>
                    <a:close/>
                    <a:moveTo>
                      <a:pt x="6" y="10"/>
                    </a:move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6"/>
                      <a:pt x="13" y="6"/>
                      <a:pt x="13" y="6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5" name="Freeform 804">
                <a:extLst>
                  <a:ext uri="{FF2B5EF4-FFF2-40B4-BE49-F238E27FC236}">
                    <a16:creationId xmlns:a16="http://schemas.microsoft.com/office/drawing/2014/main" id="{8B618235-70BD-480A-85F2-45F0C88484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12184" y="5567932"/>
                <a:ext cx="230334" cy="156668"/>
              </a:xfrm>
              <a:custGeom>
                <a:avLst/>
                <a:gdLst>
                  <a:gd name="T0" fmla="*/ 63 w 94"/>
                  <a:gd name="T1" fmla="*/ 64 h 64"/>
                  <a:gd name="T2" fmla="*/ 62 w 94"/>
                  <a:gd name="T3" fmla="*/ 64 h 64"/>
                  <a:gd name="T4" fmla="*/ 1 w 94"/>
                  <a:gd name="T5" fmla="*/ 29 h 64"/>
                  <a:gd name="T6" fmla="*/ 0 w 94"/>
                  <a:gd name="T7" fmla="*/ 27 h 64"/>
                  <a:gd name="T8" fmla="*/ 1 w 94"/>
                  <a:gd name="T9" fmla="*/ 25 h 64"/>
                  <a:gd name="T10" fmla="*/ 45 w 94"/>
                  <a:gd name="T11" fmla="*/ 0 h 64"/>
                  <a:gd name="T12" fmla="*/ 47 w 94"/>
                  <a:gd name="T13" fmla="*/ 0 h 64"/>
                  <a:gd name="T14" fmla="*/ 48 w 94"/>
                  <a:gd name="T15" fmla="*/ 2 h 64"/>
                  <a:gd name="T16" fmla="*/ 48 w 94"/>
                  <a:gd name="T17" fmla="*/ 17 h 64"/>
                  <a:gd name="T18" fmla="*/ 93 w 94"/>
                  <a:gd name="T19" fmla="*/ 43 h 64"/>
                  <a:gd name="T20" fmla="*/ 94 w 94"/>
                  <a:gd name="T21" fmla="*/ 45 h 64"/>
                  <a:gd name="T22" fmla="*/ 93 w 94"/>
                  <a:gd name="T23" fmla="*/ 47 h 64"/>
                  <a:gd name="T24" fmla="*/ 64 w 94"/>
                  <a:gd name="T25" fmla="*/ 64 h 64"/>
                  <a:gd name="T26" fmla="*/ 63 w 94"/>
                  <a:gd name="T27" fmla="*/ 64 h 64"/>
                  <a:gd name="T28" fmla="*/ 6 w 94"/>
                  <a:gd name="T29" fmla="*/ 27 h 64"/>
                  <a:gd name="T30" fmla="*/ 63 w 94"/>
                  <a:gd name="T31" fmla="*/ 60 h 64"/>
                  <a:gd name="T32" fmla="*/ 88 w 94"/>
                  <a:gd name="T33" fmla="*/ 45 h 64"/>
                  <a:gd name="T34" fmla="*/ 45 w 94"/>
                  <a:gd name="T35" fmla="*/ 20 h 64"/>
                  <a:gd name="T36" fmla="*/ 44 w 94"/>
                  <a:gd name="T37" fmla="*/ 18 h 64"/>
                  <a:gd name="T38" fmla="*/ 44 w 94"/>
                  <a:gd name="T39" fmla="*/ 5 h 64"/>
                  <a:gd name="T40" fmla="*/ 6 w 94"/>
                  <a:gd name="T41" fmla="*/ 2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4" h="64">
                    <a:moveTo>
                      <a:pt x="63" y="64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28"/>
                      <a:pt x="0" y="28"/>
                      <a:pt x="0" y="27"/>
                    </a:cubicBezTo>
                    <a:cubicBezTo>
                      <a:pt x="0" y="26"/>
                      <a:pt x="0" y="26"/>
                      <a:pt x="1" y="2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6" y="0"/>
                      <a:pt x="47" y="0"/>
                    </a:cubicBezTo>
                    <a:cubicBezTo>
                      <a:pt x="47" y="0"/>
                      <a:pt x="48" y="1"/>
                      <a:pt x="48" y="2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4" y="44"/>
                      <a:pt x="94" y="44"/>
                      <a:pt x="94" y="45"/>
                    </a:cubicBezTo>
                    <a:cubicBezTo>
                      <a:pt x="94" y="46"/>
                      <a:pt x="94" y="46"/>
                      <a:pt x="93" y="4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3" y="64"/>
                      <a:pt x="63" y="64"/>
                      <a:pt x="63" y="64"/>
                    </a:cubicBezTo>
                    <a:close/>
                    <a:moveTo>
                      <a:pt x="6" y="27"/>
                    </a:moveTo>
                    <a:cubicBezTo>
                      <a:pt x="63" y="60"/>
                      <a:pt x="63" y="60"/>
                      <a:pt x="63" y="60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45" y="20"/>
                      <a:pt x="45" y="20"/>
                      <a:pt x="45" y="20"/>
                    </a:cubicBezTo>
                    <a:cubicBezTo>
                      <a:pt x="44" y="19"/>
                      <a:pt x="44" y="19"/>
                      <a:pt x="44" y="18"/>
                    </a:cubicBezTo>
                    <a:cubicBezTo>
                      <a:pt x="44" y="5"/>
                      <a:pt x="44" y="5"/>
                      <a:pt x="44" y="5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6" name="Freeform 805">
                <a:extLst>
                  <a:ext uri="{FF2B5EF4-FFF2-40B4-BE49-F238E27FC236}">
                    <a16:creationId xmlns:a16="http://schemas.microsoft.com/office/drawing/2014/main" id="{6D0FAC2C-9994-4B33-8697-D7FB1B001A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38424" y="6938521"/>
                <a:ext cx="24901" cy="26976"/>
              </a:xfrm>
              <a:custGeom>
                <a:avLst/>
                <a:gdLst>
                  <a:gd name="T0" fmla="*/ 2 w 10"/>
                  <a:gd name="T1" fmla="*/ 11 h 11"/>
                  <a:gd name="T2" fmla="*/ 1 w 10"/>
                  <a:gd name="T3" fmla="*/ 11 h 11"/>
                  <a:gd name="T4" fmla="*/ 0 w 10"/>
                  <a:gd name="T5" fmla="*/ 9 h 11"/>
                  <a:gd name="T6" fmla="*/ 0 w 10"/>
                  <a:gd name="T7" fmla="*/ 2 h 11"/>
                  <a:gd name="T8" fmla="*/ 1 w 10"/>
                  <a:gd name="T9" fmla="*/ 0 h 11"/>
                  <a:gd name="T10" fmla="*/ 3 w 10"/>
                  <a:gd name="T11" fmla="*/ 0 h 11"/>
                  <a:gd name="T12" fmla="*/ 9 w 10"/>
                  <a:gd name="T13" fmla="*/ 4 h 11"/>
                  <a:gd name="T14" fmla="*/ 10 w 10"/>
                  <a:gd name="T15" fmla="*/ 6 h 11"/>
                  <a:gd name="T16" fmla="*/ 9 w 10"/>
                  <a:gd name="T17" fmla="*/ 7 h 11"/>
                  <a:gd name="T18" fmla="*/ 3 w 10"/>
                  <a:gd name="T19" fmla="*/ 11 h 11"/>
                  <a:gd name="T20" fmla="*/ 2 w 10"/>
                  <a:gd name="T21" fmla="*/ 11 h 11"/>
                  <a:gd name="T22" fmla="*/ 4 w 10"/>
                  <a:gd name="T23" fmla="*/ 5 h 11"/>
                  <a:gd name="T24" fmla="*/ 4 w 10"/>
                  <a:gd name="T25" fmla="*/ 6 h 11"/>
                  <a:gd name="T26" fmla="*/ 4 w 10"/>
                  <a:gd name="T27" fmla="*/ 6 h 11"/>
                  <a:gd name="T28" fmla="*/ 4 w 10"/>
                  <a:gd name="T2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11">
                    <a:moveTo>
                      <a:pt x="2" y="11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6"/>
                      <a:pt x="10" y="7"/>
                      <a:pt x="9" y="7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2" y="11"/>
                      <a:pt x="2" y="11"/>
                      <a:pt x="2" y="11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7" name="Freeform 806">
                <a:extLst>
                  <a:ext uri="{FF2B5EF4-FFF2-40B4-BE49-F238E27FC236}">
                    <a16:creationId xmlns:a16="http://schemas.microsoft.com/office/drawing/2014/main" id="{ADDDF6C7-B6D3-4B3A-A700-7A33D5DF20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00185" y="6834767"/>
                <a:ext cx="41502" cy="93379"/>
              </a:xfrm>
              <a:custGeom>
                <a:avLst/>
                <a:gdLst>
                  <a:gd name="T0" fmla="*/ 15 w 17"/>
                  <a:gd name="T1" fmla="*/ 38 h 38"/>
                  <a:gd name="T2" fmla="*/ 14 w 17"/>
                  <a:gd name="T3" fmla="*/ 37 h 38"/>
                  <a:gd name="T4" fmla="*/ 1 w 17"/>
                  <a:gd name="T5" fmla="*/ 30 h 38"/>
                  <a:gd name="T6" fmla="*/ 0 w 17"/>
                  <a:gd name="T7" fmla="*/ 28 h 38"/>
                  <a:gd name="T8" fmla="*/ 0 w 17"/>
                  <a:gd name="T9" fmla="*/ 9 h 38"/>
                  <a:gd name="T10" fmla="*/ 1 w 17"/>
                  <a:gd name="T11" fmla="*/ 8 h 38"/>
                  <a:gd name="T12" fmla="*/ 14 w 17"/>
                  <a:gd name="T13" fmla="*/ 0 h 38"/>
                  <a:gd name="T14" fmla="*/ 16 w 17"/>
                  <a:gd name="T15" fmla="*/ 0 h 38"/>
                  <a:gd name="T16" fmla="*/ 17 w 17"/>
                  <a:gd name="T17" fmla="*/ 2 h 38"/>
                  <a:gd name="T18" fmla="*/ 17 w 17"/>
                  <a:gd name="T19" fmla="*/ 36 h 38"/>
                  <a:gd name="T20" fmla="*/ 16 w 17"/>
                  <a:gd name="T21" fmla="*/ 37 h 38"/>
                  <a:gd name="T22" fmla="*/ 15 w 17"/>
                  <a:gd name="T23" fmla="*/ 38 h 38"/>
                  <a:gd name="T24" fmla="*/ 4 w 17"/>
                  <a:gd name="T25" fmla="*/ 27 h 38"/>
                  <a:gd name="T26" fmla="*/ 13 w 17"/>
                  <a:gd name="T27" fmla="*/ 32 h 38"/>
                  <a:gd name="T28" fmla="*/ 13 w 17"/>
                  <a:gd name="T29" fmla="*/ 6 h 38"/>
                  <a:gd name="T30" fmla="*/ 4 w 17"/>
                  <a:gd name="T31" fmla="*/ 11 h 38"/>
                  <a:gd name="T32" fmla="*/ 4 w 17"/>
                  <a:gd name="T33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38">
                    <a:moveTo>
                      <a:pt x="15" y="38"/>
                    </a:moveTo>
                    <a:cubicBezTo>
                      <a:pt x="14" y="38"/>
                      <a:pt x="14" y="38"/>
                      <a:pt x="14" y="37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0" y="29"/>
                      <a:pt x="0" y="2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5" y="0"/>
                      <a:pt x="16" y="0"/>
                    </a:cubicBezTo>
                    <a:cubicBezTo>
                      <a:pt x="16" y="1"/>
                      <a:pt x="17" y="1"/>
                      <a:pt x="17" y="2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6"/>
                      <a:pt x="16" y="37"/>
                      <a:pt x="16" y="37"/>
                    </a:cubicBezTo>
                    <a:cubicBezTo>
                      <a:pt x="15" y="38"/>
                      <a:pt x="15" y="38"/>
                      <a:pt x="15" y="38"/>
                    </a:cubicBezTo>
                    <a:close/>
                    <a:moveTo>
                      <a:pt x="4" y="27"/>
                    </a:moveTo>
                    <a:cubicBezTo>
                      <a:pt x="13" y="32"/>
                      <a:pt x="13" y="32"/>
                      <a:pt x="13" y="32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8" name="Freeform 807">
                <a:extLst>
                  <a:ext uri="{FF2B5EF4-FFF2-40B4-BE49-F238E27FC236}">
                    <a16:creationId xmlns:a16="http://schemas.microsoft.com/office/drawing/2014/main" id="{5292F674-10A9-43E6-9D24-DEEE992988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823898" y="6825430"/>
                <a:ext cx="14526" cy="14526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1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5" y="5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9" name="Freeform 808">
                <a:extLst>
                  <a:ext uri="{FF2B5EF4-FFF2-40B4-BE49-F238E27FC236}">
                    <a16:creationId xmlns:a16="http://schemas.microsoft.com/office/drawing/2014/main" id="{F8FB3645-EB38-41D5-9824-948200D5E9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0227" y="6778740"/>
                <a:ext cx="100642" cy="78853"/>
              </a:xfrm>
              <a:custGeom>
                <a:avLst/>
                <a:gdLst>
                  <a:gd name="T0" fmla="*/ 37 w 41"/>
                  <a:gd name="T1" fmla="*/ 32 h 32"/>
                  <a:gd name="T2" fmla="*/ 36 w 41"/>
                  <a:gd name="T3" fmla="*/ 32 h 32"/>
                  <a:gd name="T4" fmla="*/ 1 w 41"/>
                  <a:gd name="T5" fmla="*/ 11 h 32"/>
                  <a:gd name="T6" fmla="*/ 0 w 41"/>
                  <a:gd name="T7" fmla="*/ 10 h 32"/>
                  <a:gd name="T8" fmla="*/ 0 w 41"/>
                  <a:gd name="T9" fmla="*/ 2 h 32"/>
                  <a:gd name="T10" fmla="*/ 1 w 41"/>
                  <a:gd name="T11" fmla="*/ 0 h 32"/>
                  <a:gd name="T12" fmla="*/ 3 w 41"/>
                  <a:gd name="T13" fmla="*/ 0 h 32"/>
                  <a:gd name="T14" fmla="*/ 40 w 41"/>
                  <a:gd name="T15" fmla="*/ 21 h 32"/>
                  <a:gd name="T16" fmla="*/ 41 w 41"/>
                  <a:gd name="T17" fmla="*/ 23 h 32"/>
                  <a:gd name="T18" fmla="*/ 41 w 41"/>
                  <a:gd name="T19" fmla="*/ 29 h 32"/>
                  <a:gd name="T20" fmla="*/ 40 w 41"/>
                  <a:gd name="T21" fmla="*/ 30 h 32"/>
                  <a:gd name="T22" fmla="*/ 38 w 41"/>
                  <a:gd name="T23" fmla="*/ 32 h 32"/>
                  <a:gd name="T24" fmla="*/ 37 w 41"/>
                  <a:gd name="T25" fmla="*/ 32 h 32"/>
                  <a:gd name="T26" fmla="*/ 39 w 41"/>
                  <a:gd name="T27" fmla="*/ 29 h 32"/>
                  <a:gd name="T28" fmla="*/ 39 w 41"/>
                  <a:gd name="T29" fmla="*/ 29 h 32"/>
                  <a:gd name="T30" fmla="*/ 4 w 41"/>
                  <a:gd name="T31" fmla="*/ 8 h 32"/>
                  <a:gd name="T32" fmla="*/ 37 w 41"/>
                  <a:gd name="T33" fmla="*/ 27 h 32"/>
                  <a:gd name="T34" fmla="*/ 37 w 41"/>
                  <a:gd name="T35" fmla="*/ 27 h 32"/>
                  <a:gd name="T36" fmla="*/ 37 w 41"/>
                  <a:gd name="T37" fmla="*/ 24 h 32"/>
                  <a:gd name="T38" fmla="*/ 4 w 41"/>
                  <a:gd name="T39" fmla="*/ 5 h 32"/>
                  <a:gd name="T40" fmla="*/ 4 w 41"/>
                  <a:gd name="T41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1" h="32">
                    <a:moveTo>
                      <a:pt x="37" y="32"/>
                    </a:moveTo>
                    <a:cubicBezTo>
                      <a:pt x="36" y="32"/>
                      <a:pt x="36" y="32"/>
                      <a:pt x="36" y="32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0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22"/>
                      <a:pt x="41" y="22"/>
                      <a:pt x="41" y="23"/>
                    </a:cubicBez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9"/>
                      <a:pt x="40" y="30"/>
                      <a:pt x="40" y="30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7" y="32"/>
                      <a:pt x="37" y="32"/>
                      <a:pt x="37" y="32"/>
                    </a:cubicBezTo>
                    <a:close/>
                    <a:moveTo>
                      <a:pt x="39" y="29"/>
                    </a:moveTo>
                    <a:cubicBezTo>
                      <a:pt x="39" y="29"/>
                      <a:pt x="39" y="29"/>
                      <a:pt x="39" y="29"/>
                    </a:cubicBezTo>
                    <a:close/>
                    <a:moveTo>
                      <a:pt x="4" y="8"/>
                    </a:moveTo>
                    <a:cubicBezTo>
                      <a:pt x="37" y="27"/>
                      <a:pt x="37" y="27"/>
                      <a:pt x="37" y="2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37" y="24"/>
                      <a:pt x="37" y="24"/>
                      <a:pt x="37" y="2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0" name="Freeform 809">
                <a:extLst>
                  <a:ext uri="{FF2B5EF4-FFF2-40B4-BE49-F238E27FC236}">
                    <a16:creationId xmlns:a16="http://schemas.microsoft.com/office/drawing/2014/main" id="{8ACA27CD-1D24-4351-AB81-E09D066DA82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82302" y="6852406"/>
                <a:ext cx="19713" cy="17638"/>
              </a:xfrm>
              <a:custGeom>
                <a:avLst/>
                <a:gdLst>
                  <a:gd name="T0" fmla="*/ 6 w 8"/>
                  <a:gd name="T1" fmla="*/ 7 h 7"/>
                  <a:gd name="T2" fmla="*/ 5 w 8"/>
                  <a:gd name="T3" fmla="*/ 7 h 7"/>
                  <a:gd name="T4" fmla="*/ 1 w 8"/>
                  <a:gd name="T5" fmla="*/ 5 h 7"/>
                  <a:gd name="T6" fmla="*/ 0 w 8"/>
                  <a:gd name="T7" fmla="*/ 3 h 7"/>
                  <a:gd name="T8" fmla="*/ 1 w 8"/>
                  <a:gd name="T9" fmla="*/ 1 h 7"/>
                  <a:gd name="T10" fmla="*/ 4 w 8"/>
                  <a:gd name="T11" fmla="*/ 0 h 7"/>
                  <a:gd name="T12" fmla="*/ 6 w 8"/>
                  <a:gd name="T13" fmla="*/ 0 h 7"/>
                  <a:gd name="T14" fmla="*/ 7 w 8"/>
                  <a:gd name="T15" fmla="*/ 1 h 7"/>
                  <a:gd name="T16" fmla="*/ 8 w 8"/>
                  <a:gd name="T17" fmla="*/ 2 h 7"/>
                  <a:gd name="T18" fmla="*/ 8 w 8"/>
                  <a:gd name="T19" fmla="*/ 5 h 7"/>
                  <a:gd name="T20" fmla="*/ 7 w 8"/>
                  <a:gd name="T21" fmla="*/ 7 h 7"/>
                  <a:gd name="T22" fmla="*/ 6 w 8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6" y="7"/>
                      <a:pt x="5" y="7"/>
                      <a:pt x="5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1"/>
                      <a:pt x="8" y="2"/>
                      <a:pt x="8" y="2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7" y="7"/>
                    </a:cubicBezTo>
                    <a:cubicBezTo>
                      <a:pt x="7" y="7"/>
                      <a:pt x="6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1" name="Freeform 810">
                <a:extLst>
                  <a:ext uri="{FF2B5EF4-FFF2-40B4-BE49-F238E27FC236}">
                    <a16:creationId xmlns:a16="http://schemas.microsoft.com/office/drawing/2014/main" id="{CF1BAC0A-DEF0-40DE-97E9-55D5F9D32A1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80227" y="6847218"/>
                <a:ext cx="12450" cy="12450"/>
              </a:xfrm>
              <a:custGeom>
                <a:avLst/>
                <a:gdLst>
                  <a:gd name="T0" fmla="*/ 3 w 5"/>
                  <a:gd name="T1" fmla="*/ 5 h 5"/>
                  <a:gd name="T2" fmla="*/ 2 w 5"/>
                  <a:gd name="T3" fmla="*/ 5 h 5"/>
                  <a:gd name="T4" fmla="*/ 1 w 5"/>
                  <a:gd name="T5" fmla="*/ 4 h 5"/>
                  <a:gd name="T6" fmla="*/ 0 w 5"/>
                  <a:gd name="T7" fmla="*/ 3 h 5"/>
                  <a:gd name="T8" fmla="*/ 1 w 5"/>
                  <a:gd name="T9" fmla="*/ 1 h 5"/>
                  <a:gd name="T10" fmla="*/ 2 w 5"/>
                  <a:gd name="T11" fmla="*/ 1 h 5"/>
                  <a:gd name="T12" fmla="*/ 4 w 5"/>
                  <a:gd name="T13" fmla="*/ 1 h 5"/>
                  <a:gd name="T14" fmla="*/ 5 w 5"/>
                  <a:gd name="T15" fmla="*/ 2 h 5"/>
                  <a:gd name="T16" fmla="*/ 5 w 5"/>
                  <a:gd name="T17" fmla="*/ 3 h 5"/>
                  <a:gd name="T18" fmla="*/ 4 w 5"/>
                  <a:gd name="T19" fmla="*/ 5 h 5"/>
                  <a:gd name="T20" fmla="*/ 3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" y="1"/>
                      <a:pt x="5" y="2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4" y="4"/>
                      <a:pt x="4" y="5"/>
                    </a:cubicBezTo>
                    <a:cubicBezTo>
                      <a:pt x="4" y="5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2" name="Freeform 811">
                <a:extLst>
                  <a:ext uri="{FF2B5EF4-FFF2-40B4-BE49-F238E27FC236}">
                    <a16:creationId xmlns:a16="http://schemas.microsoft.com/office/drawing/2014/main" id="{2A4F3351-AD61-4842-8429-7BB93A6EA9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62232" y="6204981"/>
                <a:ext cx="46689" cy="51877"/>
              </a:xfrm>
              <a:custGeom>
                <a:avLst/>
                <a:gdLst>
                  <a:gd name="T0" fmla="*/ 17 w 19"/>
                  <a:gd name="T1" fmla="*/ 21 h 21"/>
                  <a:gd name="T2" fmla="*/ 16 w 19"/>
                  <a:gd name="T3" fmla="*/ 21 h 21"/>
                  <a:gd name="T4" fmla="*/ 1 w 19"/>
                  <a:gd name="T5" fmla="*/ 12 h 21"/>
                  <a:gd name="T6" fmla="*/ 0 w 19"/>
                  <a:gd name="T7" fmla="*/ 10 h 21"/>
                  <a:gd name="T8" fmla="*/ 1 w 19"/>
                  <a:gd name="T9" fmla="*/ 9 h 21"/>
                  <a:gd name="T10" fmla="*/ 16 w 19"/>
                  <a:gd name="T11" fmla="*/ 0 h 21"/>
                  <a:gd name="T12" fmla="*/ 18 w 19"/>
                  <a:gd name="T13" fmla="*/ 0 h 21"/>
                  <a:gd name="T14" fmla="*/ 19 w 19"/>
                  <a:gd name="T15" fmla="*/ 2 h 21"/>
                  <a:gd name="T16" fmla="*/ 19 w 19"/>
                  <a:gd name="T17" fmla="*/ 19 h 21"/>
                  <a:gd name="T18" fmla="*/ 18 w 19"/>
                  <a:gd name="T19" fmla="*/ 21 h 21"/>
                  <a:gd name="T20" fmla="*/ 17 w 19"/>
                  <a:gd name="T21" fmla="*/ 21 h 21"/>
                  <a:gd name="T22" fmla="*/ 6 w 19"/>
                  <a:gd name="T23" fmla="*/ 10 h 21"/>
                  <a:gd name="T24" fmla="*/ 15 w 19"/>
                  <a:gd name="T25" fmla="*/ 15 h 21"/>
                  <a:gd name="T26" fmla="*/ 15 w 19"/>
                  <a:gd name="T27" fmla="*/ 5 h 21"/>
                  <a:gd name="T28" fmla="*/ 6 w 19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21">
                    <a:moveTo>
                      <a:pt x="17" y="21"/>
                    </a:moveTo>
                    <a:cubicBezTo>
                      <a:pt x="16" y="21"/>
                      <a:pt x="16" y="21"/>
                      <a:pt x="16" y="2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0"/>
                      <a:pt x="19" y="1"/>
                      <a:pt x="19" y="2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9" y="20"/>
                      <a:pt x="18" y="20"/>
                      <a:pt x="18" y="21"/>
                    </a:cubicBezTo>
                    <a:cubicBezTo>
                      <a:pt x="17" y="21"/>
                      <a:pt x="17" y="21"/>
                      <a:pt x="17" y="21"/>
                    </a:cubicBezTo>
                    <a:close/>
                    <a:moveTo>
                      <a:pt x="6" y="10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3" name="Freeform 812">
                <a:extLst>
                  <a:ext uri="{FF2B5EF4-FFF2-40B4-BE49-F238E27FC236}">
                    <a16:creationId xmlns:a16="http://schemas.microsoft.com/office/drawing/2014/main" id="{A6C51843-63B4-4D92-99E9-8E11B7BC27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2302" y="6947859"/>
                <a:ext cx="100642" cy="83003"/>
              </a:xfrm>
              <a:custGeom>
                <a:avLst/>
                <a:gdLst>
                  <a:gd name="T0" fmla="*/ 39 w 41"/>
                  <a:gd name="T1" fmla="*/ 34 h 34"/>
                  <a:gd name="T2" fmla="*/ 38 w 41"/>
                  <a:gd name="T3" fmla="*/ 33 h 34"/>
                  <a:gd name="T4" fmla="*/ 1 w 41"/>
                  <a:gd name="T5" fmla="*/ 12 h 34"/>
                  <a:gd name="T6" fmla="*/ 0 w 41"/>
                  <a:gd name="T7" fmla="*/ 10 h 34"/>
                  <a:gd name="T8" fmla="*/ 1 w 41"/>
                  <a:gd name="T9" fmla="*/ 9 h 34"/>
                  <a:gd name="T10" fmla="*/ 15 w 41"/>
                  <a:gd name="T11" fmla="*/ 1 h 34"/>
                  <a:gd name="T12" fmla="*/ 17 w 41"/>
                  <a:gd name="T13" fmla="*/ 1 h 34"/>
                  <a:gd name="T14" fmla="*/ 40 w 41"/>
                  <a:gd name="T15" fmla="*/ 14 h 34"/>
                  <a:gd name="T16" fmla="*/ 41 w 41"/>
                  <a:gd name="T17" fmla="*/ 16 h 34"/>
                  <a:gd name="T18" fmla="*/ 41 w 41"/>
                  <a:gd name="T19" fmla="*/ 32 h 34"/>
                  <a:gd name="T20" fmla="*/ 40 w 41"/>
                  <a:gd name="T21" fmla="*/ 33 h 34"/>
                  <a:gd name="T22" fmla="*/ 39 w 41"/>
                  <a:gd name="T23" fmla="*/ 34 h 34"/>
                  <a:gd name="T24" fmla="*/ 6 w 41"/>
                  <a:gd name="T25" fmla="*/ 10 h 34"/>
                  <a:gd name="T26" fmla="*/ 37 w 41"/>
                  <a:gd name="T27" fmla="*/ 28 h 34"/>
                  <a:gd name="T28" fmla="*/ 37 w 41"/>
                  <a:gd name="T29" fmla="*/ 17 h 34"/>
                  <a:gd name="T30" fmla="*/ 16 w 41"/>
                  <a:gd name="T31" fmla="*/ 5 h 34"/>
                  <a:gd name="T32" fmla="*/ 6 w 41"/>
                  <a:gd name="T33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" h="34">
                    <a:moveTo>
                      <a:pt x="39" y="34"/>
                    </a:moveTo>
                    <a:cubicBezTo>
                      <a:pt x="39" y="34"/>
                      <a:pt x="38" y="33"/>
                      <a:pt x="38" y="33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7" y="0"/>
                      <a:pt x="17" y="1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1" y="14"/>
                      <a:pt x="41" y="15"/>
                      <a:pt x="41" y="16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3"/>
                      <a:pt x="40" y="33"/>
                    </a:cubicBezTo>
                    <a:cubicBezTo>
                      <a:pt x="40" y="33"/>
                      <a:pt x="39" y="34"/>
                      <a:pt x="39" y="34"/>
                    </a:cubicBezTo>
                    <a:close/>
                    <a:moveTo>
                      <a:pt x="6" y="10"/>
                    </a:moveTo>
                    <a:cubicBezTo>
                      <a:pt x="37" y="28"/>
                      <a:pt x="37" y="28"/>
                      <a:pt x="37" y="28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16" y="5"/>
                      <a:pt x="16" y="5"/>
                      <a:pt x="16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4" name="Freeform 813">
                <a:extLst>
                  <a:ext uri="{FF2B5EF4-FFF2-40B4-BE49-F238E27FC236}">
                    <a16:creationId xmlns:a16="http://schemas.microsoft.com/office/drawing/2014/main" id="{A06172DC-8921-4D8B-B2BD-417D7061A7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375681" y="6786003"/>
                <a:ext cx="61215" cy="152518"/>
              </a:xfrm>
              <a:custGeom>
                <a:avLst/>
                <a:gdLst>
                  <a:gd name="T0" fmla="*/ 2 w 25"/>
                  <a:gd name="T1" fmla="*/ 62 h 62"/>
                  <a:gd name="T2" fmla="*/ 1 w 25"/>
                  <a:gd name="T3" fmla="*/ 62 h 62"/>
                  <a:gd name="T4" fmla="*/ 0 w 25"/>
                  <a:gd name="T5" fmla="*/ 60 h 62"/>
                  <a:gd name="T6" fmla="*/ 0 w 25"/>
                  <a:gd name="T7" fmla="*/ 5 h 62"/>
                  <a:gd name="T8" fmla="*/ 1 w 25"/>
                  <a:gd name="T9" fmla="*/ 3 h 62"/>
                  <a:gd name="T10" fmla="*/ 5 w 25"/>
                  <a:gd name="T11" fmla="*/ 1 h 62"/>
                  <a:gd name="T12" fmla="*/ 7 w 25"/>
                  <a:gd name="T13" fmla="*/ 1 h 62"/>
                  <a:gd name="T14" fmla="*/ 24 w 25"/>
                  <a:gd name="T15" fmla="*/ 10 h 62"/>
                  <a:gd name="T16" fmla="*/ 25 w 25"/>
                  <a:gd name="T17" fmla="*/ 12 h 62"/>
                  <a:gd name="T18" fmla="*/ 25 w 25"/>
                  <a:gd name="T19" fmla="*/ 48 h 62"/>
                  <a:gd name="T20" fmla="*/ 24 w 25"/>
                  <a:gd name="T21" fmla="*/ 50 h 62"/>
                  <a:gd name="T22" fmla="*/ 3 w 25"/>
                  <a:gd name="T23" fmla="*/ 62 h 62"/>
                  <a:gd name="T24" fmla="*/ 2 w 25"/>
                  <a:gd name="T25" fmla="*/ 62 h 62"/>
                  <a:gd name="T26" fmla="*/ 4 w 25"/>
                  <a:gd name="T27" fmla="*/ 6 h 62"/>
                  <a:gd name="T28" fmla="*/ 4 w 25"/>
                  <a:gd name="T29" fmla="*/ 57 h 62"/>
                  <a:gd name="T30" fmla="*/ 21 w 25"/>
                  <a:gd name="T31" fmla="*/ 47 h 62"/>
                  <a:gd name="T32" fmla="*/ 21 w 25"/>
                  <a:gd name="T33" fmla="*/ 13 h 62"/>
                  <a:gd name="T34" fmla="*/ 6 w 25"/>
                  <a:gd name="T35" fmla="*/ 5 h 62"/>
                  <a:gd name="T36" fmla="*/ 4 w 25"/>
                  <a:gd name="T37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62">
                    <a:moveTo>
                      <a:pt x="2" y="62"/>
                    </a:moveTo>
                    <a:cubicBezTo>
                      <a:pt x="2" y="62"/>
                      <a:pt x="1" y="62"/>
                      <a:pt x="1" y="62"/>
                    </a:cubicBezTo>
                    <a:cubicBezTo>
                      <a:pt x="0" y="62"/>
                      <a:pt x="0" y="61"/>
                      <a:pt x="0" y="6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5" y="11"/>
                      <a:pt x="25" y="11"/>
                      <a:pt x="25" y="12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5" y="49"/>
                      <a:pt x="25" y="49"/>
                      <a:pt x="24" y="50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62"/>
                      <a:pt x="2" y="62"/>
                      <a:pt x="2" y="62"/>
                    </a:cubicBezTo>
                    <a:close/>
                    <a:moveTo>
                      <a:pt x="4" y="6"/>
                    </a:moveTo>
                    <a:cubicBezTo>
                      <a:pt x="4" y="57"/>
                      <a:pt x="4" y="57"/>
                      <a:pt x="4" y="5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6" y="5"/>
                      <a:pt x="6" y="5"/>
                      <a:pt x="6" y="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5" name="Freeform 814">
                <a:extLst>
                  <a:ext uri="{FF2B5EF4-FFF2-40B4-BE49-F238E27FC236}">
                    <a16:creationId xmlns:a16="http://schemas.microsoft.com/office/drawing/2014/main" id="{5CF91F5F-5580-401F-A17A-E3BDAC4178D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89565" y="6800529"/>
                <a:ext cx="91304" cy="61215"/>
              </a:xfrm>
              <a:custGeom>
                <a:avLst/>
                <a:gdLst>
                  <a:gd name="T0" fmla="*/ 33 w 37"/>
                  <a:gd name="T1" fmla="*/ 25 h 25"/>
                  <a:gd name="T2" fmla="*/ 32 w 37"/>
                  <a:gd name="T3" fmla="*/ 25 h 25"/>
                  <a:gd name="T4" fmla="*/ 1 w 37"/>
                  <a:gd name="T5" fmla="*/ 7 h 25"/>
                  <a:gd name="T6" fmla="*/ 0 w 37"/>
                  <a:gd name="T7" fmla="*/ 5 h 25"/>
                  <a:gd name="T8" fmla="*/ 0 w 37"/>
                  <a:gd name="T9" fmla="*/ 3 h 25"/>
                  <a:gd name="T10" fmla="*/ 1 w 37"/>
                  <a:gd name="T11" fmla="*/ 1 h 25"/>
                  <a:gd name="T12" fmla="*/ 3 w 37"/>
                  <a:gd name="T13" fmla="*/ 1 h 25"/>
                  <a:gd name="T14" fmla="*/ 36 w 37"/>
                  <a:gd name="T15" fmla="*/ 20 h 25"/>
                  <a:gd name="T16" fmla="*/ 37 w 37"/>
                  <a:gd name="T17" fmla="*/ 22 h 25"/>
                  <a:gd name="T18" fmla="*/ 36 w 37"/>
                  <a:gd name="T19" fmla="*/ 23 h 25"/>
                  <a:gd name="T20" fmla="*/ 34 w 37"/>
                  <a:gd name="T21" fmla="*/ 25 h 25"/>
                  <a:gd name="T22" fmla="*/ 33 w 37"/>
                  <a:gd name="T2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5">
                    <a:moveTo>
                      <a:pt x="33" y="25"/>
                    </a:moveTo>
                    <a:cubicBezTo>
                      <a:pt x="32" y="25"/>
                      <a:pt x="32" y="25"/>
                      <a:pt x="32" y="2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7" y="20"/>
                      <a:pt x="37" y="21"/>
                      <a:pt x="37" y="22"/>
                    </a:cubicBezTo>
                    <a:cubicBezTo>
                      <a:pt x="37" y="22"/>
                      <a:pt x="37" y="23"/>
                      <a:pt x="36" y="23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4" y="25"/>
                      <a:pt x="33" y="25"/>
                      <a:pt x="33" y="2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6" name="Freeform 815">
                <a:extLst>
                  <a:ext uri="{FF2B5EF4-FFF2-40B4-BE49-F238E27FC236}">
                    <a16:creationId xmlns:a16="http://schemas.microsoft.com/office/drawing/2014/main" id="{0EABED19-3566-45F2-A55B-9485C46973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4377" y="6969648"/>
                <a:ext cx="223071" cy="134880"/>
              </a:xfrm>
              <a:custGeom>
                <a:avLst/>
                <a:gdLst>
                  <a:gd name="T0" fmla="*/ 39 w 91"/>
                  <a:gd name="T1" fmla="*/ 55 h 55"/>
                  <a:gd name="T2" fmla="*/ 38 w 91"/>
                  <a:gd name="T3" fmla="*/ 54 h 55"/>
                  <a:gd name="T4" fmla="*/ 1 w 91"/>
                  <a:gd name="T5" fmla="*/ 33 h 55"/>
                  <a:gd name="T6" fmla="*/ 0 w 91"/>
                  <a:gd name="T7" fmla="*/ 31 h 55"/>
                  <a:gd name="T8" fmla="*/ 1 w 91"/>
                  <a:gd name="T9" fmla="*/ 29 h 55"/>
                  <a:gd name="T10" fmla="*/ 51 w 91"/>
                  <a:gd name="T11" fmla="*/ 1 h 55"/>
                  <a:gd name="T12" fmla="*/ 53 w 91"/>
                  <a:gd name="T13" fmla="*/ 1 h 55"/>
                  <a:gd name="T14" fmla="*/ 90 w 91"/>
                  <a:gd name="T15" fmla="*/ 22 h 55"/>
                  <a:gd name="T16" fmla="*/ 91 w 91"/>
                  <a:gd name="T17" fmla="*/ 24 h 55"/>
                  <a:gd name="T18" fmla="*/ 90 w 91"/>
                  <a:gd name="T19" fmla="*/ 26 h 55"/>
                  <a:gd name="T20" fmla="*/ 40 w 91"/>
                  <a:gd name="T21" fmla="*/ 54 h 55"/>
                  <a:gd name="T22" fmla="*/ 39 w 91"/>
                  <a:gd name="T23" fmla="*/ 55 h 55"/>
                  <a:gd name="T24" fmla="*/ 6 w 91"/>
                  <a:gd name="T25" fmla="*/ 31 h 55"/>
                  <a:gd name="T26" fmla="*/ 39 w 91"/>
                  <a:gd name="T27" fmla="*/ 50 h 55"/>
                  <a:gd name="T28" fmla="*/ 85 w 91"/>
                  <a:gd name="T29" fmla="*/ 24 h 55"/>
                  <a:gd name="T30" fmla="*/ 52 w 91"/>
                  <a:gd name="T31" fmla="*/ 5 h 55"/>
                  <a:gd name="T32" fmla="*/ 6 w 91"/>
                  <a:gd name="T33" fmla="*/ 3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55">
                    <a:moveTo>
                      <a:pt x="39" y="55"/>
                    </a:moveTo>
                    <a:cubicBezTo>
                      <a:pt x="39" y="55"/>
                      <a:pt x="39" y="55"/>
                      <a:pt x="38" y="5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2"/>
                      <a:pt x="0" y="32"/>
                      <a:pt x="0" y="31"/>
                    </a:cubicBezTo>
                    <a:cubicBezTo>
                      <a:pt x="0" y="30"/>
                      <a:pt x="1" y="30"/>
                      <a:pt x="1" y="29"/>
                    </a:cubicBezTo>
                    <a:cubicBezTo>
                      <a:pt x="51" y="1"/>
                      <a:pt x="51" y="1"/>
                      <a:pt x="51" y="1"/>
                    </a:cubicBezTo>
                    <a:cubicBezTo>
                      <a:pt x="51" y="0"/>
                      <a:pt x="52" y="0"/>
                      <a:pt x="53" y="1"/>
                    </a:cubicBezTo>
                    <a:cubicBezTo>
                      <a:pt x="90" y="22"/>
                      <a:pt x="90" y="22"/>
                      <a:pt x="90" y="22"/>
                    </a:cubicBezTo>
                    <a:cubicBezTo>
                      <a:pt x="91" y="23"/>
                      <a:pt x="91" y="23"/>
                      <a:pt x="91" y="24"/>
                    </a:cubicBezTo>
                    <a:cubicBezTo>
                      <a:pt x="91" y="25"/>
                      <a:pt x="91" y="25"/>
                      <a:pt x="90" y="26"/>
                    </a:cubicBezTo>
                    <a:cubicBezTo>
                      <a:pt x="40" y="54"/>
                      <a:pt x="40" y="54"/>
                      <a:pt x="40" y="54"/>
                    </a:cubicBezTo>
                    <a:cubicBezTo>
                      <a:pt x="40" y="55"/>
                      <a:pt x="40" y="55"/>
                      <a:pt x="39" y="55"/>
                    </a:cubicBezTo>
                    <a:close/>
                    <a:moveTo>
                      <a:pt x="6" y="31"/>
                    </a:moveTo>
                    <a:cubicBezTo>
                      <a:pt x="39" y="50"/>
                      <a:pt x="39" y="50"/>
                      <a:pt x="39" y="50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52" y="5"/>
                      <a:pt x="52" y="5"/>
                      <a:pt x="52" y="5"/>
                    </a:cubicBez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7" name="Freeform 816">
                <a:extLst>
                  <a:ext uri="{FF2B5EF4-FFF2-40B4-BE49-F238E27FC236}">
                    <a16:creationId xmlns:a16="http://schemas.microsoft.com/office/drawing/2014/main" id="{9725FC24-A96A-497A-94C9-FE7B403B4C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99940" y="6812979"/>
                <a:ext cx="80928" cy="93379"/>
              </a:xfrm>
              <a:custGeom>
                <a:avLst/>
                <a:gdLst>
                  <a:gd name="T0" fmla="*/ 2 w 33"/>
                  <a:gd name="T1" fmla="*/ 38 h 38"/>
                  <a:gd name="T2" fmla="*/ 1 w 33"/>
                  <a:gd name="T3" fmla="*/ 38 h 38"/>
                  <a:gd name="T4" fmla="*/ 0 w 33"/>
                  <a:gd name="T5" fmla="*/ 36 h 38"/>
                  <a:gd name="T6" fmla="*/ 0 w 33"/>
                  <a:gd name="T7" fmla="*/ 2 h 38"/>
                  <a:gd name="T8" fmla="*/ 1 w 33"/>
                  <a:gd name="T9" fmla="*/ 0 h 38"/>
                  <a:gd name="T10" fmla="*/ 3 w 33"/>
                  <a:gd name="T11" fmla="*/ 0 h 38"/>
                  <a:gd name="T12" fmla="*/ 32 w 33"/>
                  <a:gd name="T13" fmla="*/ 17 h 38"/>
                  <a:gd name="T14" fmla="*/ 33 w 33"/>
                  <a:gd name="T15" fmla="*/ 19 h 38"/>
                  <a:gd name="T16" fmla="*/ 32 w 33"/>
                  <a:gd name="T17" fmla="*/ 21 h 38"/>
                  <a:gd name="T18" fmla="*/ 3 w 33"/>
                  <a:gd name="T19" fmla="*/ 38 h 38"/>
                  <a:gd name="T20" fmla="*/ 2 w 33"/>
                  <a:gd name="T21" fmla="*/ 38 h 38"/>
                  <a:gd name="T22" fmla="*/ 4 w 33"/>
                  <a:gd name="T23" fmla="*/ 6 h 38"/>
                  <a:gd name="T24" fmla="*/ 4 w 33"/>
                  <a:gd name="T25" fmla="*/ 32 h 38"/>
                  <a:gd name="T26" fmla="*/ 27 w 33"/>
                  <a:gd name="T27" fmla="*/ 19 h 38"/>
                  <a:gd name="T28" fmla="*/ 4 w 33"/>
                  <a:gd name="T29" fmla="*/ 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8">
                    <a:moveTo>
                      <a:pt x="2" y="38"/>
                    </a:moveTo>
                    <a:cubicBezTo>
                      <a:pt x="2" y="38"/>
                      <a:pt x="1" y="38"/>
                      <a:pt x="1" y="38"/>
                    </a:cubicBezTo>
                    <a:cubicBezTo>
                      <a:pt x="0" y="37"/>
                      <a:pt x="0" y="37"/>
                      <a:pt x="0" y="3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3" y="20"/>
                      <a:pt x="32" y="21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38"/>
                      <a:pt x="2" y="38"/>
                      <a:pt x="2" y="38"/>
                    </a:cubicBezTo>
                    <a:close/>
                    <a:moveTo>
                      <a:pt x="4" y="6"/>
                    </a:moveTo>
                    <a:cubicBezTo>
                      <a:pt x="4" y="32"/>
                      <a:pt x="4" y="32"/>
                      <a:pt x="4" y="32"/>
                    </a:cubicBezTo>
                    <a:cubicBezTo>
                      <a:pt x="27" y="19"/>
                      <a:pt x="27" y="19"/>
                      <a:pt x="27" y="19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8" name="Freeform 817">
                <a:extLst>
                  <a:ext uri="{FF2B5EF4-FFF2-40B4-BE49-F238E27FC236}">
                    <a16:creationId xmlns:a16="http://schemas.microsoft.com/office/drawing/2014/main" id="{8A7CFF38-123B-4A1C-8F0A-B7CB55DC3F1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411994" y="6769402"/>
                <a:ext cx="24901" cy="21788"/>
              </a:xfrm>
              <a:custGeom>
                <a:avLst/>
                <a:gdLst>
                  <a:gd name="T0" fmla="*/ 6 w 10"/>
                  <a:gd name="T1" fmla="*/ 9 h 9"/>
                  <a:gd name="T2" fmla="*/ 5 w 10"/>
                  <a:gd name="T3" fmla="*/ 9 h 9"/>
                  <a:gd name="T4" fmla="*/ 1 w 10"/>
                  <a:gd name="T5" fmla="*/ 7 h 9"/>
                  <a:gd name="T6" fmla="*/ 0 w 10"/>
                  <a:gd name="T7" fmla="*/ 5 h 9"/>
                  <a:gd name="T8" fmla="*/ 0 w 10"/>
                  <a:gd name="T9" fmla="*/ 2 h 9"/>
                  <a:gd name="T10" fmla="*/ 1 w 10"/>
                  <a:gd name="T11" fmla="*/ 1 h 9"/>
                  <a:gd name="T12" fmla="*/ 3 w 10"/>
                  <a:gd name="T13" fmla="*/ 1 h 9"/>
                  <a:gd name="T14" fmla="*/ 9 w 10"/>
                  <a:gd name="T15" fmla="*/ 4 h 9"/>
                  <a:gd name="T16" fmla="*/ 10 w 10"/>
                  <a:gd name="T17" fmla="*/ 6 h 9"/>
                  <a:gd name="T18" fmla="*/ 9 w 10"/>
                  <a:gd name="T19" fmla="*/ 8 h 9"/>
                  <a:gd name="T20" fmla="*/ 7 w 10"/>
                  <a:gd name="T21" fmla="*/ 9 h 9"/>
                  <a:gd name="T22" fmla="*/ 6 w 10"/>
                  <a:gd name="T2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9">
                    <a:moveTo>
                      <a:pt x="6" y="9"/>
                    </a:moveTo>
                    <a:cubicBezTo>
                      <a:pt x="6" y="9"/>
                      <a:pt x="5" y="9"/>
                      <a:pt x="5" y="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6" y="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9" name="Freeform 818">
                <a:extLst>
                  <a:ext uri="{FF2B5EF4-FFF2-40B4-BE49-F238E27FC236}">
                    <a16:creationId xmlns:a16="http://schemas.microsoft.com/office/drawing/2014/main" id="{647BE286-41AD-4742-BB66-C22C576B8E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02451" y="5366649"/>
                <a:ext cx="167044" cy="282211"/>
              </a:xfrm>
              <a:custGeom>
                <a:avLst/>
                <a:gdLst>
                  <a:gd name="T0" fmla="*/ 2 w 68"/>
                  <a:gd name="T1" fmla="*/ 115 h 115"/>
                  <a:gd name="T2" fmla="*/ 1 w 68"/>
                  <a:gd name="T3" fmla="*/ 115 h 115"/>
                  <a:gd name="T4" fmla="*/ 0 w 68"/>
                  <a:gd name="T5" fmla="*/ 113 h 115"/>
                  <a:gd name="T6" fmla="*/ 0 w 68"/>
                  <a:gd name="T7" fmla="*/ 39 h 115"/>
                  <a:gd name="T8" fmla="*/ 1 w 68"/>
                  <a:gd name="T9" fmla="*/ 38 h 115"/>
                  <a:gd name="T10" fmla="*/ 65 w 68"/>
                  <a:gd name="T11" fmla="*/ 1 h 115"/>
                  <a:gd name="T12" fmla="*/ 67 w 68"/>
                  <a:gd name="T13" fmla="*/ 1 h 115"/>
                  <a:gd name="T14" fmla="*/ 68 w 68"/>
                  <a:gd name="T15" fmla="*/ 2 h 115"/>
                  <a:gd name="T16" fmla="*/ 68 w 68"/>
                  <a:gd name="T17" fmla="*/ 30 h 115"/>
                  <a:gd name="T18" fmla="*/ 67 w 68"/>
                  <a:gd name="T19" fmla="*/ 32 h 115"/>
                  <a:gd name="T20" fmla="*/ 65 w 68"/>
                  <a:gd name="T21" fmla="*/ 32 h 115"/>
                  <a:gd name="T22" fmla="*/ 59 w 68"/>
                  <a:gd name="T23" fmla="*/ 28 h 115"/>
                  <a:gd name="T24" fmla="*/ 59 w 68"/>
                  <a:gd name="T25" fmla="*/ 77 h 115"/>
                  <a:gd name="T26" fmla="*/ 58 w 68"/>
                  <a:gd name="T27" fmla="*/ 79 h 115"/>
                  <a:gd name="T28" fmla="*/ 9 w 68"/>
                  <a:gd name="T29" fmla="*/ 107 h 115"/>
                  <a:gd name="T30" fmla="*/ 11 w 68"/>
                  <a:gd name="T31" fmla="*/ 107 h 115"/>
                  <a:gd name="T32" fmla="*/ 12 w 68"/>
                  <a:gd name="T33" fmla="*/ 109 h 115"/>
                  <a:gd name="T34" fmla="*/ 11 w 68"/>
                  <a:gd name="T35" fmla="*/ 111 h 115"/>
                  <a:gd name="T36" fmla="*/ 3 w 68"/>
                  <a:gd name="T37" fmla="*/ 115 h 115"/>
                  <a:gd name="T38" fmla="*/ 2 w 68"/>
                  <a:gd name="T39" fmla="*/ 115 h 115"/>
                  <a:gd name="T40" fmla="*/ 4 w 68"/>
                  <a:gd name="T41" fmla="*/ 108 h 115"/>
                  <a:gd name="T42" fmla="*/ 4 w 68"/>
                  <a:gd name="T43" fmla="*/ 110 h 115"/>
                  <a:gd name="T44" fmla="*/ 6 w 68"/>
                  <a:gd name="T45" fmla="*/ 109 h 115"/>
                  <a:gd name="T46" fmla="*/ 4 w 68"/>
                  <a:gd name="T47" fmla="*/ 108 h 115"/>
                  <a:gd name="T48" fmla="*/ 4 w 68"/>
                  <a:gd name="T49" fmla="*/ 41 h 115"/>
                  <a:gd name="T50" fmla="*/ 4 w 68"/>
                  <a:gd name="T51" fmla="*/ 105 h 115"/>
                  <a:gd name="T52" fmla="*/ 55 w 68"/>
                  <a:gd name="T53" fmla="*/ 76 h 115"/>
                  <a:gd name="T54" fmla="*/ 55 w 68"/>
                  <a:gd name="T55" fmla="*/ 25 h 115"/>
                  <a:gd name="T56" fmla="*/ 56 w 68"/>
                  <a:gd name="T57" fmla="*/ 23 h 115"/>
                  <a:gd name="T58" fmla="*/ 58 w 68"/>
                  <a:gd name="T59" fmla="*/ 23 h 115"/>
                  <a:gd name="T60" fmla="*/ 64 w 68"/>
                  <a:gd name="T61" fmla="*/ 27 h 115"/>
                  <a:gd name="T62" fmla="*/ 64 w 68"/>
                  <a:gd name="T63" fmla="*/ 6 h 115"/>
                  <a:gd name="T64" fmla="*/ 4 w 68"/>
                  <a:gd name="T65" fmla="*/ 4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8" h="115">
                    <a:moveTo>
                      <a:pt x="2" y="115"/>
                    </a:moveTo>
                    <a:cubicBezTo>
                      <a:pt x="2" y="115"/>
                      <a:pt x="2" y="115"/>
                      <a:pt x="1" y="115"/>
                    </a:cubicBezTo>
                    <a:cubicBezTo>
                      <a:pt x="1" y="115"/>
                      <a:pt x="0" y="114"/>
                      <a:pt x="0" y="113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7" y="0"/>
                      <a:pt x="67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8" y="30"/>
                      <a:pt x="68" y="30"/>
                      <a:pt x="68" y="30"/>
                    </a:cubicBezTo>
                    <a:cubicBezTo>
                      <a:pt x="68" y="31"/>
                      <a:pt x="68" y="32"/>
                      <a:pt x="67" y="32"/>
                    </a:cubicBezTo>
                    <a:cubicBezTo>
                      <a:pt x="67" y="32"/>
                      <a:pt x="66" y="32"/>
                      <a:pt x="65" y="32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77"/>
                      <a:pt x="59" y="77"/>
                      <a:pt x="59" y="77"/>
                    </a:cubicBezTo>
                    <a:cubicBezTo>
                      <a:pt x="59" y="78"/>
                      <a:pt x="58" y="78"/>
                      <a:pt x="58" y="79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1" y="108"/>
                      <a:pt x="12" y="108"/>
                      <a:pt x="12" y="109"/>
                    </a:cubicBezTo>
                    <a:cubicBezTo>
                      <a:pt x="12" y="110"/>
                      <a:pt x="11" y="110"/>
                      <a:pt x="11" y="111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3" y="115"/>
                      <a:pt x="3" y="115"/>
                      <a:pt x="2" y="115"/>
                    </a:cubicBezTo>
                    <a:close/>
                    <a:moveTo>
                      <a:pt x="4" y="108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6" y="109"/>
                      <a:pt x="6" y="109"/>
                      <a:pt x="6" y="109"/>
                    </a:cubicBezTo>
                    <a:lnTo>
                      <a:pt x="4" y="108"/>
                    </a:lnTo>
                    <a:close/>
                    <a:moveTo>
                      <a:pt x="4" y="41"/>
                    </a:moveTo>
                    <a:cubicBezTo>
                      <a:pt x="4" y="105"/>
                      <a:pt x="4" y="105"/>
                      <a:pt x="4" y="105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55" y="24"/>
                      <a:pt x="55" y="23"/>
                      <a:pt x="56" y="23"/>
                    </a:cubicBezTo>
                    <a:cubicBezTo>
                      <a:pt x="56" y="23"/>
                      <a:pt x="57" y="23"/>
                      <a:pt x="58" y="23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4" y="6"/>
                      <a:pt x="64" y="6"/>
                      <a:pt x="64" y="6"/>
                    </a:cubicBezTo>
                    <a:lnTo>
                      <a:pt x="4" y="4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0" name="Freeform 819">
                <a:extLst>
                  <a:ext uri="{FF2B5EF4-FFF2-40B4-BE49-F238E27FC236}">
                    <a16:creationId xmlns:a16="http://schemas.microsoft.com/office/drawing/2014/main" id="{E0F2088F-C6FF-4EC3-BDB7-038F11F4BC6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375681" y="6781853"/>
                <a:ext cx="46689" cy="34239"/>
              </a:xfrm>
              <a:custGeom>
                <a:avLst/>
                <a:gdLst>
                  <a:gd name="T0" fmla="*/ 17 w 19"/>
                  <a:gd name="T1" fmla="*/ 14 h 14"/>
                  <a:gd name="T2" fmla="*/ 16 w 19"/>
                  <a:gd name="T3" fmla="*/ 14 h 14"/>
                  <a:gd name="T4" fmla="*/ 1 w 19"/>
                  <a:gd name="T5" fmla="*/ 5 h 14"/>
                  <a:gd name="T6" fmla="*/ 0 w 19"/>
                  <a:gd name="T7" fmla="*/ 3 h 14"/>
                  <a:gd name="T8" fmla="*/ 1 w 19"/>
                  <a:gd name="T9" fmla="*/ 2 h 14"/>
                  <a:gd name="T10" fmla="*/ 3 w 19"/>
                  <a:gd name="T11" fmla="*/ 0 h 14"/>
                  <a:gd name="T12" fmla="*/ 5 w 19"/>
                  <a:gd name="T13" fmla="*/ 0 h 14"/>
                  <a:gd name="T14" fmla="*/ 18 w 19"/>
                  <a:gd name="T15" fmla="*/ 8 h 14"/>
                  <a:gd name="T16" fmla="*/ 19 w 19"/>
                  <a:gd name="T17" fmla="*/ 10 h 14"/>
                  <a:gd name="T18" fmla="*/ 19 w 19"/>
                  <a:gd name="T19" fmla="*/ 12 h 14"/>
                  <a:gd name="T20" fmla="*/ 18 w 19"/>
                  <a:gd name="T21" fmla="*/ 14 h 14"/>
                  <a:gd name="T22" fmla="*/ 17 w 19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4">
                    <a:moveTo>
                      <a:pt x="17" y="14"/>
                    </a:moveTo>
                    <a:cubicBezTo>
                      <a:pt x="17" y="14"/>
                      <a:pt x="17" y="14"/>
                      <a:pt x="16" y="1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9" y="8"/>
                      <a:pt x="19" y="9"/>
                      <a:pt x="19" y="10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3"/>
                      <a:pt x="19" y="14"/>
                      <a:pt x="18" y="14"/>
                    </a:cubicBezTo>
                    <a:cubicBezTo>
                      <a:pt x="18" y="14"/>
                      <a:pt x="18" y="14"/>
                      <a:pt x="17" y="1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1" name="Freeform 820">
                <a:extLst>
                  <a:ext uri="{FF2B5EF4-FFF2-40B4-BE49-F238E27FC236}">
                    <a16:creationId xmlns:a16="http://schemas.microsoft.com/office/drawing/2014/main" id="{BB0278A0-2B68-4B28-8DF8-1750CEC2C6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375681" y="6769402"/>
                <a:ext cx="36314" cy="36314"/>
              </a:xfrm>
              <a:custGeom>
                <a:avLst/>
                <a:gdLst>
                  <a:gd name="T0" fmla="*/ 13 w 15"/>
                  <a:gd name="T1" fmla="*/ 15 h 15"/>
                  <a:gd name="T2" fmla="*/ 12 w 15"/>
                  <a:gd name="T3" fmla="*/ 14 h 15"/>
                  <a:gd name="T4" fmla="*/ 1 w 15"/>
                  <a:gd name="T5" fmla="*/ 8 h 15"/>
                  <a:gd name="T6" fmla="*/ 0 w 15"/>
                  <a:gd name="T7" fmla="*/ 6 h 15"/>
                  <a:gd name="T8" fmla="*/ 1 w 15"/>
                  <a:gd name="T9" fmla="*/ 4 h 15"/>
                  <a:gd name="T10" fmla="*/ 8 w 15"/>
                  <a:gd name="T11" fmla="*/ 0 h 15"/>
                  <a:gd name="T12" fmla="*/ 10 w 15"/>
                  <a:gd name="T13" fmla="*/ 0 h 15"/>
                  <a:gd name="T14" fmla="*/ 14 w 15"/>
                  <a:gd name="T15" fmla="*/ 3 h 15"/>
                  <a:gd name="T16" fmla="*/ 15 w 15"/>
                  <a:gd name="T17" fmla="*/ 5 h 15"/>
                  <a:gd name="T18" fmla="*/ 15 w 15"/>
                  <a:gd name="T19" fmla="*/ 13 h 15"/>
                  <a:gd name="T20" fmla="*/ 14 w 15"/>
                  <a:gd name="T21" fmla="*/ 14 h 15"/>
                  <a:gd name="T22" fmla="*/ 13 w 15"/>
                  <a:gd name="T23" fmla="*/ 15 h 15"/>
                  <a:gd name="T24" fmla="*/ 6 w 15"/>
                  <a:gd name="T25" fmla="*/ 6 h 15"/>
                  <a:gd name="T26" fmla="*/ 11 w 15"/>
                  <a:gd name="T27" fmla="*/ 9 h 15"/>
                  <a:gd name="T28" fmla="*/ 11 w 15"/>
                  <a:gd name="T29" fmla="*/ 6 h 15"/>
                  <a:gd name="T30" fmla="*/ 9 w 15"/>
                  <a:gd name="T31" fmla="*/ 4 h 15"/>
                  <a:gd name="T32" fmla="*/ 6 w 15"/>
                  <a:gd name="T33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13" y="15"/>
                    </a:moveTo>
                    <a:cubicBezTo>
                      <a:pt x="13" y="15"/>
                      <a:pt x="13" y="15"/>
                      <a:pt x="12" y="1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5"/>
                      <a:pt x="0" y="5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9" y="0"/>
                      <a:pt x="10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4"/>
                      <a:pt x="15" y="4"/>
                      <a:pt x="15" y="5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3"/>
                      <a:pt x="15" y="14"/>
                      <a:pt x="14" y="14"/>
                    </a:cubicBezTo>
                    <a:cubicBezTo>
                      <a:pt x="14" y="15"/>
                      <a:pt x="14" y="15"/>
                      <a:pt x="13" y="15"/>
                    </a:cubicBezTo>
                    <a:close/>
                    <a:moveTo>
                      <a:pt x="6" y="6"/>
                    </a:moveTo>
                    <a:cubicBezTo>
                      <a:pt x="11" y="9"/>
                      <a:pt x="11" y="9"/>
                      <a:pt x="11" y="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9" y="4"/>
                      <a:pt x="9" y="4"/>
                      <a:pt x="9" y="4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2" name="Freeform 821">
                <a:extLst>
                  <a:ext uri="{FF2B5EF4-FFF2-40B4-BE49-F238E27FC236}">
                    <a16:creationId xmlns:a16="http://schemas.microsoft.com/office/drawing/2014/main" id="{D96CB02C-6E95-4D36-8D0B-80D7BCDF1C1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375681" y="6762140"/>
                <a:ext cx="14526" cy="14526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2 h 6"/>
                  <a:gd name="T10" fmla="*/ 3 w 6"/>
                  <a:gd name="T11" fmla="*/ 1 h 6"/>
                  <a:gd name="T12" fmla="*/ 5 w 6"/>
                  <a:gd name="T13" fmla="*/ 1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4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6" y="1"/>
                      <a:pt x="6" y="2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6" y="6"/>
                      <a:pt x="5" y="6"/>
                    </a:cubicBezTo>
                    <a:cubicBezTo>
                      <a:pt x="5" y="6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3" name="Freeform 822">
                <a:extLst>
                  <a:ext uri="{FF2B5EF4-FFF2-40B4-BE49-F238E27FC236}">
                    <a16:creationId xmlns:a16="http://schemas.microsoft.com/office/drawing/2014/main" id="{E2EA6CA0-CBDE-4590-8A3A-C06050EE28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73835" y="6119903"/>
                <a:ext cx="103754" cy="75740"/>
              </a:xfrm>
              <a:custGeom>
                <a:avLst/>
                <a:gdLst>
                  <a:gd name="T0" fmla="*/ 31 w 42"/>
                  <a:gd name="T1" fmla="*/ 31 h 31"/>
                  <a:gd name="T2" fmla="*/ 30 w 42"/>
                  <a:gd name="T3" fmla="*/ 31 h 31"/>
                  <a:gd name="T4" fmla="*/ 1 w 42"/>
                  <a:gd name="T5" fmla="*/ 14 h 31"/>
                  <a:gd name="T6" fmla="*/ 0 w 42"/>
                  <a:gd name="T7" fmla="*/ 12 h 31"/>
                  <a:gd name="T8" fmla="*/ 0 w 42"/>
                  <a:gd name="T9" fmla="*/ 2 h 31"/>
                  <a:gd name="T10" fmla="*/ 1 w 42"/>
                  <a:gd name="T11" fmla="*/ 1 h 31"/>
                  <a:gd name="T12" fmla="*/ 3 w 42"/>
                  <a:gd name="T13" fmla="*/ 1 h 31"/>
                  <a:gd name="T14" fmla="*/ 41 w 42"/>
                  <a:gd name="T15" fmla="*/ 22 h 31"/>
                  <a:gd name="T16" fmla="*/ 42 w 42"/>
                  <a:gd name="T17" fmla="*/ 24 h 31"/>
                  <a:gd name="T18" fmla="*/ 41 w 42"/>
                  <a:gd name="T19" fmla="*/ 26 h 31"/>
                  <a:gd name="T20" fmla="*/ 32 w 42"/>
                  <a:gd name="T21" fmla="*/ 31 h 31"/>
                  <a:gd name="T22" fmla="*/ 31 w 42"/>
                  <a:gd name="T23" fmla="*/ 31 h 31"/>
                  <a:gd name="T24" fmla="*/ 4 w 42"/>
                  <a:gd name="T25" fmla="*/ 11 h 31"/>
                  <a:gd name="T26" fmla="*/ 31 w 42"/>
                  <a:gd name="T27" fmla="*/ 27 h 31"/>
                  <a:gd name="T28" fmla="*/ 36 w 42"/>
                  <a:gd name="T29" fmla="*/ 24 h 31"/>
                  <a:gd name="T30" fmla="*/ 4 w 42"/>
                  <a:gd name="T31" fmla="*/ 6 h 31"/>
                  <a:gd name="T32" fmla="*/ 4 w 42"/>
                  <a:gd name="T33" fmla="*/ 1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31">
                    <a:moveTo>
                      <a:pt x="31" y="31"/>
                    </a:moveTo>
                    <a:cubicBezTo>
                      <a:pt x="31" y="31"/>
                      <a:pt x="31" y="31"/>
                      <a:pt x="30" y="3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3"/>
                      <a:pt x="42" y="23"/>
                      <a:pt x="42" y="24"/>
                    </a:cubicBezTo>
                    <a:cubicBezTo>
                      <a:pt x="42" y="25"/>
                      <a:pt x="41" y="25"/>
                      <a:pt x="41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2" y="31"/>
                      <a:pt x="32" y="31"/>
                      <a:pt x="31" y="31"/>
                    </a:cubicBezTo>
                    <a:close/>
                    <a:moveTo>
                      <a:pt x="4" y="11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4" name="Freeform 823">
                <a:extLst>
                  <a:ext uri="{FF2B5EF4-FFF2-40B4-BE49-F238E27FC236}">
                    <a16:creationId xmlns:a16="http://schemas.microsoft.com/office/drawing/2014/main" id="{5E25DFCB-C65A-44B8-9DEB-360A9E9F868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884923" y="5884381"/>
                <a:ext cx="12450" cy="12450"/>
              </a:xfrm>
              <a:custGeom>
                <a:avLst/>
                <a:gdLst>
                  <a:gd name="T0" fmla="*/ 2 w 5"/>
                  <a:gd name="T1" fmla="*/ 5 h 5"/>
                  <a:gd name="T2" fmla="*/ 1 w 5"/>
                  <a:gd name="T3" fmla="*/ 5 h 5"/>
                  <a:gd name="T4" fmla="*/ 0 w 5"/>
                  <a:gd name="T5" fmla="*/ 3 h 5"/>
                  <a:gd name="T6" fmla="*/ 0 w 5"/>
                  <a:gd name="T7" fmla="*/ 3 h 5"/>
                  <a:gd name="T8" fmla="*/ 1 w 5"/>
                  <a:gd name="T9" fmla="*/ 1 h 5"/>
                  <a:gd name="T10" fmla="*/ 3 w 5"/>
                  <a:gd name="T11" fmla="*/ 1 h 5"/>
                  <a:gd name="T12" fmla="*/ 4 w 5"/>
                  <a:gd name="T13" fmla="*/ 1 h 5"/>
                  <a:gd name="T14" fmla="*/ 5 w 5"/>
                  <a:gd name="T15" fmla="*/ 3 h 5"/>
                  <a:gd name="T16" fmla="*/ 4 w 5"/>
                  <a:gd name="T17" fmla="*/ 5 h 5"/>
                  <a:gd name="T18" fmla="*/ 3 w 5"/>
                  <a:gd name="T19" fmla="*/ 5 h 5"/>
                  <a:gd name="T20" fmla="*/ 2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5" y="2"/>
                      <a:pt x="5" y="3"/>
                    </a:cubicBezTo>
                    <a:cubicBezTo>
                      <a:pt x="5" y="4"/>
                      <a:pt x="4" y="4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5" name="Freeform 824">
                <a:extLst>
                  <a:ext uri="{FF2B5EF4-FFF2-40B4-BE49-F238E27FC236}">
                    <a16:creationId xmlns:a16="http://schemas.microsoft.com/office/drawing/2014/main" id="{F65E1B07-84A9-4ABB-BC1B-6A0F890E52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85565" y="5310622"/>
                <a:ext cx="301925" cy="519807"/>
              </a:xfrm>
              <a:custGeom>
                <a:avLst/>
                <a:gdLst>
                  <a:gd name="T0" fmla="*/ 2 w 123"/>
                  <a:gd name="T1" fmla="*/ 212 h 212"/>
                  <a:gd name="T2" fmla="*/ 1 w 123"/>
                  <a:gd name="T3" fmla="*/ 211 h 212"/>
                  <a:gd name="T4" fmla="*/ 0 w 123"/>
                  <a:gd name="T5" fmla="*/ 210 h 212"/>
                  <a:gd name="T6" fmla="*/ 0 w 123"/>
                  <a:gd name="T7" fmla="*/ 197 h 212"/>
                  <a:gd name="T8" fmla="*/ 0 w 123"/>
                  <a:gd name="T9" fmla="*/ 195 h 212"/>
                  <a:gd name="T10" fmla="*/ 0 w 123"/>
                  <a:gd name="T11" fmla="*/ 71 h 212"/>
                  <a:gd name="T12" fmla="*/ 1 w 123"/>
                  <a:gd name="T13" fmla="*/ 69 h 212"/>
                  <a:gd name="T14" fmla="*/ 120 w 123"/>
                  <a:gd name="T15" fmla="*/ 1 h 212"/>
                  <a:gd name="T16" fmla="*/ 122 w 123"/>
                  <a:gd name="T17" fmla="*/ 1 h 212"/>
                  <a:gd name="T18" fmla="*/ 123 w 123"/>
                  <a:gd name="T19" fmla="*/ 2 h 212"/>
                  <a:gd name="T20" fmla="*/ 123 w 123"/>
                  <a:gd name="T21" fmla="*/ 123 h 212"/>
                  <a:gd name="T22" fmla="*/ 122 w 123"/>
                  <a:gd name="T23" fmla="*/ 124 h 212"/>
                  <a:gd name="T24" fmla="*/ 113 w 123"/>
                  <a:gd name="T25" fmla="*/ 130 h 212"/>
                  <a:gd name="T26" fmla="*/ 122 w 123"/>
                  <a:gd name="T27" fmla="*/ 135 h 212"/>
                  <a:gd name="T28" fmla="*/ 123 w 123"/>
                  <a:gd name="T29" fmla="*/ 136 h 212"/>
                  <a:gd name="T30" fmla="*/ 123 w 123"/>
                  <a:gd name="T31" fmla="*/ 140 h 212"/>
                  <a:gd name="T32" fmla="*/ 122 w 123"/>
                  <a:gd name="T33" fmla="*/ 142 h 212"/>
                  <a:gd name="T34" fmla="*/ 79 w 123"/>
                  <a:gd name="T35" fmla="*/ 167 h 212"/>
                  <a:gd name="T36" fmla="*/ 77 w 123"/>
                  <a:gd name="T37" fmla="*/ 167 h 212"/>
                  <a:gd name="T38" fmla="*/ 66 w 123"/>
                  <a:gd name="T39" fmla="*/ 161 h 212"/>
                  <a:gd name="T40" fmla="*/ 66 w 123"/>
                  <a:gd name="T41" fmla="*/ 173 h 212"/>
                  <a:gd name="T42" fmla="*/ 65 w 123"/>
                  <a:gd name="T43" fmla="*/ 175 h 212"/>
                  <a:gd name="T44" fmla="*/ 3 w 123"/>
                  <a:gd name="T45" fmla="*/ 211 h 212"/>
                  <a:gd name="T46" fmla="*/ 2 w 123"/>
                  <a:gd name="T47" fmla="*/ 212 h 212"/>
                  <a:gd name="T48" fmla="*/ 4 w 123"/>
                  <a:gd name="T49" fmla="*/ 199 h 212"/>
                  <a:gd name="T50" fmla="*/ 4 w 123"/>
                  <a:gd name="T51" fmla="*/ 206 h 212"/>
                  <a:gd name="T52" fmla="*/ 62 w 123"/>
                  <a:gd name="T53" fmla="*/ 172 h 212"/>
                  <a:gd name="T54" fmla="*/ 62 w 123"/>
                  <a:gd name="T55" fmla="*/ 158 h 212"/>
                  <a:gd name="T56" fmla="*/ 63 w 123"/>
                  <a:gd name="T57" fmla="*/ 156 h 212"/>
                  <a:gd name="T58" fmla="*/ 65 w 123"/>
                  <a:gd name="T59" fmla="*/ 156 h 212"/>
                  <a:gd name="T60" fmla="*/ 78 w 123"/>
                  <a:gd name="T61" fmla="*/ 163 h 212"/>
                  <a:gd name="T62" fmla="*/ 119 w 123"/>
                  <a:gd name="T63" fmla="*/ 139 h 212"/>
                  <a:gd name="T64" fmla="*/ 119 w 123"/>
                  <a:gd name="T65" fmla="*/ 138 h 212"/>
                  <a:gd name="T66" fmla="*/ 108 w 123"/>
                  <a:gd name="T67" fmla="*/ 131 h 212"/>
                  <a:gd name="T68" fmla="*/ 107 w 123"/>
                  <a:gd name="T69" fmla="*/ 130 h 212"/>
                  <a:gd name="T70" fmla="*/ 108 w 123"/>
                  <a:gd name="T71" fmla="*/ 128 h 212"/>
                  <a:gd name="T72" fmla="*/ 119 w 123"/>
                  <a:gd name="T73" fmla="*/ 121 h 212"/>
                  <a:gd name="T74" fmla="*/ 119 w 123"/>
                  <a:gd name="T75" fmla="*/ 6 h 212"/>
                  <a:gd name="T76" fmla="*/ 4 w 123"/>
                  <a:gd name="T77" fmla="*/ 72 h 212"/>
                  <a:gd name="T78" fmla="*/ 4 w 123"/>
                  <a:gd name="T79" fmla="*/ 197 h 212"/>
                  <a:gd name="T80" fmla="*/ 4 w 123"/>
                  <a:gd name="T81" fmla="*/ 199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3" h="212">
                    <a:moveTo>
                      <a:pt x="2" y="212"/>
                    </a:moveTo>
                    <a:cubicBezTo>
                      <a:pt x="1" y="212"/>
                      <a:pt x="1" y="211"/>
                      <a:pt x="1" y="211"/>
                    </a:cubicBezTo>
                    <a:cubicBezTo>
                      <a:pt x="0" y="211"/>
                      <a:pt x="0" y="210"/>
                      <a:pt x="0" y="210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196"/>
                      <a:pt x="0" y="196"/>
                      <a:pt x="0" y="19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0"/>
                      <a:pt x="1" y="70"/>
                      <a:pt x="1" y="69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1" y="0"/>
                      <a:pt x="122" y="0"/>
                      <a:pt x="122" y="1"/>
                    </a:cubicBezTo>
                    <a:cubicBezTo>
                      <a:pt x="123" y="1"/>
                      <a:pt x="123" y="2"/>
                      <a:pt x="123" y="2"/>
                    </a:cubicBezTo>
                    <a:cubicBezTo>
                      <a:pt x="123" y="123"/>
                      <a:pt x="123" y="123"/>
                      <a:pt x="123" y="123"/>
                    </a:cubicBezTo>
                    <a:cubicBezTo>
                      <a:pt x="123" y="123"/>
                      <a:pt x="123" y="124"/>
                      <a:pt x="122" y="124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22" y="135"/>
                      <a:pt x="122" y="135"/>
                      <a:pt x="122" y="135"/>
                    </a:cubicBezTo>
                    <a:cubicBezTo>
                      <a:pt x="123" y="135"/>
                      <a:pt x="123" y="136"/>
                      <a:pt x="123" y="136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3" y="141"/>
                      <a:pt x="123" y="142"/>
                      <a:pt x="122" y="142"/>
                    </a:cubicBezTo>
                    <a:cubicBezTo>
                      <a:pt x="79" y="167"/>
                      <a:pt x="79" y="167"/>
                      <a:pt x="79" y="167"/>
                    </a:cubicBezTo>
                    <a:cubicBezTo>
                      <a:pt x="78" y="168"/>
                      <a:pt x="77" y="168"/>
                      <a:pt x="77" y="167"/>
                    </a:cubicBezTo>
                    <a:cubicBezTo>
                      <a:pt x="66" y="161"/>
                      <a:pt x="66" y="161"/>
                      <a:pt x="66" y="161"/>
                    </a:cubicBezTo>
                    <a:cubicBezTo>
                      <a:pt x="66" y="173"/>
                      <a:pt x="66" y="173"/>
                      <a:pt x="66" y="173"/>
                    </a:cubicBezTo>
                    <a:cubicBezTo>
                      <a:pt x="66" y="174"/>
                      <a:pt x="66" y="175"/>
                      <a:pt x="65" y="175"/>
                    </a:cubicBezTo>
                    <a:cubicBezTo>
                      <a:pt x="3" y="211"/>
                      <a:pt x="3" y="211"/>
                      <a:pt x="3" y="211"/>
                    </a:cubicBezTo>
                    <a:cubicBezTo>
                      <a:pt x="2" y="211"/>
                      <a:pt x="2" y="212"/>
                      <a:pt x="2" y="212"/>
                    </a:cubicBezTo>
                    <a:close/>
                    <a:moveTo>
                      <a:pt x="4" y="199"/>
                    </a:moveTo>
                    <a:cubicBezTo>
                      <a:pt x="4" y="206"/>
                      <a:pt x="4" y="206"/>
                      <a:pt x="4" y="206"/>
                    </a:cubicBezTo>
                    <a:cubicBezTo>
                      <a:pt x="62" y="172"/>
                      <a:pt x="62" y="172"/>
                      <a:pt x="62" y="172"/>
                    </a:cubicBezTo>
                    <a:cubicBezTo>
                      <a:pt x="62" y="158"/>
                      <a:pt x="62" y="158"/>
                      <a:pt x="62" y="158"/>
                    </a:cubicBezTo>
                    <a:cubicBezTo>
                      <a:pt x="62" y="157"/>
                      <a:pt x="63" y="156"/>
                      <a:pt x="63" y="156"/>
                    </a:cubicBezTo>
                    <a:cubicBezTo>
                      <a:pt x="64" y="156"/>
                      <a:pt x="65" y="156"/>
                      <a:pt x="65" y="156"/>
                    </a:cubicBezTo>
                    <a:cubicBezTo>
                      <a:pt x="78" y="163"/>
                      <a:pt x="78" y="163"/>
                      <a:pt x="78" y="163"/>
                    </a:cubicBezTo>
                    <a:cubicBezTo>
                      <a:pt x="119" y="139"/>
                      <a:pt x="119" y="139"/>
                      <a:pt x="119" y="139"/>
                    </a:cubicBezTo>
                    <a:cubicBezTo>
                      <a:pt x="119" y="138"/>
                      <a:pt x="119" y="138"/>
                      <a:pt x="119" y="138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08" y="131"/>
                      <a:pt x="107" y="130"/>
                      <a:pt x="107" y="130"/>
                    </a:cubicBezTo>
                    <a:cubicBezTo>
                      <a:pt x="107" y="129"/>
                      <a:pt x="108" y="128"/>
                      <a:pt x="108" y="128"/>
                    </a:cubicBezTo>
                    <a:cubicBezTo>
                      <a:pt x="119" y="121"/>
                      <a:pt x="119" y="121"/>
                      <a:pt x="119" y="121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4" y="197"/>
                      <a:pt x="4" y="197"/>
                      <a:pt x="4" y="197"/>
                    </a:cubicBezTo>
                    <a:cubicBezTo>
                      <a:pt x="4" y="198"/>
                      <a:pt x="4" y="198"/>
                      <a:pt x="4" y="19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6" name="Freeform 825">
                <a:extLst>
                  <a:ext uri="{FF2B5EF4-FFF2-40B4-BE49-F238E27FC236}">
                    <a16:creationId xmlns:a16="http://schemas.microsoft.com/office/drawing/2014/main" id="{FC69E0D4-A437-4D01-9449-AFFF3BAAE0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57947" y="5889569"/>
                <a:ext cx="39427" cy="38389"/>
              </a:xfrm>
              <a:custGeom>
                <a:avLst/>
                <a:gdLst>
                  <a:gd name="T0" fmla="*/ 2 w 16"/>
                  <a:gd name="T1" fmla="*/ 16 h 16"/>
                  <a:gd name="T2" fmla="*/ 1 w 16"/>
                  <a:gd name="T3" fmla="*/ 16 h 16"/>
                  <a:gd name="T4" fmla="*/ 0 w 16"/>
                  <a:gd name="T5" fmla="*/ 14 h 16"/>
                  <a:gd name="T6" fmla="*/ 0 w 16"/>
                  <a:gd name="T7" fmla="*/ 3 h 16"/>
                  <a:gd name="T8" fmla="*/ 1 w 16"/>
                  <a:gd name="T9" fmla="*/ 2 h 16"/>
                  <a:gd name="T10" fmla="*/ 3 w 16"/>
                  <a:gd name="T11" fmla="*/ 0 h 16"/>
                  <a:gd name="T12" fmla="*/ 5 w 16"/>
                  <a:gd name="T13" fmla="*/ 0 h 16"/>
                  <a:gd name="T14" fmla="*/ 15 w 16"/>
                  <a:gd name="T15" fmla="*/ 6 h 16"/>
                  <a:gd name="T16" fmla="*/ 16 w 16"/>
                  <a:gd name="T17" fmla="*/ 7 h 16"/>
                  <a:gd name="T18" fmla="*/ 15 w 16"/>
                  <a:gd name="T19" fmla="*/ 9 h 16"/>
                  <a:gd name="T20" fmla="*/ 3 w 16"/>
                  <a:gd name="T21" fmla="*/ 16 h 16"/>
                  <a:gd name="T22" fmla="*/ 2 w 16"/>
                  <a:gd name="T23" fmla="*/ 16 h 16"/>
                  <a:gd name="T24" fmla="*/ 4 w 16"/>
                  <a:gd name="T25" fmla="*/ 4 h 16"/>
                  <a:gd name="T26" fmla="*/ 4 w 16"/>
                  <a:gd name="T27" fmla="*/ 11 h 16"/>
                  <a:gd name="T28" fmla="*/ 10 w 16"/>
                  <a:gd name="T29" fmla="*/ 7 h 16"/>
                  <a:gd name="T30" fmla="*/ 4 w 16"/>
                  <a:gd name="T31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6">
                    <a:moveTo>
                      <a:pt x="2" y="16"/>
                    </a:moveTo>
                    <a:cubicBezTo>
                      <a:pt x="2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6" y="7"/>
                      <a:pt x="16" y="7"/>
                    </a:cubicBezTo>
                    <a:cubicBezTo>
                      <a:pt x="16" y="8"/>
                      <a:pt x="15" y="9"/>
                      <a:pt x="15" y="9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  <a:moveTo>
                      <a:pt x="4" y="4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7" name="Freeform 826">
                <a:extLst>
                  <a:ext uri="{FF2B5EF4-FFF2-40B4-BE49-F238E27FC236}">
                    <a16:creationId xmlns:a16="http://schemas.microsoft.com/office/drawing/2014/main" id="{0A53A7E0-EF3E-4C7E-9EC3-37E438BC38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792582" y="5823166"/>
                <a:ext cx="26976" cy="29051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2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8 h 12"/>
                  <a:gd name="T18" fmla="*/ 3 w 11"/>
                  <a:gd name="T19" fmla="*/ 12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7"/>
                      <a:pt x="11" y="7"/>
                      <a:pt x="1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8" name="Freeform 827">
                <a:extLst>
                  <a:ext uri="{FF2B5EF4-FFF2-40B4-BE49-F238E27FC236}">
                    <a16:creationId xmlns:a16="http://schemas.microsoft.com/office/drawing/2014/main" id="{C20B1B72-68DC-4ED2-8618-10F8ECFC9D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731367" y="5697624"/>
                <a:ext cx="88191" cy="186757"/>
              </a:xfrm>
              <a:custGeom>
                <a:avLst/>
                <a:gdLst>
                  <a:gd name="T0" fmla="*/ 2 w 36"/>
                  <a:gd name="T1" fmla="*/ 76 h 76"/>
                  <a:gd name="T2" fmla="*/ 1 w 36"/>
                  <a:gd name="T3" fmla="*/ 75 h 76"/>
                  <a:gd name="T4" fmla="*/ 0 w 36"/>
                  <a:gd name="T5" fmla="*/ 74 h 76"/>
                  <a:gd name="T6" fmla="*/ 0 w 36"/>
                  <a:gd name="T7" fmla="*/ 63 h 76"/>
                  <a:gd name="T8" fmla="*/ 1 w 36"/>
                  <a:gd name="T9" fmla="*/ 61 h 76"/>
                  <a:gd name="T10" fmla="*/ 8 w 36"/>
                  <a:gd name="T11" fmla="*/ 57 h 76"/>
                  <a:gd name="T12" fmla="*/ 1 w 36"/>
                  <a:gd name="T13" fmla="*/ 53 h 76"/>
                  <a:gd name="T14" fmla="*/ 0 w 36"/>
                  <a:gd name="T15" fmla="*/ 51 h 76"/>
                  <a:gd name="T16" fmla="*/ 0 w 36"/>
                  <a:gd name="T17" fmla="*/ 3 h 76"/>
                  <a:gd name="T18" fmla="*/ 1 w 36"/>
                  <a:gd name="T19" fmla="*/ 1 h 76"/>
                  <a:gd name="T20" fmla="*/ 3 w 36"/>
                  <a:gd name="T21" fmla="*/ 1 h 76"/>
                  <a:gd name="T22" fmla="*/ 35 w 36"/>
                  <a:gd name="T23" fmla="*/ 19 h 76"/>
                  <a:gd name="T24" fmla="*/ 36 w 36"/>
                  <a:gd name="T25" fmla="*/ 21 h 76"/>
                  <a:gd name="T26" fmla="*/ 36 w 36"/>
                  <a:gd name="T27" fmla="*/ 55 h 76"/>
                  <a:gd name="T28" fmla="*/ 35 w 36"/>
                  <a:gd name="T29" fmla="*/ 57 h 76"/>
                  <a:gd name="T30" fmla="*/ 3 w 36"/>
                  <a:gd name="T31" fmla="*/ 75 h 76"/>
                  <a:gd name="T32" fmla="*/ 2 w 36"/>
                  <a:gd name="T33" fmla="*/ 76 h 76"/>
                  <a:gd name="T34" fmla="*/ 4 w 36"/>
                  <a:gd name="T35" fmla="*/ 64 h 76"/>
                  <a:gd name="T36" fmla="*/ 4 w 36"/>
                  <a:gd name="T37" fmla="*/ 70 h 76"/>
                  <a:gd name="T38" fmla="*/ 32 w 36"/>
                  <a:gd name="T39" fmla="*/ 54 h 76"/>
                  <a:gd name="T40" fmla="*/ 32 w 36"/>
                  <a:gd name="T41" fmla="*/ 22 h 76"/>
                  <a:gd name="T42" fmla="*/ 4 w 36"/>
                  <a:gd name="T43" fmla="*/ 6 h 76"/>
                  <a:gd name="T44" fmla="*/ 4 w 36"/>
                  <a:gd name="T45" fmla="*/ 50 h 76"/>
                  <a:gd name="T46" fmla="*/ 13 w 36"/>
                  <a:gd name="T47" fmla="*/ 55 h 76"/>
                  <a:gd name="T48" fmla="*/ 14 w 36"/>
                  <a:gd name="T49" fmla="*/ 57 h 76"/>
                  <a:gd name="T50" fmla="*/ 13 w 36"/>
                  <a:gd name="T51" fmla="*/ 59 h 76"/>
                  <a:gd name="T52" fmla="*/ 4 w 36"/>
                  <a:gd name="T53" fmla="*/ 6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76">
                    <a:moveTo>
                      <a:pt x="2" y="76"/>
                    </a:moveTo>
                    <a:cubicBezTo>
                      <a:pt x="2" y="76"/>
                      <a:pt x="1" y="76"/>
                      <a:pt x="1" y="75"/>
                    </a:cubicBezTo>
                    <a:cubicBezTo>
                      <a:pt x="0" y="75"/>
                      <a:pt x="0" y="74"/>
                      <a:pt x="0" y="7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2"/>
                      <a:pt x="0" y="61"/>
                      <a:pt x="1" y="61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2"/>
                      <a:pt x="0" y="52"/>
                      <a:pt x="0" y="5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6" y="20"/>
                      <a:pt x="36" y="20"/>
                      <a:pt x="36" y="21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36" y="56"/>
                      <a:pt x="36" y="57"/>
                      <a:pt x="35" y="57"/>
                    </a:cubicBezTo>
                    <a:cubicBezTo>
                      <a:pt x="3" y="75"/>
                      <a:pt x="3" y="75"/>
                      <a:pt x="3" y="75"/>
                    </a:cubicBezTo>
                    <a:cubicBezTo>
                      <a:pt x="3" y="76"/>
                      <a:pt x="2" y="76"/>
                      <a:pt x="2" y="76"/>
                    </a:cubicBezTo>
                    <a:close/>
                    <a:moveTo>
                      <a:pt x="4" y="64"/>
                    </a:moveTo>
                    <a:cubicBezTo>
                      <a:pt x="4" y="70"/>
                      <a:pt x="4" y="70"/>
                      <a:pt x="4" y="70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4" y="55"/>
                      <a:pt x="14" y="56"/>
                      <a:pt x="14" y="57"/>
                    </a:cubicBezTo>
                    <a:cubicBezTo>
                      <a:pt x="14" y="58"/>
                      <a:pt x="14" y="58"/>
                      <a:pt x="13" y="59"/>
                    </a:cubicBezTo>
                    <a:lnTo>
                      <a:pt x="4" y="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9" name="Freeform 828">
                <a:extLst>
                  <a:ext uri="{FF2B5EF4-FFF2-40B4-BE49-F238E27FC236}">
                    <a16:creationId xmlns:a16="http://schemas.microsoft.com/office/drawing/2014/main" id="{F9CFD8D3-2B98-4C17-8FB2-35879E9183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57702" y="5747426"/>
                <a:ext cx="158744" cy="225146"/>
              </a:xfrm>
              <a:custGeom>
                <a:avLst/>
                <a:gdLst>
                  <a:gd name="T0" fmla="*/ 63 w 65"/>
                  <a:gd name="T1" fmla="*/ 92 h 92"/>
                  <a:gd name="T2" fmla="*/ 62 w 65"/>
                  <a:gd name="T3" fmla="*/ 91 h 92"/>
                  <a:gd name="T4" fmla="*/ 1 w 65"/>
                  <a:gd name="T5" fmla="*/ 57 h 92"/>
                  <a:gd name="T6" fmla="*/ 0 w 65"/>
                  <a:gd name="T7" fmla="*/ 55 h 92"/>
                  <a:gd name="T8" fmla="*/ 1 w 65"/>
                  <a:gd name="T9" fmla="*/ 53 h 92"/>
                  <a:gd name="T10" fmla="*/ 33 w 65"/>
                  <a:gd name="T11" fmla="*/ 35 h 92"/>
                  <a:gd name="T12" fmla="*/ 33 w 65"/>
                  <a:gd name="T13" fmla="*/ 2 h 92"/>
                  <a:gd name="T14" fmla="*/ 34 w 65"/>
                  <a:gd name="T15" fmla="*/ 0 h 92"/>
                  <a:gd name="T16" fmla="*/ 36 w 65"/>
                  <a:gd name="T17" fmla="*/ 0 h 92"/>
                  <a:gd name="T18" fmla="*/ 64 w 65"/>
                  <a:gd name="T19" fmla="*/ 17 h 92"/>
                  <a:gd name="T20" fmla="*/ 65 w 65"/>
                  <a:gd name="T21" fmla="*/ 18 h 92"/>
                  <a:gd name="T22" fmla="*/ 65 w 65"/>
                  <a:gd name="T23" fmla="*/ 90 h 92"/>
                  <a:gd name="T24" fmla="*/ 64 w 65"/>
                  <a:gd name="T25" fmla="*/ 91 h 92"/>
                  <a:gd name="T26" fmla="*/ 63 w 65"/>
                  <a:gd name="T27" fmla="*/ 92 h 92"/>
                  <a:gd name="T28" fmla="*/ 6 w 65"/>
                  <a:gd name="T29" fmla="*/ 55 h 92"/>
                  <a:gd name="T30" fmla="*/ 61 w 65"/>
                  <a:gd name="T31" fmla="*/ 86 h 92"/>
                  <a:gd name="T32" fmla="*/ 61 w 65"/>
                  <a:gd name="T33" fmla="*/ 19 h 92"/>
                  <a:gd name="T34" fmla="*/ 37 w 65"/>
                  <a:gd name="T35" fmla="*/ 5 h 92"/>
                  <a:gd name="T36" fmla="*/ 37 w 65"/>
                  <a:gd name="T37" fmla="*/ 36 h 92"/>
                  <a:gd name="T38" fmla="*/ 36 w 65"/>
                  <a:gd name="T39" fmla="*/ 38 h 92"/>
                  <a:gd name="T40" fmla="*/ 6 w 65"/>
                  <a:gd name="T4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92">
                    <a:moveTo>
                      <a:pt x="63" y="92"/>
                    </a:moveTo>
                    <a:cubicBezTo>
                      <a:pt x="63" y="92"/>
                      <a:pt x="62" y="92"/>
                      <a:pt x="62" y="91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6"/>
                      <a:pt x="0" y="56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3" y="1"/>
                      <a:pt x="33" y="1"/>
                      <a:pt x="34" y="0"/>
                    </a:cubicBezTo>
                    <a:cubicBezTo>
                      <a:pt x="34" y="0"/>
                      <a:pt x="35" y="0"/>
                      <a:pt x="36" y="0"/>
                    </a:cubicBezTo>
                    <a:cubicBezTo>
                      <a:pt x="64" y="17"/>
                      <a:pt x="64" y="17"/>
                      <a:pt x="64" y="17"/>
                    </a:cubicBezTo>
                    <a:cubicBezTo>
                      <a:pt x="65" y="17"/>
                      <a:pt x="65" y="18"/>
                      <a:pt x="65" y="18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1"/>
                      <a:pt x="64" y="91"/>
                    </a:cubicBezTo>
                    <a:cubicBezTo>
                      <a:pt x="64" y="92"/>
                      <a:pt x="63" y="92"/>
                      <a:pt x="63" y="92"/>
                    </a:cubicBezTo>
                    <a:close/>
                    <a:moveTo>
                      <a:pt x="6" y="55"/>
                    </a:moveTo>
                    <a:cubicBezTo>
                      <a:pt x="61" y="86"/>
                      <a:pt x="61" y="86"/>
                      <a:pt x="61" y="86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7" y="37"/>
                      <a:pt x="36" y="37"/>
                      <a:pt x="36" y="38"/>
                    </a:cubicBezTo>
                    <a:lnTo>
                      <a:pt x="6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0" name="Freeform 829">
                <a:extLst>
                  <a:ext uri="{FF2B5EF4-FFF2-40B4-BE49-F238E27FC236}">
                    <a16:creationId xmlns:a16="http://schemas.microsoft.com/office/drawing/2014/main" id="{8B061504-9EA3-4156-A801-F819D7C174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731367" y="5654047"/>
                <a:ext cx="85078" cy="95454"/>
              </a:xfrm>
              <a:custGeom>
                <a:avLst/>
                <a:gdLst>
                  <a:gd name="T0" fmla="*/ 33 w 35"/>
                  <a:gd name="T1" fmla="*/ 39 h 39"/>
                  <a:gd name="T2" fmla="*/ 32 w 35"/>
                  <a:gd name="T3" fmla="*/ 39 h 39"/>
                  <a:gd name="T4" fmla="*/ 1 w 35"/>
                  <a:gd name="T5" fmla="*/ 21 h 39"/>
                  <a:gd name="T6" fmla="*/ 0 w 35"/>
                  <a:gd name="T7" fmla="*/ 19 h 39"/>
                  <a:gd name="T8" fmla="*/ 1 w 35"/>
                  <a:gd name="T9" fmla="*/ 18 h 39"/>
                  <a:gd name="T10" fmla="*/ 32 w 35"/>
                  <a:gd name="T11" fmla="*/ 0 h 39"/>
                  <a:gd name="T12" fmla="*/ 34 w 35"/>
                  <a:gd name="T13" fmla="*/ 0 h 39"/>
                  <a:gd name="T14" fmla="*/ 35 w 35"/>
                  <a:gd name="T15" fmla="*/ 2 h 39"/>
                  <a:gd name="T16" fmla="*/ 35 w 35"/>
                  <a:gd name="T17" fmla="*/ 37 h 39"/>
                  <a:gd name="T18" fmla="*/ 34 w 35"/>
                  <a:gd name="T19" fmla="*/ 39 h 39"/>
                  <a:gd name="T20" fmla="*/ 33 w 35"/>
                  <a:gd name="T21" fmla="*/ 39 h 39"/>
                  <a:gd name="T22" fmla="*/ 6 w 35"/>
                  <a:gd name="T23" fmla="*/ 19 h 39"/>
                  <a:gd name="T24" fmla="*/ 31 w 35"/>
                  <a:gd name="T25" fmla="*/ 34 h 39"/>
                  <a:gd name="T26" fmla="*/ 31 w 35"/>
                  <a:gd name="T27" fmla="*/ 5 h 39"/>
                  <a:gd name="T28" fmla="*/ 6 w 35"/>
                  <a:gd name="T2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9">
                    <a:moveTo>
                      <a:pt x="33" y="39"/>
                    </a:moveTo>
                    <a:cubicBezTo>
                      <a:pt x="33" y="39"/>
                      <a:pt x="32" y="39"/>
                      <a:pt x="32" y="39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0" y="20"/>
                      <a:pt x="0" y="19"/>
                    </a:cubicBezTo>
                    <a:cubicBezTo>
                      <a:pt x="0" y="19"/>
                      <a:pt x="1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3" y="0"/>
                      <a:pt x="33" y="0"/>
                      <a:pt x="34" y="0"/>
                    </a:cubicBezTo>
                    <a:cubicBezTo>
                      <a:pt x="35" y="0"/>
                      <a:pt x="35" y="1"/>
                      <a:pt x="35" y="2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35" y="38"/>
                      <a:pt x="35" y="39"/>
                      <a:pt x="34" y="39"/>
                    </a:cubicBezTo>
                    <a:cubicBezTo>
                      <a:pt x="34" y="39"/>
                      <a:pt x="33" y="39"/>
                      <a:pt x="33" y="39"/>
                    </a:cubicBezTo>
                    <a:close/>
                    <a:moveTo>
                      <a:pt x="6" y="19"/>
                    </a:moveTo>
                    <a:cubicBezTo>
                      <a:pt x="31" y="34"/>
                      <a:pt x="31" y="34"/>
                      <a:pt x="31" y="34"/>
                    </a:cubicBezTo>
                    <a:cubicBezTo>
                      <a:pt x="31" y="5"/>
                      <a:pt x="31" y="5"/>
                      <a:pt x="31" y="5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1" name="Freeform 830">
                <a:extLst>
                  <a:ext uri="{FF2B5EF4-FFF2-40B4-BE49-F238E27FC236}">
                    <a16:creationId xmlns:a16="http://schemas.microsoft.com/office/drawing/2014/main" id="{B00276E8-F155-41B5-A99F-912437BF99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132896" y="5739126"/>
                <a:ext cx="154594" cy="262497"/>
              </a:xfrm>
              <a:custGeom>
                <a:avLst/>
                <a:gdLst>
                  <a:gd name="T0" fmla="*/ 2 w 63"/>
                  <a:gd name="T1" fmla="*/ 107 h 107"/>
                  <a:gd name="T2" fmla="*/ 1 w 63"/>
                  <a:gd name="T3" fmla="*/ 106 h 107"/>
                  <a:gd name="T4" fmla="*/ 0 w 63"/>
                  <a:gd name="T5" fmla="*/ 105 h 107"/>
                  <a:gd name="T6" fmla="*/ 0 w 63"/>
                  <a:gd name="T7" fmla="*/ 36 h 107"/>
                  <a:gd name="T8" fmla="*/ 1 w 63"/>
                  <a:gd name="T9" fmla="*/ 35 h 107"/>
                  <a:gd name="T10" fmla="*/ 60 w 63"/>
                  <a:gd name="T11" fmla="*/ 1 h 107"/>
                  <a:gd name="T12" fmla="*/ 62 w 63"/>
                  <a:gd name="T13" fmla="*/ 1 h 107"/>
                  <a:gd name="T14" fmla="*/ 63 w 63"/>
                  <a:gd name="T15" fmla="*/ 2 h 107"/>
                  <a:gd name="T16" fmla="*/ 63 w 63"/>
                  <a:gd name="T17" fmla="*/ 60 h 107"/>
                  <a:gd name="T18" fmla="*/ 62 w 63"/>
                  <a:gd name="T19" fmla="*/ 61 h 107"/>
                  <a:gd name="T20" fmla="*/ 46 w 63"/>
                  <a:gd name="T21" fmla="*/ 70 h 107"/>
                  <a:gd name="T22" fmla="*/ 53 w 63"/>
                  <a:gd name="T23" fmla="*/ 74 h 107"/>
                  <a:gd name="T24" fmla="*/ 54 w 63"/>
                  <a:gd name="T25" fmla="*/ 76 h 107"/>
                  <a:gd name="T26" fmla="*/ 53 w 63"/>
                  <a:gd name="T27" fmla="*/ 77 h 107"/>
                  <a:gd name="T28" fmla="*/ 3 w 63"/>
                  <a:gd name="T29" fmla="*/ 106 h 107"/>
                  <a:gd name="T30" fmla="*/ 2 w 63"/>
                  <a:gd name="T31" fmla="*/ 107 h 107"/>
                  <a:gd name="T32" fmla="*/ 4 w 63"/>
                  <a:gd name="T33" fmla="*/ 38 h 107"/>
                  <a:gd name="T34" fmla="*/ 4 w 63"/>
                  <a:gd name="T35" fmla="*/ 101 h 107"/>
                  <a:gd name="T36" fmla="*/ 48 w 63"/>
                  <a:gd name="T37" fmla="*/ 76 h 107"/>
                  <a:gd name="T38" fmla="*/ 41 w 63"/>
                  <a:gd name="T39" fmla="*/ 72 h 107"/>
                  <a:gd name="T40" fmla="*/ 40 w 63"/>
                  <a:gd name="T41" fmla="*/ 70 h 107"/>
                  <a:gd name="T42" fmla="*/ 41 w 63"/>
                  <a:gd name="T43" fmla="*/ 69 h 107"/>
                  <a:gd name="T44" fmla="*/ 59 w 63"/>
                  <a:gd name="T45" fmla="*/ 59 h 107"/>
                  <a:gd name="T46" fmla="*/ 59 w 63"/>
                  <a:gd name="T47" fmla="*/ 6 h 107"/>
                  <a:gd name="T48" fmla="*/ 4 w 63"/>
                  <a:gd name="T49" fmla="*/ 3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107">
                    <a:moveTo>
                      <a:pt x="2" y="107"/>
                    </a:moveTo>
                    <a:cubicBezTo>
                      <a:pt x="1" y="107"/>
                      <a:pt x="1" y="106"/>
                      <a:pt x="1" y="106"/>
                    </a:cubicBezTo>
                    <a:cubicBezTo>
                      <a:pt x="0" y="106"/>
                      <a:pt x="0" y="105"/>
                      <a:pt x="0" y="105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0" y="0"/>
                      <a:pt x="61" y="0"/>
                      <a:pt x="62" y="1"/>
                    </a:cubicBezTo>
                    <a:cubicBezTo>
                      <a:pt x="62" y="1"/>
                      <a:pt x="63" y="2"/>
                      <a:pt x="63" y="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60"/>
                      <a:pt x="62" y="61"/>
                      <a:pt x="62" y="61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74"/>
                      <a:pt x="54" y="75"/>
                      <a:pt x="54" y="76"/>
                    </a:cubicBezTo>
                    <a:cubicBezTo>
                      <a:pt x="54" y="76"/>
                      <a:pt x="53" y="77"/>
                      <a:pt x="53" y="77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2" y="106"/>
                      <a:pt x="2" y="107"/>
                      <a:pt x="2" y="107"/>
                    </a:cubicBezTo>
                    <a:close/>
                    <a:moveTo>
                      <a:pt x="4" y="38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1" y="72"/>
                      <a:pt x="41" y="72"/>
                      <a:pt x="41" y="72"/>
                    </a:cubicBezTo>
                    <a:cubicBezTo>
                      <a:pt x="41" y="72"/>
                      <a:pt x="40" y="71"/>
                      <a:pt x="40" y="70"/>
                    </a:cubicBezTo>
                    <a:cubicBezTo>
                      <a:pt x="40" y="70"/>
                      <a:pt x="41" y="69"/>
                      <a:pt x="41" y="69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6"/>
                      <a:pt x="59" y="6"/>
                      <a:pt x="59" y="6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2" name="Freeform 831">
                <a:extLst>
                  <a:ext uri="{FF2B5EF4-FFF2-40B4-BE49-F238E27FC236}">
                    <a16:creationId xmlns:a16="http://schemas.microsoft.com/office/drawing/2014/main" id="{EDEA4582-7750-474F-B62C-4CFA963E9E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024991" y="6170742"/>
                <a:ext cx="34239" cy="37351"/>
              </a:xfrm>
              <a:custGeom>
                <a:avLst/>
                <a:gdLst>
                  <a:gd name="T0" fmla="*/ 2 w 14"/>
                  <a:gd name="T1" fmla="*/ 15 h 15"/>
                  <a:gd name="T2" fmla="*/ 1 w 14"/>
                  <a:gd name="T3" fmla="*/ 15 h 15"/>
                  <a:gd name="T4" fmla="*/ 0 w 14"/>
                  <a:gd name="T5" fmla="*/ 13 h 15"/>
                  <a:gd name="T6" fmla="*/ 0 w 14"/>
                  <a:gd name="T7" fmla="*/ 2 h 15"/>
                  <a:gd name="T8" fmla="*/ 1 w 14"/>
                  <a:gd name="T9" fmla="*/ 0 h 15"/>
                  <a:gd name="T10" fmla="*/ 3 w 14"/>
                  <a:gd name="T11" fmla="*/ 0 h 15"/>
                  <a:gd name="T12" fmla="*/ 13 w 14"/>
                  <a:gd name="T13" fmla="*/ 6 h 15"/>
                  <a:gd name="T14" fmla="*/ 14 w 14"/>
                  <a:gd name="T15" fmla="*/ 7 h 15"/>
                  <a:gd name="T16" fmla="*/ 13 w 14"/>
                  <a:gd name="T17" fmla="*/ 9 h 15"/>
                  <a:gd name="T18" fmla="*/ 3 w 14"/>
                  <a:gd name="T19" fmla="*/ 15 h 15"/>
                  <a:gd name="T20" fmla="*/ 2 w 14"/>
                  <a:gd name="T21" fmla="*/ 15 h 15"/>
                  <a:gd name="T22" fmla="*/ 4 w 14"/>
                  <a:gd name="T23" fmla="*/ 5 h 15"/>
                  <a:gd name="T24" fmla="*/ 4 w 14"/>
                  <a:gd name="T25" fmla="*/ 9 h 15"/>
                  <a:gd name="T26" fmla="*/ 8 w 14"/>
                  <a:gd name="T27" fmla="*/ 7 h 15"/>
                  <a:gd name="T28" fmla="*/ 4 w 14"/>
                  <a:gd name="T2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2" y="15"/>
                    </a:moveTo>
                    <a:cubicBezTo>
                      <a:pt x="2" y="15"/>
                      <a:pt x="2" y="15"/>
                      <a:pt x="1" y="15"/>
                    </a:cubicBezTo>
                    <a:cubicBezTo>
                      <a:pt x="1" y="14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4" y="6"/>
                      <a:pt x="14" y="7"/>
                      <a:pt x="14" y="7"/>
                    </a:cubicBezTo>
                    <a:cubicBezTo>
                      <a:pt x="14" y="8"/>
                      <a:pt x="14" y="9"/>
                      <a:pt x="13" y="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2" y="15"/>
                    </a:cubicBezTo>
                    <a:close/>
                    <a:moveTo>
                      <a:pt x="4" y="5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8" y="7"/>
                      <a:pt x="8" y="7"/>
                      <a:pt x="8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3" name="Freeform 832">
                <a:extLst>
                  <a:ext uri="{FF2B5EF4-FFF2-40B4-BE49-F238E27FC236}">
                    <a16:creationId xmlns:a16="http://schemas.microsoft.com/office/drawing/2014/main" id="{DE9305C5-58FF-4938-8D08-377C3C64E8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68964" y="5879194"/>
                <a:ext cx="188833" cy="125542"/>
              </a:xfrm>
              <a:custGeom>
                <a:avLst/>
                <a:gdLst>
                  <a:gd name="T0" fmla="*/ 55 w 77"/>
                  <a:gd name="T1" fmla="*/ 51 h 51"/>
                  <a:gd name="T2" fmla="*/ 54 w 77"/>
                  <a:gd name="T3" fmla="*/ 51 h 51"/>
                  <a:gd name="T4" fmla="*/ 1 w 77"/>
                  <a:gd name="T5" fmla="*/ 20 h 51"/>
                  <a:gd name="T6" fmla="*/ 0 w 77"/>
                  <a:gd name="T7" fmla="*/ 19 h 51"/>
                  <a:gd name="T8" fmla="*/ 1 w 77"/>
                  <a:gd name="T9" fmla="*/ 17 h 51"/>
                  <a:gd name="T10" fmla="*/ 7 w 77"/>
                  <a:gd name="T11" fmla="*/ 13 h 51"/>
                  <a:gd name="T12" fmla="*/ 7 w 77"/>
                  <a:gd name="T13" fmla="*/ 4 h 51"/>
                  <a:gd name="T14" fmla="*/ 8 w 77"/>
                  <a:gd name="T15" fmla="*/ 2 h 51"/>
                  <a:gd name="T16" fmla="*/ 12 w 77"/>
                  <a:gd name="T17" fmla="*/ 0 h 51"/>
                  <a:gd name="T18" fmla="*/ 14 w 77"/>
                  <a:gd name="T19" fmla="*/ 0 h 51"/>
                  <a:gd name="T20" fmla="*/ 76 w 77"/>
                  <a:gd name="T21" fmla="*/ 36 h 51"/>
                  <a:gd name="T22" fmla="*/ 77 w 77"/>
                  <a:gd name="T23" fmla="*/ 37 h 51"/>
                  <a:gd name="T24" fmla="*/ 76 w 77"/>
                  <a:gd name="T25" fmla="*/ 39 h 51"/>
                  <a:gd name="T26" fmla="*/ 56 w 77"/>
                  <a:gd name="T27" fmla="*/ 51 h 51"/>
                  <a:gd name="T28" fmla="*/ 55 w 77"/>
                  <a:gd name="T29" fmla="*/ 51 h 51"/>
                  <a:gd name="T30" fmla="*/ 6 w 77"/>
                  <a:gd name="T31" fmla="*/ 19 h 51"/>
                  <a:gd name="T32" fmla="*/ 55 w 77"/>
                  <a:gd name="T33" fmla="*/ 47 h 51"/>
                  <a:gd name="T34" fmla="*/ 71 w 77"/>
                  <a:gd name="T35" fmla="*/ 37 h 51"/>
                  <a:gd name="T36" fmla="*/ 13 w 77"/>
                  <a:gd name="T37" fmla="*/ 4 h 51"/>
                  <a:gd name="T38" fmla="*/ 11 w 77"/>
                  <a:gd name="T39" fmla="*/ 5 h 51"/>
                  <a:gd name="T40" fmla="*/ 11 w 77"/>
                  <a:gd name="T41" fmla="*/ 14 h 51"/>
                  <a:gd name="T42" fmla="*/ 10 w 77"/>
                  <a:gd name="T43" fmla="*/ 16 h 51"/>
                  <a:gd name="T44" fmla="*/ 6 w 77"/>
                  <a:gd name="T45" fmla="*/ 1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51">
                    <a:moveTo>
                      <a:pt x="55" y="51"/>
                    </a:moveTo>
                    <a:cubicBezTo>
                      <a:pt x="54" y="51"/>
                      <a:pt x="54" y="51"/>
                      <a:pt x="54" y="51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9"/>
                      <a:pt x="0" y="19"/>
                    </a:cubicBezTo>
                    <a:cubicBezTo>
                      <a:pt x="0" y="18"/>
                      <a:pt x="0" y="17"/>
                      <a:pt x="1" y="17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3"/>
                      <a:pt x="8" y="2"/>
                      <a:pt x="8" y="2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6" y="36"/>
                      <a:pt x="77" y="37"/>
                      <a:pt x="77" y="37"/>
                    </a:cubicBezTo>
                    <a:cubicBezTo>
                      <a:pt x="77" y="38"/>
                      <a:pt x="76" y="39"/>
                      <a:pt x="76" y="39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5" y="51"/>
                      <a:pt x="55" y="51"/>
                      <a:pt x="55" y="51"/>
                    </a:cubicBezTo>
                    <a:close/>
                    <a:moveTo>
                      <a:pt x="6" y="19"/>
                    </a:moveTo>
                    <a:cubicBezTo>
                      <a:pt x="55" y="47"/>
                      <a:pt x="55" y="47"/>
                      <a:pt x="55" y="47"/>
                    </a:cubicBezTo>
                    <a:cubicBezTo>
                      <a:pt x="71" y="37"/>
                      <a:pt x="71" y="37"/>
                      <a:pt x="71" y="37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5"/>
                      <a:pt x="11" y="16"/>
                      <a:pt x="10" y="16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4" name="Freeform 833">
                <a:extLst>
                  <a:ext uri="{FF2B5EF4-FFF2-40B4-BE49-F238E27FC236}">
                    <a16:creationId xmlns:a16="http://schemas.microsoft.com/office/drawing/2014/main" id="{A66260EF-7C1C-492E-8535-5558F7C77D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68964" y="5852218"/>
                <a:ext cx="158744" cy="120355"/>
              </a:xfrm>
              <a:custGeom>
                <a:avLst/>
                <a:gdLst>
                  <a:gd name="T0" fmla="*/ 63 w 65"/>
                  <a:gd name="T1" fmla="*/ 49 h 49"/>
                  <a:gd name="T2" fmla="*/ 62 w 65"/>
                  <a:gd name="T3" fmla="*/ 48 h 49"/>
                  <a:gd name="T4" fmla="*/ 1 w 65"/>
                  <a:gd name="T5" fmla="*/ 14 h 49"/>
                  <a:gd name="T6" fmla="*/ 0 w 65"/>
                  <a:gd name="T7" fmla="*/ 12 h 49"/>
                  <a:gd name="T8" fmla="*/ 1 w 65"/>
                  <a:gd name="T9" fmla="*/ 10 h 49"/>
                  <a:gd name="T10" fmla="*/ 19 w 65"/>
                  <a:gd name="T11" fmla="*/ 0 h 49"/>
                  <a:gd name="T12" fmla="*/ 21 w 65"/>
                  <a:gd name="T13" fmla="*/ 0 h 49"/>
                  <a:gd name="T14" fmla="*/ 64 w 65"/>
                  <a:gd name="T15" fmla="*/ 25 h 49"/>
                  <a:gd name="T16" fmla="*/ 65 w 65"/>
                  <a:gd name="T17" fmla="*/ 27 h 49"/>
                  <a:gd name="T18" fmla="*/ 65 w 65"/>
                  <a:gd name="T19" fmla="*/ 47 h 49"/>
                  <a:gd name="T20" fmla="*/ 64 w 65"/>
                  <a:gd name="T21" fmla="*/ 48 h 49"/>
                  <a:gd name="T22" fmla="*/ 63 w 65"/>
                  <a:gd name="T23" fmla="*/ 49 h 49"/>
                  <a:gd name="T24" fmla="*/ 6 w 65"/>
                  <a:gd name="T25" fmla="*/ 12 h 49"/>
                  <a:gd name="T26" fmla="*/ 61 w 65"/>
                  <a:gd name="T27" fmla="*/ 43 h 49"/>
                  <a:gd name="T28" fmla="*/ 61 w 65"/>
                  <a:gd name="T29" fmla="*/ 28 h 49"/>
                  <a:gd name="T30" fmla="*/ 20 w 65"/>
                  <a:gd name="T31" fmla="*/ 4 h 49"/>
                  <a:gd name="T32" fmla="*/ 6 w 65"/>
                  <a:gd name="T33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49">
                    <a:moveTo>
                      <a:pt x="63" y="49"/>
                    </a:moveTo>
                    <a:cubicBezTo>
                      <a:pt x="63" y="49"/>
                      <a:pt x="62" y="49"/>
                      <a:pt x="62" y="4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0" y="13"/>
                      <a:pt x="0" y="12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20" y="0"/>
                      <a:pt x="21" y="0"/>
                    </a:cubicBezTo>
                    <a:cubicBezTo>
                      <a:pt x="64" y="25"/>
                      <a:pt x="64" y="25"/>
                      <a:pt x="64" y="25"/>
                    </a:cubicBezTo>
                    <a:cubicBezTo>
                      <a:pt x="64" y="25"/>
                      <a:pt x="65" y="26"/>
                      <a:pt x="65" y="27"/>
                    </a:cubicBezTo>
                    <a:cubicBezTo>
                      <a:pt x="65" y="47"/>
                      <a:pt x="65" y="47"/>
                      <a:pt x="65" y="47"/>
                    </a:cubicBezTo>
                    <a:cubicBezTo>
                      <a:pt x="65" y="47"/>
                      <a:pt x="64" y="48"/>
                      <a:pt x="64" y="48"/>
                    </a:cubicBezTo>
                    <a:cubicBezTo>
                      <a:pt x="64" y="49"/>
                      <a:pt x="63" y="49"/>
                      <a:pt x="63" y="49"/>
                    </a:cubicBezTo>
                    <a:close/>
                    <a:moveTo>
                      <a:pt x="6" y="12"/>
                    </a:moveTo>
                    <a:cubicBezTo>
                      <a:pt x="61" y="43"/>
                      <a:pt x="61" y="43"/>
                      <a:pt x="61" y="43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20" y="4"/>
                      <a:pt x="20" y="4"/>
                      <a:pt x="20" y="4"/>
                    </a:cubicBez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5" name="Freeform 834">
                <a:extLst>
                  <a:ext uri="{FF2B5EF4-FFF2-40B4-BE49-F238E27FC236}">
                    <a16:creationId xmlns:a16="http://schemas.microsoft.com/office/drawing/2014/main" id="{334ADDFA-C1A5-459B-98B7-E460EF0631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132896" y="5997473"/>
                <a:ext cx="154594" cy="166006"/>
              </a:xfrm>
              <a:custGeom>
                <a:avLst/>
                <a:gdLst>
                  <a:gd name="T0" fmla="*/ 2 w 63"/>
                  <a:gd name="T1" fmla="*/ 68 h 68"/>
                  <a:gd name="T2" fmla="*/ 1 w 63"/>
                  <a:gd name="T3" fmla="*/ 68 h 68"/>
                  <a:gd name="T4" fmla="*/ 0 w 63"/>
                  <a:gd name="T5" fmla="*/ 66 h 68"/>
                  <a:gd name="T6" fmla="*/ 0 w 63"/>
                  <a:gd name="T7" fmla="*/ 2 h 68"/>
                  <a:gd name="T8" fmla="*/ 1 w 63"/>
                  <a:gd name="T9" fmla="*/ 1 h 68"/>
                  <a:gd name="T10" fmla="*/ 3 w 63"/>
                  <a:gd name="T11" fmla="*/ 1 h 68"/>
                  <a:gd name="T12" fmla="*/ 62 w 63"/>
                  <a:gd name="T13" fmla="*/ 35 h 68"/>
                  <a:gd name="T14" fmla="*/ 63 w 63"/>
                  <a:gd name="T15" fmla="*/ 36 h 68"/>
                  <a:gd name="T16" fmla="*/ 63 w 63"/>
                  <a:gd name="T17" fmla="*/ 51 h 68"/>
                  <a:gd name="T18" fmla="*/ 62 w 63"/>
                  <a:gd name="T19" fmla="*/ 53 h 68"/>
                  <a:gd name="T20" fmla="*/ 60 w 63"/>
                  <a:gd name="T21" fmla="*/ 53 h 68"/>
                  <a:gd name="T22" fmla="*/ 44 w 63"/>
                  <a:gd name="T23" fmla="*/ 44 h 68"/>
                  <a:gd name="T24" fmla="*/ 3 w 63"/>
                  <a:gd name="T25" fmla="*/ 68 h 68"/>
                  <a:gd name="T26" fmla="*/ 2 w 63"/>
                  <a:gd name="T27" fmla="*/ 68 h 68"/>
                  <a:gd name="T28" fmla="*/ 4 w 63"/>
                  <a:gd name="T29" fmla="*/ 6 h 68"/>
                  <a:gd name="T30" fmla="*/ 4 w 63"/>
                  <a:gd name="T31" fmla="*/ 62 h 68"/>
                  <a:gd name="T32" fmla="*/ 43 w 63"/>
                  <a:gd name="T33" fmla="*/ 40 h 68"/>
                  <a:gd name="T34" fmla="*/ 45 w 63"/>
                  <a:gd name="T35" fmla="*/ 40 h 68"/>
                  <a:gd name="T36" fmla="*/ 59 w 63"/>
                  <a:gd name="T37" fmla="*/ 47 h 68"/>
                  <a:gd name="T38" fmla="*/ 59 w 63"/>
                  <a:gd name="T39" fmla="*/ 38 h 68"/>
                  <a:gd name="T40" fmla="*/ 4 w 63"/>
                  <a:gd name="T41" fmla="*/ 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68">
                    <a:moveTo>
                      <a:pt x="2" y="68"/>
                    </a:moveTo>
                    <a:cubicBezTo>
                      <a:pt x="1" y="68"/>
                      <a:pt x="1" y="68"/>
                      <a:pt x="1" y="68"/>
                    </a:cubicBezTo>
                    <a:cubicBezTo>
                      <a:pt x="0" y="67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5"/>
                      <a:pt x="63" y="36"/>
                      <a:pt x="63" y="36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3" y="52"/>
                      <a:pt x="62" y="52"/>
                      <a:pt x="62" y="53"/>
                    </a:cubicBezTo>
                    <a:cubicBezTo>
                      <a:pt x="61" y="53"/>
                      <a:pt x="60" y="53"/>
                      <a:pt x="60" y="53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2" y="68"/>
                      <a:pt x="2" y="68"/>
                      <a:pt x="2" y="68"/>
                    </a:cubicBezTo>
                    <a:close/>
                    <a:moveTo>
                      <a:pt x="4" y="6"/>
                    </a:moveTo>
                    <a:cubicBezTo>
                      <a:pt x="4" y="62"/>
                      <a:pt x="4" y="62"/>
                      <a:pt x="4" y="62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39"/>
                      <a:pt x="45" y="39"/>
                      <a:pt x="45" y="40"/>
                    </a:cubicBezTo>
                    <a:cubicBezTo>
                      <a:pt x="59" y="47"/>
                      <a:pt x="59" y="47"/>
                      <a:pt x="59" y="47"/>
                    </a:cubicBezTo>
                    <a:cubicBezTo>
                      <a:pt x="59" y="38"/>
                      <a:pt x="59" y="38"/>
                      <a:pt x="59" y="38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6" name="Freeform 835">
                <a:extLst>
                  <a:ext uri="{FF2B5EF4-FFF2-40B4-BE49-F238E27FC236}">
                    <a16:creationId xmlns:a16="http://schemas.microsoft.com/office/drawing/2014/main" id="{7F028B3D-D31B-4E8C-9AA8-400B82DCC9F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731367" y="5646785"/>
                <a:ext cx="90266" cy="56027"/>
              </a:xfrm>
              <a:custGeom>
                <a:avLst/>
                <a:gdLst>
                  <a:gd name="T0" fmla="*/ 3 w 37"/>
                  <a:gd name="T1" fmla="*/ 23 h 23"/>
                  <a:gd name="T2" fmla="*/ 2 w 37"/>
                  <a:gd name="T3" fmla="*/ 23 h 23"/>
                  <a:gd name="T4" fmla="*/ 1 w 37"/>
                  <a:gd name="T5" fmla="*/ 23 h 23"/>
                  <a:gd name="T6" fmla="*/ 0 w 37"/>
                  <a:gd name="T7" fmla="*/ 21 h 23"/>
                  <a:gd name="T8" fmla="*/ 1 w 37"/>
                  <a:gd name="T9" fmla="*/ 19 h 23"/>
                  <a:gd name="T10" fmla="*/ 34 w 37"/>
                  <a:gd name="T11" fmla="*/ 0 h 23"/>
                  <a:gd name="T12" fmla="*/ 36 w 37"/>
                  <a:gd name="T13" fmla="*/ 0 h 23"/>
                  <a:gd name="T14" fmla="*/ 37 w 37"/>
                  <a:gd name="T15" fmla="*/ 2 h 23"/>
                  <a:gd name="T16" fmla="*/ 37 w 37"/>
                  <a:gd name="T17" fmla="*/ 3 h 23"/>
                  <a:gd name="T18" fmla="*/ 36 w 37"/>
                  <a:gd name="T19" fmla="*/ 5 h 23"/>
                  <a:gd name="T20" fmla="*/ 4 w 37"/>
                  <a:gd name="T21" fmla="*/ 23 h 23"/>
                  <a:gd name="T22" fmla="*/ 3 w 37"/>
                  <a:gd name="T2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3">
                    <a:moveTo>
                      <a:pt x="3" y="23"/>
                    </a:moveTo>
                    <a:cubicBezTo>
                      <a:pt x="2" y="23"/>
                      <a:pt x="2" y="23"/>
                      <a:pt x="2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0" y="22"/>
                      <a:pt x="0" y="21"/>
                    </a:cubicBezTo>
                    <a:cubicBezTo>
                      <a:pt x="0" y="20"/>
                      <a:pt x="1" y="20"/>
                      <a:pt x="1" y="19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5" y="0"/>
                      <a:pt x="36" y="0"/>
                    </a:cubicBezTo>
                    <a:cubicBezTo>
                      <a:pt x="37" y="1"/>
                      <a:pt x="37" y="1"/>
                      <a:pt x="37" y="2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4"/>
                      <a:pt x="37" y="4"/>
                      <a:pt x="36" y="5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3" y="23"/>
                      <a:pt x="3" y="23"/>
                      <a:pt x="3" y="2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7" name="Freeform 836">
                <a:extLst>
                  <a:ext uri="{FF2B5EF4-FFF2-40B4-BE49-F238E27FC236}">
                    <a16:creationId xmlns:a16="http://schemas.microsoft.com/office/drawing/2014/main" id="{667147D0-653A-4AF5-9684-90630A653A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022916" y="5920695"/>
                <a:ext cx="264573" cy="253160"/>
              </a:xfrm>
              <a:custGeom>
                <a:avLst/>
                <a:gdLst>
                  <a:gd name="T0" fmla="*/ 94 w 108"/>
                  <a:gd name="T1" fmla="*/ 103 h 103"/>
                  <a:gd name="T2" fmla="*/ 93 w 108"/>
                  <a:gd name="T3" fmla="*/ 103 h 103"/>
                  <a:gd name="T4" fmla="*/ 61 w 108"/>
                  <a:gd name="T5" fmla="*/ 85 h 103"/>
                  <a:gd name="T6" fmla="*/ 60 w 108"/>
                  <a:gd name="T7" fmla="*/ 83 h 103"/>
                  <a:gd name="T8" fmla="*/ 60 w 108"/>
                  <a:gd name="T9" fmla="*/ 68 h 103"/>
                  <a:gd name="T10" fmla="*/ 1 w 108"/>
                  <a:gd name="T11" fmla="*/ 34 h 103"/>
                  <a:gd name="T12" fmla="*/ 0 w 108"/>
                  <a:gd name="T13" fmla="*/ 32 h 103"/>
                  <a:gd name="T14" fmla="*/ 1 w 108"/>
                  <a:gd name="T15" fmla="*/ 30 h 103"/>
                  <a:gd name="T16" fmla="*/ 52 w 108"/>
                  <a:gd name="T17" fmla="*/ 1 h 103"/>
                  <a:gd name="T18" fmla="*/ 54 w 108"/>
                  <a:gd name="T19" fmla="*/ 1 h 103"/>
                  <a:gd name="T20" fmla="*/ 107 w 108"/>
                  <a:gd name="T21" fmla="*/ 31 h 103"/>
                  <a:gd name="T22" fmla="*/ 108 w 108"/>
                  <a:gd name="T23" fmla="*/ 33 h 103"/>
                  <a:gd name="T24" fmla="*/ 107 w 108"/>
                  <a:gd name="T25" fmla="*/ 35 h 103"/>
                  <a:gd name="T26" fmla="*/ 96 w 108"/>
                  <a:gd name="T27" fmla="*/ 41 h 103"/>
                  <a:gd name="T28" fmla="*/ 96 w 108"/>
                  <a:gd name="T29" fmla="*/ 101 h 103"/>
                  <a:gd name="T30" fmla="*/ 95 w 108"/>
                  <a:gd name="T31" fmla="*/ 103 h 103"/>
                  <a:gd name="T32" fmla="*/ 94 w 108"/>
                  <a:gd name="T33" fmla="*/ 103 h 103"/>
                  <a:gd name="T34" fmla="*/ 64 w 108"/>
                  <a:gd name="T35" fmla="*/ 82 h 103"/>
                  <a:gd name="T36" fmla="*/ 92 w 108"/>
                  <a:gd name="T37" fmla="*/ 98 h 103"/>
                  <a:gd name="T38" fmla="*/ 92 w 108"/>
                  <a:gd name="T39" fmla="*/ 40 h 103"/>
                  <a:gd name="T40" fmla="*/ 93 w 108"/>
                  <a:gd name="T41" fmla="*/ 38 h 103"/>
                  <a:gd name="T42" fmla="*/ 102 w 108"/>
                  <a:gd name="T43" fmla="*/ 33 h 103"/>
                  <a:gd name="T44" fmla="*/ 53 w 108"/>
                  <a:gd name="T45" fmla="*/ 5 h 103"/>
                  <a:gd name="T46" fmla="*/ 6 w 108"/>
                  <a:gd name="T47" fmla="*/ 32 h 103"/>
                  <a:gd name="T48" fmla="*/ 63 w 108"/>
                  <a:gd name="T49" fmla="*/ 65 h 103"/>
                  <a:gd name="T50" fmla="*/ 64 w 108"/>
                  <a:gd name="T51" fmla="*/ 66 h 103"/>
                  <a:gd name="T52" fmla="*/ 64 w 108"/>
                  <a:gd name="T5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8" h="103">
                    <a:moveTo>
                      <a:pt x="94" y="103"/>
                    </a:moveTo>
                    <a:cubicBezTo>
                      <a:pt x="93" y="103"/>
                      <a:pt x="93" y="103"/>
                      <a:pt x="93" y="103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61" y="84"/>
                      <a:pt x="60" y="84"/>
                      <a:pt x="60" y="83"/>
                    </a:cubicBezTo>
                    <a:cubicBezTo>
                      <a:pt x="60" y="68"/>
                      <a:pt x="60" y="68"/>
                      <a:pt x="60" y="68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3"/>
                      <a:pt x="0" y="33"/>
                      <a:pt x="0" y="32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3" y="0"/>
                      <a:pt x="54" y="0"/>
                      <a:pt x="54" y="1"/>
                    </a:cubicBezTo>
                    <a:cubicBezTo>
                      <a:pt x="107" y="31"/>
                      <a:pt x="107" y="31"/>
                      <a:pt x="107" y="31"/>
                    </a:cubicBezTo>
                    <a:cubicBezTo>
                      <a:pt x="108" y="32"/>
                      <a:pt x="108" y="32"/>
                      <a:pt x="108" y="33"/>
                    </a:cubicBezTo>
                    <a:cubicBezTo>
                      <a:pt x="108" y="34"/>
                      <a:pt x="108" y="34"/>
                      <a:pt x="107" y="35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6" y="101"/>
                      <a:pt x="96" y="101"/>
                      <a:pt x="96" y="101"/>
                    </a:cubicBezTo>
                    <a:cubicBezTo>
                      <a:pt x="96" y="102"/>
                      <a:pt x="95" y="102"/>
                      <a:pt x="95" y="103"/>
                    </a:cubicBezTo>
                    <a:cubicBezTo>
                      <a:pt x="94" y="103"/>
                      <a:pt x="94" y="103"/>
                      <a:pt x="94" y="103"/>
                    </a:cubicBezTo>
                    <a:close/>
                    <a:moveTo>
                      <a:pt x="64" y="82"/>
                    </a:moveTo>
                    <a:cubicBezTo>
                      <a:pt x="92" y="98"/>
                      <a:pt x="92" y="98"/>
                      <a:pt x="92" y="98"/>
                    </a:cubicBezTo>
                    <a:cubicBezTo>
                      <a:pt x="92" y="40"/>
                      <a:pt x="92" y="40"/>
                      <a:pt x="92" y="40"/>
                    </a:cubicBezTo>
                    <a:cubicBezTo>
                      <a:pt x="92" y="39"/>
                      <a:pt x="92" y="39"/>
                      <a:pt x="93" y="38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3" y="65"/>
                      <a:pt x="63" y="65"/>
                      <a:pt x="63" y="65"/>
                    </a:cubicBezTo>
                    <a:cubicBezTo>
                      <a:pt x="64" y="65"/>
                      <a:pt x="64" y="66"/>
                      <a:pt x="64" y="66"/>
                    </a:cubicBezTo>
                    <a:lnTo>
                      <a:pt x="6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8" name="Freeform 837">
                <a:extLst>
                  <a:ext uri="{FF2B5EF4-FFF2-40B4-BE49-F238E27FC236}">
                    <a16:creationId xmlns:a16="http://schemas.microsoft.com/office/drawing/2014/main" id="{7ECD6411-9AD2-41BF-AF23-65E8844481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132896" y="6097077"/>
                <a:ext cx="154594" cy="161856"/>
              </a:xfrm>
              <a:custGeom>
                <a:avLst/>
                <a:gdLst>
                  <a:gd name="T0" fmla="*/ 61 w 63"/>
                  <a:gd name="T1" fmla="*/ 66 h 66"/>
                  <a:gd name="T2" fmla="*/ 60 w 63"/>
                  <a:gd name="T3" fmla="*/ 65 h 66"/>
                  <a:gd name="T4" fmla="*/ 1 w 63"/>
                  <a:gd name="T5" fmla="*/ 31 h 66"/>
                  <a:gd name="T6" fmla="*/ 0 w 63"/>
                  <a:gd name="T7" fmla="*/ 29 h 66"/>
                  <a:gd name="T8" fmla="*/ 0 w 63"/>
                  <a:gd name="T9" fmla="*/ 27 h 66"/>
                  <a:gd name="T10" fmla="*/ 1 w 63"/>
                  <a:gd name="T11" fmla="*/ 25 h 66"/>
                  <a:gd name="T12" fmla="*/ 43 w 63"/>
                  <a:gd name="T13" fmla="*/ 1 h 66"/>
                  <a:gd name="T14" fmla="*/ 45 w 63"/>
                  <a:gd name="T15" fmla="*/ 1 h 66"/>
                  <a:gd name="T16" fmla="*/ 62 w 63"/>
                  <a:gd name="T17" fmla="*/ 10 h 66"/>
                  <a:gd name="T18" fmla="*/ 63 w 63"/>
                  <a:gd name="T19" fmla="*/ 12 h 66"/>
                  <a:gd name="T20" fmla="*/ 63 w 63"/>
                  <a:gd name="T21" fmla="*/ 64 h 66"/>
                  <a:gd name="T22" fmla="*/ 62 w 63"/>
                  <a:gd name="T23" fmla="*/ 65 h 66"/>
                  <a:gd name="T24" fmla="*/ 61 w 63"/>
                  <a:gd name="T25" fmla="*/ 66 h 66"/>
                  <a:gd name="T26" fmla="*/ 4 w 63"/>
                  <a:gd name="T27" fmla="*/ 28 h 66"/>
                  <a:gd name="T28" fmla="*/ 59 w 63"/>
                  <a:gd name="T29" fmla="*/ 60 h 66"/>
                  <a:gd name="T30" fmla="*/ 59 w 63"/>
                  <a:gd name="T31" fmla="*/ 13 h 66"/>
                  <a:gd name="T32" fmla="*/ 44 w 63"/>
                  <a:gd name="T33" fmla="*/ 5 h 66"/>
                  <a:gd name="T34" fmla="*/ 4 w 63"/>
                  <a:gd name="T35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cubicBezTo>
                      <a:pt x="60" y="66"/>
                      <a:pt x="60" y="65"/>
                      <a:pt x="60" y="65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5"/>
                      <a:pt x="1" y="25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4" y="0"/>
                      <a:pt x="45" y="0"/>
                      <a:pt x="45" y="1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3" y="11"/>
                      <a:pt x="63" y="12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3" y="64"/>
                      <a:pt x="62" y="65"/>
                      <a:pt x="62" y="65"/>
                    </a:cubicBezTo>
                    <a:cubicBezTo>
                      <a:pt x="61" y="65"/>
                      <a:pt x="61" y="66"/>
                      <a:pt x="61" y="66"/>
                    </a:cubicBezTo>
                    <a:close/>
                    <a:moveTo>
                      <a:pt x="4" y="28"/>
                    </a:moveTo>
                    <a:cubicBezTo>
                      <a:pt x="59" y="60"/>
                      <a:pt x="59" y="60"/>
                      <a:pt x="59" y="60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9" name="Freeform 838">
                <a:extLst>
                  <a:ext uri="{FF2B5EF4-FFF2-40B4-BE49-F238E27FC236}">
                    <a16:creationId xmlns:a16="http://schemas.microsoft.com/office/drawing/2014/main" id="{FA1B5BD1-63BA-4FBE-9282-F99744BD71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91941" y="5997473"/>
                <a:ext cx="43577" cy="99604"/>
              </a:xfrm>
              <a:custGeom>
                <a:avLst/>
                <a:gdLst>
                  <a:gd name="T0" fmla="*/ 2 w 18"/>
                  <a:gd name="T1" fmla="*/ 41 h 41"/>
                  <a:gd name="T2" fmla="*/ 1 w 18"/>
                  <a:gd name="T3" fmla="*/ 40 h 41"/>
                  <a:gd name="T4" fmla="*/ 0 w 18"/>
                  <a:gd name="T5" fmla="*/ 39 h 41"/>
                  <a:gd name="T6" fmla="*/ 0 w 18"/>
                  <a:gd name="T7" fmla="*/ 10 h 41"/>
                  <a:gd name="T8" fmla="*/ 1 w 18"/>
                  <a:gd name="T9" fmla="*/ 8 h 41"/>
                  <a:gd name="T10" fmla="*/ 15 w 18"/>
                  <a:gd name="T11" fmla="*/ 0 h 41"/>
                  <a:gd name="T12" fmla="*/ 17 w 18"/>
                  <a:gd name="T13" fmla="*/ 0 h 41"/>
                  <a:gd name="T14" fmla="*/ 18 w 18"/>
                  <a:gd name="T15" fmla="*/ 2 h 41"/>
                  <a:gd name="T16" fmla="*/ 18 w 18"/>
                  <a:gd name="T17" fmla="*/ 32 h 41"/>
                  <a:gd name="T18" fmla="*/ 17 w 18"/>
                  <a:gd name="T19" fmla="*/ 34 h 41"/>
                  <a:gd name="T20" fmla="*/ 15 w 18"/>
                  <a:gd name="T21" fmla="*/ 34 h 41"/>
                  <a:gd name="T22" fmla="*/ 14 w 18"/>
                  <a:gd name="T23" fmla="*/ 34 h 41"/>
                  <a:gd name="T24" fmla="*/ 3 w 18"/>
                  <a:gd name="T25" fmla="*/ 40 h 41"/>
                  <a:gd name="T26" fmla="*/ 2 w 18"/>
                  <a:gd name="T27" fmla="*/ 41 h 41"/>
                  <a:gd name="T28" fmla="*/ 4 w 18"/>
                  <a:gd name="T29" fmla="*/ 11 h 41"/>
                  <a:gd name="T30" fmla="*/ 4 w 18"/>
                  <a:gd name="T31" fmla="*/ 35 h 41"/>
                  <a:gd name="T32" fmla="*/ 13 w 18"/>
                  <a:gd name="T33" fmla="*/ 30 h 41"/>
                  <a:gd name="T34" fmla="*/ 14 w 18"/>
                  <a:gd name="T35" fmla="*/ 29 h 41"/>
                  <a:gd name="T36" fmla="*/ 14 w 18"/>
                  <a:gd name="T37" fmla="*/ 5 h 41"/>
                  <a:gd name="T38" fmla="*/ 4 w 18"/>
                  <a:gd name="T3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41">
                    <a:moveTo>
                      <a:pt x="2" y="41"/>
                    </a:moveTo>
                    <a:cubicBezTo>
                      <a:pt x="1" y="41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17" y="1"/>
                      <a:pt x="18" y="1"/>
                      <a:pt x="18" y="2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3"/>
                      <a:pt x="17" y="33"/>
                      <a:pt x="17" y="34"/>
                    </a:cubicBezTo>
                    <a:cubicBezTo>
                      <a:pt x="16" y="34"/>
                      <a:pt x="15" y="34"/>
                      <a:pt x="15" y="34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2" y="40"/>
                      <a:pt x="2" y="41"/>
                      <a:pt x="2" y="41"/>
                    </a:cubicBezTo>
                    <a:close/>
                    <a:moveTo>
                      <a:pt x="4" y="11"/>
                    </a:moveTo>
                    <a:cubicBezTo>
                      <a:pt x="4" y="35"/>
                      <a:pt x="4" y="35"/>
                      <a:pt x="4" y="35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3" y="30"/>
                      <a:pt x="13" y="29"/>
                      <a:pt x="14" y="29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0" name="Freeform 839">
                <a:extLst>
                  <a:ext uri="{FF2B5EF4-FFF2-40B4-BE49-F238E27FC236}">
                    <a16:creationId xmlns:a16="http://schemas.microsoft.com/office/drawing/2014/main" id="{41870360-97B3-4D9E-B9DF-2810139ABA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94016" y="5906170"/>
                <a:ext cx="167044" cy="225146"/>
              </a:xfrm>
              <a:custGeom>
                <a:avLst/>
                <a:gdLst>
                  <a:gd name="T0" fmla="*/ 28 w 68"/>
                  <a:gd name="T1" fmla="*/ 92 h 92"/>
                  <a:gd name="T2" fmla="*/ 27 w 68"/>
                  <a:gd name="T3" fmla="*/ 92 h 92"/>
                  <a:gd name="T4" fmla="*/ 1 w 68"/>
                  <a:gd name="T5" fmla="*/ 77 h 92"/>
                  <a:gd name="T6" fmla="*/ 0 w 68"/>
                  <a:gd name="T7" fmla="*/ 75 h 92"/>
                  <a:gd name="T8" fmla="*/ 0 w 68"/>
                  <a:gd name="T9" fmla="*/ 4 h 92"/>
                  <a:gd name="T10" fmla="*/ 1 w 68"/>
                  <a:gd name="T11" fmla="*/ 2 h 92"/>
                  <a:gd name="T12" fmla="*/ 4 w 68"/>
                  <a:gd name="T13" fmla="*/ 1 h 92"/>
                  <a:gd name="T14" fmla="*/ 6 w 68"/>
                  <a:gd name="T15" fmla="*/ 1 h 92"/>
                  <a:gd name="T16" fmla="*/ 67 w 68"/>
                  <a:gd name="T17" fmla="*/ 36 h 92"/>
                  <a:gd name="T18" fmla="*/ 68 w 68"/>
                  <a:gd name="T19" fmla="*/ 38 h 92"/>
                  <a:gd name="T20" fmla="*/ 67 w 68"/>
                  <a:gd name="T21" fmla="*/ 39 h 92"/>
                  <a:gd name="T22" fmla="*/ 53 w 68"/>
                  <a:gd name="T23" fmla="*/ 47 h 92"/>
                  <a:gd name="T24" fmla="*/ 53 w 68"/>
                  <a:gd name="T25" fmla="*/ 76 h 92"/>
                  <a:gd name="T26" fmla="*/ 52 w 68"/>
                  <a:gd name="T27" fmla="*/ 78 h 92"/>
                  <a:gd name="T28" fmla="*/ 29 w 68"/>
                  <a:gd name="T29" fmla="*/ 92 h 92"/>
                  <a:gd name="T30" fmla="*/ 28 w 68"/>
                  <a:gd name="T31" fmla="*/ 92 h 92"/>
                  <a:gd name="T32" fmla="*/ 4 w 68"/>
                  <a:gd name="T33" fmla="*/ 74 h 92"/>
                  <a:gd name="T34" fmla="*/ 28 w 68"/>
                  <a:gd name="T35" fmla="*/ 88 h 92"/>
                  <a:gd name="T36" fmla="*/ 49 w 68"/>
                  <a:gd name="T37" fmla="*/ 75 h 92"/>
                  <a:gd name="T38" fmla="*/ 49 w 68"/>
                  <a:gd name="T39" fmla="*/ 46 h 92"/>
                  <a:gd name="T40" fmla="*/ 50 w 68"/>
                  <a:gd name="T41" fmla="*/ 44 h 92"/>
                  <a:gd name="T42" fmla="*/ 62 w 68"/>
                  <a:gd name="T43" fmla="*/ 38 h 92"/>
                  <a:gd name="T44" fmla="*/ 5 w 68"/>
                  <a:gd name="T45" fmla="*/ 5 h 92"/>
                  <a:gd name="T46" fmla="*/ 4 w 68"/>
                  <a:gd name="T47" fmla="*/ 5 h 92"/>
                  <a:gd name="T48" fmla="*/ 4 w 68"/>
                  <a:gd name="T49" fmla="*/ 7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92">
                    <a:moveTo>
                      <a:pt x="28" y="92"/>
                    </a:moveTo>
                    <a:cubicBezTo>
                      <a:pt x="27" y="92"/>
                      <a:pt x="27" y="92"/>
                      <a:pt x="27" y="92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6"/>
                      <a:pt x="0" y="7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3"/>
                      <a:pt x="1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5" y="0"/>
                      <a:pt x="6" y="1"/>
                    </a:cubicBezTo>
                    <a:cubicBezTo>
                      <a:pt x="67" y="36"/>
                      <a:pt x="67" y="36"/>
                      <a:pt x="67" y="36"/>
                    </a:cubicBezTo>
                    <a:cubicBezTo>
                      <a:pt x="67" y="36"/>
                      <a:pt x="68" y="37"/>
                      <a:pt x="68" y="38"/>
                    </a:cubicBezTo>
                    <a:cubicBezTo>
                      <a:pt x="68" y="38"/>
                      <a:pt x="67" y="39"/>
                      <a:pt x="67" y="39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3" y="78"/>
                      <a:pt x="52" y="78"/>
                    </a:cubicBezTo>
                    <a:cubicBezTo>
                      <a:pt x="29" y="92"/>
                      <a:pt x="29" y="92"/>
                      <a:pt x="29" y="92"/>
                    </a:cubicBezTo>
                    <a:cubicBezTo>
                      <a:pt x="29" y="92"/>
                      <a:pt x="28" y="92"/>
                      <a:pt x="28" y="92"/>
                    </a:cubicBezTo>
                    <a:close/>
                    <a:moveTo>
                      <a:pt x="4" y="74"/>
                    </a:moveTo>
                    <a:cubicBezTo>
                      <a:pt x="28" y="88"/>
                      <a:pt x="28" y="88"/>
                      <a:pt x="28" y="88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49" y="45"/>
                      <a:pt x="49" y="45"/>
                      <a:pt x="50" y="44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1" name="Freeform 840">
                <a:extLst>
                  <a:ext uri="{FF2B5EF4-FFF2-40B4-BE49-F238E27FC236}">
                    <a16:creationId xmlns:a16="http://schemas.microsoft.com/office/drawing/2014/main" id="{C2B0011D-67CF-46BE-9427-42CADA96A9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510371" y="6127165"/>
                <a:ext cx="381815" cy="171194"/>
              </a:xfrm>
              <a:custGeom>
                <a:avLst/>
                <a:gdLst>
                  <a:gd name="T0" fmla="*/ 78 w 156"/>
                  <a:gd name="T1" fmla="*/ 70 h 70"/>
                  <a:gd name="T2" fmla="*/ 77 w 156"/>
                  <a:gd name="T3" fmla="*/ 69 h 70"/>
                  <a:gd name="T4" fmla="*/ 1 w 156"/>
                  <a:gd name="T5" fmla="*/ 26 h 70"/>
                  <a:gd name="T6" fmla="*/ 0 w 156"/>
                  <a:gd name="T7" fmla="*/ 24 h 70"/>
                  <a:gd name="T8" fmla="*/ 1 w 156"/>
                  <a:gd name="T9" fmla="*/ 22 h 70"/>
                  <a:gd name="T10" fmla="*/ 40 w 156"/>
                  <a:gd name="T11" fmla="*/ 0 h 70"/>
                  <a:gd name="T12" fmla="*/ 42 w 156"/>
                  <a:gd name="T13" fmla="*/ 0 h 70"/>
                  <a:gd name="T14" fmla="*/ 65 w 156"/>
                  <a:gd name="T15" fmla="*/ 13 h 70"/>
                  <a:gd name="T16" fmla="*/ 66 w 156"/>
                  <a:gd name="T17" fmla="*/ 15 h 70"/>
                  <a:gd name="T18" fmla="*/ 66 w 156"/>
                  <a:gd name="T19" fmla="*/ 30 h 70"/>
                  <a:gd name="T20" fmla="*/ 79 w 156"/>
                  <a:gd name="T21" fmla="*/ 23 h 70"/>
                  <a:gd name="T22" fmla="*/ 80 w 156"/>
                  <a:gd name="T23" fmla="*/ 23 h 70"/>
                  <a:gd name="T24" fmla="*/ 80 w 156"/>
                  <a:gd name="T25" fmla="*/ 22 h 70"/>
                  <a:gd name="T26" fmla="*/ 117 w 156"/>
                  <a:gd name="T27" fmla="*/ 1 h 70"/>
                  <a:gd name="T28" fmla="*/ 119 w 156"/>
                  <a:gd name="T29" fmla="*/ 1 h 70"/>
                  <a:gd name="T30" fmla="*/ 155 w 156"/>
                  <a:gd name="T31" fmla="*/ 22 h 70"/>
                  <a:gd name="T32" fmla="*/ 156 w 156"/>
                  <a:gd name="T33" fmla="*/ 24 h 70"/>
                  <a:gd name="T34" fmla="*/ 155 w 156"/>
                  <a:gd name="T35" fmla="*/ 26 h 70"/>
                  <a:gd name="T36" fmla="*/ 79 w 156"/>
                  <a:gd name="T37" fmla="*/ 69 h 70"/>
                  <a:gd name="T38" fmla="*/ 78 w 156"/>
                  <a:gd name="T39" fmla="*/ 70 h 70"/>
                  <a:gd name="T40" fmla="*/ 6 w 156"/>
                  <a:gd name="T41" fmla="*/ 24 h 70"/>
                  <a:gd name="T42" fmla="*/ 78 w 156"/>
                  <a:gd name="T43" fmla="*/ 65 h 70"/>
                  <a:gd name="T44" fmla="*/ 150 w 156"/>
                  <a:gd name="T45" fmla="*/ 24 h 70"/>
                  <a:gd name="T46" fmla="*/ 118 w 156"/>
                  <a:gd name="T47" fmla="*/ 5 h 70"/>
                  <a:gd name="T48" fmla="*/ 83 w 156"/>
                  <a:gd name="T49" fmla="*/ 25 h 70"/>
                  <a:gd name="T50" fmla="*/ 82 w 156"/>
                  <a:gd name="T51" fmla="*/ 27 h 70"/>
                  <a:gd name="T52" fmla="*/ 80 w 156"/>
                  <a:gd name="T53" fmla="*/ 27 h 70"/>
                  <a:gd name="T54" fmla="*/ 80 w 156"/>
                  <a:gd name="T55" fmla="*/ 27 h 70"/>
                  <a:gd name="T56" fmla="*/ 65 w 156"/>
                  <a:gd name="T57" fmla="*/ 36 h 70"/>
                  <a:gd name="T58" fmla="*/ 63 w 156"/>
                  <a:gd name="T59" fmla="*/ 36 h 70"/>
                  <a:gd name="T60" fmla="*/ 62 w 156"/>
                  <a:gd name="T61" fmla="*/ 34 h 70"/>
                  <a:gd name="T62" fmla="*/ 62 w 156"/>
                  <a:gd name="T63" fmla="*/ 16 h 70"/>
                  <a:gd name="T64" fmla="*/ 41 w 156"/>
                  <a:gd name="T65" fmla="*/ 4 h 70"/>
                  <a:gd name="T66" fmla="*/ 6 w 156"/>
                  <a:gd name="T67" fmla="*/ 2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6" h="70">
                    <a:moveTo>
                      <a:pt x="78" y="70"/>
                    </a:moveTo>
                    <a:cubicBezTo>
                      <a:pt x="78" y="70"/>
                      <a:pt x="78" y="70"/>
                      <a:pt x="77" y="69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5"/>
                      <a:pt x="0" y="25"/>
                      <a:pt x="0" y="24"/>
                    </a:cubicBezTo>
                    <a:cubicBezTo>
                      <a:pt x="0" y="23"/>
                      <a:pt x="1" y="23"/>
                      <a:pt x="1" y="22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41" y="0"/>
                      <a:pt x="42" y="0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6" y="14"/>
                      <a:pt x="66" y="15"/>
                      <a:pt x="66" y="15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79" y="23"/>
                      <a:pt x="79" y="23"/>
                      <a:pt x="79" y="23"/>
                    </a:cubicBezTo>
                    <a:cubicBezTo>
                      <a:pt x="79" y="23"/>
                      <a:pt x="80" y="23"/>
                      <a:pt x="80" y="23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7" y="1"/>
                      <a:pt x="118" y="1"/>
                      <a:pt x="119" y="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6" y="23"/>
                      <a:pt x="156" y="23"/>
                      <a:pt x="156" y="24"/>
                    </a:cubicBezTo>
                    <a:cubicBezTo>
                      <a:pt x="156" y="25"/>
                      <a:pt x="156" y="25"/>
                      <a:pt x="155" y="26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79" y="70"/>
                      <a:pt x="79" y="70"/>
                      <a:pt x="78" y="70"/>
                    </a:cubicBezTo>
                    <a:close/>
                    <a:moveTo>
                      <a:pt x="6" y="24"/>
                    </a:moveTo>
                    <a:cubicBezTo>
                      <a:pt x="78" y="65"/>
                      <a:pt x="78" y="65"/>
                      <a:pt x="78" y="65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18" y="5"/>
                      <a:pt x="118" y="5"/>
                      <a:pt x="118" y="5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83" y="26"/>
                      <a:pt x="83" y="26"/>
                      <a:pt x="82" y="27"/>
                    </a:cubicBezTo>
                    <a:cubicBezTo>
                      <a:pt x="82" y="27"/>
                      <a:pt x="81" y="27"/>
                      <a:pt x="80" y="27"/>
                    </a:cubicBezTo>
                    <a:cubicBezTo>
                      <a:pt x="80" y="27"/>
                      <a:pt x="80" y="27"/>
                      <a:pt x="80" y="27"/>
                    </a:cubicBezTo>
                    <a:cubicBezTo>
                      <a:pt x="65" y="36"/>
                      <a:pt x="65" y="36"/>
                      <a:pt x="65" y="36"/>
                    </a:cubicBezTo>
                    <a:cubicBezTo>
                      <a:pt x="64" y="36"/>
                      <a:pt x="64" y="36"/>
                      <a:pt x="63" y="36"/>
                    </a:cubicBezTo>
                    <a:cubicBezTo>
                      <a:pt x="62" y="35"/>
                      <a:pt x="62" y="34"/>
                      <a:pt x="62" y="34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41" y="4"/>
                      <a:pt x="41" y="4"/>
                      <a:pt x="41" y="4"/>
                    </a:cubicBez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2" name="Freeform 841">
                <a:extLst>
                  <a:ext uri="{FF2B5EF4-FFF2-40B4-BE49-F238E27FC236}">
                    <a16:creationId xmlns:a16="http://schemas.microsoft.com/office/drawing/2014/main" id="{330CCD81-04FA-4D62-9591-6E6B84B3F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569511" y="5925883"/>
                <a:ext cx="129693" cy="208545"/>
              </a:xfrm>
              <a:custGeom>
                <a:avLst/>
                <a:gdLst>
                  <a:gd name="T0" fmla="*/ 39 w 53"/>
                  <a:gd name="T1" fmla="*/ 85 h 85"/>
                  <a:gd name="T2" fmla="*/ 38 w 53"/>
                  <a:gd name="T3" fmla="*/ 85 h 85"/>
                  <a:gd name="T4" fmla="*/ 1 w 53"/>
                  <a:gd name="T5" fmla="*/ 64 h 85"/>
                  <a:gd name="T6" fmla="*/ 0 w 53"/>
                  <a:gd name="T7" fmla="*/ 62 h 85"/>
                  <a:gd name="T8" fmla="*/ 0 w 53"/>
                  <a:gd name="T9" fmla="*/ 30 h 85"/>
                  <a:gd name="T10" fmla="*/ 1 w 53"/>
                  <a:gd name="T11" fmla="*/ 28 h 85"/>
                  <a:gd name="T12" fmla="*/ 50 w 53"/>
                  <a:gd name="T13" fmla="*/ 0 h 85"/>
                  <a:gd name="T14" fmla="*/ 52 w 53"/>
                  <a:gd name="T15" fmla="*/ 0 h 85"/>
                  <a:gd name="T16" fmla="*/ 53 w 53"/>
                  <a:gd name="T17" fmla="*/ 2 h 85"/>
                  <a:gd name="T18" fmla="*/ 53 w 53"/>
                  <a:gd name="T19" fmla="*/ 76 h 85"/>
                  <a:gd name="T20" fmla="*/ 52 w 53"/>
                  <a:gd name="T21" fmla="*/ 78 h 85"/>
                  <a:gd name="T22" fmla="*/ 40 w 53"/>
                  <a:gd name="T23" fmla="*/ 85 h 85"/>
                  <a:gd name="T24" fmla="*/ 39 w 53"/>
                  <a:gd name="T25" fmla="*/ 85 h 85"/>
                  <a:gd name="T26" fmla="*/ 4 w 53"/>
                  <a:gd name="T27" fmla="*/ 61 h 85"/>
                  <a:gd name="T28" fmla="*/ 39 w 53"/>
                  <a:gd name="T29" fmla="*/ 81 h 85"/>
                  <a:gd name="T30" fmla="*/ 49 w 53"/>
                  <a:gd name="T31" fmla="*/ 75 h 85"/>
                  <a:gd name="T32" fmla="*/ 49 w 53"/>
                  <a:gd name="T33" fmla="*/ 5 h 85"/>
                  <a:gd name="T34" fmla="*/ 4 w 53"/>
                  <a:gd name="T35" fmla="*/ 31 h 85"/>
                  <a:gd name="T36" fmla="*/ 4 w 53"/>
                  <a:gd name="T37" fmla="*/ 6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3" h="85">
                    <a:moveTo>
                      <a:pt x="39" y="85"/>
                    </a:moveTo>
                    <a:cubicBezTo>
                      <a:pt x="38" y="85"/>
                      <a:pt x="38" y="85"/>
                      <a:pt x="38" y="85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1" y="29"/>
                      <a:pt x="1" y="28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0"/>
                      <a:pt x="51" y="0"/>
                      <a:pt x="52" y="0"/>
                    </a:cubicBezTo>
                    <a:cubicBezTo>
                      <a:pt x="52" y="1"/>
                      <a:pt x="53" y="1"/>
                      <a:pt x="53" y="2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2" y="77"/>
                      <a:pt x="52" y="78"/>
                    </a:cubicBezTo>
                    <a:cubicBezTo>
                      <a:pt x="40" y="85"/>
                      <a:pt x="40" y="85"/>
                      <a:pt x="40" y="85"/>
                    </a:cubicBezTo>
                    <a:cubicBezTo>
                      <a:pt x="39" y="85"/>
                      <a:pt x="39" y="85"/>
                      <a:pt x="39" y="85"/>
                    </a:cubicBezTo>
                    <a:close/>
                    <a:moveTo>
                      <a:pt x="4" y="61"/>
                    </a:moveTo>
                    <a:cubicBezTo>
                      <a:pt x="39" y="81"/>
                      <a:pt x="39" y="81"/>
                      <a:pt x="39" y="81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4" y="6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3" name="Freeform 842">
                <a:extLst>
                  <a:ext uri="{FF2B5EF4-FFF2-40B4-BE49-F238E27FC236}">
                    <a16:creationId xmlns:a16="http://schemas.microsoft.com/office/drawing/2014/main" id="{EC3D9301-509A-4340-B717-F3DE30FB80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55872" y="5641597"/>
                <a:ext cx="242785" cy="136955"/>
              </a:xfrm>
              <a:custGeom>
                <a:avLst/>
                <a:gdLst>
                  <a:gd name="T0" fmla="*/ 82 w 99"/>
                  <a:gd name="T1" fmla="*/ 56 h 56"/>
                  <a:gd name="T2" fmla="*/ 81 w 99"/>
                  <a:gd name="T3" fmla="*/ 56 h 56"/>
                  <a:gd name="T4" fmla="*/ 60 w 99"/>
                  <a:gd name="T5" fmla="*/ 44 h 56"/>
                  <a:gd name="T6" fmla="*/ 41 w 99"/>
                  <a:gd name="T7" fmla="*/ 55 h 56"/>
                  <a:gd name="T8" fmla="*/ 39 w 99"/>
                  <a:gd name="T9" fmla="*/ 55 h 56"/>
                  <a:gd name="T10" fmla="*/ 1 w 99"/>
                  <a:gd name="T11" fmla="*/ 33 h 56"/>
                  <a:gd name="T12" fmla="*/ 0 w 99"/>
                  <a:gd name="T13" fmla="*/ 31 h 56"/>
                  <a:gd name="T14" fmla="*/ 1 w 99"/>
                  <a:gd name="T15" fmla="*/ 30 h 56"/>
                  <a:gd name="T16" fmla="*/ 44 w 99"/>
                  <a:gd name="T17" fmla="*/ 5 h 56"/>
                  <a:gd name="T18" fmla="*/ 44 w 99"/>
                  <a:gd name="T19" fmla="*/ 2 h 56"/>
                  <a:gd name="T20" fmla="*/ 45 w 99"/>
                  <a:gd name="T21" fmla="*/ 1 h 56"/>
                  <a:gd name="T22" fmla="*/ 47 w 99"/>
                  <a:gd name="T23" fmla="*/ 1 h 56"/>
                  <a:gd name="T24" fmla="*/ 98 w 99"/>
                  <a:gd name="T25" fmla="*/ 30 h 56"/>
                  <a:gd name="T26" fmla="*/ 99 w 99"/>
                  <a:gd name="T27" fmla="*/ 32 h 56"/>
                  <a:gd name="T28" fmla="*/ 98 w 99"/>
                  <a:gd name="T29" fmla="*/ 34 h 56"/>
                  <a:gd name="T30" fmla="*/ 84 w 99"/>
                  <a:gd name="T31" fmla="*/ 41 h 56"/>
                  <a:gd name="T32" fmla="*/ 84 w 99"/>
                  <a:gd name="T33" fmla="*/ 54 h 56"/>
                  <a:gd name="T34" fmla="*/ 83 w 99"/>
                  <a:gd name="T35" fmla="*/ 56 h 56"/>
                  <a:gd name="T36" fmla="*/ 82 w 99"/>
                  <a:gd name="T37" fmla="*/ 56 h 56"/>
                  <a:gd name="T38" fmla="*/ 60 w 99"/>
                  <a:gd name="T39" fmla="*/ 40 h 56"/>
                  <a:gd name="T40" fmla="*/ 61 w 99"/>
                  <a:gd name="T41" fmla="*/ 40 h 56"/>
                  <a:gd name="T42" fmla="*/ 80 w 99"/>
                  <a:gd name="T43" fmla="*/ 51 h 56"/>
                  <a:gd name="T44" fmla="*/ 80 w 99"/>
                  <a:gd name="T45" fmla="*/ 40 h 56"/>
                  <a:gd name="T46" fmla="*/ 81 w 99"/>
                  <a:gd name="T47" fmla="*/ 38 h 56"/>
                  <a:gd name="T48" fmla="*/ 93 w 99"/>
                  <a:gd name="T49" fmla="*/ 32 h 56"/>
                  <a:gd name="T50" fmla="*/ 48 w 99"/>
                  <a:gd name="T51" fmla="*/ 6 h 56"/>
                  <a:gd name="T52" fmla="*/ 48 w 99"/>
                  <a:gd name="T53" fmla="*/ 6 h 56"/>
                  <a:gd name="T54" fmla="*/ 47 w 99"/>
                  <a:gd name="T55" fmla="*/ 8 h 56"/>
                  <a:gd name="T56" fmla="*/ 6 w 99"/>
                  <a:gd name="T57" fmla="*/ 31 h 56"/>
                  <a:gd name="T58" fmla="*/ 40 w 99"/>
                  <a:gd name="T59" fmla="*/ 51 h 56"/>
                  <a:gd name="T60" fmla="*/ 59 w 99"/>
                  <a:gd name="T61" fmla="*/ 40 h 56"/>
                  <a:gd name="T62" fmla="*/ 60 w 99"/>
                  <a:gd name="T63" fmla="*/ 4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" h="56">
                    <a:moveTo>
                      <a:pt x="82" y="56"/>
                    </a:moveTo>
                    <a:cubicBezTo>
                      <a:pt x="82" y="56"/>
                      <a:pt x="82" y="56"/>
                      <a:pt x="81" y="56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1" y="55"/>
                      <a:pt x="40" y="55"/>
                      <a:pt x="39" y="55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3"/>
                      <a:pt x="0" y="32"/>
                      <a:pt x="0" y="31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1"/>
                      <a:pt x="45" y="1"/>
                    </a:cubicBezTo>
                    <a:cubicBezTo>
                      <a:pt x="46" y="0"/>
                      <a:pt x="46" y="0"/>
                      <a:pt x="47" y="1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9" y="30"/>
                      <a:pt x="99" y="31"/>
                      <a:pt x="99" y="32"/>
                    </a:cubicBezTo>
                    <a:cubicBezTo>
                      <a:pt x="99" y="33"/>
                      <a:pt x="99" y="33"/>
                      <a:pt x="98" y="34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4" y="55"/>
                      <a:pt x="84" y="56"/>
                      <a:pt x="83" y="56"/>
                    </a:cubicBezTo>
                    <a:cubicBezTo>
                      <a:pt x="83" y="56"/>
                      <a:pt x="83" y="56"/>
                      <a:pt x="82" y="56"/>
                    </a:cubicBezTo>
                    <a:close/>
                    <a:moveTo>
                      <a:pt x="60" y="40"/>
                    </a:moveTo>
                    <a:cubicBezTo>
                      <a:pt x="61" y="40"/>
                      <a:pt x="61" y="40"/>
                      <a:pt x="61" y="40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80" y="40"/>
                      <a:pt x="81" y="39"/>
                      <a:pt x="81" y="38"/>
                    </a:cubicBezTo>
                    <a:cubicBezTo>
                      <a:pt x="93" y="32"/>
                      <a:pt x="93" y="32"/>
                      <a:pt x="93" y="32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7"/>
                      <a:pt x="48" y="8"/>
                      <a:pt x="47" y="8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60" y="40"/>
                      <a:pt x="60" y="40"/>
                      <a:pt x="60" y="4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4" name="Freeform 843">
                <a:extLst>
                  <a:ext uri="{FF2B5EF4-FFF2-40B4-BE49-F238E27FC236}">
                    <a16:creationId xmlns:a16="http://schemas.microsoft.com/office/drawing/2014/main" id="{4322D447-B3AD-47A8-8749-B40F4A2662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03750" y="6077364"/>
                <a:ext cx="95454" cy="107904"/>
              </a:xfrm>
              <a:custGeom>
                <a:avLst/>
                <a:gdLst>
                  <a:gd name="T0" fmla="*/ 2 w 39"/>
                  <a:gd name="T1" fmla="*/ 44 h 44"/>
                  <a:gd name="T2" fmla="*/ 1 w 39"/>
                  <a:gd name="T3" fmla="*/ 44 h 44"/>
                  <a:gd name="T4" fmla="*/ 0 w 39"/>
                  <a:gd name="T5" fmla="*/ 42 h 44"/>
                  <a:gd name="T6" fmla="*/ 0 w 39"/>
                  <a:gd name="T7" fmla="*/ 2 h 44"/>
                  <a:gd name="T8" fmla="*/ 1 w 39"/>
                  <a:gd name="T9" fmla="*/ 0 h 44"/>
                  <a:gd name="T10" fmla="*/ 3 w 39"/>
                  <a:gd name="T11" fmla="*/ 0 h 44"/>
                  <a:gd name="T12" fmla="*/ 38 w 39"/>
                  <a:gd name="T13" fmla="*/ 20 h 44"/>
                  <a:gd name="T14" fmla="*/ 39 w 39"/>
                  <a:gd name="T15" fmla="*/ 22 h 44"/>
                  <a:gd name="T16" fmla="*/ 38 w 39"/>
                  <a:gd name="T17" fmla="*/ 24 h 44"/>
                  <a:gd name="T18" fmla="*/ 3 w 39"/>
                  <a:gd name="T19" fmla="*/ 44 h 44"/>
                  <a:gd name="T20" fmla="*/ 2 w 39"/>
                  <a:gd name="T21" fmla="*/ 44 h 44"/>
                  <a:gd name="T22" fmla="*/ 4 w 39"/>
                  <a:gd name="T23" fmla="*/ 5 h 44"/>
                  <a:gd name="T24" fmla="*/ 4 w 39"/>
                  <a:gd name="T25" fmla="*/ 39 h 44"/>
                  <a:gd name="T26" fmla="*/ 33 w 39"/>
                  <a:gd name="T27" fmla="*/ 22 h 44"/>
                  <a:gd name="T28" fmla="*/ 4 w 39"/>
                  <a:gd name="T2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44">
                    <a:moveTo>
                      <a:pt x="2" y="44"/>
                    </a:moveTo>
                    <a:cubicBezTo>
                      <a:pt x="2" y="44"/>
                      <a:pt x="1" y="44"/>
                      <a:pt x="1" y="44"/>
                    </a:cubicBezTo>
                    <a:cubicBezTo>
                      <a:pt x="1" y="43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9" y="21"/>
                      <a:pt x="39" y="21"/>
                      <a:pt x="39" y="22"/>
                    </a:cubicBezTo>
                    <a:cubicBezTo>
                      <a:pt x="39" y="23"/>
                      <a:pt x="39" y="23"/>
                      <a:pt x="38" y="2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3" y="44"/>
                      <a:pt x="3" y="44"/>
                      <a:pt x="2" y="44"/>
                    </a:cubicBezTo>
                    <a:close/>
                    <a:moveTo>
                      <a:pt x="4" y="5"/>
                    </a:moveTo>
                    <a:cubicBezTo>
                      <a:pt x="4" y="39"/>
                      <a:pt x="4" y="39"/>
                      <a:pt x="4" y="39"/>
                    </a:cubicBezTo>
                    <a:cubicBezTo>
                      <a:pt x="33" y="22"/>
                      <a:pt x="33" y="22"/>
                      <a:pt x="33" y="22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5" name="Freeform 844">
                <a:extLst>
                  <a:ext uri="{FF2B5EF4-FFF2-40B4-BE49-F238E27FC236}">
                    <a16:creationId xmlns:a16="http://schemas.microsoft.com/office/drawing/2014/main" id="{93708989-915B-44E8-A3F8-4AC72A4A68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14371" y="5850142"/>
                <a:ext cx="73665" cy="58102"/>
              </a:xfrm>
              <a:custGeom>
                <a:avLst/>
                <a:gdLst>
                  <a:gd name="T0" fmla="*/ 11 w 30"/>
                  <a:gd name="T1" fmla="*/ 24 h 24"/>
                  <a:gd name="T2" fmla="*/ 10 w 30"/>
                  <a:gd name="T3" fmla="*/ 24 h 24"/>
                  <a:gd name="T4" fmla="*/ 1 w 30"/>
                  <a:gd name="T5" fmla="*/ 19 h 24"/>
                  <a:gd name="T6" fmla="*/ 0 w 30"/>
                  <a:gd name="T7" fmla="*/ 17 h 24"/>
                  <a:gd name="T8" fmla="*/ 1 w 30"/>
                  <a:gd name="T9" fmla="*/ 15 h 24"/>
                  <a:gd name="T10" fmla="*/ 27 w 30"/>
                  <a:gd name="T11" fmla="*/ 0 h 24"/>
                  <a:gd name="T12" fmla="*/ 29 w 30"/>
                  <a:gd name="T13" fmla="*/ 0 h 24"/>
                  <a:gd name="T14" fmla="*/ 30 w 30"/>
                  <a:gd name="T15" fmla="*/ 2 h 24"/>
                  <a:gd name="T16" fmla="*/ 30 w 30"/>
                  <a:gd name="T17" fmla="*/ 13 h 24"/>
                  <a:gd name="T18" fmla="*/ 29 w 30"/>
                  <a:gd name="T19" fmla="*/ 14 h 24"/>
                  <a:gd name="T20" fmla="*/ 14 w 30"/>
                  <a:gd name="T21" fmla="*/ 23 h 24"/>
                  <a:gd name="T22" fmla="*/ 13 w 30"/>
                  <a:gd name="T23" fmla="*/ 24 h 24"/>
                  <a:gd name="T24" fmla="*/ 13 w 30"/>
                  <a:gd name="T25" fmla="*/ 24 h 24"/>
                  <a:gd name="T26" fmla="*/ 12 w 30"/>
                  <a:gd name="T27" fmla="*/ 24 h 24"/>
                  <a:gd name="T28" fmla="*/ 11 w 30"/>
                  <a:gd name="T29" fmla="*/ 24 h 24"/>
                  <a:gd name="T30" fmla="*/ 6 w 30"/>
                  <a:gd name="T31" fmla="*/ 17 h 24"/>
                  <a:gd name="T32" fmla="*/ 10 w 30"/>
                  <a:gd name="T33" fmla="*/ 19 h 24"/>
                  <a:gd name="T34" fmla="*/ 11 w 30"/>
                  <a:gd name="T35" fmla="*/ 19 h 24"/>
                  <a:gd name="T36" fmla="*/ 13 w 30"/>
                  <a:gd name="T37" fmla="*/ 19 h 24"/>
                  <a:gd name="T38" fmla="*/ 13 w 30"/>
                  <a:gd name="T39" fmla="*/ 19 h 24"/>
                  <a:gd name="T40" fmla="*/ 26 w 30"/>
                  <a:gd name="T41" fmla="*/ 11 h 24"/>
                  <a:gd name="T42" fmla="*/ 26 w 30"/>
                  <a:gd name="T43" fmla="*/ 5 h 24"/>
                  <a:gd name="T44" fmla="*/ 6 w 30"/>
                  <a:gd name="T45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4">
                    <a:moveTo>
                      <a:pt x="11" y="24"/>
                    </a:moveTo>
                    <a:cubicBezTo>
                      <a:pt x="11" y="24"/>
                      <a:pt x="11" y="24"/>
                      <a:pt x="10" y="24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8" y="0"/>
                      <a:pt x="29" y="0"/>
                      <a:pt x="29" y="0"/>
                    </a:cubicBezTo>
                    <a:cubicBezTo>
                      <a:pt x="30" y="0"/>
                      <a:pt x="30" y="1"/>
                      <a:pt x="30" y="2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3"/>
                      <a:pt x="30" y="14"/>
                      <a:pt x="29" y="14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4"/>
                      <a:pt x="13" y="24"/>
                      <a:pt x="13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2" y="24"/>
                      <a:pt x="11" y="24"/>
                    </a:cubicBezTo>
                    <a:close/>
                    <a:moveTo>
                      <a:pt x="6" y="17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9"/>
                    </a:cubicBezTo>
                    <a:cubicBezTo>
                      <a:pt x="11" y="19"/>
                      <a:pt x="12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5"/>
                      <a:pt x="26" y="5"/>
                      <a:pt x="26" y="5"/>
                    </a:cubicBez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6" name="Freeform 845">
                <a:extLst>
                  <a:ext uri="{FF2B5EF4-FFF2-40B4-BE49-F238E27FC236}">
                    <a16:creationId xmlns:a16="http://schemas.microsoft.com/office/drawing/2014/main" id="{8BCC7D75-8694-4265-B9B2-8C12B9B298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86753" y="5531618"/>
                <a:ext cx="304000" cy="190907"/>
              </a:xfrm>
              <a:custGeom>
                <a:avLst/>
                <a:gdLst>
                  <a:gd name="T0" fmla="*/ 55 w 124"/>
                  <a:gd name="T1" fmla="*/ 78 h 78"/>
                  <a:gd name="T2" fmla="*/ 54 w 124"/>
                  <a:gd name="T3" fmla="*/ 78 h 78"/>
                  <a:gd name="T4" fmla="*/ 1 w 124"/>
                  <a:gd name="T5" fmla="*/ 47 h 78"/>
                  <a:gd name="T6" fmla="*/ 0 w 124"/>
                  <a:gd name="T7" fmla="*/ 46 h 78"/>
                  <a:gd name="T8" fmla="*/ 0 w 124"/>
                  <a:gd name="T9" fmla="*/ 34 h 78"/>
                  <a:gd name="T10" fmla="*/ 1 w 124"/>
                  <a:gd name="T11" fmla="*/ 32 h 78"/>
                  <a:gd name="T12" fmla="*/ 56 w 124"/>
                  <a:gd name="T13" fmla="*/ 0 h 78"/>
                  <a:gd name="T14" fmla="*/ 58 w 124"/>
                  <a:gd name="T15" fmla="*/ 0 h 78"/>
                  <a:gd name="T16" fmla="*/ 123 w 124"/>
                  <a:gd name="T17" fmla="*/ 38 h 78"/>
                  <a:gd name="T18" fmla="*/ 124 w 124"/>
                  <a:gd name="T19" fmla="*/ 40 h 78"/>
                  <a:gd name="T20" fmla="*/ 123 w 124"/>
                  <a:gd name="T21" fmla="*/ 41 h 78"/>
                  <a:gd name="T22" fmla="*/ 107 w 124"/>
                  <a:gd name="T23" fmla="*/ 51 h 78"/>
                  <a:gd name="T24" fmla="*/ 105 w 124"/>
                  <a:gd name="T25" fmla="*/ 51 h 78"/>
                  <a:gd name="T26" fmla="*/ 104 w 124"/>
                  <a:gd name="T27" fmla="*/ 50 h 78"/>
                  <a:gd name="T28" fmla="*/ 56 w 124"/>
                  <a:gd name="T29" fmla="*/ 78 h 78"/>
                  <a:gd name="T30" fmla="*/ 55 w 124"/>
                  <a:gd name="T31" fmla="*/ 78 h 78"/>
                  <a:gd name="T32" fmla="*/ 4 w 124"/>
                  <a:gd name="T33" fmla="*/ 44 h 78"/>
                  <a:gd name="T34" fmla="*/ 55 w 124"/>
                  <a:gd name="T35" fmla="*/ 74 h 78"/>
                  <a:gd name="T36" fmla="*/ 105 w 124"/>
                  <a:gd name="T37" fmla="*/ 45 h 78"/>
                  <a:gd name="T38" fmla="*/ 107 w 124"/>
                  <a:gd name="T39" fmla="*/ 45 h 78"/>
                  <a:gd name="T40" fmla="*/ 108 w 124"/>
                  <a:gd name="T41" fmla="*/ 45 h 78"/>
                  <a:gd name="T42" fmla="*/ 118 w 124"/>
                  <a:gd name="T43" fmla="*/ 40 h 78"/>
                  <a:gd name="T44" fmla="*/ 57 w 124"/>
                  <a:gd name="T45" fmla="*/ 4 h 78"/>
                  <a:gd name="T46" fmla="*/ 4 w 124"/>
                  <a:gd name="T47" fmla="*/ 35 h 78"/>
                  <a:gd name="T48" fmla="*/ 4 w 124"/>
                  <a:gd name="T49" fmla="*/ 4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78">
                    <a:moveTo>
                      <a:pt x="55" y="78"/>
                    </a:moveTo>
                    <a:cubicBezTo>
                      <a:pt x="54" y="78"/>
                      <a:pt x="54" y="78"/>
                      <a:pt x="54" y="78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7"/>
                      <a:pt x="0" y="46"/>
                      <a:pt x="0" y="4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7" y="0"/>
                      <a:pt x="58" y="0"/>
                    </a:cubicBezTo>
                    <a:cubicBezTo>
                      <a:pt x="123" y="38"/>
                      <a:pt x="123" y="38"/>
                      <a:pt x="123" y="38"/>
                    </a:cubicBezTo>
                    <a:cubicBezTo>
                      <a:pt x="124" y="38"/>
                      <a:pt x="124" y="39"/>
                      <a:pt x="124" y="40"/>
                    </a:cubicBezTo>
                    <a:cubicBezTo>
                      <a:pt x="124" y="40"/>
                      <a:pt x="124" y="41"/>
                      <a:pt x="123" y="41"/>
                    </a:cubicBezTo>
                    <a:cubicBezTo>
                      <a:pt x="107" y="51"/>
                      <a:pt x="107" y="51"/>
                      <a:pt x="107" y="51"/>
                    </a:cubicBezTo>
                    <a:cubicBezTo>
                      <a:pt x="106" y="51"/>
                      <a:pt x="105" y="51"/>
                      <a:pt x="105" y="51"/>
                    </a:cubicBezTo>
                    <a:cubicBezTo>
                      <a:pt x="104" y="50"/>
                      <a:pt x="104" y="50"/>
                      <a:pt x="104" y="50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5" y="78"/>
                      <a:pt x="55" y="78"/>
                      <a:pt x="55" y="78"/>
                    </a:cubicBezTo>
                    <a:close/>
                    <a:moveTo>
                      <a:pt x="4" y="44"/>
                    </a:moveTo>
                    <a:cubicBezTo>
                      <a:pt x="55" y="74"/>
                      <a:pt x="55" y="74"/>
                      <a:pt x="55" y="74"/>
                    </a:cubicBezTo>
                    <a:cubicBezTo>
                      <a:pt x="105" y="45"/>
                      <a:pt x="105" y="45"/>
                      <a:pt x="105" y="45"/>
                    </a:cubicBezTo>
                    <a:cubicBezTo>
                      <a:pt x="105" y="44"/>
                      <a:pt x="106" y="44"/>
                      <a:pt x="107" y="45"/>
                    </a:cubicBezTo>
                    <a:cubicBezTo>
                      <a:pt x="107" y="45"/>
                      <a:pt x="107" y="45"/>
                      <a:pt x="108" y="45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4" y="35"/>
                      <a:pt x="4" y="35"/>
                      <a:pt x="4" y="35"/>
                    </a:cubicBezTo>
                    <a:lnTo>
                      <a:pt x="4" y="4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7" name="Freeform 846">
                <a:extLst>
                  <a:ext uri="{FF2B5EF4-FFF2-40B4-BE49-F238E27FC236}">
                    <a16:creationId xmlns:a16="http://schemas.microsoft.com/office/drawing/2014/main" id="{3F66450D-460A-4590-B37C-951DFF5D09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9208" y="5274308"/>
                <a:ext cx="86116" cy="63290"/>
              </a:xfrm>
              <a:custGeom>
                <a:avLst/>
                <a:gdLst>
                  <a:gd name="T0" fmla="*/ 2 w 35"/>
                  <a:gd name="T1" fmla="*/ 26 h 26"/>
                  <a:gd name="T2" fmla="*/ 1 w 35"/>
                  <a:gd name="T3" fmla="*/ 26 h 26"/>
                  <a:gd name="T4" fmla="*/ 0 w 35"/>
                  <a:gd name="T5" fmla="*/ 24 h 26"/>
                  <a:gd name="T6" fmla="*/ 0 w 35"/>
                  <a:gd name="T7" fmla="*/ 16 h 26"/>
                  <a:gd name="T8" fmla="*/ 1 w 35"/>
                  <a:gd name="T9" fmla="*/ 15 h 26"/>
                  <a:gd name="T10" fmla="*/ 26 w 35"/>
                  <a:gd name="T11" fmla="*/ 1 h 26"/>
                  <a:gd name="T12" fmla="*/ 28 w 35"/>
                  <a:gd name="T13" fmla="*/ 1 h 26"/>
                  <a:gd name="T14" fmla="*/ 34 w 35"/>
                  <a:gd name="T15" fmla="*/ 5 h 26"/>
                  <a:gd name="T16" fmla="*/ 35 w 35"/>
                  <a:gd name="T17" fmla="*/ 6 h 26"/>
                  <a:gd name="T18" fmla="*/ 34 w 35"/>
                  <a:gd name="T19" fmla="*/ 8 h 26"/>
                  <a:gd name="T20" fmla="*/ 3 w 35"/>
                  <a:gd name="T21" fmla="*/ 26 h 26"/>
                  <a:gd name="T22" fmla="*/ 2 w 35"/>
                  <a:gd name="T23" fmla="*/ 26 h 26"/>
                  <a:gd name="T24" fmla="*/ 4 w 35"/>
                  <a:gd name="T25" fmla="*/ 18 h 26"/>
                  <a:gd name="T26" fmla="*/ 4 w 35"/>
                  <a:gd name="T27" fmla="*/ 21 h 26"/>
                  <a:gd name="T28" fmla="*/ 29 w 35"/>
                  <a:gd name="T29" fmla="*/ 6 h 26"/>
                  <a:gd name="T30" fmla="*/ 27 w 35"/>
                  <a:gd name="T31" fmla="*/ 5 h 26"/>
                  <a:gd name="T32" fmla="*/ 4 w 35"/>
                  <a:gd name="T33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6">
                    <a:moveTo>
                      <a:pt x="2" y="26"/>
                    </a:moveTo>
                    <a:cubicBezTo>
                      <a:pt x="2" y="26"/>
                      <a:pt x="2" y="26"/>
                      <a:pt x="1" y="26"/>
                    </a:cubicBezTo>
                    <a:cubicBezTo>
                      <a:pt x="1" y="26"/>
                      <a:pt x="0" y="25"/>
                      <a:pt x="0" y="2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0"/>
                      <a:pt x="27" y="0"/>
                      <a:pt x="28" y="1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5" y="5"/>
                      <a:pt x="35" y="6"/>
                      <a:pt x="35" y="6"/>
                    </a:cubicBezTo>
                    <a:cubicBezTo>
                      <a:pt x="35" y="7"/>
                      <a:pt x="35" y="8"/>
                      <a:pt x="34" y="8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2" y="26"/>
                    </a:cubicBezTo>
                    <a:close/>
                    <a:moveTo>
                      <a:pt x="4" y="18"/>
                    </a:moveTo>
                    <a:cubicBezTo>
                      <a:pt x="4" y="21"/>
                      <a:pt x="4" y="21"/>
                      <a:pt x="4" y="21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8" name="Freeform 847">
                <a:extLst>
                  <a:ext uri="{FF2B5EF4-FFF2-40B4-BE49-F238E27FC236}">
                    <a16:creationId xmlns:a16="http://schemas.microsoft.com/office/drawing/2014/main" id="{DEB0D775-0778-4A7F-83C7-D605ED2BD3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68964" y="5815904"/>
                <a:ext cx="112054" cy="102716"/>
              </a:xfrm>
              <a:custGeom>
                <a:avLst/>
                <a:gdLst>
                  <a:gd name="T0" fmla="*/ 44 w 46"/>
                  <a:gd name="T1" fmla="*/ 42 h 42"/>
                  <a:gd name="T2" fmla="*/ 43 w 46"/>
                  <a:gd name="T3" fmla="*/ 41 h 42"/>
                  <a:gd name="T4" fmla="*/ 1 w 46"/>
                  <a:gd name="T5" fmla="*/ 17 h 42"/>
                  <a:gd name="T6" fmla="*/ 0 w 46"/>
                  <a:gd name="T7" fmla="*/ 16 h 42"/>
                  <a:gd name="T8" fmla="*/ 1 w 46"/>
                  <a:gd name="T9" fmla="*/ 14 h 42"/>
                  <a:gd name="T10" fmla="*/ 26 w 46"/>
                  <a:gd name="T11" fmla="*/ 0 h 42"/>
                  <a:gd name="T12" fmla="*/ 28 w 46"/>
                  <a:gd name="T13" fmla="*/ 0 h 42"/>
                  <a:gd name="T14" fmla="*/ 45 w 46"/>
                  <a:gd name="T15" fmla="*/ 10 h 42"/>
                  <a:gd name="T16" fmla="*/ 46 w 46"/>
                  <a:gd name="T17" fmla="*/ 11 h 42"/>
                  <a:gd name="T18" fmla="*/ 46 w 46"/>
                  <a:gd name="T19" fmla="*/ 40 h 42"/>
                  <a:gd name="T20" fmla="*/ 45 w 46"/>
                  <a:gd name="T21" fmla="*/ 41 h 42"/>
                  <a:gd name="T22" fmla="*/ 44 w 46"/>
                  <a:gd name="T23" fmla="*/ 42 h 42"/>
                  <a:gd name="T24" fmla="*/ 6 w 46"/>
                  <a:gd name="T25" fmla="*/ 16 h 42"/>
                  <a:gd name="T26" fmla="*/ 42 w 46"/>
                  <a:gd name="T27" fmla="*/ 36 h 42"/>
                  <a:gd name="T28" fmla="*/ 42 w 46"/>
                  <a:gd name="T29" fmla="*/ 13 h 42"/>
                  <a:gd name="T30" fmla="*/ 27 w 46"/>
                  <a:gd name="T31" fmla="*/ 4 h 42"/>
                  <a:gd name="T32" fmla="*/ 6 w 46"/>
                  <a:gd name="T33" fmla="*/ 1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42">
                    <a:moveTo>
                      <a:pt x="44" y="42"/>
                    </a:moveTo>
                    <a:cubicBezTo>
                      <a:pt x="44" y="42"/>
                      <a:pt x="43" y="42"/>
                      <a:pt x="43" y="4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0" y="16"/>
                      <a:pt x="0" y="16"/>
                    </a:cubicBezTo>
                    <a:cubicBezTo>
                      <a:pt x="0" y="15"/>
                      <a:pt x="1" y="14"/>
                      <a:pt x="1" y="14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7" y="0"/>
                      <a:pt x="27" y="0"/>
                      <a:pt x="28" y="0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1"/>
                    </a:cubicBezTo>
                    <a:cubicBezTo>
                      <a:pt x="46" y="40"/>
                      <a:pt x="46" y="40"/>
                      <a:pt x="46" y="40"/>
                    </a:cubicBezTo>
                    <a:cubicBezTo>
                      <a:pt x="46" y="40"/>
                      <a:pt x="45" y="41"/>
                      <a:pt x="45" y="41"/>
                    </a:cubicBezTo>
                    <a:cubicBezTo>
                      <a:pt x="45" y="42"/>
                      <a:pt x="44" y="42"/>
                      <a:pt x="44" y="42"/>
                    </a:cubicBezTo>
                    <a:close/>
                    <a:moveTo>
                      <a:pt x="6" y="16"/>
                    </a:moveTo>
                    <a:cubicBezTo>
                      <a:pt x="42" y="36"/>
                      <a:pt x="42" y="36"/>
                      <a:pt x="42" y="3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4"/>
                      <a:pt x="27" y="4"/>
                      <a:pt x="27" y="4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9" name="Freeform 848">
                <a:extLst>
                  <a:ext uri="{FF2B5EF4-FFF2-40B4-BE49-F238E27FC236}">
                    <a16:creationId xmlns:a16="http://schemas.microsoft.com/office/drawing/2014/main" id="{6C14BBF4-3360-4970-AE28-2B160014D8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14371" y="5776477"/>
                <a:ext cx="83003" cy="117242"/>
              </a:xfrm>
              <a:custGeom>
                <a:avLst/>
                <a:gdLst>
                  <a:gd name="T0" fmla="*/ 4 w 34"/>
                  <a:gd name="T1" fmla="*/ 48 h 48"/>
                  <a:gd name="T2" fmla="*/ 3 w 34"/>
                  <a:gd name="T3" fmla="*/ 48 h 48"/>
                  <a:gd name="T4" fmla="*/ 1 w 34"/>
                  <a:gd name="T5" fmla="*/ 46 h 48"/>
                  <a:gd name="T6" fmla="*/ 0 w 34"/>
                  <a:gd name="T7" fmla="*/ 45 h 48"/>
                  <a:gd name="T8" fmla="*/ 0 w 34"/>
                  <a:gd name="T9" fmla="*/ 2 h 48"/>
                  <a:gd name="T10" fmla="*/ 1 w 34"/>
                  <a:gd name="T11" fmla="*/ 1 h 48"/>
                  <a:gd name="T12" fmla="*/ 3 w 34"/>
                  <a:gd name="T13" fmla="*/ 1 h 48"/>
                  <a:gd name="T14" fmla="*/ 33 w 34"/>
                  <a:gd name="T15" fmla="*/ 18 h 48"/>
                  <a:gd name="T16" fmla="*/ 34 w 34"/>
                  <a:gd name="T17" fmla="*/ 20 h 48"/>
                  <a:gd name="T18" fmla="*/ 34 w 34"/>
                  <a:gd name="T19" fmla="*/ 30 h 48"/>
                  <a:gd name="T20" fmla="*/ 33 w 34"/>
                  <a:gd name="T21" fmla="*/ 32 h 48"/>
                  <a:gd name="T22" fmla="*/ 5 w 34"/>
                  <a:gd name="T23" fmla="*/ 48 h 48"/>
                  <a:gd name="T24" fmla="*/ 4 w 34"/>
                  <a:gd name="T25" fmla="*/ 48 h 48"/>
                  <a:gd name="T26" fmla="*/ 4 w 34"/>
                  <a:gd name="T27" fmla="*/ 44 h 48"/>
                  <a:gd name="T28" fmla="*/ 4 w 34"/>
                  <a:gd name="T29" fmla="*/ 44 h 48"/>
                  <a:gd name="T30" fmla="*/ 30 w 34"/>
                  <a:gd name="T31" fmla="*/ 29 h 48"/>
                  <a:gd name="T32" fmla="*/ 30 w 34"/>
                  <a:gd name="T33" fmla="*/ 21 h 48"/>
                  <a:gd name="T34" fmla="*/ 4 w 34"/>
                  <a:gd name="T35" fmla="*/ 6 h 48"/>
                  <a:gd name="T36" fmla="*/ 4 w 34"/>
                  <a:gd name="T37" fmla="*/ 44 h 48"/>
                  <a:gd name="T38" fmla="*/ 32 w 34"/>
                  <a:gd name="T39" fmla="*/ 30 h 48"/>
                  <a:gd name="T40" fmla="*/ 32 w 34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48">
                    <a:moveTo>
                      <a:pt x="4" y="48"/>
                    </a:moveTo>
                    <a:cubicBezTo>
                      <a:pt x="4" y="48"/>
                      <a:pt x="4" y="48"/>
                      <a:pt x="3" y="48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6"/>
                      <a:pt x="0" y="45"/>
                      <a:pt x="0" y="4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4" y="18"/>
                      <a:pt x="34" y="19"/>
                      <a:pt x="34" y="2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1"/>
                      <a:pt x="34" y="31"/>
                      <a:pt x="33" y="32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4" y="48"/>
                    </a:cubicBezTo>
                    <a:close/>
                    <a:moveTo>
                      <a:pt x="4" y="44"/>
                    </a:moveTo>
                    <a:cubicBezTo>
                      <a:pt x="4" y="44"/>
                      <a:pt x="4" y="44"/>
                      <a:pt x="4" y="44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44"/>
                    </a:lnTo>
                    <a:close/>
                    <a:moveTo>
                      <a:pt x="32" y="30"/>
                    </a:moveTo>
                    <a:cubicBezTo>
                      <a:pt x="32" y="30"/>
                      <a:pt x="32" y="30"/>
                      <a:pt x="32" y="3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0" name="Freeform 849">
                <a:extLst>
                  <a:ext uri="{FF2B5EF4-FFF2-40B4-BE49-F238E27FC236}">
                    <a16:creationId xmlns:a16="http://schemas.microsoft.com/office/drawing/2014/main" id="{64DAE5DF-B5C4-49DA-9731-7AE63CC479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92186" y="5744313"/>
                <a:ext cx="107904" cy="145256"/>
              </a:xfrm>
              <a:custGeom>
                <a:avLst/>
                <a:gdLst>
                  <a:gd name="T0" fmla="*/ 42 w 44"/>
                  <a:gd name="T1" fmla="*/ 59 h 59"/>
                  <a:gd name="T2" fmla="*/ 41 w 44"/>
                  <a:gd name="T3" fmla="*/ 58 h 59"/>
                  <a:gd name="T4" fmla="*/ 12 w 44"/>
                  <a:gd name="T5" fmla="*/ 41 h 59"/>
                  <a:gd name="T6" fmla="*/ 11 w 44"/>
                  <a:gd name="T7" fmla="*/ 39 h 59"/>
                  <a:gd name="T8" fmla="*/ 11 w 44"/>
                  <a:gd name="T9" fmla="*/ 20 h 59"/>
                  <a:gd name="T10" fmla="*/ 1 w 44"/>
                  <a:gd name="T11" fmla="*/ 14 h 59"/>
                  <a:gd name="T12" fmla="*/ 0 w 44"/>
                  <a:gd name="T13" fmla="*/ 12 h 59"/>
                  <a:gd name="T14" fmla="*/ 1 w 44"/>
                  <a:gd name="T15" fmla="*/ 10 h 59"/>
                  <a:gd name="T16" fmla="*/ 19 w 44"/>
                  <a:gd name="T17" fmla="*/ 0 h 59"/>
                  <a:gd name="T18" fmla="*/ 21 w 44"/>
                  <a:gd name="T19" fmla="*/ 0 h 59"/>
                  <a:gd name="T20" fmla="*/ 43 w 44"/>
                  <a:gd name="T21" fmla="*/ 13 h 59"/>
                  <a:gd name="T22" fmla="*/ 44 w 44"/>
                  <a:gd name="T23" fmla="*/ 14 h 59"/>
                  <a:gd name="T24" fmla="*/ 44 w 44"/>
                  <a:gd name="T25" fmla="*/ 57 h 59"/>
                  <a:gd name="T26" fmla="*/ 43 w 44"/>
                  <a:gd name="T27" fmla="*/ 58 h 59"/>
                  <a:gd name="T28" fmla="*/ 42 w 44"/>
                  <a:gd name="T29" fmla="*/ 59 h 59"/>
                  <a:gd name="T30" fmla="*/ 15 w 44"/>
                  <a:gd name="T31" fmla="*/ 38 h 59"/>
                  <a:gd name="T32" fmla="*/ 40 w 44"/>
                  <a:gd name="T33" fmla="*/ 53 h 59"/>
                  <a:gd name="T34" fmla="*/ 40 w 44"/>
                  <a:gd name="T35" fmla="*/ 16 h 59"/>
                  <a:gd name="T36" fmla="*/ 20 w 44"/>
                  <a:gd name="T37" fmla="*/ 4 h 59"/>
                  <a:gd name="T38" fmla="*/ 6 w 44"/>
                  <a:gd name="T39" fmla="*/ 12 h 59"/>
                  <a:gd name="T40" fmla="*/ 14 w 44"/>
                  <a:gd name="T41" fmla="*/ 17 h 59"/>
                  <a:gd name="T42" fmla="*/ 15 w 44"/>
                  <a:gd name="T43" fmla="*/ 18 h 59"/>
                  <a:gd name="T44" fmla="*/ 15 w 44"/>
                  <a:gd name="T45" fmla="*/ 3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4" h="59">
                    <a:moveTo>
                      <a:pt x="42" y="59"/>
                    </a:moveTo>
                    <a:cubicBezTo>
                      <a:pt x="42" y="59"/>
                      <a:pt x="42" y="59"/>
                      <a:pt x="41" y="58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1" y="41"/>
                      <a:pt x="11" y="40"/>
                      <a:pt x="11" y="39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2"/>
                      <a:pt x="0" y="11"/>
                      <a:pt x="1" y="1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1" y="0"/>
                      <a:pt x="21" y="0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4" y="13"/>
                      <a:pt x="44" y="14"/>
                      <a:pt x="44" y="14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44" y="57"/>
                      <a:pt x="44" y="58"/>
                      <a:pt x="43" y="58"/>
                    </a:cubicBezTo>
                    <a:cubicBezTo>
                      <a:pt x="43" y="59"/>
                      <a:pt x="43" y="59"/>
                      <a:pt x="42" y="59"/>
                    </a:cubicBezTo>
                    <a:close/>
                    <a:moveTo>
                      <a:pt x="15" y="38"/>
                    </a:moveTo>
                    <a:cubicBezTo>
                      <a:pt x="40" y="53"/>
                      <a:pt x="40" y="53"/>
                      <a:pt x="40" y="53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4" y="17"/>
                      <a:pt x="15" y="18"/>
                      <a:pt x="15" y="18"/>
                    </a:cubicBezTo>
                    <a:lnTo>
                      <a:pt x="15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1" name="Freeform 850">
                <a:extLst>
                  <a:ext uri="{FF2B5EF4-FFF2-40B4-BE49-F238E27FC236}">
                    <a16:creationId xmlns:a16="http://schemas.microsoft.com/office/drawing/2014/main" id="{204DEFE8-D36F-4575-941A-3A73ECC0BC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14371" y="5700737"/>
                <a:ext cx="83003" cy="124505"/>
              </a:xfrm>
              <a:custGeom>
                <a:avLst/>
                <a:gdLst>
                  <a:gd name="T0" fmla="*/ 32 w 34"/>
                  <a:gd name="T1" fmla="*/ 51 h 51"/>
                  <a:gd name="T2" fmla="*/ 31 w 34"/>
                  <a:gd name="T3" fmla="*/ 51 h 51"/>
                  <a:gd name="T4" fmla="*/ 1 w 34"/>
                  <a:gd name="T5" fmla="*/ 33 h 51"/>
                  <a:gd name="T6" fmla="*/ 0 w 34"/>
                  <a:gd name="T7" fmla="*/ 31 h 51"/>
                  <a:gd name="T8" fmla="*/ 0 w 34"/>
                  <a:gd name="T9" fmla="*/ 17 h 51"/>
                  <a:gd name="T10" fmla="*/ 1 w 34"/>
                  <a:gd name="T11" fmla="*/ 15 h 51"/>
                  <a:gd name="T12" fmla="*/ 16 w 34"/>
                  <a:gd name="T13" fmla="*/ 7 h 51"/>
                  <a:gd name="T14" fmla="*/ 18 w 34"/>
                  <a:gd name="T15" fmla="*/ 7 h 51"/>
                  <a:gd name="T16" fmla="*/ 19 w 34"/>
                  <a:gd name="T17" fmla="*/ 8 h 51"/>
                  <a:gd name="T18" fmla="*/ 31 w 34"/>
                  <a:gd name="T19" fmla="*/ 0 h 51"/>
                  <a:gd name="T20" fmla="*/ 33 w 34"/>
                  <a:gd name="T21" fmla="*/ 0 h 51"/>
                  <a:gd name="T22" fmla="*/ 34 w 34"/>
                  <a:gd name="T23" fmla="*/ 2 h 51"/>
                  <a:gd name="T24" fmla="*/ 34 w 34"/>
                  <a:gd name="T25" fmla="*/ 49 h 51"/>
                  <a:gd name="T26" fmla="*/ 33 w 34"/>
                  <a:gd name="T27" fmla="*/ 51 h 51"/>
                  <a:gd name="T28" fmla="*/ 32 w 34"/>
                  <a:gd name="T29" fmla="*/ 51 h 51"/>
                  <a:gd name="T30" fmla="*/ 4 w 34"/>
                  <a:gd name="T31" fmla="*/ 30 h 51"/>
                  <a:gd name="T32" fmla="*/ 30 w 34"/>
                  <a:gd name="T33" fmla="*/ 46 h 51"/>
                  <a:gd name="T34" fmla="*/ 30 w 34"/>
                  <a:gd name="T35" fmla="*/ 6 h 51"/>
                  <a:gd name="T36" fmla="*/ 20 w 34"/>
                  <a:gd name="T37" fmla="*/ 12 h 51"/>
                  <a:gd name="T38" fmla="*/ 18 w 34"/>
                  <a:gd name="T39" fmla="*/ 12 h 51"/>
                  <a:gd name="T40" fmla="*/ 17 w 34"/>
                  <a:gd name="T41" fmla="*/ 11 h 51"/>
                  <a:gd name="T42" fmla="*/ 4 w 34"/>
                  <a:gd name="T43" fmla="*/ 18 h 51"/>
                  <a:gd name="T44" fmla="*/ 4 w 34"/>
                  <a:gd name="T45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51">
                    <a:moveTo>
                      <a:pt x="32" y="51"/>
                    </a:moveTo>
                    <a:cubicBezTo>
                      <a:pt x="32" y="51"/>
                      <a:pt x="32" y="51"/>
                      <a:pt x="31" y="5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0" y="16"/>
                      <a:pt x="1" y="1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7"/>
                      <a:pt x="17" y="7"/>
                      <a:pt x="18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2" y="0"/>
                      <a:pt x="33" y="0"/>
                      <a:pt x="33" y="0"/>
                    </a:cubicBezTo>
                    <a:cubicBezTo>
                      <a:pt x="34" y="1"/>
                      <a:pt x="34" y="1"/>
                      <a:pt x="34" y="2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4" y="50"/>
                      <a:pt x="34" y="50"/>
                      <a:pt x="33" y="51"/>
                    </a:cubicBezTo>
                    <a:cubicBezTo>
                      <a:pt x="33" y="51"/>
                      <a:pt x="33" y="51"/>
                      <a:pt x="32" y="51"/>
                    </a:cubicBezTo>
                    <a:close/>
                    <a:moveTo>
                      <a:pt x="4" y="30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19" y="12"/>
                      <a:pt x="18" y="12"/>
                      <a:pt x="18" y="12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2" name="Freeform 851">
                <a:extLst>
                  <a:ext uri="{FF2B5EF4-FFF2-40B4-BE49-F238E27FC236}">
                    <a16:creationId xmlns:a16="http://schemas.microsoft.com/office/drawing/2014/main" id="{20579794-9A9E-4FB9-AE5A-413F20A477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731367" y="6092927"/>
                <a:ext cx="63290" cy="70553"/>
              </a:xfrm>
              <a:custGeom>
                <a:avLst/>
                <a:gdLst>
                  <a:gd name="T0" fmla="*/ 24 w 26"/>
                  <a:gd name="T1" fmla="*/ 29 h 29"/>
                  <a:gd name="T2" fmla="*/ 23 w 26"/>
                  <a:gd name="T3" fmla="*/ 29 h 29"/>
                  <a:gd name="T4" fmla="*/ 1 w 26"/>
                  <a:gd name="T5" fmla="*/ 17 h 29"/>
                  <a:gd name="T6" fmla="*/ 0 w 26"/>
                  <a:gd name="T7" fmla="*/ 15 h 29"/>
                  <a:gd name="T8" fmla="*/ 1 w 26"/>
                  <a:gd name="T9" fmla="*/ 13 h 29"/>
                  <a:gd name="T10" fmla="*/ 23 w 26"/>
                  <a:gd name="T11" fmla="*/ 1 h 29"/>
                  <a:gd name="T12" fmla="*/ 25 w 26"/>
                  <a:gd name="T13" fmla="*/ 1 h 29"/>
                  <a:gd name="T14" fmla="*/ 26 w 26"/>
                  <a:gd name="T15" fmla="*/ 2 h 29"/>
                  <a:gd name="T16" fmla="*/ 26 w 26"/>
                  <a:gd name="T17" fmla="*/ 27 h 29"/>
                  <a:gd name="T18" fmla="*/ 25 w 26"/>
                  <a:gd name="T19" fmla="*/ 29 h 29"/>
                  <a:gd name="T20" fmla="*/ 24 w 26"/>
                  <a:gd name="T21" fmla="*/ 29 h 29"/>
                  <a:gd name="T22" fmla="*/ 6 w 26"/>
                  <a:gd name="T23" fmla="*/ 15 h 29"/>
                  <a:gd name="T24" fmla="*/ 22 w 26"/>
                  <a:gd name="T25" fmla="*/ 24 h 29"/>
                  <a:gd name="T26" fmla="*/ 22 w 26"/>
                  <a:gd name="T27" fmla="*/ 6 h 29"/>
                  <a:gd name="T28" fmla="*/ 6 w 26"/>
                  <a:gd name="T29" fmla="*/ 1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4" y="29"/>
                    </a:moveTo>
                    <a:cubicBezTo>
                      <a:pt x="24" y="29"/>
                      <a:pt x="23" y="29"/>
                      <a:pt x="23" y="2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4" y="0"/>
                      <a:pt x="25" y="1"/>
                    </a:cubicBezTo>
                    <a:cubicBezTo>
                      <a:pt x="26" y="1"/>
                      <a:pt x="26" y="2"/>
                      <a:pt x="26" y="2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6" y="29"/>
                      <a:pt x="25" y="29"/>
                    </a:cubicBezTo>
                    <a:cubicBezTo>
                      <a:pt x="25" y="29"/>
                      <a:pt x="24" y="29"/>
                      <a:pt x="24" y="29"/>
                    </a:cubicBezTo>
                    <a:close/>
                    <a:moveTo>
                      <a:pt x="6" y="15"/>
                    </a:moveTo>
                    <a:cubicBezTo>
                      <a:pt x="22" y="24"/>
                      <a:pt x="22" y="24"/>
                      <a:pt x="22" y="24"/>
                    </a:cubicBezTo>
                    <a:cubicBezTo>
                      <a:pt x="22" y="6"/>
                      <a:pt x="22" y="6"/>
                      <a:pt x="22" y="6"/>
                    </a:cubicBezTo>
                    <a:lnTo>
                      <a:pt x="6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3" name="Freeform 852">
                <a:extLst>
                  <a:ext uri="{FF2B5EF4-FFF2-40B4-BE49-F238E27FC236}">
                    <a16:creationId xmlns:a16="http://schemas.microsoft.com/office/drawing/2014/main" id="{C2BB82C7-4586-461F-9593-EEE0B2D3D1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91941" y="6073213"/>
                <a:ext cx="43577" cy="112054"/>
              </a:xfrm>
              <a:custGeom>
                <a:avLst/>
                <a:gdLst>
                  <a:gd name="T0" fmla="*/ 16 w 18"/>
                  <a:gd name="T1" fmla="*/ 46 h 46"/>
                  <a:gd name="T2" fmla="*/ 15 w 18"/>
                  <a:gd name="T3" fmla="*/ 46 h 46"/>
                  <a:gd name="T4" fmla="*/ 1 w 18"/>
                  <a:gd name="T5" fmla="*/ 38 h 46"/>
                  <a:gd name="T6" fmla="*/ 0 w 18"/>
                  <a:gd name="T7" fmla="*/ 36 h 46"/>
                  <a:gd name="T8" fmla="*/ 0 w 18"/>
                  <a:gd name="T9" fmla="*/ 9 h 46"/>
                  <a:gd name="T10" fmla="*/ 1 w 18"/>
                  <a:gd name="T11" fmla="*/ 8 h 46"/>
                  <a:gd name="T12" fmla="*/ 13 w 18"/>
                  <a:gd name="T13" fmla="*/ 0 h 46"/>
                  <a:gd name="T14" fmla="*/ 15 w 18"/>
                  <a:gd name="T15" fmla="*/ 0 h 46"/>
                  <a:gd name="T16" fmla="*/ 17 w 18"/>
                  <a:gd name="T17" fmla="*/ 1 h 46"/>
                  <a:gd name="T18" fmla="*/ 18 w 18"/>
                  <a:gd name="T19" fmla="*/ 3 h 46"/>
                  <a:gd name="T20" fmla="*/ 18 w 18"/>
                  <a:gd name="T21" fmla="*/ 44 h 46"/>
                  <a:gd name="T22" fmla="*/ 17 w 18"/>
                  <a:gd name="T23" fmla="*/ 46 h 46"/>
                  <a:gd name="T24" fmla="*/ 16 w 18"/>
                  <a:gd name="T25" fmla="*/ 46 h 46"/>
                  <a:gd name="T26" fmla="*/ 4 w 18"/>
                  <a:gd name="T27" fmla="*/ 35 h 46"/>
                  <a:gd name="T28" fmla="*/ 14 w 18"/>
                  <a:gd name="T29" fmla="*/ 41 h 46"/>
                  <a:gd name="T30" fmla="*/ 14 w 18"/>
                  <a:gd name="T31" fmla="*/ 5 h 46"/>
                  <a:gd name="T32" fmla="*/ 4 w 18"/>
                  <a:gd name="T33" fmla="*/ 11 h 46"/>
                  <a:gd name="T34" fmla="*/ 4 w 18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46">
                    <a:moveTo>
                      <a:pt x="16" y="46"/>
                    </a:moveTo>
                    <a:cubicBezTo>
                      <a:pt x="15" y="46"/>
                      <a:pt x="15" y="46"/>
                      <a:pt x="15" y="46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5" y="0"/>
                      <a:pt x="1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8" y="2"/>
                      <a:pt x="18" y="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5"/>
                      <a:pt x="17" y="46"/>
                      <a:pt x="17" y="46"/>
                    </a:cubicBezTo>
                    <a:cubicBezTo>
                      <a:pt x="16" y="46"/>
                      <a:pt x="16" y="46"/>
                      <a:pt x="16" y="46"/>
                    </a:cubicBezTo>
                    <a:close/>
                    <a:moveTo>
                      <a:pt x="4" y="35"/>
                    </a:move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3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4" name="Freeform 853">
                <a:extLst>
                  <a:ext uri="{FF2B5EF4-FFF2-40B4-BE49-F238E27FC236}">
                    <a16:creationId xmlns:a16="http://schemas.microsoft.com/office/drawing/2014/main" id="{55FA56A9-4B7A-49D5-B0D3-AE7C9EB5C0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94016" y="6161404"/>
                <a:ext cx="41502" cy="46689"/>
              </a:xfrm>
              <a:custGeom>
                <a:avLst/>
                <a:gdLst>
                  <a:gd name="T0" fmla="*/ 2 w 17"/>
                  <a:gd name="T1" fmla="*/ 19 h 19"/>
                  <a:gd name="T2" fmla="*/ 1 w 17"/>
                  <a:gd name="T3" fmla="*/ 19 h 19"/>
                  <a:gd name="T4" fmla="*/ 0 w 17"/>
                  <a:gd name="T5" fmla="*/ 17 h 19"/>
                  <a:gd name="T6" fmla="*/ 0 w 17"/>
                  <a:gd name="T7" fmla="*/ 2 h 19"/>
                  <a:gd name="T8" fmla="*/ 1 w 17"/>
                  <a:gd name="T9" fmla="*/ 0 h 19"/>
                  <a:gd name="T10" fmla="*/ 3 w 17"/>
                  <a:gd name="T11" fmla="*/ 0 h 19"/>
                  <a:gd name="T12" fmla="*/ 16 w 17"/>
                  <a:gd name="T13" fmla="*/ 8 h 19"/>
                  <a:gd name="T14" fmla="*/ 17 w 17"/>
                  <a:gd name="T15" fmla="*/ 10 h 19"/>
                  <a:gd name="T16" fmla="*/ 16 w 17"/>
                  <a:gd name="T17" fmla="*/ 11 h 19"/>
                  <a:gd name="T18" fmla="*/ 3 w 17"/>
                  <a:gd name="T19" fmla="*/ 19 h 19"/>
                  <a:gd name="T20" fmla="*/ 2 w 17"/>
                  <a:gd name="T21" fmla="*/ 19 h 19"/>
                  <a:gd name="T22" fmla="*/ 4 w 17"/>
                  <a:gd name="T23" fmla="*/ 6 h 19"/>
                  <a:gd name="T24" fmla="*/ 4 w 17"/>
                  <a:gd name="T25" fmla="*/ 13 h 19"/>
                  <a:gd name="T26" fmla="*/ 11 w 17"/>
                  <a:gd name="T27" fmla="*/ 10 h 19"/>
                  <a:gd name="T28" fmla="*/ 4 w 17"/>
                  <a:gd name="T2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7" y="9"/>
                      <a:pt x="17" y="10"/>
                    </a:cubicBezTo>
                    <a:cubicBezTo>
                      <a:pt x="17" y="10"/>
                      <a:pt x="16" y="11"/>
                      <a:pt x="16" y="11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  <a:moveTo>
                      <a:pt x="4" y="6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1" y="10"/>
                      <a:pt x="11" y="10"/>
                      <a:pt x="11" y="10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5" name="Freeform 854">
                <a:extLst>
                  <a:ext uri="{FF2B5EF4-FFF2-40B4-BE49-F238E27FC236}">
                    <a16:creationId xmlns:a16="http://schemas.microsoft.com/office/drawing/2014/main" id="{0C614FA3-9CEB-4105-9DD1-132B57C5F58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814371" y="5695549"/>
                <a:ext cx="43577" cy="29051"/>
              </a:xfrm>
              <a:custGeom>
                <a:avLst/>
                <a:gdLst>
                  <a:gd name="T0" fmla="*/ 3 w 18"/>
                  <a:gd name="T1" fmla="*/ 12 h 12"/>
                  <a:gd name="T2" fmla="*/ 2 w 18"/>
                  <a:gd name="T3" fmla="*/ 12 h 12"/>
                  <a:gd name="T4" fmla="*/ 1 w 18"/>
                  <a:gd name="T5" fmla="*/ 12 h 12"/>
                  <a:gd name="T6" fmla="*/ 0 w 18"/>
                  <a:gd name="T7" fmla="*/ 10 h 12"/>
                  <a:gd name="T8" fmla="*/ 1 w 18"/>
                  <a:gd name="T9" fmla="*/ 8 h 12"/>
                  <a:gd name="T10" fmla="*/ 15 w 18"/>
                  <a:gd name="T11" fmla="*/ 0 h 12"/>
                  <a:gd name="T12" fmla="*/ 17 w 18"/>
                  <a:gd name="T13" fmla="*/ 0 h 12"/>
                  <a:gd name="T14" fmla="*/ 18 w 18"/>
                  <a:gd name="T15" fmla="*/ 2 h 12"/>
                  <a:gd name="T16" fmla="*/ 18 w 18"/>
                  <a:gd name="T17" fmla="*/ 2 h 12"/>
                  <a:gd name="T18" fmla="*/ 17 w 18"/>
                  <a:gd name="T19" fmla="*/ 4 h 12"/>
                  <a:gd name="T20" fmla="*/ 4 w 18"/>
                  <a:gd name="T21" fmla="*/ 12 h 12"/>
                  <a:gd name="T22" fmla="*/ 3 w 18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2">
                    <a:moveTo>
                      <a:pt x="3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18" y="0"/>
                      <a:pt x="18" y="1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3"/>
                      <a:pt x="18" y="4"/>
                      <a:pt x="17" y="4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2"/>
                      <a:pt x="3" y="12"/>
                      <a:pt x="3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6" name="Freeform 855">
                <a:extLst>
                  <a:ext uri="{FF2B5EF4-FFF2-40B4-BE49-F238E27FC236}">
                    <a16:creationId xmlns:a16="http://schemas.microsoft.com/office/drawing/2014/main" id="{5B38956D-04E3-42EE-88A3-B1008949AA4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340594" y="5258745"/>
                <a:ext cx="134880" cy="93379"/>
              </a:xfrm>
              <a:custGeom>
                <a:avLst/>
                <a:gdLst>
                  <a:gd name="T0" fmla="*/ 2 w 55"/>
                  <a:gd name="T1" fmla="*/ 38 h 38"/>
                  <a:gd name="T2" fmla="*/ 1 w 55"/>
                  <a:gd name="T3" fmla="*/ 38 h 38"/>
                  <a:gd name="T4" fmla="*/ 0 w 55"/>
                  <a:gd name="T5" fmla="*/ 36 h 38"/>
                  <a:gd name="T6" fmla="*/ 0 w 55"/>
                  <a:gd name="T7" fmla="*/ 32 h 38"/>
                  <a:gd name="T8" fmla="*/ 1 w 55"/>
                  <a:gd name="T9" fmla="*/ 30 h 38"/>
                  <a:gd name="T10" fmla="*/ 52 w 55"/>
                  <a:gd name="T11" fmla="*/ 0 h 38"/>
                  <a:gd name="T12" fmla="*/ 54 w 55"/>
                  <a:gd name="T13" fmla="*/ 0 h 38"/>
                  <a:gd name="T14" fmla="*/ 55 w 55"/>
                  <a:gd name="T15" fmla="*/ 2 h 38"/>
                  <a:gd name="T16" fmla="*/ 55 w 55"/>
                  <a:gd name="T17" fmla="*/ 7 h 38"/>
                  <a:gd name="T18" fmla="*/ 54 w 55"/>
                  <a:gd name="T19" fmla="*/ 8 h 38"/>
                  <a:gd name="T20" fmla="*/ 3 w 55"/>
                  <a:gd name="T21" fmla="*/ 38 h 38"/>
                  <a:gd name="T22" fmla="*/ 2 w 55"/>
                  <a:gd name="T2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38">
                    <a:moveTo>
                      <a:pt x="2" y="38"/>
                    </a:move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0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5" y="1"/>
                      <a:pt x="55" y="1"/>
                      <a:pt x="55" y="2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55" y="8"/>
                      <a:pt x="54" y="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7" name="Freeform 856">
                <a:extLst>
                  <a:ext uri="{FF2B5EF4-FFF2-40B4-BE49-F238E27FC236}">
                    <a16:creationId xmlns:a16="http://schemas.microsoft.com/office/drawing/2014/main" id="{1815D509-11DF-4D08-BBF6-C0D7A4230A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40594" y="5087551"/>
                <a:ext cx="134880" cy="250047"/>
              </a:xfrm>
              <a:custGeom>
                <a:avLst/>
                <a:gdLst>
                  <a:gd name="T0" fmla="*/ 2 w 55"/>
                  <a:gd name="T1" fmla="*/ 102 h 102"/>
                  <a:gd name="T2" fmla="*/ 1 w 55"/>
                  <a:gd name="T3" fmla="*/ 102 h 102"/>
                  <a:gd name="T4" fmla="*/ 0 w 55"/>
                  <a:gd name="T5" fmla="*/ 100 h 102"/>
                  <a:gd name="T6" fmla="*/ 0 w 55"/>
                  <a:gd name="T7" fmla="*/ 32 h 102"/>
                  <a:gd name="T8" fmla="*/ 1 w 55"/>
                  <a:gd name="T9" fmla="*/ 30 h 102"/>
                  <a:gd name="T10" fmla="*/ 52 w 55"/>
                  <a:gd name="T11" fmla="*/ 1 h 102"/>
                  <a:gd name="T12" fmla="*/ 54 w 55"/>
                  <a:gd name="T13" fmla="*/ 1 h 102"/>
                  <a:gd name="T14" fmla="*/ 55 w 55"/>
                  <a:gd name="T15" fmla="*/ 3 h 102"/>
                  <a:gd name="T16" fmla="*/ 55 w 55"/>
                  <a:gd name="T17" fmla="*/ 70 h 102"/>
                  <a:gd name="T18" fmla="*/ 54 w 55"/>
                  <a:gd name="T19" fmla="*/ 72 h 102"/>
                  <a:gd name="T20" fmla="*/ 3 w 55"/>
                  <a:gd name="T21" fmla="*/ 102 h 102"/>
                  <a:gd name="T22" fmla="*/ 2 w 55"/>
                  <a:gd name="T23" fmla="*/ 102 h 102"/>
                  <a:gd name="T24" fmla="*/ 4 w 55"/>
                  <a:gd name="T25" fmla="*/ 33 h 102"/>
                  <a:gd name="T26" fmla="*/ 4 w 55"/>
                  <a:gd name="T27" fmla="*/ 96 h 102"/>
                  <a:gd name="T28" fmla="*/ 51 w 55"/>
                  <a:gd name="T29" fmla="*/ 69 h 102"/>
                  <a:gd name="T30" fmla="*/ 51 w 55"/>
                  <a:gd name="T31" fmla="*/ 6 h 102"/>
                  <a:gd name="T32" fmla="*/ 4 w 55"/>
                  <a:gd name="T33" fmla="*/ 33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" h="102">
                    <a:moveTo>
                      <a:pt x="2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1"/>
                      <a:pt x="0" y="101"/>
                      <a:pt x="0" y="10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31"/>
                      <a:pt x="1" y="3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3" y="0"/>
                      <a:pt x="53" y="0"/>
                      <a:pt x="54" y="1"/>
                    </a:cubicBezTo>
                    <a:cubicBezTo>
                      <a:pt x="55" y="1"/>
                      <a:pt x="55" y="2"/>
                      <a:pt x="55" y="3"/>
                    </a:cubicBezTo>
                    <a:cubicBezTo>
                      <a:pt x="55" y="70"/>
                      <a:pt x="55" y="70"/>
                      <a:pt x="55" y="70"/>
                    </a:cubicBezTo>
                    <a:cubicBezTo>
                      <a:pt x="55" y="71"/>
                      <a:pt x="55" y="72"/>
                      <a:pt x="54" y="72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2" y="102"/>
                      <a:pt x="2" y="102"/>
                      <a:pt x="2" y="102"/>
                    </a:cubicBezTo>
                    <a:close/>
                    <a:moveTo>
                      <a:pt x="4" y="33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"/>
                      <a:pt x="51" y="6"/>
                      <a:pt x="51" y="6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8" name="Freeform 857">
                <a:extLst>
                  <a:ext uri="{FF2B5EF4-FFF2-40B4-BE49-F238E27FC236}">
                    <a16:creationId xmlns:a16="http://schemas.microsoft.com/office/drawing/2014/main" id="{346EF51D-97BD-4200-BD84-C7874600C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68964" y="5771289"/>
                <a:ext cx="142143" cy="86116"/>
              </a:xfrm>
              <a:custGeom>
                <a:avLst/>
                <a:gdLst>
                  <a:gd name="T0" fmla="*/ 13 w 58"/>
                  <a:gd name="T1" fmla="*/ 35 h 35"/>
                  <a:gd name="T2" fmla="*/ 12 w 58"/>
                  <a:gd name="T3" fmla="*/ 35 h 35"/>
                  <a:gd name="T4" fmla="*/ 1 w 58"/>
                  <a:gd name="T5" fmla="*/ 29 h 35"/>
                  <a:gd name="T6" fmla="*/ 0 w 58"/>
                  <a:gd name="T7" fmla="*/ 27 h 35"/>
                  <a:gd name="T8" fmla="*/ 1 w 58"/>
                  <a:gd name="T9" fmla="*/ 25 h 35"/>
                  <a:gd name="T10" fmla="*/ 44 w 58"/>
                  <a:gd name="T11" fmla="*/ 0 h 35"/>
                  <a:gd name="T12" fmla="*/ 46 w 58"/>
                  <a:gd name="T13" fmla="*/ 0 h 35"/>
                  <a:gd name="T14" fmla="*/ 57 w 58"/>
                  <a:gd name="T15" fmla="*/ 7 h 35"/>
                  <a:gd name="T16" fmla="*/ 58 w 58"/>
                  <a:gd name="T17" fmla="*/ 8 h 35"/>
                  <a:gd name="T18" fmla="*/ 58 w 58"/>
                  <a:gd name="T19" fmla="*/ 28 h 35"/>
                  <a:gd name="T20" fmla="*/ 57 w 58"/>
                  <a:gd name="T21" fmla="*/ 29 h 35"/>
                  <a:gd name="T22" fmla="*/ 55 w 58"/>
                  <a:gd name="T23" fmla="*/ 29 h 35"/>
                  <a:gd name="T24" fmla="*/ 39 w 58"/>
                  <a:gd name="T25" fmla="*/ 20 h 35"/>
                  <a:gd name="T26" fmla="*/ 14 w 58"/>
                  <a:gd name="T27" fmla="*/ 35 h 35"/>
                  <a:gd name="T28" fmla="*/ 13 w 58"/>
                  <a:gd name="T29" fmla="*/ 35 h 35"/>
                  <a:gd name="T30" fmla="*/ 6 w 58"/>
                  <a:gd name="T31" fmla="*/ 27 h 35"/>
                  <a:gd name="T32" fmla="*/ 13 w 58"/>
                  <a:gd name="T33" fmla="*/ 31 h 35"/>
                  <a:gd name="T34" fmla="*/ 38 w 58"/>
                  <a:gd name="T35" fmla="*/ 16 h 35"/>
                  <a:gd name="T36" fmla="*/ 40 w 58"/>
                  <a:gd name="T37" fmla="*/ 16 h 35"/>
                  <a:gd name="T38" fmla="*/ 54 w 58"/>
                  <a:gd name="T39" fmla="*/ 24 h 35"/>
                  <a:gd name="T40" fmla="*/ 54 w 58"/>
                  <a:gd name="T41" fmla="*/ 9 h 35"/>
                  <a:gd name="T42" fmla="*/ 45 w 58"/>
                  <a:gd name="T43" fmla="*/ 4 h 35"/>
                  <a:gd name="T44" fmla="*/ 6 w 58"/>
                  <a:gd name="T45" fmla="*/ 2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8" h="35">
                    <a:moveTo>
                      <a:pt x="13" y="35"/>
                    </a:moveTo>
                    <a:cubicBezTo>
                      <a:pt x="12" y="35"/>
                      <a:pt x="12" y="35"/>
                      <a:pt x="12" y="35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8"/>
                      <a:pt x="0" y="28"/>
                      <a:pt x="0" y="27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5" y="0"/>
                      <a:pt x="46" y="0"/>
                      <a:pt x="46" y="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7"/>
                      <a:pt x="58" y="8"/>
                      <a:pt x="58" y="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8" y="28"/>
                      <a:pt x="57" y="29"/>
                      <a:pt x="57" y="29"/>
                    </a:cubicBezTo>
                    <a:cubicBezTo>
                      <a:pt x="56" y="30"/>
                      <a:pt x="55" y="30"/>
                      <a:pt x="55" y="29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lose/>
                    <a:moveTo>
                      <a:pt x="6" y="27"/>
                    </a:moveTo>
                    <a:cubicBezTo>
                      <a:pt x="13" y="31"/>
                      <a:pt x="13" y="31"/>
                      <a:pt x="13" y="3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9" y="16"/>
                      <a:pt x="39" y="16"/>
                      <a:pt x="40" y="16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5" y="4"/>
                      <a:pt x="45" y="4"/>
                      <a:pt x="45" y="4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9" name="Freeform 858">
                <a:extLst>
                  <a:ext uri="{FF2B5EF4-FFF2-40B4-BE49-F238E27FC236}">
                    <a16:creationId xmlns:a16="http://schemas.microsoft.com/office/drawing/2014/main" id="{8C982B17-7D6B-4B3A-8DC6-93297BC3FB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6663" y="5350048"/>
                <a:ext cx="330976" cy="279098"/>
              </a:xfrm>
              <a:custGeom>
                <a:avLst/>
                <a:gdLst>
                  <a:gd name="T0" fmla="*/ 74 w 135"/>
                  <a:gd name="T1" fmla="*/ 114 h 114"/>
                  <a:gd name="T2" fmla="*/ 73 w 135"/>
                  <a:gd name="T3" fmla="*/ 114 h 114"/>
                  <a:gd name="T4" fmla="*/ 55 w 135"/>
                  <a:gd name="T5" fmla="*/ 104 h 114"/>
                  <a:gd name="T6" fmla="*/ 54 w 135"/>
                  <a:gd name="T7" fmla="*/ 102 h 114"/>
                  <a:gd name="T8" fmla="*/ 54 w 135"/>
                  <a:gd name="T9" fmla="*/ 70 h 114"/>
                  <a:gd name="T10" fmla="*/ 1 w 135"/>
                  <a:gd name="T11" fmla="*/ 40 h 114"/>
                  <a:gd name="T12" fmla="*/ 0 w 135"/>
                  <a:gd name="T13" fmla="*/ 38 h 114"/>
                  <a:gd name="T14" fmla="*/ 0 w 135"/>
                  <a:gd name="T15" fmla="*/ 8 h 114"/>
                  <a:gd name="T16" fmla="*/ 1 w 135"/>
                  <a:gd name="T17" fmla="*/ 7 h 114"/>
                  <a:gd name="T18" fmla="*/ 12 w 135"/>
                  <a:gd name="T19" fmla="*/ 0 h 114"/>
                  <a:gd name="T20" fmla="*/ 14 w 135"/>
                  <a:gd name="T21" fmla="*/ 0 h 114"/>
                  <a:gd name="T22" fmla="*/ 74 w 135"/>
                  <a:gd name="T23" fmla="*/ 35 h 114"/>
                  <a:gd name="T24" fmla="*/ 88 w 135"/>
                  <a:gd name="T25" fmla="*/ 27 h 114"/>
                  <a:gd name="T26" fmla="*/ 90 w 135"/>
                  <a:gd name="T27" fmla="*/ 27 h 114"/>
                  <a:gd name="T28" fmla="*/ 134 w 135"/>
                  <a:gd name="T29" fmla="*/ 53 h 114"/>
                  <a:gd name="T30" fmla="*/ 135 w 135"/>
                  <a:gd name="T31" fmla="*/ 55 h 114"/>
                  <a:gd name="T32" fmla="*/ 134 w 135"/>
                  <a:gd name="T33" fmla="*/ 57 h 114"/>
                  <a:gd name="T34" fmla="*/ 76 w 135"/>
                  <a:gd name="T35" fmla="*/ 91 h 114"/>
                  <a:gd name="T36" fmla="*/ 76 w 135"/>
                  <a:gd name="T37" fmla="*/ 112 h 114"/>
                  <a:gd name="T38" fmla="*/ 75 w 135"/>
                  <a:gd name="T39" fmla="*/ 114 h 114"/>
                  <a:gd name="T40" fmla="*/ 74 w 135"/>
                  <a:gd name="T41" fmla="*/ 114 h 114"/>
                  <a:gd name="T42" fmla="*/ 58 w 135"/>
                  <a:gd name="T43" fmla="*/ 101 h 114"/>
                  <a:gd name="T44" fmla="*/ 72 w 135"/>
                  <a:gd name="T45" fmla="*/ 109 h 114"/>
                  <a:gd name="T46" fmla="*/ 72 w 135"/>
                  <a:gd name="T47" fmla="*/ 89 h 114"/>
                  <a:gd name="T48" fmla="*/ 73 w 135"/>
                  <a:gd name="T49" fmla="*/ 88 h 114"/>
                  <a:gd name="T50" fmla="*/ 129 w 135"/>
                  <a:gd name="T51" fmla="*/ 55 h 114"/>
                  <a:gd name="T52" fmla="*/ 89 w 135"/>
                  <a:gd name="T53" fmla="*/ 31 h 114"/>
                  <a:gd name="T54" fmla="*/ 75 w 135"/>
                  <a:gd name="T55" fmla="*/ 39 h 114"/>
                  <a:gd name="T56" fmla="*/ 73 w 135"/>
                  <a:gd name="T57" fmla="*/ 39 h 114"/>
                  <a:gd name="T58" fmla="*/ 13 w 135"/>
                  <a:gd name="T59" fmla="*/ 4 h 114"/>
                  <a:gd name="T60" fmla="*/ 4 w 135"/>
                  <a:gd name="T61" fmla="*/ 10 h 114"/>
                  <a:gd name="T62" fmla="*/ 4 w 135"/>
                  <a:gd name="T63" fmla="*/ 37 h 114"/>
                  <a:gd name="T64" fmla="*/ 57 w 135"/>
                  <a:gd name="T65" fmla="*/ 68 h 114"/>
                  <a:gd name="T66" fmla="*/ 58 w 135"/>
                  <a:gd name="T67" fmla="*/ 69 h 114"/>
                  <a:gd name="T68" fmla="*/ 58 w 135"/>
                  <a:gd name="T69" fmla="*/ 10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5" h="114">
                    <a:moveTo>
                      <a:pt x="74" y="114"/>
                    </a:moveTo>
                    <a:cubicBezTo>
                      <a:pt x="73" y="114"/>
                      <a:pt x="73" y="114"/>
                      <a:pt x="73" y="114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4" y="103"/>
                      <a:pt x="54" y="102"/>
                      <a:pt x="54" y="102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74" y="35"/>
                      <a:pt x="74" y="35"/>
                      <a:pt x="74" y="35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88" y="27"/>
                      <a:pt x="89" y="27"/>
                      <a:pt x="90" y="27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5" y="54"/>
                      <a:pt x="135" y="54"/>
                      <a:pt x="135" y="55"/>
                    </a:cubicBezTo>
                    <a:cubicBezTo>
                      <a:pt x="135" y="56"/>
                      <a:pt x="135" y="56"/>
                      <a:pt x="134" y="57"/>
                    </a:cubicBezTo>
                    <a:cubicBezTo>
                      <a:pt x="76" y="91"/>
                      <a:pt x="76" y="91"/>
                      <a:pt x="76" y="91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3"/>
                      <a:pt x="75" y="114"/>
                      <a:pt x="75" y="114"/>
                    </a:cubicBezTo>
                    <a:cubicBezTo>
                      <a:pt x="74" y="114"/>
                      <a:pt x="74" y="114"/>
                      <a:pt x="74" y="114"/>
                    </a:cubicBezTo>
                    <a:close/>
                    <a:moveTo>
                      <a:pt x="58" y="101"/>
                    </a:moveTo>
                    <a:cubicBezTo>
                      <a:pt x="72" y="109"/>
                      <a:pt x="72" y="109"/>
                      <a:pt x="72" y="109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72" y="89"/>
                      <a:pt x="72" y="88"/>
                      <a:pt x="73" y="88"/>
                    </a:cubicBezTo>
                    <a:cubicBezTo>
                      <a:pt x="129" y="55"/>
                      <a:pt x="129" y="55"/>
                      <a:pt x="129" y="55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75" y="39"/>
                      <a:pt x="75" y="39"/>
                      <a:pt x="75" y="39"/>
                    </a:cubicBezTo>
                    <a:cubicBezTo>
                      <a:pt x="75" y="39"/>
                      <a:pt x="74" y="39"/>
                      <a:pt x="73" y="39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57" y="68"/>
                      <a:pt x="57" y="68"/>
                      <a:pt x="57" y="68"/>
                    </a:cubicBezTo>
                    <a:cubicBezTo>
                      <a:pt x="57" y="68"/>
                      <a:pt x="58" y="69"/>
                      <a:pt x="58" y="69"/>
                    </a:cubicBezTo>
                    <a:lnTo>
                      <a:pt x="58" y="10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0" name="Freeform 859">
                <a:extLst>
                  <a:ext uri="{FF2B5EF4-FFF2-40B4-BE49-F238E27FC236}">
                    <a16:creationId xmlns:a16="http://schemas.microsoft.com/office/drawing/2014/main" id="{CF062801-9DD3-46AF-9B49-06BA796F2D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289755" y="5249407"/>
                <a:ext cx="185720" cy="190907"/>
              </a:xfrm>
              <a:custGeom>
                <a:avLst/>
                <a:gdLst>
                  <a:gd name="T0" fmla="*/ 61 w 76"/>
                  <a:gd name="T1" fmla="*/ 78 h 78"/>
                  <a:gd name="T2" fmla="*/ 60 w 76"/>
                  <a:gd name="T3" fmla="*/ 78 h 78"/>
                  <a:gd name="T4" fmla="*/ 1 w 76"/>
                  <a:gd name="T5" fmla="*/ 44 h 78"/>
                  <a:gd name="T6" fmla="*/ 0 w 76"/>
                  <a:gd name="T7" fmla="*/ 42 h 78"/>
                  <a:gd name="T8" fmla="*/ 1 w 76"/>
                  <a:gd name="T9" fmla="*/ 40 h 78"/>
                  <a:gd name="T10" fmla="*/ 53 w 76"/>
                  <a:gd name="T11" fmla="*/ 10 h 78"/>
                  <a:gd name="T12" fmla="*/ 53 w 76"/>
                  <a:gd name="T13" fmla="*/ 5 h 78"/>
                  <a:gd name="T14" fmla="*/ 54 w 76"/>
                  <a:gd name="T15" fmla="*/ 3 h 78"/>
                  <a:gd name="T16" fmla="*/ 60 w 76"/>
                  <a:gd name="T17" fmla="*/ 0 h 78"/>
                  <a:gd name="T18" fmla="*/ 62 w 76"/>
                  <a:gd name="T19" fmla="*/ 0 h 78"/>
                  <a:gd name="T20" fmla="*/ 63 w 76"/>
                  <a:gd name="T21" fmla="*/ 2 h 78"/>
                  <a:gd name="T22" fmla="*/ 63 w 76"/>
                  <a:gd name="T23" fmla="*/ 60 h 78"/>
                  <a:gd name="T24" fmla="*/ 75 w 76"/>
                  <a:gd name="T25" fmla="*/ 67 h 78"/>
                  <a:gd name="T26" fmla="*/ 76 w 76"/>
                  <a:gd name="T27" fmla="*/ 69 h 78"/>
                  <a:gd name="T28" fmla="*/ 75 w 76"/>
                  <a:gd name="T29" fmla="*/ 71 h 78"/>
                  <a:gd name="T30" fmla="*/ 62 w 76"/>
                  <a:gd name="T31" fmla="*/ 78 h 78"/>
                  <a:gd name="T32" fmla="*/ 61 w 76"/>
                  <a:gd name="T33" fmla="*/ 78 h 78"/>
                  <a:gd name="T34" fmla="*/ 6 w 76"/>
                  <a:gd name="T35" fmla="*/ 42 h 78"/>
                  <a:gd name="T36" fmla="*/ 61 w 76"/>
                  <a:gd name="T37" fmla="*/ 74 h 78"/>
                  <a:gd name="T38" fmla="*/ 70 w 76"/>
                  <a:gd name="T39" fmla="*/ 69 h 78"/>
                  <a:gd name="T40" fmla="*/ 60 w 76"/>
                  <a:gd name="T41" fmla="*/ 63 h 78"/>
                  <a:gd name="T42" fmla="*/ 59 w 76"/>
                  <a:gd name="T43" fmla="*/ 61 h 78"/>
                  <a:gd name="T44" fmla="*/ 59 w 76"/>
                  <a:gd name="T45" fmla="*/ 5 h 78"/>
                  <a:gd name="T46" fmla="*/ 57 w 76"/>
                  <a:gd name="T47" fmla="*/ 6 h 78"/>
                  <a:gd name="T48" fmla="*/ 57 w 76"/>
                  <a:gd name="T49" fmla="*/ 11 h 78"/>
                  <a:gd name="T50" fmla="*/ 56 w 76"/>
                  <a:gd name="T51" fmla="*/ 13 h 78"/>
                  <a:gd name="T52" fmla="*/ 6 w 76"/>
                  <a:gd name="T53" fmla="*/ 4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6" h="78">
                    <a:moveTo>
                      <a:pt x="61" y="78"/>
                    </a:moveTo>
                    <a:cubicBezTo>
                      <a:pt x="61" y="78"/>
                      <a:pt x="61" y="78"/>
                      <a:pt x="60" y="7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1"/>
                      <a:pt x="1" y="4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4"/>
                      <a:pt x="53" y="4"/>
                      <a:pt x="54" y="3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0" y="0"/>
                      <a:pt x="61" y="0"/>
                      <a:pt x="62" y="0"/>
                    </a:cubicBezTo>
                    <a:cubicBezTo>
                      <a:pt x="62" y="0"/>
                      <a:pt x="63" y="1"/>
                      <a:pt x="63" y="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75" y="67"/>
                      <a:pt x="75" y="67"/>
                      <a:pt x="75" y="67"/>
                    </a:cubicBezTo>
                    <a:cubicBezTo>
                      <a:pt x="76" y="68"/>
                      <a:pt x="76" y="68"/>
                      <a:pt x="76" y="69"/>
                    </a:cubicBezTo>
                    <a:cubicBezTo>
                      <a:pt x="76" y="70"/>
                      <a:pt x="76" y="71"/>
                      <a:pt x="75" y="71"/>
                    </a:cubicBezTo>
                    <a:cubicBezTo>
                      <a:pt x="62" y="78"/>
                      <a:pt x="62" y="78"/>
                      <a:pt x="62" y="78"/>
                    </a:cubicBezTo>
                    <a:cubicBezTo>
                      <a:pt x="62" y="78"/>
                      <a:pt x="62" y="78"/>
                      <a:pt x="61" y="78"/>
                    </a:cubicBezTo>
                    <a:close/>
                    <a:moveTo>
                      <a:pt x="6" y="42"/>
                    </a:moveTo>
                    <a:cubicBezTo>
                      <a:pt x="61" y="74"/>
                      <a:pt x="61" y="74"/>
                      <a:pt x="61" y="74"/>
                    </a:cubicBezTo>
                    <a:cubicBezTo>
                      <a:pt x="70" y="69"/>
                      <a:pt x="70" y="69"/>
                      <a:pt x="70" y="6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59" y="63"/>
                      <a:pt x="59" y="62"/>
                      <a:pt x="59" y="61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11"/>
                      <a:pt x="57" y="11"/>
                      <a:pt x="57" y="11"/>
                    </a:cubicBezTo>
                    <a:cubicBezTo>
                      <a:pt x="57" y="12"/>
                      <a:pt x="56" y="13"/>
                      <a:pt x="56" y="13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1" name="Freeform 860">
                <a:extLst>
                  <a:ext uri="{FF2B5EF4-FFF2-40B4-BE49-F238E27FC236}">
                    <a16:creationId xmlns:a16="http://schemas.microsoft.com/office/drawing/2014/main" id="{8BA302CE-10F3-4FC0-85AF-A80BE799D5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7" y="5224506"/>
                <a:ext cx="154594" cy="113092"/>
              </a:xfrm>
              <a:custGeom>
                <a:avLst/>
                <a:gdLst>
                  <a:gd name="T0" fmla="*/ 61 w 63"/>
                  <a:gd name="T1" fmla="*/ 46 h 46"/>
                  <a:gd name="T2" fmla="*/ 60 w 63"/>
                  <a:gd name="T3" fmla="*/ 46 h 46"/>
                  <a:gd name="T4" fmla="*/ 1 w 63"/>
                  <a:gd name="T5" fmla="*/ 12 h 46"/>
                  <a:gd name="T6" fmla="*/ 0 w 63"/>
                  <a:gd name="T7" fmla="*/ 10 h 46"/>
                  <a:gd name="T8" fmla="*/ 0 w 63"/>
                  <a:gd name="T9" fmla="*/ 2 h 46"/>
                  <a:gd name="T10" fmla="*/ 1 w 63"/>
                  <a:gd name="T11" fmla="*/ 1 h 46"/>
                  <a:gd name="T12" fmla="*/ 3 w 63"/>
                  <a:gd name="T13" fmla="*/ 1 h 46"/>
                  <a:gd name="T14" fmla="*/ 62 w 63"/>
                  <a:gd name="T15" fmla="*/ 35 h 46"/>
                  <a:gd name="T16" fmla="*/ 63 w 63"/>
                  <a:gd name="T17" fmla="*/ 36 h 46"/>
                  <a:gd name="T18" fmla="*/ 63 w 63"/>
                  <a:gd name="T19" fmla="*/ 44 h 46"/>
                  <a:gd name="T20" fmla="*/ 62 w 63"/>
                  <a:gd name="T21" fmla="*/ 46 h 46"/>
                  <a:gd name="T22" fmla="*/ 61 w 63"/>
                  <a:gd name="T23" fmla="*/ 46 h 46"/>
                  <a:gd name="T24" fmla="*/ 4 w 63"/>
                  <a:gd name="T25" fmla="*/ 9 h 46"/>
                  <a:gd name="T26" fmla="*/ 59 w 63"/>
                  <a:gd name="T27" fmla="*/ 40 h 46"/>
                  <a:gd name="T28" fmla="*/ 59 w 63"/>
                  <a:gd name="T29" fmla="*/ 38 h 46"/>
                  <a:gd name="T30" fmla="*/ 4 w 63"/>
                  <a:gd name="T31" fmla="*/ 6 h 46"/>
                  <a:gd name="T32" fmla="*/ 4 w 63"/>
                  <a:gd name="T33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6">
                    <a:moveTo>
                      <a:pt x="61" y="46"/>
                    </a:moveTo>
                    <a:cubicBezTo>
                      <a:pt x="61" y="46"/>
                      <a:pt x="61" y="46"/>
                      <a:pt x="60" y="4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5"/>
                      <a:pt x="63" y="36"/>
                      <a:pt x="63" y="36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63" y="45"/>
                      <a:pt x="63" y="45"/>
                      <a:pt x="62" y="46"/>
                    </a:cubicBezTo>
                    <a:cubicBezTo>
                      <a:pt x="62" y="46"/>
                      <a:pt x="62" y="46"/>
                      <a:pt x="61" y="46"/>
                    </a:cubicBezTo>
                    <a:close/>
                    <a:moveTo>
                      <a:pt x="4" y="9"/>
                    </a:move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2" name="Freeform 861">
                <a:extLst>
                  <a:ext uri="{FF2B5EF4-FFF2-40B4-BE49-F238E27FC236}">
                    <a16:creationId xmlns:a16="http://schemas.microsoft.com/office/drawing/2014/main" id="{D9DD73D7-AF39-4AD7-A029-F77D8D82BC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85113" y="5531618"/>
                <a:ext cx="605924" cy="381815"/>
              </a:xfrm>
              <a:custGeom>
                <a:avLst/>
                <a:gdLst>
                  <a:gd name="T0" fmla="*/ 134 w 247"/>
                  <a:gd name="T1" fmla="*/ 156 h 156"/>
                  <a:gd name="T2" fmla="*/ 133 w 247"/>
                  <a:gd name="T3" fmla="*/ 156 h 156"/>
                  <a:gd name="T4" fmla="*/ 1 w 247"/>
                  <a:gd name="T5" fmla="*/ 80 h 156"/>
                  <a:gd name="T6" fmla="*/ 0 w 247"/>
                  <a:gd name="T7" fmla="*/ 78 h 156"/>
                  <a:gd name="T8" fmla="*/ 1 w 247"/>
                  <a:gd name="T9" fmla="*/ 76 h 156"/>
                  <a:gd name="T10" fmla="*/ 31 w 247"/>
                  <a:gd name="T11" fmla="*/ 59 h 156"/>
                  <a:gd name="T12" fmla="*/ 33 w 247"/>
                  <a:gd name="T13" fmla="*/ 59 h 156"/>
                  <a:gd name="T14" fmla="*/ 47 w 247"/>
                  <a:gd name="T15" fmla="*/ 67 h 156"/>
                  <a:gd name="T16" fmla="*/ 47 w 247"/>
                  <a:gd name="T17" fmla="*/ 51 h 156"/>
                  <a:gd name="T18" fmla="*/ 48 w 247"/>
                  <a:gd name="T19" fmla="*/ 50 h 156"/>
                  <a:gd name="T20" fmla="*/ 66 w 247"/>
                  <a:gd name="T21" fmla="*/ 39 h 156"/>
                  <a:gd name="T22" fmla="*/ 68 w 247"/>
                  <a:gd name="T23" fmla="*/ 39 h 156"/>
                  <a:gd name="T24" fmla="*/ 69 w 247"/>
                  <a:gd name="T25" fmla="*/ 41 h 156"/>
                  <a:gd name="T26" fmla="*/ 69 w 247"/>
                  <a:gd name="T27" fmla="*/ 84 h 156"/>
                  <a:gd name="T28" fmla="*/ 127 w 247"/>
                  <a:gd name="T29" fmla="*/ 50 h 156"/>
                  <a:gd name="T30" fmla="*/ 127 w 247"/>
                  <a:gd name="T31" fmla="*/ 5 h 156"/>
                  <a:gd name="T32" fmla="*/ 128 w 247"/>
                  <a:gd name="T33" fmla="*/ 3 h 156"/>
                  <a:gd name="T34" fmla="*/ 133 w 247"/>
                  <a:gd name="T35" fmla="*/ 0 h 156"/>
                  <a:gd name="T36" fmla="*/ 135 w 247"/>
                  <a:gd name="T37" fmla="*/ 0 h 156"/>
                  <a:gd name="T38" fmla="*/ 198 w 247"/>
                  <a:gd name="T39" fmla="*/ 36 h 156"/>
                  <a:gd name="T40" fmla="*/ 199 w 247"/>
                  <a:gd name="T41" fmla="*/ 38 h 156"/>
                  <a:gd name="T42" fmla="*/ 198 w 247"/>
                  <a:gd name="T43" fmla="*/ 40 h 156"/>
                  <a:gd name="T44" fmla="*/ 180 w 247"/>
                  <a:gd name="T45" fmla="*/ 50 h 156"/>
                  <a:gd name="T46" fmla="*/ 246 w 247"/>
                  <a:gd name="T47" fmla="*/ 89 h 156"/>
                  <a:gd name="T48" fmla="*/ 247 w 247"/>
                  <a:gd name="T49" fmla="*/ 90 h 156"/>
                  <a:gd name="T50" fmla="*/ 246 w 247"/>
                  <a:gd name="T51" fmla="*/ 92 h 156"/>
                  <a:gd name="T52" fmla="*/ 135 w 247"/>
                  <a:gd name="T53" fmla="*/ 156 h 156"/>
                  <a:gd name="T54" fmla="*/ 134 w 247"/>
                  <a:gd name="T55" fmla="*/ 156 h 156"/>
                  <a:gd name="T56" fmla="*/ 6 w 247"/>
                  <a:gd name="T57" fmla="*/ 78 h 156"/>
                  <a:gd name="T58" fmla="*/ 134 w 247"/>
                  <a:gd name="T59" fmla="*/ 152 h 156"/>
                  <a:gd name="T60" fmla="*/ 241 w 247"/>
                  <a:gd name="T61" fmla="*/ 90 h 156"/>
                  <a:gd name="T62" fmla="*/ 175 w 247"/>
                  <a:gd name="T63" fmla="*/ 52 h 156"/>
                  <a:gd name="T64" fmla="*/ 174 w 247"/>
                  <a:gd name="T65" fmla="*/ 50 h 156"/>
                  <a:gd name="T66" fmla="*/ 175 w 247"/>
                  <a:gd name="T67" fmla="*/ 49 h 156"/>
                  <a:gd name="T68" fmla="*/ 193 w 247"/>
                  <a:gd name="T69" fmla="*/ 38 h 156"/>
                  <a:gd name="T70" fmla="*/ 134 w 247"/>
                  <a:gd name="T71" fmla="*/ 4 h 156"/>
                  <a:gd name="T72" fmla="*/ 131 w 247"/>
                  <a:gd name="T73" fmla="*/ 6 h 156"/>
                  <a:gd name="T74" fmla="*/ 131 w 247"/>
                  <a:gd name="T75" fmla="*/ 51 h 156"/>
                  <a:gd name="T76" fmla="*/ 130 w 247"/>
                  <a:gd name="T77" fmla="*/ 53 h 156"/>
                  <a:gd name="T78" fmla="*/ 68 w 247"/>
                  <a:gd name="T79" fmla="*/ 89 h 156"/>
                  <a:gd name="T80" fmla="*/ 66 w 247"/>
                  <a:gd name="T81" fmla="*/ 89 h 156"/>
                  <a:gd name="T82" fmla="*/ 65 w 247"/>
                  <a:gd name="T83" fmla="*/ 87 h 156"/>
                  <a:gd name="T84" fmla="*/ 65 w 247"/>
                  <a:gd name="T85" fmla="*/ 44 h 156"/>
                  <a:gd name="T86" fmla="*/ 51 w 247"/>
                  <a:gd name="T87" fmla="*/ 52 h 156"/>
                  <a:gd name="T88" fmla="*/ 51 w 247"/>
                  <a:gd name="T89" fmla="*/ 71 h 156"/>
                  <a:gd name="T90" fmla="*/ 50 w 247"/>
                  <a:gd name="T91" fmla="*/ 72 h 156"/>
                  <a:gd name="T92" fmla="*/ 48 w 247"/>
                  <a:gd name="T93" fmla="*/ 72 h 156"/>
                  <a:gd name="T94" fmla="*/ 32 w 247"/>
                  <a:gd name="T95" fmla="*/ 63 h 156"/>
                  <a:gd name="T96" fmla="*/ 6 w 247"/>
                  <a:gd name="T97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7" h="156">
                    <a:moveTo>
                      <a:pt x="134" y="156"/>
                    </a:moveTo>
                    <a:cubicBezTo>
                      <a:pt x="134" y="156"/>
                      <a:pt x="134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1" y="79"/>
                      <a:pt x="0" y="79"/>
                      <a:pt x="0" y="78"/>
                    </a:cubicBezTo>
                    <a:cubicBezTo>
                      <a:pt x="0" y="77"/>
                      <a:pt x="1" y="77"/>
                      <a:pt x="1" y="76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32" y="59"/>
                      <a:pt x="32" y="59"/>
                      <a:pt x="33" y="59"/>
                    </a:cubicBezTo>
                    <a:cubicBezTo>
                      <a:pt x="47" y="67"/>
                      <a:pt x="47" y="67"/>
                      <a:pt x="47" y="67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7" y="51"/>
                      <a:pt x="47" y="50"/>
                      <a:pt x="48" y="50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66" y="39"/>
                      <a:pt x="67" y="39"/>
                      <a:pt x="68" y="39"/>
                    </a:cubicBezTo>
                    <a:cubicBezTo>
                      <a:pt x="68" y="40"/>
                      <a:pt x="69" y="40"/>
                      <a:pt x="69" y="41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127" y="50"/>
                      <a:pt x="127" y="50"/>
                      <a:pt x="127" y="50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7" y="4"/>
                      <a:pt x="127" y="4"/>
                      <a:pt x="128" y="3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4" y="0"/>
                      <a:pt x="135" y="0"/>
                      <a:pt x="135" y="0"/>
                    </a:cubicBezTo>
                    <a:cubicBezTo>
                      <a:pt x="198" y="36"/>
                      <a:pt x="198" y="36"/>
                      <a:pt x="198" y="36"/>
                    </a:cubicBezTo>
                    <a:cubicBezTo>
                      <a:pt x="199" y="37"/>
                      <a:pt x="199" y="37"/>
                      <a:pt x="199" y="38"/>
                    </a:cubicBezTo>
                    <a:cubicBezTo>
                      <a:pt x="199" y="39"/>
                      <a:pt x="199" y="39"/>
                      <a:pt x="198" y="40"/>
                    </a:cubicBezTo>
                    <a:cubicBezTo>
                      <a:pt x="180" y="50"/>
                      <a:pt x="180" y="50"/>
                      <a:pt x="180" y="50"/>
                    </a:cubicBezTo>
                    <a:cubicBezTo>
                      <a:pt x="246" y="89"/>
                      <a:pt x="246" y="89"/>
                      <a:pt x="246" y="89"/>
                    </a:cubicBezTo>
                    <a:cubicBezTo>
                      <a:pt x="246" y="89"/>
                      <a:pt x="247" y="90"/>
                      <a:pt x="247" y="90"/>
                    </a:cubicBezTo>
                    <a:cubicBezTo>
                      <a:pt x="247" y="91"/>
                      <a:pt x="246" y="92"/>
                      <a:pt x="246" y="92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5" y="156"/>
                      <a:pt x="135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1" y="90"/>
                      <a:pt x="241" y="90"/>
                      <a:pt x="241" y="90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4" y="52"/>
                      <a:pt x="174" y="51"/>
                      <a:pt x="174" y="50"/>
                    </a:cubicBezTo>
                    <a:cubicBezTo>
                      <a:pt x="174" y="50"/>
                      <a:pt x="174" y="49"/>
                      <a:pt x="175" y="49"/>
                    </a:cubicBezTo>
                    <a:cubicBezTo>
                      <a:pt x="193" y="38"/>
                      <a:pt x="193" y="38"/>
                      <a:pt x="193" y="38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2"/>
                      <a:pt x="131" y="53"/>
                      <a:pt x="130" y="53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89"/>
                      <a:pt x="66" y="89"/>
                      <a:pt x="66" y="89"/>
                    </a:cubicBezTo>
                    <a:cubicBezTo>
                      <a:pt x="65" y="89"/>
                      <a:pt x="65" y="88"/>
                      <a:pt x="65" y="87"/>
                    </a:cubicBezTo>
                    <a:cubicBezTo>
                      <a:pt x="65" y="44"/>
                      <a:pt x="65" y="44"/>
                      <a:pt x="65" y="44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1" y="71"/>
                      <a:pt x="50" y="72"/>
                      <a:pt x="50" y="72"/>
                    </a:cubicBezTo>
                    <a:cubicBezTo>
                      <a:pt x="49" y="73"/>
                      <a:pt x="48" y="73"/>
                      <a:pt x="48" y="72"/>
                    </a:cubicBezTo>
                    <a:cubicBezTo>
                      <a:pt x="32" y="63"/>
                      <a:pt x="32" y="63"/>
                      <a:pt x="32" y="63"/>
                    </a:cubicBezTo>
                    <a:lnTo>
                      <a:pt x="6" y="7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3" name="Freeform 862">
                <a:extLst>
                  <a:ext uri="{FF2B5EF4-FFF2-40B4-BE49-F238E27FC236}">
                    <a16:creationId xmlns:a16="http://schemas.microsoft.com/office/drawing/2014/main" id="{6F4DF7C0-09E4-4F0A-8F42-FEDD2C56BD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7" y="5249407"/>
                <a:ext cx="154594" cy="171194"/>
              </a:xfrm>
              <a:custGeom>
                <a:avLst/>
                <a:gdLst>
                  <a:gd name="T0" fmla="*/ 16 w 63"/>
                  <a:gd name="T1" fmla="*/ 70 h 70"/>
                  <a:gd name="T2" fmla="*/ 15 w 63"/>
                  <a:gd name="T3" fmla="*/ 70 h 70"/>
                  <a:gd name="T4" fmla="*/ 1 w 63"/>
                  <a:gd name="T5" fmla="*/ 62 h 70"/>
                  <a:gd name="T6" fmla="*/ 0 w 63"/>
                  <a:gd name="T7" fmla="*/ 60 h 70"/>
                  <a:gd name="T8" fmla="*/ 0 w 63"/>
                  <a:gd name="T9" fmla="*/ 2 h 70"/>
                  <a:gd name="T10" fmla="*/ 1 w 63"/>
                  <a:gd name="T11" fmla="*/ 0 h 70"/>
                  <a:gd name="T12" fmla="*/ 3 w 63"/>
                  <a:gd name="T13" fmla="*/ 0 h 70"/>
                  <a:gd name="T14" fmla="*/ 62 w 63"/>
                  <a:gd name="T15" fmla="*/ 34 h 70"/>
                  <a:gd name="T16" fmla="*/ 63 w 63"/>
                  <a:gd name="T17" fmla="*/ 36 h 70"/>
                  <a:gd name="T18" fmla="*/ 63 w 63"/>
                  <a:gd name="T19" fmla="*/ 42 h 70"/>
                  <a:gd name="T20" fmla="*/ 62 w 63"/>
                  <a:gd name="T21" fmla="*/ 44 h 70"/>
                  <a:gd name="T22" fmla="*/ 17 w 63"/>
                  <a:gd name="T23" fmla="*/ 70 h 70"/>
                  <a:gd name="T24" fmla="*/ 16 w 63"/>
                  <a:gd name="T25" fmla="*/ 70 h 70"/>
                  <a:gd name="T26" fmla="*/ 4 w 63"/>
                  <a:gd name="T27" fmla="*/ 59 h 70"/>
                  <a:gd name="T28" fmla="*/ 16 w 63"/>
                  <a:gd name="T29" fmla="*/ 66 h 70"/>
                  <a:gd name="T30" fmla="*/ 59 w 63"/>
                  <a:gd name="T31" fmla="*/ 41 h 70"/>
                  <a:gd name="T32" fmla="*/ 59 w 63"/>
                  <a:gd name="T33" fmla="*/ 37 h 70"/>
                  <a:gd name="T34" fmla="*/ 4 w 63"/>
                  <a:gd name="T35" fmla="*/ 5 h 70"/>
                  <a:gd name="T36" fmla="*/ 4 w 63"/>
                  <a:gd name="T37" fmla="*/ 5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70">
                    <a:moveTo>
                      <a:pt x="16" y="70"/>
                    </a:moveTo>
                    <a:cubicBezTo>
                      <a:pt x="15" y="70"/>
                      <a:pt x="15" y="70"/>
                      <a:pt x="15" y="70"/>
                    </a:cubicBezTo>
                    <a:cubicBezTo>
                      <a:pt x="1" y="62"/>
                      <a:pt x="1" y="62"/>
                      <a:pt x="1" y="62"/>
                    </a:cubicBezTo>
                    <a:cubicBezTo>
                      <a:pt x="1" y="62"/>
                      <a:pt x="0" y="61"/>
                      <a:pt x="0" y="6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3" y="34"/>
                      <a:pt x="63" y="35"/>
                      <a:pt x="63" y="36"/>
                    </a:cubicBezTo>
                    <a:cubicBezTo>
                      <a:pt x="63" y="42"/>
                      <a:pt x="63" y="42"/>
                      <a:pt x="63" y="42"/>
                    </a:cubicBezTo>
                    <a:cubicBezTo>
                      <a:pt x="63" y="43"/>
                      <a:pt x="63" y="43"/>
                      <a:pt x="62" y="44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6" y="70"/>
                      <a:pt x="16" y="70"/>
                      <a:pt x="16" y="70"/>
                    </a:cubicBezTo>
                    <a:close/>
                    <a:moveTo>
                      <a:pt x="4" y="59"/>
                    </a:moveTo>
                    <a:cubicBezTo>
                      <a:pt x="16" y="66"/>
                      <a:pt x="16" y="66"/>
                      <a:pt x="16" y="66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4" name="Freeform 863">
                <a:extLst>
                  <a:ext uri="{FF2B5EF4-FFF2-40B4-BE49-F238E27FC236}">
                    <a16:creationId xmlns:a16="http://schemas.microsoft.com/office/drawing/2014/main" id="{E0483710-8D7B-452D-A5E4-17241C7FBC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5146691"/>
                <a:ext cx="166007" cy="181569"/>
              </a:xfrm>
              <a:custGeom>
                <a:avLst/>
                <a:gdLst>
                  <a:gd name="T0" fmla="*/ 53 w 68"/>
                  <a:gd name="T1" fmla="*/ 74 h 74"/>
                  <a:gd name="T2" fmla="*/ 52 w 68"/>
                  <a:gd name="T3" fmla="*/ 74 h 74"/>
                  <a:gd name="T4" fmla="*/ 1 w 68"/>
                  <a:gd name="T5" fmla="*/ 44 h 74"/>
                  <a:gd name="T6" fmla="*/ 0 w 68"/>
                  <a:gd name="T7" fmla="*/ 42 h 74"/>
                  <a:gd name="T8" fmla="*/ 0 w 68"/>
                  <a:gd name="T9" fmla="*/ 36 h 74"/>
                  <a:gd name="T10" fmla="*/ 1 w 68"/>
                  <a:gd name="T11" fmla="*/ 35 h 74"/>
                  <a:gd name="T12" fmla="*/ 60 w 68"/>
                  <a:gd name="T13" fmla="*/ 1 h 74"/>
                  <a:gd name="T14" fmla="*/ 62 w 68"/>
                  <a:gd name="T15" fmla="*/ 1 h 74"/>
                  <a:gd name="T16" fmla="*/ 67 w 68"/>
                  <a:gd name="T17" fmla="*/ 4 h 74"/>
                  <a:gd name="T18" fmla="*/ 68 w 68"/>
                  <a:gd name="T19" fmla="*/ 5 h 74"/>
                  <a:gd name="T20" fmla="*/ 68 w 68"/>
                  <a:gd name="T21" fmla="*/ 7 h 74"/>
                  <a:gd name="T22" fmla="*/ 67 w 68"/>
                  <a:gd name="T23" fmla="*/ 9 h 74"/>
                  <a:gd name="T24" fmla="*/ 55 w 68"/>
                  <a:gd name="T25" fmla="*/ 16 h 74"/>
                  <a:gd name="T26" fmla="*/ 55 w 68"/>
                  <a:gd name="T27" fmla="*/ 72 h 74"/>
                  <a:gd name="T28" fmla="*/ 54 w 68"/>
                  <a:gd name="T29" fmla="*/ 74 h 74"/>
                  <a:gd name="T30" fmla="*/ 53 w 68"/>
                  <a:gd name="T31" fmla="*/ 74 h 74"/>
                  <a:gd name="T32" fmla="*/ 4 w 68"/>
                  <a:gd name="T33" fmla="*/ 41 h 74"/>
                  <a:gd name="T34" fmla="*/ 51 w 68"/>
                  <a:gd name="T35" fmla="*/ 69 h 74"/>
                  <a:gd name="T36" fmla="*/ 51 w 68"/>
                  <a:gd name="T37" fmla="*/ 15 h 74"/>
                  <a:gd name="T38" fmla="*/ 52 w 68"/>
                  <a:gd name="T39" fmla="*/ 13 h 74"/>
                  <a:gd name="T40" fmla="*/ 64 w 68"/>
                  <a:gd name="T41" fmla="*/ 6 h 74"/>
                  <a:gd name="T42" fmla="*/ 61 w 68"/>
                  <a:gd name="T43" fmla="*/ 5 h 74"/>
                  <a:gd name="T44" fmla="*/ 4 w 68"/>
                  <a:gd name="T45" fmla="*/ 38 h 74"/>
                  <a:gd name="T46" fmla="*/ 4 w 68"/>
                  <a:gd name="T47" fmla="*/ 4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74">
                    <a:moveTo>
                      <a:pt x="53" y="74"/>
                    </a:moveTo>
                    <a:cubicBezTo>
                      <a:pt x="53" y="74"/>
                      <a:pt x="53" y="74"/>
                      <a:pt x="52" y="74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1" y="0"/>
                      <a:pt x="62" y="1"/>
                    </a:cubicBezTo>
                    <a:cubicBezTo>
                      <a:pt x="67" y="4"/>
                      <a:pt x="67" y="4"/>
                      <a:pt x="67" y="4"/>
                    </a:cubicBezTo>
                    <a:cubicBezTo>
                      <a:pt x="68" y="4"/>
                      <a:pt x="68" y="5"/>
                      <a:pt x="68" y="5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8"/>
                      <a:pt x="68" y="9"/>
                      <a:pt x="67" y="9"/>
                    </a:cubicBezTo>
                    <a:cubicBezTo>
                      <a:pt x="55" y="16"/>
                      <a:pt x="55" y="16"/>
                      <a:pt x="55" y="16"/>
                    </a:cubicBezTo>
                    <a:cubicBezTo>
                      <a:pt x="55" y="72"/>
                      <a:pt x="55" y="72"/>
                      <a:pt x="55" y="72"/>
                    </a:cubicBezTo>
                    <a:cubicBezTo>
                      <a:pt x="55" y="73"/>
                      <a:pt x="55" y="74"/>
                      <a:pt x="54" y="74"/>
                    </a:cubicBezTo>
                    <a:cubicBezTo>
                      <a:pt x="54" y="74"/>
                      <a:pt x="54" y="74"/>
                      <a:pt x="53" y="74"/>
                    </a:cubicBezTo>
                    <a:close/>
                    <a:moveTo>
                      <a:pt x="4" y="41"/>
                    </a:move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4"/>
                      <a:pt x="52" y="13"/>
                      <a:pt x="52" y="13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4" y="4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5" name="Freeform 864">
                <a:extLst>
                  <a:ext uri="{FF2B5EF4-FFF2-40B4-BE49-F238E27FC236}">
                    <a16:creationId xmlns:a16="http://schemas.microsoft.com/office/drawing/2014/main" id="{CC56626A-8F36-4922-B735-39EFB718AD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62232" y="5087551"/>
                <a:ext cx="113092" cy="194020"/>
              </a:xfrm>
              <a:custGeom>
                <a:avLst/>
                <a:gdLst>
                  <a:gd name="T0" fmla="*/ 27 w 46"/>
                  <a:gd name="T1" fmla="*/ 79 h 79"/>
                  <a:gd name="T2" fmla="*/ 26 w 46"/>
                  <a:gd name="T3" fmla="*/ 78 h 79"/>
                  <a:gd name="T4" fmla="*/ 1 w 46"/>
                  <a:gd name="T5" fmla="*/ 64 h 79"/>
                  <a:gd name="T6" fmla="*/ 0 w 46"/>
                  <a:gd name="T7" fmla="*/ 63 h 79"/>
                  <a:gd name="T8" fmla="*/ 0 w 46"/>
                  <a:gd name="T9" fmla="*/ 26 h 79"/>
                  <a:gd name="T10" fmla="*/ 1 w 46"/>
                  <a:gd name="T11" fmla="*/ 25 h 79"/>
                  <a:gd name="T12" fmla="*/ 43 w 46"/>
                  <a:gd name="T13" fmla="*/ 1 h 79"/>
                  <a:gd name="T14" fmla="*/ 45 w 46"/>
                  <a:gd name="T15" fmla="*/ 1 h 79"/>
                  <a:gd name="T16" fmla="*/ 46 w 46"/>
                  <a:gd name="T17" fmla="*/ 3 h 79"/>
                  <a:gd name="T18" fmla="*/ 46 w 46"/>
                  <a:gd name="T19" fmla="*/ 67 h 79"/>
                  <a:gd name="T20" fmla="*/ 45 w 46"/>
                  <a:gd name="T21" fmla="*/ 68 h 79"/>
                  <a:gd name="T22" fmla="*/ 28 w 46"/>
                  <a:gd name="T23" fmla="*/ 78 h 79"/>
                  <a:gd name="T24" fmla="*/ 27 w 46"/>
                  <a:gd name="T25" fmla="*/ 79 h 79"/>
                  <a:gd name="T26" fmla="*/ 4 w 46"/>
                  <a:gd name="T27" fmla="*/ 61 h 79"/>
                  <a:gd name="T28" fmla="*/ 27 w 46"/>
                  <a:gd name="T29" fmla="*/ 74 h 79"/>
                  <a:gd name="T30" fmla="*/ 42 w 46"/>
                  <a:gd name="T31" fmla="*/ 66 h 79"/>
                  <a:gd name="T32" fmla="*/ 42 w 46"/>
                  <a:gd name="T33" fmla="*/ 6 h 79"/>
                  <a:gd name="T34" fmla="*/ 4 w 46"/>
                  <a:gd name="T35" fmla="*/ 28 h 79"/>
                  <a:gd name="T36" fmla="*/ 4 w 46"/>
                  <a:gd name="T37" fmla="*/ 61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6" h="79">
                    <a:moveTo>
                      <a:pt x="27" y="79"/>
                    </a:moveTo>
                    <a:cubicBezTo>
                      <a:pt x="26" y="79"/>
                      <a:pt x="26" y="78"/>
                      <a:pt x="26" y="78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4"/>
                      <a:pt x="0" y="63"/>
                      <a:pt x="0" y="6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45" y="1"/>
                      <a:pt x="46" y="2"/>
                      <a:pt x="46" y="3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5" y="68"/>
                      <a:pt x="45" y="68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27" y="78"/>
                      <a:pt x="27" y="79"/>
                      <a:pt x="27" y="79"/>
                    </a:cubicBezTo>
                    <a:close/>
                    <a:moveTo>
                      <a:pt x="4" y="61"/>
                    </a:moveTo>
                    <a:cubicBezTo>
                      <a:pt x="27" y="74"/>
                      <a:pt x="27" y="74"/>
                      <a:pt x="27" y="74"/>
                    </a:cubicBezTo>
                    <a:cubicBezTo>
                      <a:pt x="42" y="66"/>
                      <a:pt x="42" y="66"/>
                      <a:pt x="42" y="6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6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6" name="Freeform 865">
                <a:extLst>
                  <a:ext uri="{FF2B5EF4-FFF2-40B4-BE49-F238E27FC236}">
                    <a16:creationId xmlns:a16="http://schemas.microsoft.com/office/drawing/2014/main" id="{7492F709-84E4-4C5D-A6A3-CF855DC40D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08921" y="5240069"/>
                <a:ext cx="66403" cy="75740"/>
              </a:xfrm>
              <a:custGeom>
                <a:avLst/>
                <a:gdLst>
                  <a:gd name="T0" fmla="*/ 2 w 27"/>
                  <a:gd name="T1" fmla="*/ 31 h 31"/>
                  <a:gd name="T2" fmla="*/ 1 w 27"/>
                  <a:gd name="T3" fmla="*/ 30 h 31"/>
                  <a:gd name="T4" fmla="*/ 0 w 27"/>
                  <a:gd name="T5" fmla="*/ 29 h 31"/>
                  <a:gd name="T6" fmla="*/ 0 w 27"/>
                  <a:gd name="T7" fmla="*/ 3 h 31"/>
                  <a:gd name="T8" fmla="*/ 1 w 27"/>
                  <a:gd name="T9" fmla="*/ 1 h 31"/>
                  <a:gd name="T10" fmla="*/ 3 w 27"/>
                  <a:gd name="T11" fmla="*/ 1 h 31"/>
                  <a:gd name="T12" fmla="*/ 26 w 27"/>
                  <a:gd name="T13" fmla="*/ 14 h 31"/>
                  <a:gd name="T14" fmla="*/ 27 w 27"/>
                  <a:gd name="T15" fmla="*/ 16 h 31"/>
                  <a:gd name="T16" fmla="*/ 26 w 27"/>
                  <a:gd name="T17" fmla="*/ 17 h 31"/>
                  <a:gd name="T18" fmla="*/ 3 w 27"/>
                  <a:gd name="T19" fmla="*/ 30 h 31"/>
                  <a:gd name="T20" fmla="*/ 2 w 27"/>
                  <a:gd name="T21" fmla="*/ 31 h 31"/>
                  <a:gd name="T22" fmla="*/ 4 w 27"/>
                  <a:gd name="T23" fmla="*/ 6 h 31"/>
                  <a:gd name="T24" fmla="*/ 4 w 27"/>
                  <a:gd name="T25" fmla="*/ 25 h 31"/>
                  <a:gd name="T26" fmla="*/ 21 w 27"/>
                  <a:gd name="T27" fmla="*/ 16 h 31"/>
                  <a:gd name="T28" fmla="*/ 4 w 27"/>
                  <a:gd name="T2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1">
                    <a:moveTo>
                      <a:pt x="2" y="31"/>
                    </a:moveTo>
                    <a:cubicBezTo>
                      <a:pt x="2" y="31"/>
                      <a:pt x="2" y="30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7" y="14"/>
                      <a:pt x="27" y="15"/>
                      <a:pt x="27" y="16"/>
                    </a:cubicBezTo>
                    <a:cubicBezTo>
                      <a:pt x="27" y="16"/>
                      <a:pt x="27" y="17"/>
                      <a:pt x="26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1"/>
                      <a:pt x="2" y="31"/>
                    </a:cubicBezTo>
                    <a:close/>
                    <a:moveTo>
                      <a:pt x="4" y="6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1" y="16"/>
                      <a:pt x="21" y="16"/>
                      <a:pt x="21" y="1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7" name="Freeform 867">
                <a:extLst>
                  <a:ext uri="{FF2B5EF4-FFF2-40B4-BE49-F238E27FC236}">
                    <a16:creationId xmlns:a16="http://schemas.microsoft.com/office/drawing/2014/main" id="{9EF64A2C-6650-4D6B-B633-ECEF41878F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4909094"/>
                <a:ext cx="304000" cy="345501"/>
              </a:xfrm>
              <a:custGeom>
                <a:avLst/>
                <a:gdLst>
                  <a:gd name="T0" fmla="*/ 45 w 124"/>
                  <a:gd name="T1" fmla="*/ 141 h 141"/>
                  <a:gd name="T2" fmla="*/ 44 w 124"/>
                  <a:gd name="T3" fmla="*/ 141 h 141"/>
                  <a:gd name="T4" fmla="*/ 43 w 124"/>
                  <a:gd name="T5" fmla="*/ 139 h 141"/>
                  <a:gd name="T6" fmla="*/ 43 w 124"/>
                  <a:gd name="T7" fmla="*/ 76 h 141"/>
                  <a:gd name="T8" fmla="*/ 3 w 124"/>
                  <a:gd name="T9" fmla="*/ 99 h 141"/>
                  <a:gd name="T10" fmla="*/ 1 w 124"/>
                  <a:gd name="T11" fmla="*/ 99 h 141"/>
                  <a:gd name="T12" fmla="*/ 0 w 124"/>
                  <a:gd name="T13" fmla="*/ 97 h 141"/>
                  <a:gd name="T14" fmla="*/ 0 w 124"/>
                  <a:gd name="T15" fmla="*/ 25 h 141"/>
                  <a:gd name="T16" fmla="*/ 1 w 124"/>
                  <a:gd name="T17" fmla="*/ 24 h 141"/>
                  <a:gd name="T18" fmla="*/ 32 w 124"/>
                  <a:gd name="T19" fmla="*/ 6 h 141"/>
                  <a:gd name="T20" fmla="*/ 34 w 124"/>
                  <a:gd name="T21" fmla="*/ 6 h 141"/>
                  <a:gd name="T22" fmla="*/ 73 w 124"/>
                  <a:gd name="T23" fmla="*/ 28 h 141"/>
                  <a:gd name="T24" fmla="*/ 121 w 124"/>
                  <a:gd name="T25" fmla="*/ 0 h 141"/>
                  <a:gd name="T26" fmla="*/ 123 w 124"/>
                  <a:gd name="T27" fmla="*/ 0 h 141"/>
                  <a:gd name="T28" fmla="*/ 124 w 124"/>
                  <a:gd name="T29" fmla="*/ 2 h 141"/>
                  <a:gd name="T30" fmla="*/ 124 w 124"/>
                  <a:gd name="T31" fmla="*/ 94 h 141"/>
                  <a:gd name="T32" fmla="*/ 123 w 124"/>
                  <a:gd name="T33" fmla="*/ 96 h 141"/>
                  <a:gd name="T34" fmla="*/ 118 w 124"/>
                  <a:gd name="T35" fmla="*/ 99 h 141"/>
                  <a:gd name="T36" fmla="*/ 116 w 124"/>
                  <a:gd name="T37" fmla="*/ 99 h 141"/>
                  <a:gd name="T38" fmla="*/ 58 w 124"/>
                  <a:gd name="T39" fmla="*/ 66 h 141"/>
                  <a:gd name="T40" fmla="*/ 58 w 124"/>
                  <a:gd name="T41" fmla="*/ 133 h 141"/>
                  <a:gd name="T42" fmla="*/ 57 w 124"/>
                  <a:gd name="T43" fmla="*/ 134 h 141"/>
                  <a:gd name="T44" fmla="*/ 46 w 124"/>
                  <a:gd name="T45" fmla="*/ 141 h 141"/>
                  <a:gd name="T46" fmla="*/ 45 w 124"/>
                  <a:gd name="T47" fmla="*/ 141 h 141"/>
                  <a:gd name="T48" fmla="*/ 45 w 124"/>
                  <a:gd name="T49" fmla="*/ 71 h 141"/>
                  <a:gd name="T50" fmla="*/ 46 w 124"/>
                  <a:gd name="T51" fmla="*/ 71 h 141"/>
                  <a:gd name="T52" fmla="*/ 47 w 124"/>
                  <a:gd name="T53" fmla="*/ 73 h 141"/>
                  <a:gd name="T54" fmla="*/ 47 w 124"/>
                  <a:gd name="T55" fmla="*/ 135 h 141"/>
                  <a:gd name="T56" fmla="*/ 54 w 124"/>
                  <a:gd name="T57" fmla="*/ 131 h 141"/>
                  <a:gd name="T58" fmla="*/ 54 w 124"/>
                  <a:gd name="T59" fmla="*/ 62 h 141"/>
                  <a:gd name="T60" fmla="*/ 55 w 124"/>
                  <a:gd name="T61" fmla="*/ 61 h 141"/>
                  <a:gd name="T62" fmla="*/ 57 w 124"/>
                  <a:gd name="T63" fmla="*/ 61 h 141"/>
                  <a:gd name="T64" fmla="*/ 117 w 124"/>
                  <a:gd name="T65" fmla="*/ 95 h 141"/>
                  <a:gd name="T66" fmla="*/ 120 w 124"/>
                  <a:gd name="T67" fmla="*/ 93 h 141"/>
                  <a:gd name="T68" fmla="*/ 120 w 124"/>
                  <a:gd name="T69" fmla="*/ 6 h 141"/>
                  <a:gd name="T70" fmla="*/ 74 w 124"/>
                  <a:gd name="T71" fmla="*/ 32 h 141"/>
                  <a:gd name="T72" fmla="*/ 72 w 124"/>
                  <a:gd name="T73" fmla="*/ 32 h 141"/>
                  <a:gd name="T74" fmla="*/ 33 w 124"/>
                  <a:gd name="T75" fmla="*/ 10 h 141"/>
                  <a:gd name="T76" fmla="*/ 4 w 124"/>
                  <a:gd name="T77" fmla="*/ 27 h 141"/>
                  <a:gd name="T78" fmla="*/ 4 w 124"/>
                  <a:gd name="T79" fmla="*/ 94 h 141"/>
                  <a:gd name="T80" fmla="*/ 44 w 124"/>
                  <a:gd name="T81" fmla="*/ 71 h 141"/>
                  <a:gd name="T82" fmla="*/ 45 w 124"/>
                  <a:gd name="T83" fmla="*/ 7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4" h="141">
                    <a:moveTo>
                      <a:pt x="45" y="141"/>
                    </a:moveTo>
                    <a:cubicBezTo>
                      <a:pt x="45" y="141"/>
                      <a:pt x="45" y="141"/>
                      <a:pt x="44" y="141"/>
                    </a:cubicBezTo>
                    <a:cubicBezTo>
                      <a:pt x="44" y="140"/>
                      <a:pt x="43" y="140"/>
                      <a:pt x="43" y="139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3" y="100"/>
                      <a:pt x="2" y="100"/>
                      <a:pt x="1" y="99"/>
                    </a:cubicBezTo>
                    <a:cubicBezTo>
                      <a:pt x="1" y="99"/>
                      <a:pt x="0" y="98"/>
                      <a:pt x="0" y="9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4"/>
                      <a:pt x="1" y="24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3" y="6"/>
                      <a:pt x="33" y="6"/>
                      <a:pt x="34" y="6"/>
                    </a:cubicBezTo>
                    <a:cubicBezTo>
                      <a:pt x="73" y="28"/>
                      <a:pt x="73" y="28"/>
                      <a:pt x="73" y="28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2" y="0"/>
                      <a:pt x="122" y="0"/>
                      <a:pt x="123" y="0"/>
                    </a:cubicBezTo>
                    <a:cubicBezTo>
                      <a:pt x="124" y="1"/>
                      <a:pt x="124" y="1"/>
                      <a:pt x="124" y="2"/>
                    </a:cubicBezTo>
                    <a:cubicBezTo>
                      <a:pt x="124" y="94"/>
                      <a:pt x="124" y="94"/>
                      <a:pt x="124" y="94"/>
                    </a:cubicBezTo>
                    <a:cubicBezTo>
                      <a:pt x="124" y="95"/>
                      <a:pt x="124" y="96"/>
                      <a:pt x="123" y="96"/>
                    </a:cubicBezTo>
                    <a:cubicBezTo>
                      <a:pt x="118" y="99"/>
                      <a:pt x="118" y="99"/>
                      <a:pt x="118" y="99"/>
                    </a:cubicBezTo>
                    <a:cubicBezTo>
                      <a:pt x="117" y="100"/>
                      <a:pt x="117" y="100"/>
                      <a:pt x="116" y="99"/>
                    </a:cubicBezTo>
                    <a:cubicBezTo>
                      <a:pt x="58" y="66"/>
                      <a:pt x="58" y="66"/>
                      <a:pt x="58" y="66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58" y="133"/>
                      <a:pt x="58" y="134"/>
                      <a:pt x="57" y="134"/>
                    </a:cubicBezTo>
                    <a:cubicBezTo>
                      <a:pt x="46" y="141"/>
                      <a:pt x="46" y="141"/>
                      <a:pt x="46" y="141"/>
                    </a:cubicBezTo>
                    <a:cubicBezTo>
                      <a:pt x="46" y="141"/>
                      <a:pt x="46" y="141"/>
                      <a:pt x="45" y="141"/>
                    </a:cubicBezTo>
                    <a:close/>
                    <a:moveTo>
                      <a:pt x="45" y="71"/>
                    </a:moveTo>
                    <a:cubicBezTo>
                      <a:pt x="46" y="71"/>
                      <a:pt x="46" y="71"/>
                      <a:pt x="46" y="71"/>
                    </a:cubicBezTo>
                    <a:cubicBezTo>
                      <a:pt x="47" y="71"/>
                      <a:pt x="47" y="72"/>
                      <a:pt x="47" y="73"/>
                    </a:cubicBezTo>
                    <a:cubicBezTo>
                      <a:pt x="47" y="135"/>
                      <a:pt x="47" y="135"/>
                      <a:pt x="47" y="135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4" y="62"/>
                      <a:pt x="54" y="61"/>
                      <a:pt x="55" y="61"/>
                    </a:cubicBezTo>
                    <a:cubicBezTo>
                      <a:pt x="56" y="60"/>
                      <a:pt x="56" y="60"/>
                      <a:pt x="57" y="61"/>
                    </a:cubicBezTo>
                    <a:cubicBezTo>
                      <a:pt x="117" y="95"/>
                      <a:pt x="117" y="95"/>
                      <a:pt x="117" y="95"/>
                    </a:cubicBezTo>
                    <a:cubicBezTo>
                      <a:pt x="120" y="93"/>
                      <a:pt x="120" y="93"/>
                      <a:pt x="120" y="93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3" y="33"/>
                      <a:pt x="72" y="33"/>
                      <a:pt x="72" y="32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4" y="94"/>
                      <a:pt x="4" y="94"/>
                      <a:pt x="4" y="94"/>
                    </a:cubicBezTo>
                    <a:cubicBezTo>
                      <a:pt x="44" y="71"/>
                      <a:pt x="44" y="71"/>
                      <a:pt x="44" y="71"/>
                    </a:cubicBezTo>
                    <a:cubicBezTo>
                      <a:pt x="45" y="71"/>
                      <a:pt x="45" y="71"/>
                      <a:pt x="45" y="7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8" name="Freeform 870">
                <a:extLst>
                  <a:ext uri="{FF2B5EF4-FFF2-40B4-BE49-F238E27FC236}">
                    <a16:creationId xmlns:a16="http://schemas.microsoft.com/office/drawing/2014/main" id="{2735759E-7258-4FA1-9598-028B53718E2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466137" y="5337598"/>
                <a:ext cx="24901" cy="17638"/>
              </a:xfrm>
              <a:custGeom>
                <a:avLst/>
                <a:gdLst>
                  <a:gd name="T0" fmla="*/ 6 w 10"/>
                  <a:gd name="T1" fmla="*/ 7 h 7"/>
                  <a:gd name="T2" fmla="*/ 5 w 10"/>
                  <a:gd name="T3" fmla="*/ 7 h 7"/>
                  <a:gd name="T4" fmla="*/ 1 w 10"/>
                  <a:gd name="T5" fmla="*/ 5 h 7"/>
                  <a:gd name="T6" fmla="*/ 0 w 10"/>
                  <a:gd name="T7" fmla="*/ 3 h 7"/>
                  <a:gd name="T8" fmla="*/ 1 w 10"/>
                  <a:gd name="T9" fmla="*/ 1 h 7"/>
                  <a:gd name="T10" fmla="*/ 3 w 10"/>
                  <a:gd name="T11" fmla="*/ 0 h 7"/>
                  <a:gd name="T12" fmla="*/ 5 w 10"/>
                  <a:gd name="T13" fmla="*/ 0 h 7"/>
                  <a:gd name="T14" fmla="*/ 9 w 10"/>
                  <a:gd name="T15" fmla="*/ 3 h 7"/>
                  <a:gd name="T16" fmla="*/ 10 w 10"/>
                  <a:gd name="T17" fmla="*/ 4 h 7"/>
                  <a:gd name="T18" fmla="*/ 9 w 10"/>
                  <a:gd name="T19" fmla="*/ 6 h 7"/>
                  <a:gd name="T20" fmla="*/ 7 w 10"/>
                  <a:gd name="T21" fmla="*/ 7 h 7"/>
                  <a:gd name="T22" fmla="*/ 6 w 10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7">
                    <a:moveTo>
                      <a:pt x="6" y="7"/>
                    </a:moveTo>
                    <a:cubicBezTo>
                      <a:pt x="6" y="7"/>
                      <a:pt x="6" y="7"/>
                      <a:pt x="5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10" y="4"/>
                      <a:pt x="10" y="4"/>
                    </a:cubicBezTo>
                    <a:cubicBezTo>
                      <a:pt x="10" y="5"/>
                      <a:pt x="9" y="6"/>
                      <a:pt x="9" y="6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9" name="Freeform 871">
                <a:extLst>
                  <a:ext uri="{FF2B5EF4-FFF2-40B4-BE49-F238E27FC236}">
                    <a16:creationId xmlns:a16="http://schemas.microsoft.com/office/drawing/2014/main" id="{DFFE586D-5D16-4AF7-9575-1661CAC6EB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85565" y="5609433"/>
                <a:ext cx="30089" cy="37351"/>
              </a:xfrm>
              <a:custGeom>
                <a:avLst/>
                <a:gdLst>
                  <a:gd name="T0" fmla="*/ 10 w 12"/>
                  <a:gd name="T1" fmla="*/ 15 h 15"/>
                  <a:gd name="T2" fmla="*/ 9 w 12"/>
                  <a:gd name="T3" fmla="*/ 14 h 15"/>
                  <a:gd name="T4" fmla="*/ 1 w 12"/>
                  <a:gd name="T5" fmla="*/ 9 h 15"/>
                  <a:gd name="T6" fmla="*/ 0 w 12"/>
                  <a:gd name="T7" fmla="*/ 8 h 15"/>
                  <a:gd name="T8" fmla="*/ 1 w 12"/>
                  <a:gd name="T9" fmla="*/ 6 h 15"/>
                  <a:gd name="T10" fmla="*/ 9 w 12"/>
                  <a:gd name="T11" fmla="*/ 1 h 15"/>
                  <a:gd name="T12" fmla="*/ 11 w 12"/>
                  <a:gd name="T13" fmla="*/ 1 h 15"/>
                  <a:gd name="T14" fmla="*/ 12 w 12"/>
                  <a:gd name="T15" fmla="*/ 3 h 15"/>
                  <a:gd name="T16" fmla="*/ 12 w 12"/>
                  <a:gd name="T17" fmla="*/ 13 h 15"/>
                  <a:gd name="T18" fmla="*/ 11 w 12"/>
                  <a:gd name="T19" fmla="*/ 14 h 15"/>
                  <a:gd name="T20" fmla="*/ 10 w 12"/>
                  <a:gd name="T21" fmla="*/ 15 h 15"/>
                  <a:gd name="T22" fmla="*/ 6 w 12"/>
                  <a:gd name="T23" fmla="*/ 8 h 15"/>
                  <a:gd name="T24" fmla="*/ 8 w 12"/>
                  <a:gd name="T25" fmla="*/ 9 h 15"/>
                  <a:gd name="T26" fmla="*/ 8 w 12"/>
                  <a:gd name="T27" fmla="*/ 6 h 15"/>
                  <a:gd name="T28" fmla="*/ 6 w 12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5">
                    <a:moveTo>
                      <a:pt x="10" y="15"/>
                    </a:moveTo>
                    <a:cubicBezTo>
                      <a:pt x="10" y="15"/>
                      <a:pt x="10" y="14"/>
                      <a:pt x="9" y="14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2" y="1"/>
                      <a:pt x="12" y="2"/>
                      <a:pt x="12" y="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4"/>
                      <a:pt x="11" y="14"/>
                    </a:cubicBezTo>
                    <a:cubicBezTo>
                      <a:pt x="11" y="14"/>
                      <a:pt x="11" y="15"/>
                      <a:pt x="10" y="15"/>
                    </a:cubicBezTo>
                    <a:close/>
                    <a:moveTo>
                      <a:pt x="6" y="8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0" name="Freeform 872">
                <a:extLst>
                  <a:ext uri="{FF2B5EF4-FFF2-40B4-BE49-F238E27FC236}">
                    <a16:creationId xmlns:a16="http://schemas.microsoft.com/office/drawing/2014/main" id="{68527E28-6B38-4B1D-B31F-0F6674CA67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34424" y="4901831"/>
                <a:ext cx="64328" cy="158744"/>
              </a:xfrm>
              <a:custGeom>
                <a:avLst/>
                <a:gdLst>
                  <a:gd name="T0" fmla="*/ 2 w 26"/>
                  <a:gd name="T1" fmla="*/ 65 h 65"/>
                  <a:gd name="T2" fmla="*/ 1 w 26"/>
                  <a:gd name="T3" fmla="*/ 65 h 65"/>
                  <a:gd name="T4" fmla="*/ 0 w 26"/>
                  <a:gd name="T5" fmla="*/ 63 h 65"/>
                  <a:gd name="T6" fmla="*/ 0 w 26"/>
                  <a:gd name="T7" fmla="*/ 2 h 65"/>
                  <a:gd name="T8" fmla="*/ 1 w 26"/>
                  <a:gd name="T9" fmla="*/ 0 h 65"/>
                  <a:gd name="T10" fmla="*/ 3 w 26"/>
                  <a:gd name="T11" fmla="*/ 0 h 65"/>
                  <a:gd name="T12" fmla="*/ 25 w 26"/>
                  <a:gd name="T13" fmla="*/ 13 h 65"/>
                  <a:gd name="T14" fmla="*/ 26 w 26"/>
                  <a:gd name="T15" fmla="*/ 14 h 65"/>
                  <a:gd name="T16" fmla="*/ 26 w 26"/>
                  <a:gd name="T17" fmla="*/ 51 h 65"/>
                  <a:gd name="T18" fmla="*/ 25 w 26"/>
                  <a:gd name="T19" fmla="*/ 53 h 65"/>
                  <a:gd name="T20" fmla="*/ 3 w 26"/>
                  <a:gd name="T21" fmla="*/ 65 h 65"/>
                  <a:gd name="T22" fmla="*/ 2 w 26"/>
                  <a:gd name="T23" fmla="*/ 65 h 65"/>
                  <a:gd name="T24" fmla="*/ 4 w 26"/>
                  <a:gd name="T25" fmla="*/ 6 h 65"/>
                  <a:gd name="T26" fmla="*/ 4 w 26"/>
                  <a:gd name="T27" fmla="*/ 60 h 65"/>
                  <a:gd name="T28" fmla="*/ 22 w 26"/>
                  <a:gd name="T29" fmla="*/ 50 h 65"/>
                  <a:gd name="T30" fmla="*/ 22 w 26"/>
                  <a:gd name="T31" fmla="*/ 16 h 65"/>
                  <a:gd name="T32" fmla="*/ 4 w 26"/>
                  <a:gd name="T33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65">
                    <a:moveTo>
                      <a:pt x="2" y="65"/>
                    </a:moveTo>
                    <a:cubicBezTo>
                      <a:pt x="2" y="65"/>
                      <a:pt x="2" y="65"/>
                      <a:pt x="1" y="65"/>
                    </a:cubicBezTo>
                    <a:cubicBezTo>
                      <a:pt x="1" y="65"/>
                      <a:pt x="0" y="64"/>
                      <a:pt x="0" y="6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4"/>
                      <a:pt x="26" y="14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2"/>
                      <a:pt x="25" y="52"/>
                      <a:pt x="25" y="53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3" y="65"/>
                      <a:pt x="3" y="65"/>
                      <a:pt x="2" y="65"/>
                    </a:cubicBezTo>
                    <a:close/>
                    <a:moveTo>
                      <a:pt x="4" y="6"/>
                    </a:moveTo>
                    <a:cubicBezTo>
                      <a:pt x="4" y="60"/>
                      <a:pt x="4" y="60"/>
                      <a:pt x="4" y="6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16"/>
                      <a:pt x="22" y="16"/>
                      <a:pt x="22" y="1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1" name="Freeform 873">
                <a:extLst>
                  <a:ext uri="{FF2B5EF4-FFF2-40B4-BE49-F238E27FC236}">
                    <a16:creationId xmlns:a16="http://schemas.microsoft.com/office/drawing/2014/main" id="{C7BFD69E-7382-4437-801C-5C1172A310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0227" y="5281571"/>
                <a:ext cx="288437" cy="509432"/>
              </a:xfrm>
              <a:custGeom>
                <a:avLst/>
                <a:gdLst>
                  <a:gd name="T0" fmla="*/ 115 w 118"/>
                  <a:gd name="T1" fmla="*/ 208 h 208"/>
                  <a:gd name="T2" fmla="*/ 114 w 118"/>
                  <a:gd name="T3" fmla="*/ 208 h 208"/>
                  <a:gd name="T4" fmla="*/ 41 w 118"/>
                  <a:gd name="T5" fmla="*/ 165 h 208"/>
                  <a:gd name="T6" fmla="*/ 40 w 118"/>
                  <a:gd name="T7" fmla="*/ 164 h 208"/>
                  <a:gd name="T8" fmla="*/ 41 w 118"/>
                  <a:gd name="T9" fmla="*/ 162 h 208"/>
                  <a:gd name="T10" fmla="*/ 57 w 118"/>
                  <a:gd name="T11" fmla="*/ 152 h 208"/>
                  <a:gd name="T12" fmla="*/ 1 w 118"/>
                  <a:gd name="T13" fmla="*/ 120 h 208"/>
                  <a:gd name="T14" fmla="*/ 0 w 118"/>
                  <a:gd name="T15" fmla="*/ 119 h 208"/>
                  <a:gd name="T16" fmla="*/ 1 w 118"/>
                  <a:gd name="T17" fmla="*/ 117 h 208"/>
                  <a:gd name="T18" fmla="*/ 11 w 118"/>
                  <a:gd name="T19" fmla="*/ 111 h 208"/>
                  <a:gd name="T20" fmla="*/ 11 w 118"/>
                  <a:gd name="T21" fmla="*/ 2 h 208"/>
                  <a:gd name="T22" fmla="*/ 12 w 118"/>
                  <a:gd name="T23" fmla="*/ 1 h 208"/>
                  <a:gd name="T24" fmla="*/ 14 w 118"/>
                  <a:gd name="T25" fmla="*/ 1 h 208"/>
                  <a:gd name="T26" fmla="*/ 117 w 118"/>
                  <a:gd name="T27" fmla="*/ 60 h 208"/>
                  <a:gd name="T28" fmla="*/ 118 w 118"/>
                  <a:gd name="T29" fmla="*/ 62 h 208"/>
                  <a:gd name="T30" fmla="*/ 118 w 118"/>
                  <a:gd name="T31" fmla="*/ 82 h 208"/>
                  <a:gd name="T32" fmla="*/ 117 w 118"/>
                  <a:gd name="T33" fmla="*/ 84 h 208"/>
                  <a:gd name="T34" fmla="*/ 117 w 118"/>
                  <a:gd name="T35" fmla="*/ 206 h 208"/>
                  <a:gd name="T36" fmla="*/ 116 w 118"/>
                  <a:gd name="T37" fmla="*/ 208 h 208"/>
                  <a:gd name="T38" fmla="*/ 115 w 118"/>
                  <a:gd name="T39" fmla="*/ 208 h 208"/>
                  <a:gd name="T40" fmla="*/ 46 w 118"/>
                  <a:gd name="T41" fmla="*/ 164 h 208"/>
                  <a:gd name="T42" fmla="*/ 113 w 118"/>
                  <a:gd name="T43" fmla="*/ 202 h 208"/>
                  <a:gd name="T44" fmla="*/ 113 w 118"/>
                  <a:gd name="T45" fmla="*/ 82 h 208"/>
                  <a:gd name="T46" fmla="*/ 114 w 118"/>
                  <a:gd name="T47" fmla="*/ 81 h 208"/>
                  <a:gd name="T48" fmla="*/ 114 w 118"/>
                  <a:gd name="T49" fmla="*/ 63 h 208"/>
                  <a:gd name="T50" fmla="*/ 15 w 118"/>
                  <a:gd name="T51" fmla="*/ 6 h 208"/>
                  <a:gd name="T52" fmla="*/ 15 w 118"/>
                  <a:gd name="T53" fmla="*/ 112 h 208"/>
                  <a:gd name="T54" fmla="*/ 14 w 118"/>
                  <a:gd name="T55" fmla="*/ 114 h 208"/>
                  <a:gd name="T56" fmla="*/ 6 w 118"/>
                  <a:gd name="T57" fmla="*/ 119 h 208"/>
                  <a:gd name="T58" fmla="*/ 62 w 118"/>
                  <a:gd name="T59" fmla="*/ 151 h 208"/>
                  <a:gd name="T60" fmla="*/ 63 w 118"/>
                  <a:gd name="T61" fmla="*/ 152 h 208"/>
                  <a:gd name="T62" fmla="*/ 62 w 118"/>
                  <a:gd name="T63" fmla="*/ 154 h 208"/>
                  <a:gd name="T64" fmla="*/ 46 w 118"/>
                  <a:gd name="T65" fmla="*/ 16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8" h="208">
                    <a:moveTo>
                      <a:pt x="115" y="208"/>
                    </a:moveTo>
                    <a:cubicBezTo>
                      <a:pt x="115" y="208"/>
                      <a:pt x="114" y="208"/>
                      <a:pt x="114" y="208"/>
                    </a:cubicBezTo>
                    <a:cubicBezTo>
                      <a:pt x="41" y="165"/>
                      <a:pt x="41" y="165"/>
                      <a:pt x="41" y="165"/>
                    </a:cubicBezTo>
                    <a:cubicBezTo>
                      <a:pt x="40" y="165"/>
                      <a:pt x="40" y="164"/>
                      <a:pt x="40" y="164"/>
                    </a:cubicBezTo>
                    <a:cubicBezTo>
                      <a:pt x="40" y="163"/>
                      <a:pt x="40" y="162"/>
                      <a:pt x="41" y="162"/>
                    </a:cubicBezTo>
                    <a:cubicBezTo>
                      <a:pt x="57" y="152"/>
                      <a:pt x="57" y="152"/>
                      <a:pt x="57" y="15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20"/>
                      <a:pt x="0" y="119"/>
                      <a:pt x="0" y="119"/>
                    </a:cubicBezTo>
                    <a:cubicBezTo>
                      <a:pt x="0" y="118"/>
                      <a:pt x="1" y="117"/>
                      <a:pt x="1" y="117"/>
                    </a:cubicBezTo>
                    <a:cubicBezTo>
                      <a:pt x="11" y="111"/>
                      <a:pt x="11" y="111"/>
                      <a:pt x="11" y="111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2" y="1"/>
                      <a:pt x="12" y="1"/>
                    </a:cubicBezTo>
                    <a:cubicBezTo>
                      <a:pt x="13" y="0"/>
                      <a:pt x="14" y="0"/>
                      <a:pt x="14" y="1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7" y="60"/>
                      <a:pt x="118" y="61"/>
                      <a:pt x="118" y="62"/>
                    </a:cubicBezTo>
                    <a:cubicBezTo>
                      <a:pt x="118" y="82"/>
                      <a:pt x="118" y="82"/>
                      <a:pt x="118" y="82"/>
                    </a:cubicBezTo>
                    <a:cubicBezTo>
                      <a:pt x="118" y="83"/>
                      <a:pt x="118" y="83"/>
                      <a:pt x="117" y="84"/>
                    </a:cubicBezTo>
                    <a:cubicBezTo>
                      <a:pt x="117" y="206"/>
                      <a:pt x="117" y="206"/>
                      <a:pt x="117" y="206"/>
                    </a:cubicBezTo>
                    <a:cubicBezTo>
                      <a:pt x="117" y="207"/>
                      <a:pt x="117" y="207"/>
                      <a:pt x="116" y="208"/>
                    </a:cubicBezTo>
                    <a:cubicBezTo>
                      <a:pt x="116" y="208"/>
                      <a:pt x="115" y="208"/>
                      <a:pt x="115" y="208"/>
                    </a:cubicBezTo>
                    <a:close/>
                    <a:moveTo>
                      <a:pt x="46" y="164"/>
                    </a:moveTo>
                    <a:cubicBezTo>
                      <a:pt x="113" y="202"/>
                      <a:pt x="113" y="202"/>
                      <a:pt x="113" y="202"/>
                    </a:cubicBezTo>
                    <a:cubicBezTo>
                      <a:pt x="113" y="82"/>
                      <a:pt x="113" y="82"/>
                      <a:pt x="113" y="82"/>
                    </a:cubicBezTo>
                    <a:cubicBezTo>
                      <a:pt x="113" y="82"/>
                      <a:pt x="113" y="81"/>
                      <a:pt x="114" y="81"/>
                    </a:cubicBezTo>
                    <a:cubicBezTo>
                      <a:pt x="114" y="63"/>
                      <a:pt x="114" y="63"/>
                      <a:pt x="114" y="6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112"/>
                      <a:pt x="15" y="112"/>
                      <a:pt x="15" y="112"/>
                    </a:cubicBezTo>
                    <a:cubicBezTo>
                      <a:pt x="15" y="113"/>
                      <a:pt x="15" y="114"/>
                      <a:pt x="14" y="114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62" y="151"/>
                      <a:pt x="62" y="151"/>
                      <a:pt x="62" y="151"/>
                    </a:cubicBezTo>
                    <a:cubicBezTo>
                      <a:pt x="62" y="151"/>
                      <a:pt x="63" y="152"/>
                      <a:pt x="63" y="152"/>
                    </a:cubicBezTo>
                    <a:cubicBezTo>
                      <a:pt x="63" y="153"/>
                      <a:pt x="62" y="154"/>
                      <a:pt x="62" y="154"/>
                    </a:cubicBezTo>
                    <a:lnTo>
                      <a:pt x="46" y="1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2" name="Freeform 874">
                <a:extLst>
                  <a:ext uri="{FF2B5EF4-FFF2-40B4-BE49-F238E27FC236}">
                    <a16:creationId xmlns:a16="http://schemas.microsoft.com/office/drawing/2014/main" id="{B2F33B2A-3F7D-4373-97DF-20422CA7DD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132896" y="5886456"/>
                <a:ext cx="46689" cy="41502"/>
              </a:xfrm>
              <a:custGeom>
                <a:avLst/>
                <a:gdLst>
                  <a:gd name="T0" fmla="*/ 9 w 19"/>
                  <a:gd name="T1" fmla="*/ 17 h 17"/>
                  <a:gd name="T2" fmla="*/ 8 w 19"/>
                  <a:gd name="T3" fmla="*/ 16 h 17"/>
                  <a:gd name="T4" fmla="*/ 1 w 19"/>
                  <a:gd name="T5" fmla="*/ 12 h 17"/>
                  <a:gd name="T6" fmla="*/ 0 w 19"/>
                  <a:gd name="T7" fmla="*/ 10 h 17"/>
                  <a:gd name="T8" fmla="*/ 1 w 19"/>
                  <a:gd name="T9" fmla="*/ 9 h 17"/>
                  <a:gd name="T10" fmla="*/ 16 w 19"/>
                  <a:gd name="T11" fmla="*/ 0 h 17"/>
                  <a:gd name="T12" fmla="*/ 18 w 19"/>
                  <a:gd name="T13" fmla="*/ 0 h 17"/>
                  <a:gd name="T14" fmla="*/ 19 w 19"/>
                  <a:gd name="T15" fmla="*/ 2 h 17"/>
                  <a:gd name="T16" fmla="*/ 19 w 19"/>
                  <a:gd name="T17" fmla="*/ 10 h 17"/>
                  <a:gd name="T18" fmla="*/ 18 w 19"/>
                  <a:gd name="T19" fmla="*/ 12 h 17"/>
                  <a:gd name="T20" fmla="*/ 10 w 19"/>
                  <a:gd name="T21" fmla="*/ 16 h 17"/>
                  <a:gd name="T22" fmla="*/ 9 w 19"/>
                  <a:gd name="T23" fmla="*/ 17 h 17"/>
                  <a:gd name="T24" fmla="*/ 6 w 19"/>
                  <a:gd name="T25" fmla="*/ 10 h 17"/>
                  <a:gd name="T26" fmla="*/ 9 w 19"/>
                  <a:gd name="T27" fmla="*/ 12 h 17"/>
                  <a:gd name="T28" fmla="*/ 15 w 19"/>
                  <a:gd name="T29" fmla="*/ 9 h 17"/>
                  <a:gd name="T30" fmla="*/ 15 w 19"/>
                  <a:gd name="T31" fmla="*/ 5 h 17"/>
                  <a:gd name="T32" fmla="*/ 6 w 19"/>
                  <a:gd name="T3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7">
                    <a:moveTo>
                      <a:pt x="9" y="17"/>
                    </a:moveTo>
                    <a:cubicBezTo>
                      <a:pt x="9" y="17"/>
                      <a:pt x="9" y="17"/>
                      <a:pt x="8" y="1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0"/>
                      <a:pt x="19" y="1"/>
                      <a:pt x="19" y="2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1"/>
                      <a:pt x="18" y="12"/>
                      <a:pt x="18" y="12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7"/>
                      <a:pt x="10" y="17"/>
                      <a:pt x="9" y="17"/>
                    </a:cubicBezTo>
                    <a:close/>
                    <a:moveTo>
                      <a:pt x="6" y="1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3" name="Freeform 875">
                <a:extLst>
                  <a:ext uri="{FF2B5EF4-FFF2-40B4-BE49-F238E27FC236}">
                    <a16:creationId xmlns:a16="http://schemas.microsoft.com/office/drawing/2014/main" id="{415D5F6C-C639-4CD2-9291-B373572B354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125633" y="5734976"/>
                <a:ext cx="14526" cy="154593"/>
              </a:xfrm>
              <a:custGeom>
                <a:avLst/>
                <a:gdLst>
                  <a:gd name="T0" fmla="*/ 2 w 6"/>
                  <a:gd name="T1" fmla="*/ 63 h 63"/>
                  <a:gd name="T2" fmla="*/ 1 w 6"/>
                  <a:gd name="T3" fmla="*/ 63 h 63"/>
                  <a:gd name="T4" fmla="*/ 0 w 6"/>
                  <a:gd name="T5" fmla="*/ 61 h 63"/>
                  <a:gd name="T6" fmla="*/ 0 w 6"/>
                  <a:gd name="T7" fmla="*/ 3 h 63"/>
                  <a:gd name="T8" fmla="*/ 1 w 6"/>
                  <a:gd name="T9" fmla="*/ 2 h 63"/>
                  <a:gd name="T10" fmla="*/ 3 w 6"/>
                  <a:gd name="T11" fmla="*/ 0 h 63"/>
                  <a:gd name="T12" fmla="*/ 5 w 6"/>
                  <a:gd name="T13" fmla="*/ 0 h 63"/>
                  <a:gd name="T14" fmla="*/ 6 w 6"/>
                  <a:gd name="T15" fmla="*/ 2 h 63"/>
                  <a:gd name="T16" fmla="*/ 6 w 6"/>
                  <a:gd name="T17" fmla="*/ 60 h 63"/>
                  <a:gd name="T18" fmla="*/ 5 w 6"/>
                  <a:gd name="T19" fmla="*/ 61 h 63"/>
                  <a:gd name="T20" fmla="*/ 3 w 6"/>
                  <a:gd name="T21" fmla="*/ 63 h 63"/>
                  <a:gd name="T22" fmla="*/ 2 w 6"/>
                  <a:gd name="T2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63">
                    <a:moveTo>
                      <a:pt x="2" y="63"/>
                    </a:moveTo>
                    <a:cubicBezTo>
                      <a:pt x="2" y="63"/>
                      <a:pt x="2" y="63"/>
                      <a:pt x="1" y="63"/>
                    </a:cubicBezTo>
                    <a:cubicBezTo>
                      <a:pt x="1" y="62"/>
                      <a:pt x="0" y="62"/>
                      <a:pt x="0" y="6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60"/>
                      <a:pt x="6" y="61"/>
                      <a:pt x="5" y="61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3" y="63"/>
                      <a:pt x="2" y="6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4" name="Freeform 876">
                <a:extLst>
                  <a:ext uri="{FF2B5EF4-FFF2-40B4-BE49-F238E27FC236}">
                    <a16:creationId xmlns:a16="http://schemas.microsoft.com/office/drawing/2014/main" id="{BE454FC4-2B76-40CA-A040-2A3B4B6A1E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98015" y="5715262"/>
                <a:ext cx="132805" cy="169119"/>
              </a:xfrm>
              <a:custGeom>
                <a:avLst/>
                <a:gdLst>
                  <a:gd name="T0" fmla="*/ 2 w 54"/>
                  <a:gd name="T1" fmla="*/ 69 h 69"/>
                  <a:gd name="T2" fmla="*/ 1 w 54"/>
                  <a:gd name="T3" fmla="*/ 68 h 69"/>
                  <a:gd name="T4" fmla="*/ 0 w 54"/>
                  <a:gd name="T5" fmla="*/ 67 h 69"/>
                  <a:gd name="T6" fmla="*/ 0 w 54"/>
                  <a:gd name="T7" fmla="*/ 9 h 69"/>
                  <a:gd name="T8" fmla="*/ 1 w 54"/>
                  <a:gd name="T9" fmla="*/ 8 h 69"/>
                  <a:gd name="T10" fmla="*/ 13 w 54"/>
                  <a:gd name="T11" fmla="*/ 1 h 69"/>
                  <a:gd name="T12" fmla="*/ 15 w 54"/>
                  <a:gd name="T13" fmla="*/ 1 h 69"/>
                  <a:gd name="T14" fmla="*/ 53 w 54"/>
                  <a:gd name="T15" fmla="*/ 22 h 69"/>
                  <a:gd name="T16" fmla="*/ 54 w 54"/>
                  <a:gd name="T17" fmla="*/ 24 h 69"/>
                  <a:gd name="T18" fmla="*/ 53 w 54"/>
                  <a:gd name="T19" fmla="*/ 26 h 69"/>
                  <a:gd name="T20" fmla="*/ 11 w 54"/>
                  <a:gd name="T21" fmla="*/ 50 h 69"/>
                  <a:gd name="T22" fmla="*/ 20 w 54"/>
                  <a:gd name="T23" fmla="*/ 55 h 69"/>
                  <a:gd name="T24" fmla="*/ 21 w 54"/>
                  <a:gd name="T25" fmla="*/ 57 h 69"/>
                  <a:gd name="T26" fmla="*/ 20 w 54"/>
                  <a:gd name="T27" fmla="*/ 58 h 69"/>
                  <a:gd name="T28" fmla="*/ 3 w 54"/>
                  <a:gd name="T29" fmla="*/ 68 h 69"/>
                  <a:gd name="T30" fmla="*/ 2 w 54"/>
                  <a:gd name="T31" fmla="*/ 69 h 69"/>
                  <a:gd name="T32" fmla="*/ 4 w 54"/>
                  <a:gd name="T33" fmla="*/ 10 h 69"/>
                  <a:gd name="T34" fmla="*/ 4 w 54"/>
                  <a:gd name="T35" fmla="*/ 63 h 69"/>
                  <a:gd name="T36" fmla="*/ 15 w 54"/>
                  <a:gd name="T37" fmla="*/ 57 h 69"/>
                  <a:gd name="T38" fmla="*/ 6 w 54"/>
                  <a:gd name="T39" fmla="*/ 52 h 69"/>
                  <a:gd name="T40" fmla="*/ 5 w 54"/>
                  <a:gd name="T41" fmla="*/ 50 h 69"/>
                  <a:gd name="T42" fmla="*/ 6 w 54"/>
                  <a:gd name="T43" fmla="*/ 48 h 69"/>
                  <a:gd name="T44" fmla="*/ 48 w 54"/>
                  <a:gd name="T45" fmla="*/ 24 h 69"/>
                  <a:gd name="T46" fmla="*/ 14 w 54"/>
                  <a:gd name="T47" fmla="*/ 5 h 69"/>
                  <a:gd name="T48" fmla="*/ 4 w 54"/>
                  <a:gd name="T49" fmla="*/ 1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4" h="69">
                    <a:moveTo>
                      <a:pt x="2" y="69"/>
                    </a:moveTo>
                    <a:cubicBezTo>
                      <a:pt x="2" y="69"/>
                      <a:pt x="1" y="69"/>
                      <a:pt x="1" y="68"/>
                    </a:cubicBezTo>
                    <a:cubicBezTo>
                      <a:pt x="0" y="68"/>
                      <a:pt x="0" y="67"/>
                      <a:pt x="0" y="6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53" y="22"/>
                      <a:pt x="53" y="22"/>
                      <a:pt x="53" y="22"/>
                    </a:cubicBezTo>
                    <a:cubicBezTo>
                      <a:pt x="53" y="23"/>
                      <a:pt x="54" y="24"/>
                      <a:pt x="54" y="24"/>
                    </a:cubicBezTo>
                    <a:cubicBezTo>
                      <a:pt x="54" y="25"/>
                      <a:pt x="53" y="26"/>
                      <a:pt x="53" y="26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1" y="55"/>
                      <a:pt x="21" y="56"/>
                      <a:pt x="21" y="57"/>
                    </a:cubicBezTo>
                    <a:cubicBezTo>
                      <a:pt x="21" y="57"/>
                      <a:pt x="21" y="58"/>
                      <a:pt x="20" y="58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3" y="69"/>
                      <a:pt x="2" y="69"/>
                      <a:pt x="2" y="69"/>
                    </a:cubicBezTo>
                    <a:close/>
                    <a:moveTo>
                      <a:pt x="4" y="10"/>
                    </a:moveTo>
                    <a:cubicBezTo>
                      <a:pt x="4" y="63"/>
                      <a:pt x="4" y="63"/>
                      <a:pt x="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6" y="51"/>
                      <a:pt x="5" y="51"/>
                      <a:pt x="5" y="50"/>
                    </a:cubicBezTo>
                    <a:cubicBezTo>
                      <a:pt x="5" y="49"/>
                      <a:pt x="6" y="48"/>
                      <a:pt x="6" y="4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5" name="Freeform 877">
                <a:extLst>
                  <a:ext uri="{FF2B5EF4-FFF2-40B4-BE49-F238E27FC236}">
                    <a16:creationId xmlns:a16="http://schemas.microsoft.com/office/drawing/2014/main" id="{B2A1D5C5-5D5E-4974-BFB5-10E7A65A00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096582" y="5697624"/>
                <a:ext cx="34239" cy="39427"/>
              </a:xfrm>
              <a:custGeom>
                <a:avLst/>
                <a:gdLst>
                  <a:gd name="T0" fmla="*/ 2 w 14"/>
                  <a:gd name="T1" fmla="*/ 16 h 16"/>
                  <a:gd name="T2" fmla="*/ 1 w 14"/>
                  <a:gd name="T3" fmla="*/ 16 h 16"/>
                  <a:gd name="T4" fmla="*/ 0 w 14"/>
                  <a:gd name="T5" fmla="*/ 14 h 16"/>
                  <a:gd name="T6" fmla="*/ 0 w 14"/>
                  <a:gd name="T7" fmla="*/ 3 h 16"/>
                  <a:gd name="T8" fmla="*/ 1 w 14"/>
                  <a:gd name="T9" fmla="*/ 1 h 16"/>
                  <a:gd name="T10" fmla="*/ 3 w 14"/>
                  <a:gd name="T11" fmla="*/ 1 h 16"/>
                  <a:gd name="T12" fmla="*/ 13 w 14"/>
                  <a:gd name="T13" fmla="*/ 7 h 16"/>
                  <a:gd name="T14" fmla="*/ 14 w 14"/>
                  <a:gd name="T15" fmla="*/ 8 h 16"/>
                  <a:gd name="T16" fmla="*/ 13 w 14"/>
                  <a:gd name="T17" fmla="*/ 10 h 16"/>
                  <a:gd name="T18" fmla="*/ 3 w 14"/>
                  <a:gd name="T19" fmla="*/ 16 h 16"/>
                  <a:gd name="T20" fmla="*/ 2 w 14"/>
                  <a:gd name="T21" fmla="*/ 16 h 16"/>
                  <a:gd name="T22" fmla="*/ 4 w 14"/>
                  <a:gd name="T23" fmla="*/ 6 h 16"/>
                  <a:gd name="T24" fmla="*/ 4 w 14"/>
                  <a:gd name="T25" fmla="*/ 11 h 16"/>
                  <a:gd name="T26" fmla="*/ 8 w 14"/>
                  <a:gd name="T27" fmla="*/ 8 h 16"/>
                  <a:gd name="T28" fmla="*/ 4 w 14"/>
                  <a:gd name="T29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2" y="16"/>
                    </a:moveTo>
                    <a:cubicBezTo>
                      <a:pt x="2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4" y="7"/>
                      <a:pt x="14" y="8"/>
                      <a:pt x="14" y="8"/>
                    </a:cubicBezTo>
                    <a:cubicBezTo>
                      <a:pt x="14" y="9"/>
                      <a:pt x="14" y="10"/>
                      <a:pt x="13" y="10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  <a:moveTo>
                      <a:pt x="4" y="6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6" name="Freeform 878">
                <a:extLst>
                  <a:ext uri="{FF2B5EF4-FFF2-40B4-BE49-F238E27FC236}">
                    <a16:creationId xmlns:a16="http://schemas.microsoft.com/office/drawing/2014/main" id="{51EC66F2-7379-4687-A696-8FDA7F93DF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34424" y="5026336"/>
                <a:ext cx="64328" cy="190907"/>
              </a:xfrm>
              <a:custGeom>
                <a:avLst/>
                <a:gdLst>
                  <a:gd name="T0" fmla="*/ 2 w 26"/>
                  <a:gd name="T1" fmla="*/ 78 h 78"/>
                  <a:gd name="T2" fmla="*/ 1 w 26"/>
                  <a:gd name="T3" fmla="*/ 78 h 78"/>
                  <a:gd name="T4" fmla="*/ 0 w 26"/>
                  <a:gd name="T5" fmla="*/ 76 h 78"/>
                  <a:gd name="T6" fmla="*/ 0 w 26"/>
                  <a:gd name="T7" fmla="*/ 14 h 78"/>
                  <a:gd name="T8" fmla="*/ 1 w 26"/>
                  <a:gd name="T9" fmla="*/ 12 h 78"/>
                  <a:gd name="T10" fmla="*/ 23 w 26"/>
                  <a:gd name="T11" fmla="*/ 0 h 78"/>
                  <a:gd name="T12" fmla="*/ 25 w 26"/>
                  <a:gd name="T13" fmla="*/ 0 h 78"/>
                  <a:gd name="T14" fmla="*/ 26 w 26"/>
                  <a:gd name="T15" fmla="*/ 2 h 78"/>
                  <a:gd name="T16" fmla="*/ 26 w 26"/>
                  <a:gd name="T17" fmla="*/ 64 h 78"/>
                  <a:gd name="T18" fmla="*/ 25 w 26"/>
                  <a:gd name="T19" fmla="*/ 65 h 78"/>
                  <a:gd name="T20" fmla="*/ 3 w 26"/>
                  <a:gd name="T21" fmla="*/ 78 h 78"/>
                  <a:gd name="T22" fmla="*/ 2 w 26"/>
                  <a:gd name="T23" fmla="*/ 78 h 78"/>
                  <a:gd name="T24" fmla="*/ 4 w 26"/>
                  <a:gd name="T25" fmla="*/ 15 h 78"/>
                  <a:gd name="T26" fmla="*/ 4 w 26"/>
                  <a:gd name="T27" fmla="*/ 72 h 78"/>
                  <a:gd name="T28" fmla="*/ 22 w 26"/>
                  <a:gd name="T29" fmla="*/ 62 h 78"/>
                  <a:gd name="T30" fmla="*/ 22 w 26"/>
                  <a:gd name="T31" fmla="*/ 5 h 78"/>
                  <a:gd name="T32" fmla="*/ 4 w 26"/>
                  <a:gd name="T3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78">
                    <a:moveTo>
                      <a:pt x="2" y="78"/>
                    </a:moveTo>
                    <a:cubicBezTo>
                      <a:pt x="2" y="78"/>
                      <a:pt x="2" y="78"/>
                      <a:pt x="1" y="78"/>
                    </a:cubicBezTo>
                    <a:cubicBezTo>
                      <a:pt x="1" y="77"/>
                      <a:pt x="0" y="77"/>
                      <a:pt x="0" y="7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1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6" y="64"/>
                      <a:pt x="25" y="65"/>
                      <a:pt x="25" y="65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3" y="78"/>
                      <a:pt x="3" y="78"/>
                      <a:pt x="2" y="78"/>
                    </a:cubicBezTo>
                    <a:close/>
                    <a:moveTo>
                      <a:pt x="4" y="15"/>
                    </a:moveTo>
                    <a:cubicBezTo>
                      <a:pt x="4" y="72"/>
                      <a:pt x="4" y="72"/>
                      <a:pt x="4" y="72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5"/>
                      <a:pt x="22" y="5"/>
                      <a:pt x="22" y="5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7" name="Freeform 883">
                <a:extLst>
                  <a:ext uri="{FF2B5EF4-FFF2-40B4-BE49-F238E27FC236}">
                    <a16:creationId xmlns:a16="http://schemas.microsoft.com/office/drawing/2014/main" id="{C4E6BEF4-A6ED-426F-BFEF-DFD6B9EB21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34424" y="5180929"/>
                <a:ext cx="64328" cy="104791"/>
              </a:xfrm>
              <a:custGeom>
                <a:avLst/>
                <a:gdLst>
                  <a:gd name="T0" fmla="*/ 24 w 26"/>
                  <a:gd name="T1" fmla="*/ 43 h 43"/>
                  <a:gd name="T2" fmla="*/ 23 w 26"/>
                  <a:gd name="T3" fmla="*/ 42 h 43"/>
                  <a:gd name="T4" fmla="*/ 1 w 26"/>
                  <a:gd name="T5" fmla="*/ 30 h 43"/>
                  <a:gd name="T6" fmla="*/ 0 w 26"/>
                  <a:gd name="T7" fmla="*/ 28 h 43"/>
                  <a:gd name="T8" fmla="*/ 0 w 26"/>
                  <a:gd name="T9" fmla="*/ 15 h 43"/>
                  <a:gd name="T10" fmla="*/ 1 w 26"/>
                  <a:gd name="T11" fmla="*/ 13 h 43"/>
                  <a:gd name="T12" fmla="*/ 23 w 26"/>
                  <a:gd name="T13" fmla="*/ 1 h 43"/>
                  <a:gd name="T14" fmla="*/ 25 w 26"/>
                  <a:gd name="T15" fmla="*/ 1 h 43"/>
                  <a:gd name="T16" fmla="*/ 26 w 26"/>
                  <a:gd name="T17" fmla="*/ 3 h 43"/>
                  <a:gd name="T18" fmla="*/ 26 w 26"/>
                  <a:gd name="T19" fmla="*/ 41 h 43"/>
                  <a:gd name="T20" fmla="*/ 25 w 26"/>
                  <a:gd name="T21" fmla="*/ 42 h 43"/>
                  <a:gd name="T22" fmla="*/ 24 w 26"/>
                  <a:gd name="T23" fmla="*/ 43 h 43"/>
                  <a:gd name="T24" fmla="*/ 4 w 26"/>
                  <a:gd name="T25" fmla="*/ 27 h 43"/>
                  <a:gd name="T26" fmla="*/ 22 w 26"/>
                  <a:gd name="T27" fmla="*/ 37 h 43"/>
                  <a:gd name="T28" fmla="*/ 22 w 26"/>
                  <a:gd name="T29" fmla="*/ 6 h 43"/>
                  <a:gd name="T30" fmla="*/ 4 w 26"/>
                  <a:gd name="T31" fmla="*/ 16 h 43"/>
                  <a:gd name="T32" fmla="*/ 4 w 26"/>
                  <a:gd name="T33" fmla="*/ 2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43">
                    <a:moveTo>
                      <a:pt x="24" y="43"/>
                    </a:moveTo>
                    <a:cubicBezTo>
                      <a:pt x="23" y="43"/>
                      <a:pt x="23" y="42"/>
                      <a:pt x="23" y="4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0" y="29"/>
                      <a:pt x="0" y="2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4" y="0"/>
                      <a:pt x="25" y="1"/>
                    </a:cubicBezTo>
                    <a:cubicBezTo>
                      <a:pt x="25" y="1"/>
                      <a:pt x="26" y="2"/>
                      <a:pt x="26" y="3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6" y="41"/>
                      <a:pt x="25" y="42"/>
                      <a:pt x="25" y="42"/>
                    </a:cubicBezTo>
                    <a:cubicBezTo>
                      <a:pt x="24" y="42"/>
                      <a:pt x="24" y="43"/>
                      <a:pt x="24" y="43"/>
                    </a:cubicBezTo>
                    <a:close/>
                    <a:moveTo>
                      <a:pt x="4" y="27"/>
                    </a:move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8" name="Freeform 885">
                <a:extLst>
                  <a:ext uri="{FF2B5EF4-FFF2-40B4-BE49-F238E27FC236}">
                    <a16:creationId xmlns:a16="http://schemas.microsoft.com/office/drawing/2014/main" id="{0A67D15B-EE71-487A-B3BD-5FAB7346F7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71134" y="5585570"/>
                <a:ext cx="392191" cy="254197"/>
              </a:xfrm>
              <a:custGeom>
                <a:avLst/>
                <a:gdLst>
                  <a:gd name="T0" fmla="*/ 50 w 160"/>
                  <a:gd name="T1" fmla="*/ 104 h 104"/>
                  <a:gd name="T2" fmla="*/ 49 w 160"/>
                  <a:gd name="T3" fmla="*/ 104 h 104"/>
                  <a:gd name="T4" fmla="*/ 1 w 160"/>
                  <a:gd name="T5" fmla="*/ 76 h 104"/>
                  <a:gd name="T6" fmla="*/ 0 w 160"/>
                  <a:gd name="T7" fmla="*/ 74 h 104"/>
                  <a:gd name="T8" fmla="*/ 0 w 160"/>
                  <a:gd name="T9" fmla="*/ 64 h 104"/>
                  <a:gd name="T10" fmla="*/ 1 w 160"/>
                  <a:gd name="T11" fmla="*/ 62 h 104"/>
                  <a:gd name="T12" fmla="*/ 108 w 160"/>
                  <a:gd name="T13" fmla="*/ 1 h 104"/>
                  <a:gd name="T14" fmla="*/ 110 w 160"/>
                  <a:gd name="T15" fmla="*/ 1 h 104"/>
                  <a:gd name="T16" fmla="*/ 111 w 160"/>
                  <a:gd name="T17" fmla="*/ 2 h 104"/>
                  <a:gd name="T18" fmla="*/ 111 w 160"/>
                  <a:gd name="T19" fmla="*/ 10 h 104"/>
                  <a:gd name="T20" fmla="*/ 159 w 160"/>
                  <a:gd name="T21" fmla="*/ 38 h 104"/>
                  <a:gd name="T22" fmla="*/ 160 w 160"/>
                  <a:gd name="T23" fmla="*/ 40 h 104"/>
                  <a:gd name="T24" fmla="*/ 159 w 160"/>
                  <a:gd name="T25" fmla="*/ 41 h 104"/>
                  <a:gd name="T26" fmla="*/ 51 w 160"/>
                  <a:gd name="T27" fmla="*/ 104 h 104"/>
                  <a:gd name="T28" fmla="*/ 50 w 160"/>
                  <a:gd name="T29" fmla="*/ 104 h 104"/>
                  <a:gd name="T30" fmla="*/ 4 w 160"/>
                  <a:gd name="T31" fmla="*/ 73 h 104"/>
                  <a:gd name="T32" fmla="*/ 50 w 160"/>
                  <a:gd name="T33" fmla="*/ 100 h 104"/>
                  <a:gd name="T34" fmla="*/ 154 w 160"/>
                  <a:gd name="T35" fmla="*/ 40 h 104"/>
                  <a:gd name="T36" fmla="*/ 108 w 160"/>
                  <a:gd name="T37" fmla="*/ 13 h 104"/>
                  <a:gd name="T38" fmla="*/ 107 w 160"/>
                  <a:gd name="T39" fmla="*/ 11 h 104"/>
                  <a:gd name="T40" fmla="*/ 107 w 160"/>
                  <a:gd name="T41" fmla="*/ 6 h 104"/>
                  <a:gd name="T42" fmla="*/ 4 w 160"/>
                  <a:gd name="T43" fmla="*/ 65 h 104"/>
                  <a:gd name="T44" fmla="*/ 4 w 160"/>
                  <a:gd name="T45" fmla="*/ 7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0" h="104">
                    <a:moveTo>
                      <a:pt x="50" y="104"/>
                    </a:moveTo>
                    <a:cubicBezTo>
                      <a:pt x="50" y="104"/>
                      <a:pt x="49" y="104"/>
                      <a:pt x="49" y="10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5"/>
                      <a:pt x="0" y="75"/>
                      <a:pt x="0" y="7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3"/>
                      <a:pt x="0" y="63"/>
                      <a:pt x="1" y="62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8" y="0"/>
                      <a:pt x="109" y="0"/>
                      <a:pt x="110" y="1"/>
                    </a:cubicBezTo>
                    <a:cubicBezTo>
                      <a:pt x="110" y="1"/>
                      <a:pt x="111" y="2"/>
                      <a:pt x="111" y="2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59" y="38"/>
                      <a:pt x="159" y="38"/>
                      <a:pt x="159" y="38"/>
                    </a:cubicBezTo>
                    <a:cubicBezTo>
                      <a:pt x="160" y="38"/>
                      <a:pt x="160" y="39"/>
                      <a:pt x="160" y="40"/>
                    </a:cubicBezTo>
                    <a:cubicBezTo>
                      <a:pt x="160" y="40"/>
                      <a:pt x="160" y="41"/>
                      <a:pt x="159" y="41"/>
                    </a:cubicBezTo>
                    <a:cubicBezTo>
                      <a:pt x="51" y="104"/>
                      <a:pt x="51" y="104"/>
                      <a:pt x="51" y="104"/>
                    </a:cubicBezTo>
                    <a:cubicBezTo>
                      <a:pt x="51" y="104"/>
                      <a:pt x="50" y="104"/>
                      <a:pt x="50" y="104"/>
                    </a:cubicBezTo>
                    <a:close/>
                    <a:moveTo>
                      <a:pt x="4" y="73"/>
                    </a:moveTo>
                    <a:cubicBezTo>
                      <a:pt x="50" y="100"/>
                      <a:pt x="50" y="100"/>
                      <a:pt x="50" y="100"/>
                    </a:cubicBezTo>
                    <a:cubicBezTo>
                      <a:pt x="154" y="40"/>
                      <a:pt x="154" y="40"/>
                      <a:pt x="154" y="4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7" y="12"/>
                      <a:pt x="107" y="12"/>
                      <a:pt x="107" y="11"/>
                    </a:cubicBezTo>
                    <a:cubicBezTo>
                      <a:pt x="107" y="6"/>
                      <a:pt x="107" y="6"/>
                      <a:pt x="107" y="6"/>
                    </a:cubicBezTo>
                    <a:cubicBezTo>
                      <a:pt x="4" y="65"/>
                      <a:pt x="4" y="65"/>
                      <a:pt x="4" y="65"/>
                    </a:cubicBezTo>
                    <a:lnTo>
                      <a:pt x="4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9" name="Freeform 886">
                <a:extLst>
                  <a:ext uri="{FF2B5EF4-FFF2-40B4-BE49-F238E27FC236}">
                    <a16:creationId xmlns:a16="http://schemas.microsoft.com/office/drawing/2014/main" id="{8C03829D-ACF9-49BE-BD62-65C10365CD4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853797" y="5904094"/>
                <a:ext cx="43577" cy="34239"/>
              </a:xfrm>
              <a:custGeom>
                <a:avLst/>
                <a:gdLst>
                  <a:gd name="T0" fmla="*/ 2 w 18"/>
                  <a:gd name="T1" fmla="*/ 14 h 14"/>
                  <a:gd name="T2" fmla="*/ 1 w 18"/>
                  <a:gd name="T3" fmla="*/ 14 h 14"/>
                  <a:gd name="T4" fmla="*/ 0 w 18"/>
                  <a:gd name="T5" fmla="*/ 12 h 14"/>
                  <a:gd name="T6" fmla="*/ 0 w 18"/>
                  <a:gd name="T7" fmla="*/ 10 h 14"/>
                  <a:gd name="T8" fmla="*/ 1 w 18"/>
                  <a:gd name="T9" fmla="*/ 8 h 14"/>
                  <a:gd name="T10" fmla="*/ 14 w 18"/>
                  <a:gd name="T11" fmla="*/ 1 h 14"/>
                  <a:gd name="T12" fmla="*/ 16 w 18"/>
                  <a:gd name="T13" fmla="*/ 1 h 14"/>
                  <a:gd name="T14" fmla="*/ 18 w 18"/>
                  <a:gd name="T15" fmla="*/ 2 h 14"/>
                  <a:gd name="T16" fmla="*/ 18 w 18"/>
                  <a:gd name="T17" fmla="*/ 4 h 14"/>
                  <a:gd name="T18" fmla="*/ 17 w 18"/>
                  <a:gd name="T19" fmla="*/ 6 h 14"/>
                  <a:gd name="T20" fmla="*/ 3 w 18"/>
                  <a:gd name="T21" fmla="*/ 14 h 14"/>
                  <a:gd name="T22" fmla="*/ 2 w 18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4">
                    <a:moveTo>
                      <a:pt x="2" y="14"/>
                    </a:moveTo>
                    <a:cubicBezTo>
                      <a:pt x="2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6" y="1"/>
                    </a:cubicBezTo>
                    <a:cubicBezTo>
                      <a:pt x="17" y="1"/>
                      <a:pt x="18" y="2"/>
                      <a:pt x="18" y="2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5"/>
                      <a:pt x="17" y="5"/>
                      <a:pt x="17" y="6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2" y="14"/>
                      <a:pt x="2" y="1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0" name="Freeform 887">
                <a:extLst>
                  <a:ext uri="{FF2B5EF4-FFF2-40B4-BE49-F238E27FC236}">
                    <a16:creationId xmlns:a16="http://schemas.microsoft.com/office/drawing/2014/main" id="{6E833F64-EADB-42DB-9237-4390D64F0B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92186" y="5839767"/>
                <a:ext cx="80928" cy="91303"/>
              </a:xfrm>
              <a:custGeom>
                <a:avLst/>
                <a:gdLst>
                  <a:gd name="T0" fmla="*/ 9 w 33"/>
                  <a:gd name="T1" fmla="*/ 37 h 37"/>
                  <a:gd name="T2" fmla="*/ 8 w 33"/>
                  <a:gd name="T3" fmla="*/ 37 h 37"/>
                  <a:gd name="T4" fmla="*/ 1 w 33"/>
                  <a:gd name="T5" fmla="*/ 32 h 37"/>
                  <a:gd name="T6" fmla="*/ 0 w 33"/>
                  <a:gd name="T7" fmla="*/ 31 h 37"/>
                  <a:gd name="T8" fmla="*/ 0 w 33"/>
                  <a:gd name="T9" fmla="*/ 2 h 37"/>
                  <a:gd name="T10" fmla="*/ 1 w 33"/>
                  <a:gd name="T11" fmla="*/ 1 h 37"/>
                  <a:gd name="T12" fmla="*/ 3 w 33"/>
                  <a:gd name="T13" fmla="*/ 1 h 37"/>
                  <a:gd name="T14" fmla="*/ 32 w 33"/>
                  <a:gd name="T15" fmla="*/ 18 h 37"/>
                  <a:gd name="T16" fmla="*/ 33 w 33"/>
                  <a:gd name="T17" fmla="*/ 20 h 37"/>
                  <a:gd name="T18" fmla="*/ 33 w 33"/>
                  <a:gd name="T19" fmla="*/ 22 h 37"/>
                  <a:gd name="T20" fmla="*/ 32 w 33"/>
                  <a:gd name="T21" fmla="*/ 24 h 37"/>
                  <a:gd name="T22" fmla="*/ 10 w 33"/>
                  <a:gd name="T23" fmla="*/ 37 h 37"/>
                  <a:gd name="T24" fmla="*/ 9 w 33"/>
                  <a:gd name="T25" fmla="*/ 37 h 37"/>
                  <a:gd name="T26" fmla="*/ 4 w 33"/>
                  <a:gd name="T27" fmla="*/ 29 h 37"/>
                  <a:gd name="T28" fmla="*/ 9 w 33"/>
                  <a:gd name="T29" fmla="*/ 33 h 37"/>
                  <a:gd name="T30" fmla="*/ 29 w 33"/>
                  <a:gd name="T31" fmla="*/ 21 h 37"/>
                  <a:gd name="T32" fmla="*/ 29 w 33"/>
                  <a:gd name="T33" fmla="*/ 21 h 37"/>
                  <a:gd name="T34" fmla="*/ 4 w 33"/>
                  <a:gd name="T35" fmla="*/ 6 h 37"/>
                  <a:gd name="T36" fmla="*/ 4 w 33"/>
                  <a:gd name="T37" fmla="*/ 29 h 37"/>
                  <a:gd name="T38" fmla="*/ 31 w 33"/>
                  <a:gd name="T39" fmla="*/ 22 h 37"/>
                  <a:gd name="T40" fmla="*/ 31 w 33"/>
                  <a:gd name="T41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37">
                    <a:moveTo>
                      <a:pt x="9" y="37"/>
                    </a:moveTo>
                    <a:cubicBezTo>
                      <a:pt x="9" y="37"/>
                      <a:pt x="9" y="37"/>
                      <a:pt x="8" y="37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3" y="18"/>
                      <a:pt x="33" y="19"/>
                      <a:pt x="33" y="20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3"/>
                      <a:pt x="33" y="24"/>
                      <a:pt x="32" y="24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0" y="37"/>
                      <a:pt x="10" y="37"/>
                      <a:pt x="9" y="37"/>
                    </a:cubicBezTo>
                    <a:close/>
                    <a:moveTo>
                      <a:pt x="4" y="29"/>
                    </a:moveTo>
                    <a:cubicBezTo>
                      <a:pt x="9" y="33"/>
                      <a:pt x="9" y="33"/>
                      <a:pt x="9" y="33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9"/>
                    </a:lnTo>
                    <a:close/>
                    <a:moveTo>
                      <a:pt x="31" y="22"/>
                    </a:moveTo>
                    <a:cubicBezTo>
                      <a:pt x="31" y="22"/>
                      <a:pt x="31" y="22"/>
                      <a:pt x="31" y="2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1" name="Freeform 898">
                <a:extLst>
                  <a:ext uri="{FF2B5EF4-FFF2-40B4-BE49-F238E27FC236}">
                    <a16:creationId xmlns:a16="http://schemas.microsoft.com/office/drawing/2014/main" id="{854D0DEE-9334-4B5B-B824-0467D439DD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87735" y="6688474"/>
                <a:ext cx="546784" cy="867383"/>
              </a:xfrm>
              <a:custGeom>
                <a:avLst/>
                <a:gdLst>
                  <a:gd name="T0" fmla="*/ 62 w 223"/>
                  <a:gd name="T1" fmla="*/ 354 h 354"/>
                  <a:gd name="T2" fmla="*/ 0 w 223"/>
                  <a:gd name="T3" fmla="*/ 317 h 354"/>
                  <a:gd name="T4" fmla="*/ 109 w 223"/>
                  <a:gd name="T5" fmla="*/ 253 h 354"/>
                  <a:gd name="T6" fmla="*/ 115 w 223"/>
                  <a:gd name="T7" fmla="*/ 255 h 354"/>
                  <a:gd name="T8" fmla="*/ 116 w 223"/>
                  <a:gd name="T9" fmla="*/ 249 h 354"/>
                  <a:gd name="T10" fmla="*/ 116 w 223"/>
                  <a:gd name="T11" fmla="*/ 247 h 354"/>
                  <a:gd name="T12" fmla="*/ 115 w 223"/>
                  <a:gd name="T13" fmla="*/ 185 h 354"/>
                  <a:gd name="T14" fmla="*/ 62 w 223"/>
                  <a:gd name="T15" fmla="*/ 153 h 354"/>
                  <a:gd name="T16" fmla="*/ 63 w 223"/>
                  <a:gd name="T17" fmla="*/ 131 h 354"/>
                  <a:gd name="T18" fmla="*/ 71 w 223"/>
                  <a:gd name="T19" fmla="*/ 127 h 354"/>
                  <a:gd name="T20" fmla="*/ 72 w 223"/>
                  <a:gd name="T21" fmla="*/ 143 h 354"/>
                  <a:gd name="T22" fmla="*/ 136 w 223"/>
                  <a:gd name="T23" fmla="*/ 33 h 354"/>
                  <a:gd name="T24" fmla="*/ 85 w 223"/>
                  <a:gd name="T25" fmla="*/ 61 h 354"/>
                  <a:gd name="T26" fmla="*/ 84 w 223"/>
                  <a:gd name="T27" fmla="*/ 57 h 354"/>
                  <a:gd name="T28" fmla="*/ 180 w 223"/>
                  <a:gd name="T29" fmla="*/ 0 h 354"/>
                  <a:gd name="T30" fmla="*/ 222 w 223"/>
                  <a:gd name="T31" fmla="*/ 24 h 354"/>
                  <a:gd name="T32" fmla="*/ 222 w 223"/>
                  <a:gd name="T33" fmla="*/ 27 h 354"/>
                  <a:gd name="T34" fmla="*/ 187 w 223"/>
                  <a:gd name="T35" fmla="*/ 46 h 354"/>
                  <a:gd name="T36" fmla="*/ 152 w 223"/>
                  <a:gd name="T37" fmla="*/ 99 h 354"/>
                  <a:gd name="T38" fmla="*/ 204 w 223"/>
                  <a:gd name="T39" fmla="*/ 130 h 354"/>
                  <a:gd name="T40" fmla="*/ 203 w 223"/>
                  <a:gd name="T41" fmla="*/ 146 h 354"/>
                  <a:gd name="T42" fmla="*/ 188 w 223"/>
                  <a:gd name="T43" fmla="*/ 153 h 354"/>
                  <a:gd name="T44" fmla="*/ 181 w 223"/>
                  <a:gd name="T45" fmla="*/ 157 h 354"/>
                  <a:gd name="T46" fmla="*/ 138 w 223"/>
                  <a:gd name="T47" fmla="*/ 183 h 354"/>
                  <a:gd name="T48" fmla="*/ 190 w 223"/>
                  <a:gd name="T49" fmla="*/ 226 h 354"/>
                  <a:gd name="T50" fmla="*/ 199 w 223"/>
                  <a:gd name="T51" fmla="*/ 231 h 354"/>
                  <a:gd name="T52" fmla="*/ 199 w 223"/>
                  <a:gd name="T53" fmla="*/ 234 h 354"/>
                  <a:gd name="T54" fmla="*/ 181 w 223"/>
                  <a:gd name="T55" fmla="*/ 279 h 354"/>
                  <a:gd name="T56" fmla="*/ 181 w 223"/>
                  <a:gd name="T57" fmla="*/ 282 h 354"/>
                  <a:gd name="T58" fmla="*/ 65 w 223"/>
                  <a:gd name="T59" fmla="*/ 352 h 354"/>
                  <a:gd name="T60" fmla="*/ 63 w 223"/>
                  <a:gd name="T61" fmla="*/ 354 h 354"/>
                  <a:gd name="T62" fmla="*/ 61 w 223"/>
                  <a:gd name="T63" fmla="*/ 349 h 354"/>
                  <a:gd name="T64" fmla="*/ 62 w 223"/>
                  <a:gd name="T65" fmla="*/ 347 h 354"/>
                  <a:gd name="T66" fmla="*/ 146 w 223"/>
                  <a:gd name="T67" fmla="*/ 263 h 354"/>
                  <a:gd name="T68" fmla="*/ 146 w 223"/>
                  <a:gd name="T69" fmla="*/ 260 h 354"/>
                  <a:gd name="T70" fmla="*/ 191 w 223"/>
                  <a:gd name="T71" fmla="*/ 230 h 354"/>
                  <a:gd name="T72" fmla="*/ 135 w 223"/>
                  <a:gd name="T73" fmla="*/ 262 h 354"/>
                  <a:gd name="T74" fmla="*/ 134 w 223"/>
                  <a:gd name="T75" fmla="*/ 182 h 354"/>
                  <a:gd name="T76" fmla="*/ 177 w 223"/>
                  <a:gd name="T77" fmla="*/ 156 h 354"/>
                  <a:gd name="T78" fmla="*/ 178 w 223"/>
                  <a:gd name="T79" fmla="*/ 144 h 354"/>
                  <a:gd name="T80" fmla="*/ 189 w 223"/>
                  <a:gd name="T81" fmla="*/ 149 h 354"/>
                  <a:gd name="T82" fmla="*/ 200 w 223"/>
                  <a:gd name="T83" fmla="*/ 131 h 354"/>
                  <a:gd name="T84" fmla="*/ 148 w 223"/>
                  <a:gd name="T85" fmla="*/ 100 h 354"/>
                  <a:gd name="T86" fmla="*/ 139 w 223"/>
                  <a:gd name="T87" fmla="*/ 28 h 354"/>
                  <a:gd name="T88" fmla="*/ 140 w 223"/>
                  <a:gd name="T89" fmla="*/ 107 h 354"/>
                  <a:gd name="T90" fmla="*/ 71 w 223"/>
                  <a:gd name="T91" fmla="*/ 148 h 354"/>
                  <a:gd name="T92" fmla="*/ 68 w 223"/>
                  <a:gd name="T93" fmla="*/ 146 h 354"/>
                  <a:gd name="T94" fmla="*/ 66 w 223"/>
                  <a:gd name="T95" fmla="*/ 134 h 354"/>
                  <a:gd name="T96" fmla="*/ 118 w 223"/>
                  <a:gd name="T97" fmla="*/ 182 h 354"/>
                  <a:gd name="T98" fmla="*/ 119 w 223"/>
                  <a:gd name="T99" fmla="*/ 244 h 354"/>
                  <a:gd name="T100" fmla="*/ 124 w 223"/>
                  <a:gd name="T101" fmla="*/ 248 h 354"/>
                  <a:gd name="T102" fmla="*/ 119 w 223"/>
                  <a:gd name="T103" fmla="*/ 252 h 354"/>
                  <a:gd name="T104" fmla="*/ 118 w 223"/>
                  <a:gd name="T105" fmla="*/ 260 h 354"/>
                  <a:gd name="T106" fmla="*/ 110 w 223"/>
                  <a:gd name="T107" fmla="*/ 257 h 354"/>
                  <a:gd name="T108" fmla="*/ 152 w 223"/>
                  <a:gd name="T109" fmla="*/ 21 h 354"/>
                  <a:gd name="T110" fmla="*/ 217 w 223"/>
                  <a:gd name="T111" fmla="*/ 25 h 354"/>
                  <a:gd name="T112" fmla="*/ 152 w 223"/>
                  <a:gd name="T113" fmla="*/ 21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3" h="354">
                    <a:moveTo>
                      <a:pt x="63" y="354"/>
                    </a:moveTo>
                    <a:cubicBezTo>
                      <a:pt x="62" y="354"/>
                      <a:pt x="62" y="354"/>
                      <a:pt x="62" y="354"/>
                    </a:cubicBezTo>
                    <a:cubicBezTo>
                      <a:pt x="1" y="319"/>
                      <a:pt x="1" y="319"/>
                      <a:pt x="1" y="319"/>
                    </a:cubicBezTo>
                    <a:cubicBezTo>
                      <a:pt x="0" y="319"/>
                      <a:pt x="0" y="318"/>
                      <a:pt x="0" y="317"/>
                    </a:cubicBezTo>
                    <a:cubicBezTo>
                      <a:pt x="0" y="316"/>
                      <a:pt x="0" y="316"/>
                      <a:pt x="1" y="315"/>
                    </a:cubicBezTo>
                    <a:cubicBezTo>
                      <a:pt x="109" y="253"/>
                      <a:pt x="109" y="253"/>
                      <a:pt x="109" y="253"/>
                    </a:cubicBezTo>
                    <a:cubicBezTo>
                      <a:pt x="110" y="253"/>
                      <a:pt x="110" y="253"/>
                      <a:pt x="111" y="253"/>
                    </a:cubicBezTo>
                    <a:cubicBezTo>
                      <a:pt x="115" y="255"/>
                      <a:pt x="115" y="255"/>
                      <a:pt x="115" y="255"/>
                    </a:cubicBezTo>
                    <a:cubicBezTo>
                      <a:pt x="115" y="251"/>
                      <a:pt x="115" y="251"/>
                      <a:pt x="115" y="251"/>
                    </a:cubicBezTo>
                    <a:cubicBezTo>
                      <a:pt x="115" y="250"/>
                      <a:pt x="115" y="250"/>
                      <a:pt x="116" y="249"/>
                    </a:cubicBezTo>
                    <a:cubicBezTo>
                      <a:pt x="118" y="248"/>
                      <a:pt x="118" y="248"/>
                      <a:pt x="118" y="248"/>
                    </a:cubicBezTo>
                    <a:cubicBezTo>
                      <a:pt x="116" y="247"/>
                      <a:pt x="116" y="247"/>
                      <a:pt x="116" y="247"/>
                    </a:cubicBezTo>
                    <a:cubicBezTo>
                      <a:pt x="115" y="247"/>
                      <a:pt x="115" y="246"/>
                      <a:pt x="115" y="245"/>
                    </a:cubicBezTo>
                    <a:cubicBezTo>
                      <a:pt x="115" y="185"/>
                      <a:pt x="115" y="185"/>
                      <a:pt x="115" y="185"/>
                    </a:cubicBezTo>
                    <a:cubicBezTo>
                      <a:pt x="63" y="155"/>
                      <a:pt x="63" y="155"/>
                      <a:pt x="63" y="155"/>
                    </a:cubicBezTo>
                    <a:cubicBezTo>
                      <a:pt x="63" y="154"/>
                      <a:pt x="62" y="154"/>
                      <a:pt x="62" y="153"/>
                    </a:cubicBezTo>
                    <a:cubicBezTo>
                      <a:pt x="62" y="133"/>
                      <a:pt x="62" y="133"/>
                      <a:pt x="62" y="133"/>
                    </a:cubicBezTo>
                    <a:cubicBezTo>
                      <a:pt x="62" y="132"/>
                      <a:pt x="63" y="131"/>
                      <a:pt x="63" y="131"/>
                    </a:cubicBezTo>
                    <a:cubicBezTo>
                      <a:pt x="69" y="127"/>
                      <a:pt x="69" y="127"/>
                      <a:pt x="69" y="127"/>
                    </a:cubicBezTo>
                    <a:cubicBezTo>
                      <a:pt x="70" y="127"/>
                      <a:pt x="71" y="127"/>
                      <a:pt x="71" y="127"/>
                    </a:cubicBezTo>
                    <a:cubicBezTo>
                      <a:pt x="72" y="128"/>
                      <a:pt x="72" y="128"/>
                      <a:pt x="72" y="129"/>
                    </a:cubicBezTo>
                    <a:cubicBezTo>
                      <a:pt x="72" y="143"/>
                      <a:pt x="72" y="143"/>
                      <a:pt x="72" y="143"/>
                    </a:cubicBezTo>
                    <a:cubicBezTo>
                      <a:pt x="136" y="106"/>
                      <a:pt x="136" y="106"/>
                      <a:pt x="136" y="106"/>
                    </a:cubicBezTo>
                    <a:cubicBezTo>
                      <a:pt x="136" y="33"/>
                      <a:pt x="136" y="33"/>
                      <a:pt x="136" y="33"/>
                    </a:cubicBezTo>
                    <a:cubicBezTo>
                      <a:pt x="87" y="61"/>
                      <a:pt x="87" y="61"/>
                      <a:pt x="87" y="61"/>
                    </a:cubicBezTo>
                    <a:cubicBezTo>
                      <a:pt x="86" y="62"/>
                      <a:pt x="85" y="62"/>
                      <a:pt x="85" y="61"/>
                    </a:cubicBezTo>
                    <a:cubicBezTo>
                      <a:pt x="84" y="61"/>
                      <a:pt x="84" y="60"/>
                      <a:pt x="84" y="60"/>
                    </a:cubicBezTo>
                    <a:cubicBezTo>
                      <a:pt x="84" y="57"/>
                      <a:pt x="84" y="57"/>
                      <a:pt x="84" y="57"/>
                    </a:cubicBezTo>
                    <a:cubicBezTo>
                      <a:pt x="84" y="56"/>
                      <a:pt x="84" y="56"/>
                      <a:pt x="85" y="55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180" y="0"/>
                      <a:pt x="181" y="0"/>
                      <a:pt x="182" y="0"/>
                    </a:cubicBezTo>
                    <a:cubicBezTo>
                      <a:pt x="222" y="24"/>
                      <a:pt x="222" y="24"/>
                      <a:pt x="222" y="24"/>
                    </a:cubicBezTo>
                    <a:cubicBezTo>
                      <a:pt x="222" y="24"/>
                      <a:pt x="223" y="25"/>
                      <a:pt x="223" y="25"/>
                    </a:cubicBezTo>
                    <a:cubicBezTo>
                      <a:pt x="223" y="26"/>
                      <a:pt x="222" y="27"/>
                      <a:pt x="222" y="27"/>
                    </a:cubicBezTo>
                    <a:cubicBezTo>
                      <a:pt x="189" y="46"/>
                      <a:pt x="189" y="46"/>
                      <a:pt x="189" y="46"/>
                    </a:cubicBezTo>
                    <a:cubicBezTo>
                      <a:pt x="189" y="46"/>
                      <a:pt x="188" y="46"/>
                      <a:pt x="187" y="46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2" y="99"/>
                      <a:pt x="152" y="99"/>
                      <a:pt x="152" y="99"/>
                    </a:cubicBezTo>
                    <a:cubicBezTo>
                      <a:pt x="203" y="128"/>
                      <a:pt x="203" y="128"/>
                      <a:pt x="203" y="128"/>
                    </a:cubicBezTo>
                    <a:cubicBezTo>
                      <a:pt x="203" y="128"/>
                      <a:pt x="204" y="129"/>
                      <a:pt x="204" y="130"/>
                    </a:cubicBezTo>
                    <a:cubicBezTo>
                      <a:pt x="204" y="144"/>
                      <a:pt x="204" y="144"/>
                      <a:pt x="204" y="144"/>
                    </a:cubicBezTo>
                    <a:cubicBezTo>
                      <a:pt x="204" y="145"/>
                      <a:pt x="203" y="146"/>
                      <a:pt x="203" y="146"/>
                    </a:cubicBezTo>
                    <a:cubicBezTo>
                      <a:pt x="190" y="153"/>
                      <a:pt x="190" y="153"/>
                      <a:pt x="190" y="153"/>
                    </a:cubicBezTo>
                    <a:cubicBezTo>
                      <a:pt x="189" y="154"/>
                      <a:pt x="188" y="154"/>
                      <a:pt x="188" y="153"/>
                    </a:cubicBezTo>
                    <a:cubicBezTo>
                      <a:pt x="181" y="149"/>
                      <a:pt x="181" y="149"/>
                      <a:pt x="181" y="149"/>
                    </a:cubicBezTo>
                    <a:cubicBezTo>
                      <a:pt x="181" y="157"/>
                      <a:pt x="181" y="157"/>
                      <a:pt x="181" y="157"/>
                    </a:cubicBezTo>
                    <a:cubicBezTo>
                      <a:pt x="181" y="158"/>
                      <a:pt x="180" y="159"/>
                      <a:pt x="180" y="159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38" y="257"/>
                      <a:pt x="138" y="257"/>
                      <a:pt x="138" y="257"/>
                    </a:cubicBezTo>
                    <a:cubicBezTo>
                      <a:pt x="190" y="226"/>
                      <a:pt x="190" y="226"/>
                      <a:pt x="190" y="226"/>
                    </a:cubicBezTo>
                    <a:cubicBezTo>
                      <a:pt x="191" y="226"/>
                      <a:pt x="191" y="226"/>
                      <a:pt x="192" y="226"/>
                    </a:cubicBezTo>
                    <a:cubicBezTo>
                      <a:pt x="199" y="231"/>
                      <a:pt x="199" y="231"/>
                      <a:pt x="199" y="231"/>
                    </a:cubicBezTo>
                    <a:cubicBezTo>
                      <a:pt x="200" y="231"/>
                      <a:pt x="200" y="232"/>
                      <a:pt x="200" y="232"/>
                    </a:cubicBezTo>
                    <a:cubicBezTo>
                      <a:pt x="200" y="233"/>
                      <a:pt x="200" y="234"/>
                      <a:pt x="199" y="234"/>
                    </a:cubicBezTo>
                    <a:cubicBezTo>
                      <a:pt x="151" y="262"/>
                      <a:pt x="151" y="262"/>
                      <a:pt x="151" y="262"/>
                    </a:cubicBezTo>
                    <a:cubicBezTo>
                      <a:pt x="181" y="279"/>
                      <a:pt x="181" y="279"/>
                      <a:pt x="181" y="279"/>
                    </a:cubicBezTo>
                    <a:cubicBezTo>
                      <a:pt x="181" y="279"/>
                      <a:pt x="182" y="280"/>
                      <a:pt x="182" y="281"/>
                    </a:cubicBezTo>
                    <a:cubicBezTo>
                      <a:pt x="182" y="281"/>
                      <a:pt x="181" y="282"/>
                      <a:pt x="181" y="282"/>
                    </a:cubicBezTo>
                    <a:cubicBezTo>
                      <a:pt x="65" y="350"/>
                      <a:pt x="65" y="350"/>
                      <a:pt x="65" y="350"/>
                    </a:cubicBezTo>
                    <a:cubicBezTo>
                      <a:pt x="65" y="352"/>
                      <a:pt x="65" y="352"/>
                      <a:pt x="65" y="352"/>
                    </a:cubicBezTo>
                    <a:cubicBezTo>
                      <a:pt x="65" y="353"/>
                      <a:pt x="64" y="353"/>
                      <a:pt x="64" y="354"/>
                    </a:cubicBezTo>
                    <a:cubicBezTo>
                      <a:pt x="63" y="354"/>
                      <a:pt x="63" y="354"/>
                      <a:pt x="63" y="354"/>
                    </a:cubicBezTo>
                    <a:close/>
                    <a:moveTo>
                      <a:pt x="6" y="317"/>
                    </a:moveTo>
                    <a:cubicBezTo>
                      <a:pt x="61" y="349"/>
                      <a:pt x="61" y="349"/>
                      <a:pt x="61" y="349"/>
                    </a:cubicBezTo>
                    <a:cubicBezTo>
                      <a:pt x="61" y="348"/>
                      <a:pt x="61" y="348"/>
                      <a:pt x="61" y="348"/>
                    </a:cubicBezTo>
                    <a:cubicBezTo>
                      <a:pt x="61" y="348"/>
                      <a:pt x="61" y="347"/>
                      <a:pt x="62" y="347"/>
                    </a:cubicBezTo>
                    <a:cubicBezTo>
                      <a:pt x="176" y="281"/>
                      <a:pt x="176" y="281"/>
                      <a:pt x="176" y="281"/>
                    </a:cubicBezTo>
                    <a:cubicBezTo>
                      <a:pt x="146" y="263"/>
                      <a:pt x="146" y="263"/>
                      <a:pt x="146" y="263"/>
                    </a:cubicBezTo>
                    <a:cubicBezTo>
                      <a:pt x="145" y="263"/>
                      <a:pt x="145" y="262"/>
                      <a:pt x="145" y="262"/>
                    </a:cubicBezTo>
                    <a:cubicBezTo>
                      <a:pt x="145" y="261"/>
                      <a:pt x="145" y="260"/>
                      <a:pt x="146" y="260"/>
                    </a:cubicBezTo>
                    <a:cubicBezTo>
                      <a:pt x="194" y="232"/>
                      <a:pt x="194" y="232"/>
                      <a:pt x="194" y="232"/>
                    </a:cubicBezTo>
                    <a:cubicBezTo>
                      <a:pt x="191" y="230"/>
                      <a:pt x="191" y="230"/>
                      <a:pt x="191" y="230"/>
                    </a:cubicBezTo>
                    <a:cubicBezTo>
                      <a:pt x="137" y="262"/>
                      <a:pt x="137" y="262"/>
                      <a:pt x="137" y="262"/>
                    </a:cubicBezTo>
                    <a:cubicBezTo>
                      <a:pt x="136" y="262"/>
                      <a:pt x="136" y="262"/>
                      <a:pt x="135" y="262"/>
                    </a:cubicBezTo>
                    <a:cubicBezTo>
                      <a:pt x="134" y="261"/>
                      <a:pt x="134" y="261"/>
                      <a:pt x="134" y="260"/>
                    </a:cubicBezTo>
                    <a:cubicBezTo>
                      <a:pt x="134" y="182"/>
                      <a:pt x="134" y="182"/>
                      <a:pt x="134" y="182"/>
                    </a:cubicBezTo>
                    <a:cubicBezTo>
                      <a:pt x="134" y="182"/>
                      <a:pt x="134" y="181"/>
                      <a:pt x="135" y="181"/>
                    </a:cubicBezTo>
                    <a:cubicBezTo>
                      <a:pt x="177" y="156"/>
                      <a:pt x="177" y="156"/>
                      <a:pt x="177" y="156"/>
                    </a:cubicBezTo>
                    <a:cubicBezTo>
                      <a:pt x="177" y="146"/>
                      <a:pt x="177" y="146"/>
                      <a:pt x="177" y="146"/>
                    </a:cubicBezTo>
                    <a:cubicBezTo>
                      <a:pt x="177" y="145"/>
                      <a:pt x="177" y="145"/>
                      <a:pt x="178" y="144"/>
                    </a:cubicBezTo>
                    <a:cubicBezTo>
                      <a:pt x="178" y="144"/>
                      <a:pt x="179" y="144"/>
                      <a:pt x="180" y="144"/>
                    </a:cubicBezTo>
                    <a:cubicBezTo>
                      <a:pt x="189" y="149"/>
                      <a:pt x="189" y="149"/>
                      <a:pt x="189" y="149"/>
                    </a:cubicBezTo>
                    <a:cubicBezTo>
                      <a:pt x="200" y="143"/>
                      <a:pt x="200" y="143"/>
                      <a:pt x="200" y="143"/>
                    </a:cubicBezTo>
                    <a:cubicBezTo>
                      <a:pt x="200" y="131"/>
                      <a:pt x="200" y="131"/>
                      <a:pt x="200" y="131"/>
                    </a:cubicBezTo>
                    <a:cubicBezTo>
                      <a:pt x="149" y="102"/>
                      <a:pt x="149" y="102"/>
                      <a:pt x="149" y="102"/>
                    </a:cubicBezTo>
                    <a:cubicBezTo>
                      <a:pt x="148" y="101"/>
                      <a:pt x="148" y="100"/>
                      <a:pt x="148" y="100"/>
                    </a:cubicBezTo>
                    <a:cubicBezTo>
                      <a:pt x="148" y="23"/>
                      <a:pt x="148" y="23"/>
                      <a:pt x="148" y="23"/>
                    </a:cubicBezTo>
                    <a:cubicBezTo>
                      <a:pt x="139" y="28"/>
                      <a:pt x="139" y="28"/>
                      <a:pt x="139" y="28"/>
                    </a:cubicBezTo>
                    <a:cubicBezTo>
                      <a:pt x="139" y="29"/>
                      <a:pt x="140" y="29"/>
                      <a:pt x="140" y="30"/>
                    </a:cubicBezTo>
                    <a:cubicBezTo>
                      <a:pt x="140" y="107"/>
                      <a:pt x="140" y="107"/>
                      <a:pt x="140" y="107"/>
                    </a:cubicBezTo>
                    <a:cubicBezTo>
                      <a:pt x="140" y="108"/>
                      <a:pt x="139" y="109"/>
                      <a:pt x="139" y="109"/>
                    </a:cubicBezTo>
                    <a:cubicBezTo>
                      <a:pt x="71" y="148"/>
                      <a:pt x="71" y="148"/>
                      <a:pt x="71" y="148"/>
                    </a:cubicBezTo>
                    <a:cubicBezTo>
                      <a:pt x="71" y="148"/>
                      <a:pt x="70" y="148"/>
                      <a:pt x="69" y="148"/>
                    </a:cubicBezTo>
                    <a:cubicBezTo>
                      <a:pt x="69" y="148"/>
                      <a:pt x="68" y="147"/>
                      <a:pt x="68" y="146"/>
                    </a:cubicBezTo>
                    <a:cubicBezTo>
                      <a:pt x="68" y="133"/>
                      <a:pt x="68" y="133"/>
                      <a:pt x="68" y="133"/>
                    </a:cubicBezTo>
                    <a:cubicBezTo>
                      <a:pt x="66" y="134"/>
                      <a:pt x="66" y="134"/>
                      <a:pt x="66" y="134"/>
                    </a:cubicBezTo>
                    <a:cubicBezTo>
                      <a:pt x="66" y="152"/>
                      <a:pt x="66" y="152"/>
                      <a:pt x="66" y="152"/>
                    </a:cubicBezTo>
                    <a:cubicBezTo>
                      <a:pt x="118" y="182"/>
                      <a:pt x="118" y="182"/>
                      <a:pt x="118" y="182"/>
                    </a:cubicBezTo>
                    <a:cubicBezTo>
                      <a:pt x="118" y="182"/>
                      <a:pt x="119" y="183"/>
                      <a:pt x="119" y="184"/>
                    </a:cubicBezTo>
                    <a:cubicBezTo>
                      <a:pt x="119" y="244"/>
                      <a:pt x="119" y="244"/>
                      <a:pt x="119" y="244"/>
                    </a:cubicBezTo>
                    <a:cubicBezTo>
                      <a:pt x="123" y="246"/>
                      <a:pt x="123" y="246"/>
                      <a:pt x="123" y="246"/>
                    </a:cubicBezTo>
                    <a:cubicBezTo>
                      <a:pt x="123" y="247"/>
                      <a:pt x="124" y="247"/>
                      <a:pt x="124" y="248"/>
                    </a:cubicBezTo>
                    <a:cubicBezTo>
                      <a:pt x="124" y="249"/>
                      <a:pt x="123" y="249"/>
                      <a:pt x="123" y="250"/>
                    </a:cubicBezTo>
                    <a:cubicBezTo>
                      <a:pt x="119" y="252"/>
                      <a:pt x="119" y="252"/>
                      <a:pt x="119" y="252"/>
                    </a:cubicBezTo>
                    <a:cubicBezTo>
                      <a:pt x="119" y="259"/>
                      <a:pt x="119" y="259"/>
                      <a:pt x="119" y="259"/>
                    </a:cubicBezTo>
                    <a:cubicBezTo>
                      <a:pt x="119" y="259"/>
                      <a:pt x="118" y="260"/>
                      <a:pt x="118" y="260"/>
                    </a:cubicBezTo>
                    <a:cubicBezTo>
                      <a:pt x="117" y="261"/>
                      <a:pt x="116" y="261"/>
                      <a:pt x="116" y="260"/>
                    </a:cubicBezTo>
                    <a:cubicBezTo>
                      <a:pt x="110" y="257"/>
                      <a:pt x="110" y="257"/>
                      <a:pt x="110" y="257"/>
                    </a:cubicBezTo>
                    <a:lnTo>
                      <a:pt x="6" y="317"/>
                    </a:lnTo>
                    <a:close/>
                    <a:moveTo>
                      <a:pt x="152" y="21"/>
                    </a:moveTo>
                    <a:cubicBezTo>
                      <a:pt x="188" y="42"/>
                      <a:pt x="188" y="42"/>
                      <a:pt x="188" y="42"/>
                    </a:cubicBezTo>
                    <a:cubicBezTo>
                      <a:pt x="217" y="25"/>
                      <a:pt x="217" y="25"/>
                      <a:pt x="217" y="25"/>
                    </a:cubicBezTo>
                    <a:cubicBezTo>
                      <a:pt x="181" y="4"/>
                      <a:pt x="181" y="4"/>
                      <a:pt x="181" y="4"/>
                    </a:cubicBezTo>
                    <a:lnTo>
                      <a:pt x="152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2" name="Freeform 920">
                <a:extLst>
                  <a:ext uri="{FF2B5EF4-FFF2-40B4-BE49-F238E27FC236}">
                    <a16:creationId xmlns:a16="http://schemas.microsoft.com/office/drawing/2014/main" id="{F3C0DCBF-5DB9-4969-81B8-AE20FBE485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86753" y="6291097"/>
                <a:ext cx="600737" cy="739766"/>
              </a:xfrm>
              <a:custGeom>
                <a:avLst/>
                <a:gdLst>
                  <a:gd name="T0" fmla="*/ 122 w 245"/>
                  <a:gd name="T1" fmla="*/ 302 h 302"/>
                  <a:gd name="T2" fmla="*/ 121 w 245"/>
                  <a:gd name="T3" fmla="*/ 302 h 302"/>
                  <a:gd name="T4" fmla="*/ 1 w 245"/>
                  <a:gd name="T5" fmla="*/ 233 h 302"/>
                  <a:gd name="T6" fmla="*/ 0 w 245"/>
                  <a:gd name="T7" fmla="*/ 231 h 302"/>
                  <a:gd name="T8" fmla="*/ 0 w 245"/>
                  <a:gd name="T9" fmla="*/ 229 h 302"/>
                  <a:gd name="T10" fmla="*/ 1 w 245"/>
                  <a:gd name="T11" fmla="*/ 227 h 302"/>
                  <a:gd name="T12" fmla="*/ 7 w 245"/>
                  <a:gd name="T13" fmla="*/ 223 h 302"/>
                  <a:gd name="T14" fmla="*/ 9 w 245"/>
                  <a:gd name="T15" fmla="*/ 223 h 302"/>
                  <a:gd name="T16" fmla="*/ 73 w 245"/>
                  <a:gd name="T17" fmla="*/ 260 h 302"/>
                  <a:gd name="T18" fmla="*/ 199 w 245"/>
                  <a:gd name="T19" fmla="*/ 187 h 302"/>
                  <a:gd name="T20" fmla="*/ 154 w 245"/>
                  <a:gd name="T21" fmla="*/ 161 h 302"/>
                  <a:gd name="T22" fmla="*/ 153 w 245"/>
                  <a:gd name="T23" fmla="*/ 159 h 302"/>
                  <a:gd name="T24" fmla="*/ 154 w 245"/>
                  <a:gd name="T25" fmla="*/ 157 h 302"/>
                  <a:gd name="T26" fmla="*/ 159 w 245"/>
                  <a:gd name="T27" fmla="*/ 154 h 302"/>
                  <a:gd name="T28" fmla="*/ 159 w 245"/>
                  <a:gd name="T29" fmla="*/ 10 h 302"/>
                  <a:gd name="T30" fmla="*/ 160 w 245"/>
                  <a:gd name="T31" fmla="*/ 8 h 302"/>
                  <a:gd name="T32" fmla="*/ 174 w 245"/>
                  <a:gd name="T33" fmla="*/ 1 h 302"/>
                  <a:gd name="T34" fmla="*/ 176 w 245"/>
                  <a:gd name="T35" fmla="*/ 1 h 302"/>
                  <a:gd name="T36" fmla="*/ 177 w 245"/>
                  <a:gd name="T37" fmla="*/ 2 h 302"/>
                  <a:gd name="T38" fmla="*/ 177 w 245"/>
                  <a:gd name="T39" fmla="*/ 146 h 302"/>
                  <a:gd name="T40" fmla="*/ 244 w 245"/>
                  <a:gd name="T41" fmla="*/ 185 h 302"/>
                  <a:gd name="T42" fmla="*/ 245 w 245"/>
                  <a:gd name="T43" fmla="*/ 187 h 302"/>
                  <a:gd name="T44" fmla="*/ 245 w 245"/>
                  <a:gd name="T45" fmla="*/ 230 h 302"/>
                  <a:gd name="T46" fmla="*/ 244 w 245"/>
                  <a:gd name="T47" fmla="*/ 232 h 302"/>
                  <a:gd name="T48" fmla="*/ 123 w 245"/>
                  <a:gd name="T49" fmla="*/ 302 h 302"/>
                  <a:gd name="T50" fmla="*/ 122 w 245"/>
                  <a:gd name="T51" fmla="*/ 302 h 302"/>
                  <a:gd name="T52" fmla="*/ 4 w 245"/>
                  <a:gd name="T53" fmla="*/ 230 h 302"/>
                  <a:gd name="T54" fmla="*/ 122 w 245"/>
                  <a:gd name="T55" fmla="*/ 298 h 302"/>
                  <a:gd name="T56" fmla="*/ 241 w 245"/>
                  <a:gd name="T57" fmla="*/ 229 h 302"/>
                  <a:gd name="T58" fmla="*/ 241 w 245"/>
                  <a:gd name="T59" fmla="*/ 188 h 302"/>
                  <a:gd name="T60" fmla="*/ 174 w 245"/>
                  <a:gd name="T61" fmla="*/ 149 h 302"/>
                  <a:gd name="T62" fmla="*/ 173 w 245"/>
                  <a:gd name="T63" fmla="*/ 148 h 302"/>
                  <a:gd name="T64" fmla="*/ 173 w 245"/>
                  <a:gd name="T65" fmla="*/ 6 h 302"/>
                  <a:gd name="T66" fmla="*/ 163 w 245"/>
                  <a:gd name="T67" fmla="*/ 11 h 302"/>
                  <a:gd name="T68" fmla="*/ 163 w 245"/>
                  <a:gd name="T69" fmla="*/ 156 h 302"/>
                  <a:gd name="T70" fmla="*/ 162 w 245"/>
                  <a:gd name="T71" fmla="*/ 157 h 302"/>
                  <a:gd name="T72" fmla="*/ 159 w 245"/>
                  <a:gd name="T73" fmla="*/ 159 h 302"/>
                  <a:gd name="T74" fmla="*/ 204 w 245"/>
                  <a:gd name="T75" fmla="*/ 185 h 302"/>
                  <a:gd name="T76" fmla="*/ 205 w 245"/>
                  <a:gd name="T77" fmla="*/ 187 h 302"/>
                  <a:gd name="T78" fmla="*/ 204 w 245"/>
                  <a:gd name="T79" fmla="*/ 189 h 302"/>
                  <a:gd name="T80" fmla="*/ 74 w 245"/>
                  <a:gd name="T81" fmla="*/ 264 h 302"/>
                  <a:gd name="T82" fmla="*/ 72 w 245"/>
                  <a:gd name="T83" fmla="*/ 264 h 302"/>
                  <a:gd name="T84" fmla="*/ 8 w 245"/>
                  <a:gd name="T85" fmla="*/ 227 h 302"/>
                  <a:gd name="T86" fmla="*/ 4 w 245"/>
                  <a:gd name="T87" fmla="*/ 230 h 302"/>
                  <a:gd name="T88" fmla="*/ 243 w 245"/>
                  <a:gd name="T89" fmla="*/ 230 h 302"/>
                  <a:gd name="T90" fmla="*/ 243 w 245"/>
                  <a:gd name="T91" fmla="*/ 23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45" h="302">
                    <a:moveTo>
                      <a:pt x="122" y="302"/>
                    </a:moveTo>
                    <a:cubicBezTo>
                      <a:pt x="122" y="302"/>
                      <a:pt x="121" y="302"/>
                      <a:pt x="121" y="302"/>
                    </a:cubicBez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32"/>
                      <a:pt x="0" y="232"/>
                      <a:pt x="0" y="231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28"/>
                      <a:pt x="1" y="227"/>
                      <a:pt x="1" y="227"/>
                    </a:cubicBezTo>
                    <a:cubicBezTo>
                      <a:pt x="7" y="223"/>
                      <a:pt x="7" y="223"/>
                      <a:pt x="7" y="223"/>
                    </a:cubicBezTo>
                    <a:cubicBezTo>
                      <a:pt x="8" y="223"/>
                      <a:pt x="9" y="223"/>
                      <a:pt x="9" y="223"/>
                    </a:cubicBezTo>
                    <a:cubicBezTo>
                      <a:pt x="73" y="260"/>
                      <a:pt x="73" y="260"/>
                      <a:pt x="73" y="260"/>
                    </a:cubicBezTo>
                    <a:cubicBezTo>
                      <a:pt x="199" y="187"/>
                      <a:pt x="199" y="187"/>
                      <a:pt x="199" y="187"/>
                    </a:cubicBezTo>
                    <a:cubicBezTo>
                      <a:pt x="154" y="161"/>
                      <a:pt x="154" y="161"/>
                      <a:pt x="154" y="161"/>
                    </a:cubicBezTo>
                    <a:cubicBezTo>
                      <a:pt x="153" y="160"/>
                      <a:pt x="153" y="160"/>
                      <a:pt x="153" y="159"/>
                    </a:cubicBezTo>
                    <a:cubicBezTo>
                      <a:pt x="153" y="158"/>
                      <a:pt x="153" y="158"/>
                      <a:pt x="154" y="157"/>
                    </a:cubicBezTo>
                    <a:cubicBezTo>
                      <a:pt x="159" y="154"/>
                      <a:pt x="159" y="154"/>
                      <a:pt x="159" y="154"/>
                    </a:cubicBezTo>
                    <a:cubicBezTo>
                      <a:pt x="159" y="10"/>
                      <a:pt x="159" y="10"/>
                      <a:pt x="159" y="10"/>
                    </a:cubicBezTo>
                    <a:cubicBezTo>
                      <a:pt x="159" y="9"/>
                      <a:pt x="159" y="9"/>
                      <a:pt x="160" y="8"/>
                    </a:cubicBezTo>
                    <a:cubicBezTo>
                      <a:pt x="174" y="1"/>
                      <a:pt x="174" y="1"/>
                      <a:pt x="174" y="1"/>
                    </a:cubicBezTo>
                    <a:cubicBezTo>
                      <a:pt x="174" y="0"/>
                      <a:pt x="175" y="0"/>
                      <a:pt x="176" y="1"/>
                    </a:cubicBezTo>
                    <a:cubicBezTo>
                      <a:pt x="176" y="1"/>
                      <a:pt x="177" y="2"/>
                      <a:pt x="177" y="2"/>
                    </a:cubicBezTo>
                    <a:cubicBezTo>
                      <a:pt x="177" y="146"/>
                      <a:pt x="177" y="146"/>
                      <a:pt x="177" y="146"/>
                    </a:cubicBezTo>
                    <a:cubicBezTo>
                      <a:pt x="244" y="185"/>
                      <a:pt x="244" y="185"/>
                      <a:pt x="244" y="185"/>
                    </a:cubicBezTo>
                    <a:cubicBezTo>
                      <a:pt x="244" y="185"/>
                      <a:pt x="245" y="186"/>
                      <a:pt x="245" y="187"/>
                    </a:cubicBezTo>
                    <a:cubicBezTo>
                      <a:pt x="245" y="230"/>
                      <a:pt x="245" y="230"/>
                      <a:pt x="245" y="230"/>
                    </a:cubicBezTo>
                    <a:cubicBezTo>
                      <a:pt x="245" y="231"/>
                      <a:pt x="244" y="232"/>
                      <a:pt x="244" y="232"/>
                    </a:cubicBezTo>
                    <a:cubicBezTo>
                      <a:pt x="123" y="302"/>
                      <a:pt x="123" y="302"/>
                      <a:pt x="123" y="302"/>
                    </a:cubicBezTo>
                    <a:cubicBezTo>
                      <a:pt x="123" y="302"/>
                      <a:pt x="122" y="302"/>
                      <a:pt x="122" y="302"/>
                    </a:cubicBezTo>
                    <a:close/>
                    <a:moveTo>
                      <a:pt x="4" y="230"/>
                    </a:moveTo>
                    <a:cubicBezTo>
                      <a:pt x="122" y="298"/>
                      <a:pt x="122" y="298"/>
                      <a:pt x="122" y="298"/>
                    </a:cubicBezTo>
                    <a:cubicBezTo>
                      <a:pt x="241" y="229"/>
                      <a:pt x="241" y="229"/>
                      <a:pt x="241" y="229"/>
                    </a:cubicBezTo>
                    <a:cubicBezTo>
                      <a:pt x="241" y="188"/>
                      <a:pt x="241" y="188"/>
                      <a:pt x="241" y="188"/>
                    </a:cubicBezTo>
                    <a:cubicBezTo>
                      <a:pt x="174" y="149"/>
                      <a:pt x="174" y="149"/>
                      <a:pt x="174" y="149"/>
                    </a:cubicBezTo>
                    <a:cubicBezTo>
                      <a:pt x="173" y="149"/>
                      <a:pt x="173" y="148"/>
                      <a:pt x="173" y="148"/>
                    </a:cubicBezTo>
                    <a:cubicBezTo>
                      <a:pt x="173" y="6"/>
                      <a:pt x="173" y="6"/>
                      <a:pt x="173" y="6"/>
                    </a:cubicBezTo>
                    <a:cubicBezTo>
                      <a:pt x="163" y="11"/>
                      <a:pt x="163" y="11"/>
                      <a:pt x="163" y="11"/>
                    </a:cubicBezTo>
                    <a:cubicBezTo>
                      <a:pt x="163" y="156"/>
                      <a:pt x="163" y="156"/>
                      <a:pt x="163" y="156"/>
                    </a:cubicBezTo>
                    <a:cubicBezTo>
                      <a:pt x="163" y="156"/>
                      <a:pt x="163" y="157"/>
                      <a:pt x="162" y="157"/>
                    </a:cubicBezTo>
                    <a:cubicBezTo>
                      <a:pt x="159" y="159"/>
                      <a:pt x="159" y="159"/>
                      <a:pt x="159" y="159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05" y="185"/>
                      <a:pt x="205" y="186"/>
                      <a:pt x="205" y="187"/>
                    </a:cubicBezTo>
                    <a:cubicBezTo>
                      <a:pt x="205" y="188"/>
                      <a:pt x="205" y="188"/>
                      <a:pt x="204" y="189"/>
                    </a:cubicBezTo>
                    <a:cubicBezTo>
                      <a:pt x="74" y="264"/>
                      <a:pt x="74" y="264"/>
                      <a:pt x="74" y="264"/>
                    </a:cubicBezTo>
                    <a:cubicBezTo>
                      <a:pt x="73" y="264"/>
                      <a:pt x="72" y="264"/>
                      <a:pt x="72" y="264"/>
                    </a:cubicBezTo>
                    <a:cubicBezTo>
                      <a:pt x="8" y="227"/>
                      <a:pt x="8" y="227"/>
                      <a:pt x="8" y="227"/>
                    </a:cubicBezTo>
                    <a:lnTo>
                      <a:pt x="4" y="230"/>
                    </a:lnTo>
                    <a:close/>
                    <a:moveTo>
                      <a:pt x="243" y="230"/>
                    </a:moveTo>
                    <a:cubicBezTo>
                      <a:pt x="243" y="230"/>
                      <a:pt x="243" y="230"/>
                      <a:pt x="243" y="23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3" name="Freeform 921">
                <a:extLst>
                  <a:ext uri="{FF2B5EF4-FFF2-40B4-BE49-F238E27FC236}">
                    <a16:creationId xmlns:a16="http://schemas.microsoft.com/office/drawing/2014/main" id="{ADEC5E5C-1D78-42FE-9B74-F74DCACD90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569511" y="6276571"/>
                <a:ext cx="291549" cy="473118"/>
              </a:xfrm>
              <a:custGeom>
                <a:avLst/>
                <a:gdLst>
                  <a:gd name="T0" fmla="*/ 69 w 119"/>
                  <a:gd name="T1" fmla="*/ 193 h 193"/>
                  <a:gd name="T2" fmla="*/ 68 w 119"/>
                  <a:gd name="T3" fmla="*/ 193 h 193"/>
                  <a:gd name="T4" fmla="*/ 1 w 119"/>
                  <a:gd name="T5" fmla="*/ 154 h 193"/>
                  <a:gd name="T6" fmla="*/ 0 w 119"/>
                  <a:gd name="T7" fmla="*/ 153 h 193"/>
                  <a:gd name="T8" fmla="*/ 0 w 119"/>
                  <a:gd name="T9" fmla="*/ 7 h 193"/>
                  <a:gd name="T10" fmla="*/ 1 w 119"/>
                  <a:gd name="T11" fmla="*/ 6 h 193"/>
                  <a:gd name="T12" fmla="*/ 1 w 119"/>
                  <a:gd name="T13" fmla="*/ 5 h 193"/>
                  <a:gd name="T14" fmla="*/ 1 w 119"/>
                  <a:gd name="T15" fmla="*/ 5 h 193"/>
                  <a:gd name="T16" fmla="*/ 0 w 119"/>
                  <a:gd name="T17" fmla="*/ 4 h 193"/>
                  <a:gd name="T18" fmla="*/ 0 w 119"/>
                  <a:gd name="T19" fmla="*/ 2 h 193"/>
                  <a:gd name="T20" fmla="*/ 1 w 119"/>
                  <a:gd name="T21" fmla="*/ 0 h 193"/>
                  <a:gd name="T22" fmla="*/ 3 w 119"/>
                  <a:gd name="T23" fmla="*/ 0 h 193"/>
                  <a:gd name="T24" fmla="*/ 118 w 119"/>
                  <a:gd name="T25" fmla="*/ 67 h 193"/>
                  <a:gd name="T26" fmla="*/ 119 w 119"/>
                  <a:gd name="T27" fmla="*/ 68 h 193"/>
                  <a:gd name="T28" fmla="*/ 118 w 119"/>
                  <a:gd name="T29" fmla="*/ 70 h 193"/>
                  <a:gd name="T30" fmla="*/ 71 w 119"/>
                  <a:gd name="T31" fmla="*/ 98 h 193"/>
                  <a:gd name="T32" fmla="*/ 71 w 119"/>
                  <a:gd name="T33" fmla="*/ 191 h 193"/>
                  <a:gd name="T34" fmla="*/ 70 w 119"/>
                  <a:gd name="T35" fmla="*/ 193 h 193"/>
                  <a:gd name="T36" fmla="*/ 69 w 119"/>
                  <a:gd name="T37" fmla="*/ 193 h 193"/>
                  <a:gd name="T38" fmla="*/ 4 w 119"/>
                  <a:gd name="T39" fmla="*/ 151 h 193"/>
                  <a:gd name="T40" fmla="*/ 67 w 119"/>
                  <a:gd name="T41" fmla="*/ 187 h 193"/>
                  <a:gd name="T42" fmla="*/ 67 w 119"/>
                  <a:gd name="T43" fmla="*/ 96 h 193"/>
                  <a:gd name="T44" fmla="*/ 68 w 119"/>
                  <a:gd name="T45" fmla="*/ 95 h 193"/>
                  <a:gd name="T46" fmla="*/ 113 w 119"/>
                  <a:gd name="T47" fmla="*/ 68 h 193"/>
                  <a:gd name="T48" fmla="*/ 7 w 119"/>
                  <a:gd name="T49" fmla="*/ 7 h 193"/>
                  <a:gd name="T50" fmla="*/ 6 w 119"/>
                  <a:gd name="T51" fmla="*/ 7 h 193"/>
                  <a:gd name="T52" fmla="*/ 4 w 119"/>
                  <a:gd name="T53" fmla="*/ 8 h 193"/>
                  <a:gd name="T54" fmla="*/ 4 w 119"/>
                  <a:gd name="T55" fmla="*/ 15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9" h="193">
                    <a:moveTo>
                      <a:pt x="69" y="193"/>
                    </a:moveTo>
                    <a:cubicBezTo>
                      <a:pt x="68" y="193"/>
                      <a:pt x="68" y="193"/>
                      <a:pt x="68" y="193"/>
                    </a:cubicBezTo>
                    <a:cubicBezTo>
                      <a:pt x="1" y="154"/>
                      <a:pt x="1" y="154"/>
                      <a:pt x="1" y="154"/>
                    </a:cubicBezTo>
                    <a:cubicBezTo>
                      <a:pt x="1" y="154"/>
                      <a:pt x="0" y="153"/>
                      <a:pt x="0" y="15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18" y="67"/>
                      <a:pt x="118" y="67"/>
                      <a:pt x="118" y="67"/>
                    </a:cubicBezTo>
                    <a:cubicBezTo>
                      <a:pt x="119" y="67"/>
                      <a:pt x="119" y="68"/>
                      <a:pt x="119" y="68"/>
                    </a:cubicBezTo>
                    <a:cubicBezTo>
                      <a:pt x="119" y="69"/>
                      <a:pt x="119" y="70"/>
                      <a:pt x="118" y="70"/>
                    </a:cubicBezTo>
                    <a:cubicBezTo>
                      <a:pt x="71" y="98"/>
                      <a:pt x="71" y="98"/>
                      <a:pt x="71" y="98"/>
                    </a:cubicBezTo>
                    <a:cubicBezTo>
                      <a:pt x="71" y="191"/>
                      <a:pt x="71" y="191"/>
                      <a:pt x="71" y="191"/>
                    </a:cubicBezTo>
                    <a:cubicBezTo>
                      <a:pt x="71" y="192"/>
                      <a:pt x="70" y="192"/>
                      <a:pt x="70" y="193"/>
                    </a:cubicBezTo>
                    <a:cubicBezTo>
                      <a:pt x="69" y="193"/>
                      <a:pt x="69" y="193"/>
                      <a:pt x="69" y="193"/>
                    </a:cubicBezTo>
                    <a:close/>
                    <a:moveTo>
                      <a:pt x="4" y="151"/>
                    </a:moveTo>
                    <a:cubicBezTo>
                      <a:pt x="67" y="187"/>
                      <a:pt x="67" y="187"/>
                      <a:pt x="67" y="187"/>
                    </a:cubicBezTo>
                    <a:cubicBezTo>
                      <a:pt x="67" y="96"/>
                      <a:pt x="67" y="96"/>
                      <a:pt x="67" y="96"/>
                    </a:cubicBezTo>
                    <a:cubicBezTo>
                      <a:pt x="67" y="96"/>
                      <a:pt x="67" y="95"/>
                      <a:pt x="68" y="95"/>
                    </a:cubicBezTo>
                    <a:cubicBezTo>
                      <a:pt x="113" y="68"/>
                      <a:pt x="113" y="68"/>
                      <a:pt x="113" y="68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6" y="7"/>
                      <a:pt x="6" y="7"/>
                    </a:cubicBezTo>
                    <a:cubicBezTo>
                      <a:pt x="4" y="8"/>
                      <a:pt x="4" y="8"/>
                      <a:pt x="4" y="8"/>
                    </a:cubicBezTo>
                    <a:lnTo>
                      <a:pt x="4" y="15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4" name="Freeform 922">
                <a:extLst>
                  <a:ext uri="{FF2B5EF4-FFF2-40B4-BE49-F238E27FC236}">
                    <a16:creationId xmlns:a16="http://schemas.microsoft.com/office/drawing/2014/main" id="{64EF0FB5-E873-492D-ACEC-07065C5CEF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86753" y="6854481"/>
                <a:ext cx="304000" cy="507357"/>
              </a:xfrm>
              <a:custGeom>
                <a:avLst/>
                <a:gdLst>
                  <a:gd name="T0" fmla="*/ 10 w 124"/>
                  <a:gd name="T1" fmla="*/ 207 h 207"/>
                  <a:gd name="T2" fmla="*/ 9 w 124"/>
                  <a:gd name="T3" fmla="*/ 206 h 207"/>
                  <a:gd name="T4" fmla="*/ 1 w 124"/>
                  <a:gd name="T5" fmla="*/ 201 h 207"/>
                  <a:gd name="T6" fmla="*/ 0 w 124"/>
                  <a:gd name="T7" fmla="*/ 200 h 207"/>
                  <a:gd name="T8" fmla="*/ 0 w 124"/>
                  <a:gd name="T9" fmla="*/ 71 h 207"/>
                  <a:gd name="T10" fmla="*/ 1 w 124"/>
                  <a:gd name="T11" fmla="*/ 70 h 207"/>
                  <a:gd name="T12" fmla="*/ 121 w 124"/>
                  <a:gd name="T13" fmla="*/ 1 h 207"/>
                  <a:gd name="T14" fmla="*/ 123 w 124"/>
                  <a:gd name="T15" fmla="*/ 1 h 207"/>
                  <a:gd name="T16" fmla="*/ 124 w 124"/>
                  <a:gd name="T17" fmla="*/ 2 h 207"/>
                  <a:gd name="T18" fmla="*/ 124 w 124"/>
                  <a:gd name="T19" fmla="*/ 140 h 207"/>
                  <a:gd name="T20" fmla="*/ 123 w 124"/>
                  <a:gd name="T21" fmla="*/ 142 h 207"/>
                  <a:gd name="T22" fmla="*/ 11 w 124"/>
                  <a:gd name="T23" fmla="*/ 206 h 207"/>
                  <a:gd name="T24" fmla="*/ 10 w 124"/>
                  <a:gd name="T25" fmla="*/ 207 h 207"/>
                  <a:gd name="T26" fmla="*/ 4 w 124"/>
                  <a:gd name="T27" fmla="*/ 199 h 207"/>
                  <a:gd name="T28" fmla="*/ 10 w 124"/>
                  <a:gd name="T29" fmla="*/ 202 h 207"/>
                  <a:gd name="T30" fmla="*/ 120 w 124"/>
                  <a:gd name="T31" fmla="*/ 139 h 207"/>
                  <a:gd name="T32" fmla="*/ 120 w 124"/>
                  <a:gd name="T33" fmla="*/ 6 h 207"/>
                  <a:gd name="T34" fmla="*/ 4 w 124"/>
                  <a:gd name="T35" fmla="*/ 73 h 207"/>
                  <a:gd name="T36" fmla="*/ 4 w 124"/>
                  <a:gd name="T37" fmla="*/ 199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4" h="207">
                    <a:moveTo>
                      <a:pt x="10" y="207"/>
                    </a:moveTo>
                    <a:cubicBezTo>
                      <a:pt x="10" y="207"/>
                      <a:pt x="10" y="207"/>
                      <a:pt x="9" y="206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0" y="201"/>
                      <a:pt x="0" y="200"/>
                      <a:pt x="0" y="200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0" y="70"/>
                      <a:pt x="1" y="70"/>
                    </a:cubicBezTo>
                    <a:cubicBezTo>
                      <a:pt x="121" y="1"/>
                      <a:pt x="121" y="1"/>
                      <a:pt x="121" y="1"/>
                    </a:cubicBezTo>
                    <a:cubicBezTo>
                      <a:pt x="121" y="0"/>
                      <a:pt x="122" y="0"/>
                      <a:pt x="123" y="1"/>
                    </a:cubicBezTo>
                    <a:cubicBezTo>
                      <a:pt x="123" y="1"/>
                      <a:pt x="124" y="2"/>
                      <a:pt x="124" y="2"/>
                    </a:cubicBezTo>
                    <a:cubicBezTo>
                      <a:pt x="124" y="140"/>
                      <a:pt x="124" y="140"/>
                      <a:pt x="124" y="140"/>
                    </a:cubicBezTo>
                    <a:cubicBezTo>
                      <a:pt x="124" y="141"/>
                      <a:pt x="123" y="142"/>
                      <a:pt x="123" y="142"/>
                    </a:cubicBezTo>
                    <a:cubicBezTo>
                      <a:pt x="11" y="206"/>
                      <a:pt x="11" y="206"/>
                      <a:pt x="11" y="206"/>
                    </a:cubicBezTo>
                    <a:cubicBezTo>
                      <a:pt x="11" y="207"/>
                      <a:pt x="11" y="207"/>
                      <a:pt x="10" y="207"/>
                    </a:cubicBezTo>
                    <a:close/>
                    <a:moveTo>
                      <a:pt x="4" y="199"/>
                    </a:moveTo>
                    <a:cubicBezTo>
                      <a:pt x="10" y="202"/>
                      <a:pt x="10" y="202"/>
                      <a:pt x="10" y="202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4" y="73"/>
                      <a:pt x="4" y="73"/>
                      <a:pt x="4" y="73"/>
                    </a:cubicBezTo>
                    <a:lnTo>
                      <a:pt x="4" y="19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5" name="Freeform 926">
                <a:extLst>
                  <a:ext uri="{FF2B5EF4-FFF2-40B4-BE49-F238E27FC236}">
                    <a16:creationId xmlns:a16="http://schemas.microsoft.com/office/drawing/2014/main" id="{7617EF8C-9924-4161-9646-C8C391E61E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596487" y="6746577"/>
                <a:ext cx="97529" cy="111017"/>
              </a:xfrm>
              <a:custGeom>
                <a:avLst/>
                <a:gdLst>
                  <a:gd name="T0" fmla="*/ 2 w 40"/>
                  <a:gd name="T1" fmla="*/ 45 h 45"/>
                  <a:gd name="T2" fmla="*/ 1 w 40"/>
                  <a:gd name="T3" fmla="*/ 45 h 45"/>
                  <a:gd name="T4" fmla="*/ 0 w 40"/>
                  <a:gd name="T5" fmla="*/ 43 h 45"/>
                  <a:gd name="T6" fmla="*/ 0 w 40"/>
                  <a:gd name="T7" fmla="*/ 2 h 45"/>
                  <a:gd name="T8" fmla="*/ 1 w 40"/>
                  <a:gd name="T9" fmla="*/ 0 h 45"/>
                  <a:gd name="T10" fmla="*/ 3 w 40"/>
                  <a:gd name="T11" fmla="*/ 0 h 45"/>
                  <a:gd name="T12" fmla="*/ 39 w 40"/>
                  <a:gd name="T13" fmla="*/ 21 h 45"/>
                  <a:gd name="T14" fmla="*/ 40 w 40"/>
                  <a:gd name="T15" fmla="*/ 23 h 45"/>
                  <a:gd name="T16" fmla="*/ 39 w 40"/>
                  <a:gd name="T17" fmla="*/ 24 h 45"/>
                  <a:gd name="T18" fmla="*/ 3 w 40"/>
                  <a:gd name="T19" fmla="*/ 45 h 45"/>
                  <a:gd name="T20" fmla="*/ 2 w 40"/>
                  <a:gd name="T21" fmla="*/ 45 h 45"/>
                  <a:gd name="T22" fmla="*/ 4 w 40"/>
                  <a:gd name="T23" fmla="*/ 5 h 45"/>
                  <a:gd name="T24" fmla="*/ 4 w 40"/>
                  <a:gd name="T25" fmla="*/ 40 h 45"/>
                  <a:gd name="T26" fmla="*/ 34 w 40"/>
                  <a:gd name="T27" fmla="*/ 23 h 45"/>
                  <a:gd name="T28" fmla="*/ 4 w 40"/>
                  <a:gd name="T29" fmla="*/ 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45">
                    <a:moveTo>
                      <a:pt x="2" y="45"/>
                    </a:moveTo>
                    <a:cubicBezTo>
                      <a:pt x="2" y="45"/>
                      <a:pt x="1" y="45"/>
                      <a:pt x="1" y="45"/>
                    </a:cubicBezTo>
                    <a:cubicBezTo>
                      <a:pt x="1" y="45"/>
                      <a:pt x="0" y="44"/>
                      <a:pt x="0" y="4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40" y="21"/>
                      <a:pt x="40" y="22"/>
                      <a:pt x="40" y="23"/>
                    </a:cubicBezTo>
                    <a:cubicBezTo>
                      <a:pt x="40" y="23"/>
                      <a:pt x="40" y="24"/>
                      <a:pt x="39" y="24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3" y="45"/>
                      <a:pt x="2" y="45"/>
                      <a:pt x="2" y="45"/>
                    </a:cubicBezTo>
                    <a:close/>
                    <a:moveTo>
                      <a:pt x="4" y="5"/>
                    </a:moveTo>
                    <a:cubicBezTo>
                      <a:pt x="4" y="40"/>
                      <a:pt x="4" y="40"/>
                      <a:pt x="4" y="40"/>
                    </a:cubicBezTo>
                    <a:cubicBezTo>
                      <a:pt x="34" y="23"/>
                      <a:pt x="34" y="23"/>
                      <a:pt x="34" y="23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6" name="Freeform 928">
                <a:extLst>
                  <a:ext uri="{FF2B5EF4-FFF2-40B4-BE49-F238E27FC236}">
                    <a16:creationId xmlns:a16="http://schemas.microsoft.com/office/drawing/2014/main" id="{2570ECC7-61A2-43A9-AAC0-F60A5AA250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92186" y="5935221"/>
                <a:ext cx="167044" cy="255235"/>
              </a:xfrm>
              <a:custGeom>
                <a:avLst/>
                <a:gdLst>
                  <a:gd name="T0" fmla="*/ 14 w 68"/>
                  <a:gd name="T1" fmla="*/ 104 h 104"/>
                  <a:gd name="T2" fmla="*/ 13 w 68"/>
                  <a:gd name="T3" fmla="*/ 104 h 104"/>
                  <a:gd name="T4" fmla="*/ 1 w 68"/>
                  <a:gd name="T5" fmla="*/ 98 h 104"/>
                  <a:gd name="T6" fmla="*/ 0 w 68"/>
                  <a:gd name="T7" fmla="*/ 96 h 104"/>
                  <a:gd name="T8" fmla="*/ 0 w 68"/>
                  <a:gd name="T9" fmla="*/ 35 h 104"/>
                  <a:gd name="T10" fmla="*/ 1 w 68"/>
                  <a:gd name="T11" fmla="*/ 33 h 104"/>
                  <a:gd name="T12" fmla="*/ 14 w 68"/>
                  <a:gd name="T13" fmla="*/ 26 h 104"/>
                  <a:gd name="T14" fmla="*/ 16 w 68"/>
                  <a:gd name="T15" fmla="*/ 26 h 104"/>
                  <a:gd name="T16" fmla="*/ 18 w 68"/>
                  <a:gd name="T17" fmla="*/ 27 h 104"/>
                  <a:gd name="T18" fmla="*/ 65 w 68"/>
                  <a:gd name="T19" fmla="*/ 0 h 104"/>
                  <a:gd name="T20" fmla="*/ 67 w 68"/>
                  <a:gd name="T21" fmla="*/ 0 h 104"/>
                  <a:gd name="T22" fmla="*/ 68 w 68"/>
                  <a:gd name="T23" fmla="*/ 2 h 104"/>
                  <a:gd name="T24" fmla="*/ 68 w 68"/>
                  <a:gd name="T25" fmla="*/ 72 h 104"/>
                  <a:gd name="T26" fmla="*/ 67 w 68"/>
                  <a:gd name="T27" fmla="*/ 74 h 104"/>
                  <a:gd name="T28" fmla="*/ 15 w 68"/>
                  <a:gd name="T29" fmla="*/ 104 h 104"/>
                  <a:gd name="T30" fmla="*/ 14 w 68"/>
                  <a:gd name="T31" fmla="*/ 104 h 104"/>
                  <a:gd name="T32" fmla="*/ 4 w 68"/>
                  <a:gd name="T33" fmla="*/ 95 h 104"/>
                  <a:gd name="T34" fmla="*/ 14 w 68"/>
                  <a:gd name="T35" fmla="*/ 100 h 104"/>
                  <a:gd name="T36" fmla="*/ 64 w 68"/>
                  <a:gd name="T37" fmla="*/ 71 h 104"/>
                  <a:gd name="T38" fmla="*/ 64 w 68"/>
                  <a:gd name="T39" fmla="*/ 5 h 104"/>
                  <a:gd name="T40" fmla="*/ 19 w 68"/>
                  <a:gd name="T41" fmla="*/ 31 h 104"/>
                  <a:gd name="T42" fmla="*/ 17 w 68"/>
                  <a:gd name="T43" fmla="*/ 31 h 104"/>
                  <a:gd name="T44" fmla="*/ 15 w 68"/>
                  <a:gd name="T45" fmla="*/ 30 h 104"/>
                  <a:gd name="T46" fmla="*/ 4 w 68"/>
                  <a:gd name="T47" fmla="*/ 36 h 104"/>
                  <a:gd name="T48" fmla="*/ 4 w 68"/>
                  <a:gd name="T49" fmla="*/ 9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104">
                    <a:moveTo>
                      <a:pt x="14" y="104"/>
                    </a:moveTo>
                    <a:cubicBezTo>
                      <a:pt x="13" y="104"/>
                      <a:pt x="13" y="104"/>
                      <a:pt x="13" y="104"/>
                    </a:cubicBezTo>
                    <a:cubicBezTo>
                      <a:pt x="1" y="98"/>
                      <a:pt x="1" y="98"/>
                      <a:pt x="1" y="98"/>
                    </a:cubicBezTo>
                    <a:cubicBezTo>
                      <a:pt x="1" y="97"/>
                      <a:pt x="0" y="97"/>
                      <a:pt x="0" y="9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1" y="34"/>
                      <a:pt x="1" y="33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4" y="26"/>
                      <a:pt x="15" y="26"/>
                      <a:pt x="16" y="26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6" y="0"/>
                      <a:pt x="67" y="0"/>
                      <a:pt x="67" y="0"/>
                    </a:cubicBezTo>
                    <a:cubicBezTo>
                      <a:pt x="68" y="0"/>
                      <a:pt x="68" y="1"/>
                      <a:pt x="68" y="2"/>
                    </a:cubicBezTo>
                    <a:cubicBezTo>
                      <a:pt x="68" y="72"/>
                      <a:pt x="68" y="72"/>
                      <a:pt x="68" y="72"/>
                    </a:cubicBezTo>
                    <a:cubicBezTo>
                      <a:pt x="68" y="73"/>
                      <a:pt x="68" y="73"/>
                      <a:pt x="67" y="74"/>
                    </a:cubicBezTo>
                    <a:cubicBezTo>
                      <a:pt x="15" y="104"/>
                      <a:pt x="15" y="104"/>
                      <a:pt x="15" y="104"/>
                    </a:cubicBezTo>
                    <a:cubicBezTo>
                      <a:pt x="14" y="104"/>
                      <a:pt x="14" y="104"/>
                      <a:pt x="14" y="104"/>
                    </a:cubicBezTo>
                    <a:close/>
                    <a:moveTo>
                      <a:pt x="4" y="95"/>
                    </a:moveTo>
                    <a:cubicBezTo>
                      <a:pt x="14" y="100"/>
                      <a:pt x="14" y="100"/>
                      <a:pt x="14" y="100"/>
                    </a:cubicBezTo>
                    <a:cubicBezTo>
                      <a:pt x="64" y="71"/>
                      <a:pt x="64" y="71"/>
                      <a:pt x="64" y="71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8" y="32"/>
                      <a:pt x="18" y="32"/>
                      <a:pt x="17" y="31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4" y="36"/>
                      <a:pt x="4" y="36"/>
                      <a:pt x="4" y="36"/>
                    </a:cubicBezTo>
                    <a:lnTo>
                      <a:pt x="4" y="9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7" name="Freeform 929">
                <a:extLst>
                  <a:ext uri="{FF2B5EF4-FFF2-40B4-BE49-F238E27FC236}">
                    <a16:creationId xmlns:a16="http://schemas.microsoft.com/office/drawing/2014/main" id="{2AEAD690-999A-4979-A98B-472CD78FBE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92186" y="5893719"/>
                <a:ext cx="80928" cy="78853"/>
              </a:xfrm>
              <a:custGeom>
                <a:avLst/>
                <a:gdLst>
                  <a:gd name="T0" fmla="*/ 2 w 33"/>
                  <a:gd name="T1" fmla="*/ 32 h 32"/>
                  <a:gd name="T2" fmla="*/ 1 w 33"/>
                  <a:gd name="T3" fmla="*/ 32 h 32"/>
                  <a:gd name="T4" fmla="*/ 0 w 33"/>
                  <a:gd name="T5" fmla="*/ 30 h 32"/>
                  <a:gd name="T6" fmla="*/ 0 w 33"/>
                  <a:gd name="T7" fmla="*/ 11 h 32"/>
                  <a:gd name="T8" fmla="*/ 1 w 33"/>
                  <a:gd name="T9" fmla="*/ 9 h 32"/>
                  <a:gd name="T10" fmla="*/ 3 w 33"/>
                  <a:gd name="T11" fmla="*/ 9 h 32"/>
                  <a:gd name="T12" fmla="*/ 9 w 33"/>
                  <a:gd name="T13" fmla="*/ 13 h 32"/>
                  <a:gd name="T14" fmla="*/ 30 w 33"/>
                  <a:gd name="T15" fmla="*/ 1 h 32"/>
                  <a:gd name="T16" fmla="*/ 32 w 33"/>
                  <a:gd name="T17" fmla="*/ 1 h 32"/>
                  <a:gd name="T18" fmla="*/ 33 w 33"/>
                  <a:gd name="T19" fmla="*/ 2 h 32"/>
                  <a:gd name="T20" fmla="*/ 33 w 33"/>
                  <a:gd name="T21" fmla="*/ 13 h 32"/>
                  <a:gd name="T22" fmla="*/ 32 w 33"/>
                  <a:gd name="T23" fmla="*/ 15 h 32"/>
                  <a:gd name="T24" fmla="*/ 3 w 33"/>
                  <a:gd name="T25" fmla="*/ 32 h 32"/>
                  <a:gd name="T26" fmla="*/ 2 w 33"/>
                  <a:gd name="T27" fmla="*/ 32 h 32"/>
                  <a:gd name="T28" fmla="*/ 4 w 33"/>
                  <a:gd name="T29" fmla="*/ 14 h 32"/>
                  <a:gd name="T30" fmla="*/ 4 w 33"/>
                  <a:gd name="T31" fmla="*/ 27 h 32"/>
                  <a:gd name="T32" fmla="*/ 29 w 33"/>
                  <a:gd name="T33" fmla="*/ 12 h 32"/>
                  <a:gd name="T34" fmla="*/ 29 w 33"/>
                  <a:gd name="T35" fmla="*/ 6 h 32"/>
                  <a:gd name="T36" fmla="*/ 10 w 33"/>
                  <a:gd name="T37" fmla="*/ 17 h 32"/>
                  <a:gd name="T38" fmla="*/ 8 w 33"/>
                  <a:gd name="T39" fmla="*/ 17 h 32"/>
                  <a:gd name="T40" fmla="*/ 4 w 33"/>
                  <a:gd name="T41" fmla="*/ 14 h 32"/>
                  <a:gd name="T42" fmla="*/ 31 w 33"/>
                  <a:gd name="T43" fmla="*/ 13 h 32"/>
                  <a:gd name="T44" fmla="*/ 31 w 33"/>
                  <a:gd name="T45" fmla="*/ 1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" h="32">
                    <a:moveTo>
                      <a:pt x="2" y="32"/>
                    </a:move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" y="8"/>
                      <a:pt x="2" y="8"/>
                      <a:pt x="3" y="9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1" y="0"/>
                      <a:pt x="32" y="0"/>
                      <a:pt x="32" y="1"/>
                    </a:cubicBezTo>
                    <a:cubicBezTo>
                      <a:pt x="33" y="1"/>
                      <a:pt x="33" y="2"/>
                      <a:pt x="33" y="2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3" y="14"/>
                      <a:pt x="33" y="14"/>
                      <a:pt x="32" y="15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lose/>
                    <a:moveTo>
                      <a:pt x="4" y="14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9" y="17"/>
                      <a:pt x="8" y="17"/>
                    </a:cubicBezTo>
                    <a:lnTo>
                      <a:pt x="4" y="14"/>
                    </a:lnTo>
                    <a:close/>
                    <a:moveTo>
                      <a:pt x="31" y="13"/>
                    </a:moveTo>
                    <a:cubicBezTo>
                      <a:pt x="31" y="13"/>
                      <a:pt x="31" y="13"/>
                      <a:pt x="31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8" name="Freeform 930">
                <a:extLst>
                  <a:ext uri="{FF2B5EF4-FFF2-40B4-BE49-F238E27FC236}">
                    <a16:creationId xmlns:a16="http://schemas.microsoft.com/office/drawing/2014/main" id="{CDC04066-2205-4BD5-ADCB-2566185338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532159" y="6440502"/>
                <a:ext cx="161856" cy="365214"/>
              </a:xfrm>
              <a:custGeom>
                <a:avLst/>
                <a:gdLst>
                  <a:gd name="T0" fmla="*/ 40 w 66"/>
                  <a:gd name="T1" fmla="*/ 149 h 149"/>
                  <a:gd name="T2" fmla="*/ 39 w 66"/>
                  <a:gd name="T3" fmla="*/ 148 h 149"/>
                  <a:gd name="T4" fmla="*/ 1 w 66"/>
                  <a:gd name="T5" fmla="*/ 127 h 149"/>
                  <a:gd name="T6" fmla="*/ 0 w 66"/>
                  <a:gd name="T7" fmla="*/ 125 h 149"/>
                  <a:gd name="T8" fmla="*/ 0 w 66"/>
                  <a:gd name="T9" fmla="*/ 30 h 149"/>
                  <a:gd name="T10" fmla="*/ 1 w 66"/>
                  <a:gd name="T11" fmla="*/ 29 h 149"/>
                  <a:gd name="T12" fmla="*/ 50 w 66"/>
                  <a:gd name="T13" fmla="*/ 1 h 149"/>
                  <a:gd name="T14" fmla="*/ 52 w 66"/>
                  <a:gd name="T15" fmla="*/ 1 h 149"/>
                  <a:gd name="T16" fmla="*/ 65 w 66"/>
                  <a:gd name="T17" fmla="*/ 9 h 149"/>
                  <a:gd name="T18" fmla="*/ 66 w 66"/>
                  <a:gd name="T19" fmla="*/ 10 h 149"/>
                  <a:gd name="T20" fmla="*/ 66 w 66"/>
                  <a:gd name="T21" fmla="*/ 132 h 149"/>
                  <a:gd name="T22" fmla="*/ 65 w 66"/>
                  <a:gd name="T23" fmla="*/ 134 h 149"/>
                  <a:gd name="T24" fmla="*/ 41 w 66"/>
                  <a:gd name="T25" fmla="*/ 148 h 149"/>
                  <a:gd name="T26" fmla="*/ 40 w 66"/>
                  <a:gd name="T27" fmla="*/ 149 h 149"/>
                  <a:gd name="T28" fmla="*/ 4 w 66"/>
                  <a:gd name="T29" fmla="*/ 124 h 149"/>
                  <a:gd name="T30" fmla="*/ 40 w 66"/>
                  <a:gd name="T31" fmla="*/ 144 h 149"/>
                  <a:gd name="T32" fmla="*/ 62 w 66"/>
                  <a:gd name="T33" fmla="*/ 131 h 149"/>
                  <a:gd name="T34" fmla="*/ 62 w 66"/>
                  <a:gd name="T35" fmla="*/ 12 h 149"/>
                  <a:gd name="T36" fmla="*/ 51 w 66"/>
                  <a:gd name="T37" fmla="*/ 5 h 149"/>
                  <a:gd name="T38" fmla="*/ 4 w 66"/>
                  <a:gd name="T39" fmla="*/ 32 h 149"/>
                  <a:gd name="T40" fmla="*/ 4 w 66"/>
                  <a:gd name="T41" fmla="*/ 12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" h="149">
                    <a:moveTo>
                      <a:pt x="40" y="149"/>
                    </a:moveTo>
                    <a:cubicBezTo>
                      <a:pt x="40" y="149"/>
                      <a:pt x="39" y="149"/>
                      <a:pt x="39" y="148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1" y="126"/>
                      <a:pt x="0" y="125"/>
                      <a:pt x="0" y="12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1" y="29"/>
                      <a:pt x="1" y="29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0" y="0"/>
                      <a:pt x="51" y="0"/>
                      <a:pt x="52" y="1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6" y="9"/>
                      <a:pt x="66" y="10"/>
                      <a:pt x="66" y="10"/>
                    </a:cubicBezTo>
                    <a:cubicBezTo>
                      <a:pt x="66" y="132"/>
                      <a:pt x="66" y="132"/>
                      <a:pt x="66" y="132"/>
                    </a:cubicBezTo>
                    <a:cubicBezTo>
                      <a:pt x="66" y="133"/>
                      <a:pt x="66" y="134"/>
                      <a:pt x="65" y="134"/>
                    </a:cubicBezTo>
                    <a:cubicBezTo>
                      <a:pt x="41" y="148"/>
                      <a:pt x="41" y="148"/>
                      <a:pt x="41" y="148"/>
                    </a:cubicBezTo>
                    <a:cubicBezTo>
                      <a:pt x="41" y="149"/>
                      <a:pt x="40" y="149"/>
                      <a:pt x="40" y="149"/>
                    </a:cubicBezTo>
                    <a:close/>
                    <a:moveTo>
                      <a:pt x="4" y="124"/>
                    </a:moveTo>
                    <a:cubicBezTo>
                      <a:pt x="40" y="144"/>
                      <a:pt x="40" y="144"/>
                      <a:pt x="40" y="144"/>
                    </a:cubicBezTo>
                    <a:cubicBezTo>
                      <a:pt x="62" y="131"/>
                      <a:pt x="62" y="131"/>
                      <a:pt x="62" y="131"/>
                    </a:cubicBezTo>
                    <a:cubicBezTo>
                      <a:pt x="62" y="12"/>
                      <a:pt x="62" y="12"/>
                      <a:pt x="62" y="12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4" y="32"/>
                      <a:pt x="4" y="32"/>
                      <a:pt x="4" y="32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9" name="Freeform 931">
                <a:extLst>
                  <a:ext uri="{FF2B5EF4-FFF2-40B4-BE49-F238E27FC236}">
                    <a16:creationId xmlns:a16="http://schemas.microsoft.com/office/drawing/2014/main" id="{01DBD803-FD8F-4697-9F7D-FD5635C341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532159" y="6764215"/>
                <a:ext cx="64328" cy="75740"/>
              </a:xfrm>
              <a:custGeom>
                <a:avLst/>
                <a:gdLst>
                  <a:gd name="T0" fmla="*/ 24 w 26"/>
                  <a:gd name="T1" fmla="*/ 31 h 31"/>
                  <a:gd name="T2" fmla="*/ 23 w 26"/>
                  <a:gd name="T3" fmla="*/ 31 h 31"/>
                  <a:gd name="T4" fmla="*/ 1 w 26"/>
                  <a:gd name="T5" fmla="*/ 17 h 31"/>
                  <a:gd name="T6" fmla="*/ 0 w 26"/>
                  <a:gd name="T7" fmla="*/ 16 h 31"/>
                  <a:gd name="T8" fmla="*/ 1 w 26"/>
                  <a:gd name="T9" fmla="*/ 14 h 31"/>
                  <a:gd name="T10" fmla="*/ 23 w 26"/>
                  <a:gd name="T11" fmla="*/ 1 h 31"/>
                  <a:gd name="T12" fmla="*/ 25 w 26"/>
                  <a:gd name="T13" fmla="*/ 1 h 31"/>
                  <a:gd name="T14" fmla="*/ 26 w 26"/>
                  <a:gd name="T15" fmla="*/ 2 h 31"/>
                  <a:gd name="T16" fmla="*/ 26 w 26"/>
                  <a:gd name="T17" fmla="*/ 29 h 31"/>
                  <a:gd name="T18" fmla="*/ 25 w 26"/>
                  <a:gd name="T19" fmla="*/ 31 h 31"/>
                  <a:gd name="T20" fmla="*/ 24 w 26"/>
                  <a:gd name="T21" fmla="*/ 31 h 31"/>
                  <a:gd name="T22" fmla="*/ 6 w 26"/>
                  <a:gd name="T23" fmla="*/ 16 h 31"/>
                  <a:gd name="T24" fmla="*/ 22 w 26"/>
                  <a:gd name="T25" fmla="*/ 25 h 31"/>
                  <a:gd name="T26" fmla="*/ 22 w 26"/>
                  <a:gd name="T27" fmla="*/ 6 h 31"/>
                  <a:gd name="T28" fmla="*/ 6 w 26"/>
                  <a:gd name="T29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31">
                    <a:moveTo>
                      <a:pt x="24" y="31"/>
                    </a:moveTo>
                    <a:cubicBezTo>
                      <a:pt x="24" y="31"/>
                      <a:pt x="24" y="31"/>
                      <a:pt x="23" y="3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15"/>
                      <a:pt x="0" y="14"/>
                      <a:pt x="1" y="14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5" y="0"/>
                      <a:pt x="25" y="1"/>
                    </a:cubicBezTo>
                    <a:cubicBezTo>
                      <a:pt x="26" y="1"/>
                      <a:pt x="26" y="2"/>
                      <a:pt x="26" y="2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26" y="30"/>
                      <a:pt x="26" y="30"/>
                      <a:pt x="25" y="31"/>
                    </a:cubicBezTo>
                    <a:cubicBezTo>
                      <a:pt x="25" y="31"/>
                      <a:pt x="25" y="31"/>
                      <a:pt x="24" y="31"/>
                    </a:cubicBezTo>
                    <a:close/>
                    <a:moveTo>
                      <a:pt x="6" y="16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6"/>
                      <a:pt x="22" y="6"/>
                      <a:pt x="22" y="6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0" name="Freeform 932">
                <a:extLst>
                  <a:ext uri="{FF2B5EF4-FFF2-40B4-BE49-F238E27FC236}">
                    <a16:creationId xmlns:a16="http://schemas.microsoft.com/office/drawing/2014/main" id="{65B6322F-ADF8-4197-BEAA-3703A4634B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390016" y="6339861"/>
                <a:ext cx="181570" cy="429541"/>
              </a:xfrm>
              <a:custGeom>
                <a:avLst/>
                <a:gdLst>
                  <a:gd name="T0" fmla="*/ 16 w 74"/>
                  <a:gd name="T1" fmla="*/ 175 h 175"/>
                  <a:gd name="T2" fmla="*/ 15 w 74"/>
                  <a:gd name="T3" fmla="*/ 174 h 175"/>
                  <a:gd name="T4" fmla="*/ 14 w 74"/>
                  <a:gd name="T5" fmla="*/ 173 h 175"/>
                  <a:gd name="T6" fmla="*/ 14 w 74"/>
                  <a:gd name="T7" fmla="*/ 52 h 175"/>
                  <a:gd name="T8" fmla="*/ 1 w 74"/>
                  <a:gd name="T9" fmla="*/ 44 h 175"/>
                  <a:gd name="T10" fmla="*/ 0 w 74"/>
                  <a:gd name="T11" fmla="*/ 42 h 175"/>
                  <a:gd name="T12" fmla="*/ 1 w 74"/>
                  <a:gd name="T13" fmla="*/ 41 h 175"/>
                  <a:gd name="T14" fmla="*/ 71 w 74"/>
                  <a:gd name="T15" fmla="*/ 1 h 175"/>
                  <a:gd name="T16" fmla="*/ 73 w 74"/>
                  <a:gd name="T17" fmla="*/ 1 h 175"/>
                  <a:gd name="T18" fmla="*/ 74 w 74"/>
                  <a:gd name="T19" fmla="*/ 2 h 175"/>
                  <a:gd name="T20" fmla="*/ 74 w 74"/>
                  <a:gd name="T21" fmla="*/ 140 h 175"/>
                  <a:gd name="T22" fmla="*/ 73 w 74"/>
                  <a:gd name="T23" fmla="*/ 142 h 175"/>
                  <a:gd name="T24" fmla="*/ 17 w 74"/>
                  <a:gd name="T25" fmla="*/ 174 h 175"/>
                  <a:gd name="T26" fmla="*/ 16 w 74"/>
                  <a:gd name="T27" fmla="*/ 175 h 175"/>
                  <a:gd name="T28" fmla="*/ 6 w 74"/>
                  <a:gd name="T29" fmla="*/ 42 h 175"/>
                  <a:gd name="T30" fmla="*/ 17 w 74"/>
                  <a:gd name="T31" fmla="*/ 49 h 175"/>
                  <a:gd name="T32" fmla="*/ 18 w 74"/>
                  <a:gd name="T33" fmla="*/ 50 h 175"/>
                  <a:gd name="T34" fmla="*/ 18 w 74"/>
                  <a:gd name="T35" fmla="*/ 169 h 175"/>
                  <a:gd name="T36" fmla="*/ 70 w 74"/>
                  <a:gd name="T37" fmla="*/ 139 h 175"/>
                  <a:gd name="T38" fmla="*/ 70 w 74"/>
                  <a:gd name="T39" fmla="*/ 6 h 175"/>
                  <a:gd name="T40" fmla="*/ 6 w 74"/>
                  <a:gd name="T41" fmla="*/ 42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4" h="175">
                    <a:moveTo>
                      <a:pt x="16" y="175"/>
                    </a:moveTo>
                    <a:cubicBezTo>
                      <a:pt x="16" y="175"/>
                      <a:pt x="15" y="174"/>
                      <a:pt x="15" y="174"/>
                    </a:cubicBezTo>
                    <a:cubicBezTo>
                      <a:pt x="15" y="174"/>
                      <a:pt x="14" y="173"/>
                      <a:pt x="14" y="173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1" y="44"/>
                      <a:pt x="0" y="43"/>
                      <a:pt x="0" y="42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2" y="0"/>
                      <a:pt x="73" y="1"/>
                    </a:cubicBezTo>
                    <a:cubicBezTo>
                      <a:pt x="73" y="1"/>
                      <a:pt x="74" y="2"/>
                      <a:pt x="74" y="2"/>
                    </a:cubicBezTo>
                    <a:cubicBezTo>
                      <a:pt x="74" y="140"/>
                      <a:pt x="74" y="140"/>
                      <a:pt x="74" y="140"/>
                    </a:cubicBezTo>
                    <a:cubicBezTo>
                      <a:pt x="74" y="141"/>
                      <a:pt x="73" y="142"/>
                      <a:pt x="73" y="142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17" y="174"/>
                      <a:pt x="16" y="175"/>
                      <a:pt x="16" y="175"/>
                    </a:cubicBezTo>
                    <a:close/>
                    <a:moveTo>
                      <a:pt x="6" y="42"/>
                    </a:moveTo>
                    <a:cubicBezTo>
                      <a:pt x="17" y="49"/>
                      <a:pt x="17" y="49"/>
                      <a:pt x="17" y="49"/>
                    </a:cubicBezTo>
                    <a:cubicBezTo>
                      <a:pt x="18" y="49"/>
                      <a:pt x="18" y="50"/>
                      <a:pt x="18" y="50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70" y="139"/>
                      <a:pt x="70" y="139"/>
                      <a:pt x="70" y="139"/>
                    </a:cubicBezTo>
                    <a:cubicBezTo>
                      <a:pt x="70" y="6"/>
                      <a:pt x="70" y="6"/>
                      <a:pt x="70" y="6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1" name="Freeform 933">
                <a:extLst>
                  <a:ext uri="{FF2B5EF4-FFF2-40B4-BE49-F238E27FC236}">
                    <a16:creationId xmlns:a16="http://schemas.microsoft.com/office/drawing/2014/main" id="{31995E75-2D10-4F79-9399-A004C78BCE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53797" y="6124053"/>
                <a:ext cx="646388" cy="350688"/>
              </a:xfrm>
              <a:custGeom>
                <a:avLst/>
                <a:gdLst>
                  <a:gd name="T0" fmla="*/ 126 w 264"/>
                  <a:gd name="T1" fmla="*/ 143 h 143"/>
                  <a:gd name="T2" fmla="*/ 125 w 264"/>
                  <a:gd name="T3" fmla="*/ 142 h 143"/>
                  <a:gd name="T4" fmla="*/ 1 w 264"/>
                  <a:gd name="T5" fmla="*/ 71 h 143"/>
                  <a:gd name="T6" fmla="*/ 0 w 264"/>
                  <a:gd name="T7" fmla="*/ 69 h 143"/>
                  <a:gd name="T8" fmla="*/ 1 w 264"/>
                  <a:gd name="T9" fmla="*/ 68 h 143"/>
                  <a:gd name="T10" fmla="*/ 87 w 264"/>
                  <a:gd name="T11" fmla="*/ 18 h 143"/>
                  <a:gd name="T12" fmla="*/ 89 w 264"/>
                  <a:gd name="T13" fmla="*/ 18 h 143"/>
                  <a:gd name="T14" fmla="*/ 147 w 264"/>
                  <a:gd name="T15" fmla="*/ 52 h 143"/>
                  <a:gd name="T16" fmla="*/ 147 w 264"/>
                  <a:gd name="T17" fmla="*/ 2 h 143"/>
                  <a:gd name="T18" fmla="*/ 148 w 264"/>
                  <a:gd name="T19" fmla="*/ 0 h 143"/>
                  <a:gd name="T20" fmla="*/ 150 w 264"/>
                  <a:gd name="T21" fmla="*/ 0 h 143"/>
                  <a:gd name="T22" fmla="*/ 182 w 264"/>
                  <a:gd name="T23" fmla="*/ 18 h 143"/>
                  <a:gd name="T24" fmla="*/ 183 w 264"/>
                  <a:gd name="T25" fmla="*/ 20 h 143"/>
                  <a:gd name="T26" fmla="*/ 183 w 264"/>
                  <a:gd name="T27" fmla="*/ 31 h 143"/>
                  <a:gd name="T28" fmla="*/ 193 w 264"/>
                  <a:gd name="T29" fmla="*/ 26 h 143"/>
                  <a:gd name="T30" fmla="*/ 195 w 264"/>
                  <a:gd name="T31" fmla="*/ 26 h 143"/>
                  <a:gd name="T32" fmla="*/ 263 w 264"/>
                  <a:gd name="T33" fmla="*/ 65 h 143"/>
                  <a:gd name="T34" fmla="*/ 264 w 264"/>
                  <a:gd name="T35" fmla="*/ 67 h 143"/>
                  <a:gd name="T36" fmla="*/ 264 w 264"/>
                  <a:gd name="T37" fmla="*/ 68 h 143"/>
                  <a:gd name="T38" fmla="*/ 263 w 264"/>
                  <a:gd name="T39" fmla="*/ 70 h 143"/>
                  <a:gd name="T40" fmla="*/ 249 w 264"/>
                  <a:gd name="T41" fmla="*/ 78 h 143"/>
                  <a:gd name="T42" fmla="*/ 247 w 264"/>
                  <a:gd name="T43" fmla="*/ 78 h 143"/>
                  <a:gd name="T44" fmla="*/ 246 w 264"/>
                  <a:gd name="T45" fmla="*/ 76 h 143"/>
                  <a:gd name="T46" fmla="*/ 246 w 264"/>
                  <a:gd name="T47" fmla="*/ 73 h 143"/>
                  <a:gd name="T48" fmla="*/ 127 w 264"/>
                  <a:gd name="T49" fmla="*/ 142 h 143"/>
                  <a:gd name="T50" fmla="*/ 126 w 264"/>
                  <a:gd name="T51" fmla="*/ 143 h 143"/>
                  <a:gd name="T52" fmla="*/ 6 w 264"/>
                  <a:gd name="T53" fmla="*/ 69 h 143"/>
                  <a:gd name="T54" fmla="*/ 126 w 264"/>
                  <a:gd name="T55" fmla="*/ 138 h 143"/>
                  <a:gd name="T56" fmla="*/ 247 w 264"/>
                  <a:gd name="T57" fmla="*/ 68 h 143"/>
                  <a:gd name="T58" fmla="*/ 249 w 264"/>
                  <a:gd name="T59" fmla="*/ 68 h 143"/>
                  <a:gd name="T60" fmla="*/ 250 w 264"/>
                  <a:gd name="T61" fmla="*/ 70 h 143"/>
                  <a:gd name="T62" fmla="*/ 250 w 264"/>
                  <a:gd name="T63" fmla="*/ 73 h 143"/>
                  <a:gd name="T64" fmla="*/ 259 w 264"/>
                  <a:gd name="T65" fmla="*/ 68 h 143"/>
                  <a:gd name="T66" fmla="*/ 194 w 264"/>
                  <a:gd name="T67" fmla="*/ 30 h 143"/>
                  <a:gd name="T68" fmla="*/ 182 w 264"/>
                  <a:gd name="T69" fmla="*/ 37 h 143"/>
                  <a:gd name="T70" fmla="*/ 180 w 264"/>
                  <a:gd name="T71" fmla="*/ 37 h 143"/>
                  <a:gd name="T72" fmla="*/ 179 w 264"/>
                  <a:gd name="T73" fmla="*/ 35 h 143"/>
                  <a:gd name="T74" fmla="*/ 179 w 264"/>
                  <a:gd name="T75" fmla="*/ 21 h 143"/>
                  <a:gd name="T76" fmla="*/ 151 w 264"/>
                  <a:gd name="T77" fmla="*/ 5 h 143"/>
                  <a:gd name="T78" fmla="*/ 151 w 264"/>
                  <a:gd name="T79" fmla="*/ 55 h 143"/>
                  <a:gd name="T80" fmla="*/ 150 w 264"/>
                  <a:gd name="T81" fmla="*/ 57 h 143"/>
                  <a:gd name="T82" fmla="*/ 148 w 264"/>
                  <a:gd name="T83" fmla="*/ 57 h 143"/>
                  <a:gd name="T84" fmla="*/ 88 w 264"/>
                  <a:gd name="T85" fmla="*/ 22 h 143"/>
                  <a:gd name="T86" fmla="*/ 6 w 264"/>
                  <a:gd name="T87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4" h="143">
                    <a:moveTo>
                      <a:pt x="126" y="143"/>
                    </a:moveTo>
                    <a:cubicBezTo>
                      <a:pt x="125" y="143"/>
                      <a:pt x="125" y="142"/>
                      <a:pt x="125" y="142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69"/>
                    </a:cubicBezTo>
                    <a:cubicBezTo>
                      <a:pt x="0" y="69"/>
                      <a:pt x="1" y="68"/>
                      <a:pt x="1" y="68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7" y="18"/>
                      <a:pt x="88" y="18"/>
                      <a:pt x="89" y="18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7" y="2"/>
                      <a:pt x="147" y="2"/>
                      <a:pt x="147" y="2"/>
                    </a:cubicBezTo>
                    <a:cubicBezTo>
                      <a:pt x="147" y="1"/>
                      <a:pt x="148" y="0"/>
                      <a:pt x="148" y="0"/>
                    </a:cubicBezTo>
                    <a:cubicBezTo>
                      <a:pt x="149" y="0"/>
                      <a:pt x="150" y="0"/>
                      <a:pt x="150" y="0"/>
                    </a:cubicBezTo>
                    <a:cubicBezTo>
                      <a:pt x="182" y="18"/>
                      <a:pt x="182" y="18"/>
                      <a:pt x="182" y="18"/>
                    </a:cubicBezTo>
                    <a:cubicBezTo>
                      <a:pt x="182" y="19"/>
                      <a:pt x="183" y="19"/>
                      <a:pt x="183" y="20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93" y="26"/>
                      <a:pt x="193" y="26"/>
                      <a:pt x="193" y="26"/>
                    </a:cubicBezTo>
                    <a:cubicBezTo>
                      <a:pt x="193" y="25"/>
                      <a:pt x="194" y="25"/>
                      <a:pt x="195" y="26"/>
                    </a:cubicBezTo>
                    <a:cubicBezTo>
                      <a:pt x="263" y="65"/>
                      <a:pt x="263" y="65"/>
                      <a:pt x="263" y="65"/>
                    </a:cubicBezTo>
                    <a:cubicBezTo>
                      <a:pt x="263" y="65"/>
                      <a:pt x="264" y="66"/>
                      <a:pt x="264" y="67"/>
                    </a:cubicBezTo>
                    <a:cubicBezTo>
                      <a:pt x="264" y="68"/>
                      <a:pt x="264" y="68"/>
                      <a:pt x="264" y="68"/>
                    </a:cubicBezTo>
                    <a:cubicBezTo>
                      <a:pt x="264" y="69"/>
                      <a:pt x="263" y="70"/>
                      <a:pt x="263" y="70"/>
                    </a:cubicBezTo>
                    <a:cubicBezTo>
                      <a:pt x="249" y="78"/>
                      <a:pt x="249" y="78"/>
                      <a:pt x="249" y="78"/>
                    </a:cubicBezTo>
                    <a:cubicBezTo>
                      <a:pt x="248" y="78"/>
                      <a:pt x="248" y="78"/>
                      <a:pt x="247" y="78"/>
                    </a:cubicBezTo>
                    <a:cubicBezTo>
                      <a:pt x="246" y="78"/>
                      <a:pt x="246" y="77"/>
                      <a:pt x="246" y="76"/>
                    </a:cubicBezTo>
                    <a:cubicBezTo>
                      <a:pt x="246" y="73"/>
                      <a:pt x="246" y="73"/>
                      <a:pt x="246" y="73"/>
                    </a:cubicBezTo>
                    <a:cubicBezTo>
                      <a:pt x="127" y="142"/>
                      <a:pt x="127" y="142"/>
                      <a:pt x="127" y="142"/>
                    </a:cubicBezTo>
                    <a:cubicBezTo>
                      <a:pt x="126" y="142"/>
                      <a:pt x="126" y="143"/>
                      <a:pt x="126" y="143"/>
                    </a:cubicBezTo>
                    <a:close/>
                    <a:moveTo>
                      <a:pt x="6" y="69"/>
                    </a:moveTo>
                    <a:cubicBezTo>
                      <a:pt x="126" y="138"/>
                      <a:pt x="126" y="138"/>
                      <a:pt x="126" y="138"/>
                    </a:cubicBezTo>
                    <a:cubicBezTo>
                      <a:pt x="247" y="68"/>
                      <a:pt x="247" y="68"/>
                      <a:pt x="247" y="68"/>
                    </a:cubicBezTo>
                    <a:cubicBezTo>
                      <a:pt x="248" y="68"/>
                      <a:pt x="248" y="68"/>
                      <a:pt x="249" y="68"/>
                    </a:cubicBezTo>
                    <a:cubicBezTo>
                      <a:pt x="250" y="69"/>
                      <a:pt x="250" y="69"/>
                      <a:pt x="250" y="70"/>
                    </a:cubicBezTo>
                    <a:cubicBezTo>
                      <a:pt x="250" y="73"/>
                      <a:pt x="250" y="73"/>
                      <a:pt x="250" y="73"/>
                    </a:cubicBezTo>
                    <a:cubicBezTo>
                      <a:pt x="259" y="68"/>
                      <a:pt x="259" y="68"/>
                      <a:pt x="259" y="68"/>
                    </a:cubicBezTo>
                    <a:cubicBezTo>
                      <a:pt x="194" y="30"/>
                      <a:pt x="194" y="30"/>
                      <a:pt x="194" y="30"/>
                    </a:cubicBezTo>
                    <a:cubicBezTo>
                      <a:pt x="182" y="37"/>
                      <a:pt x="182" y="37"/>
                      <a:pt x="182" y="37"/>
                    </a:cubicBezTo>
                    <a:cubicBezTo>
                      <a:pt x="181" y="37"/>
                      <a:pt x="180" y="37"/>
                      <a:pt x="180" y="37"/>
                    </a:cubicBezTo>
                    <a:cubicBezTo>
                      <a:pt x="179" y="36"/>
                      <a:pt x="179" y="35"/>
                      <a:pt x="179" y="35"/>
                    </a:cubicBezTo>
                    <a:cubicBezTo>
                      <a:pt x="179" y="21"/>
                      <a:pt x="179" y="21"/>
                      <a:pt x="179" y="21"/>
                    </a:cubicBezTo>
                    <a:cubicBezTo>
                      <a:pt x="151" y="5"/>
                      <a:pt x="151" y="5"/>
                      <a:pt x="151" y="5"/>
                    </a:cubicBezTo>
                    <a:cubicBezTo>
                      <a:pt x="151" y="55"/>
                      <a:pt x="151" y="55"/>
                      <a:pt x="151" y="55"/>
                    </a:cubicBezTo>
                    <a:cubicBezTo>
                      <a:pt x="151" y="56"/>
                      <a:pt x="151" y="57"/>
                      <a:pt x="150" y="57"/>
                    </a:cubicBezTo>
                    <a:cubicBezTo>
                      <a:pt x="150" y="57"/>
                      <a:pt x="149" y="57"/>
                      <a:pt x="148" y="57"/>
                    </a:cubicBezTo>
                    <a:cubicBezTo>
                      <a:pt x="88" y="22"/>
                      <a:pt x="88" y="22"/>
                      <a:pt x="88" y="22"/>
                    </a:cubicBezTo>
                    <a:lnTo>
                      <a:pt x="6" y="6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2" name="Freeform 934">
                <a:extLst>
                  <a:ext uri="{FF2B5EF4-FFF2-40B4-BE49-F238E27FC236}">
                    <a16:creationId xmlns:a16="http://schemas.microsoft.com/office/drawing/2014/main" id="{7B05650F-987D-46E3-A404-3DF50D72F69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892186" y="5925883"/>
                <a:ext cx="132805" cy="83003"/>
              </a:xfrm>
              <a:custGeom>
                <a:avLst/>
                <a:gdLst>
                  <a:gd name="T0" fmla="*/ 4 w 54"/>
                  <a:gd name="T1" fmla="*/ 34 h 34"/>
                  <a:gd name="T2" fmla="*/ 3 w 54"/>
                  <a:gd name="T3" fmla="*/ 34 h 34"/>
                  <a:gd name="T4" fmla="*/ 1 w 54"/>
                  <a:gd name="T5" fmla="*/ 33 h 34"/>
                  <a:gd name="T6" fmla="*/ 0 w 54"/>
                  <a:gd name="T7" fmla="*/ 31 h 34"/>
                  <a:gd name="T8" fmla="*/ 1 w 54"/>
                  <a:gd name="T9" fmla="*/ 29 h 34"/>
                  <a:gd name="T10" fmla="*/ 21 w 54"/>
                  <a:gd name="T11" fmla="*/ 18 h 34"/>
                  <a:gd name="T12" fmla="*/ 21 w 54"/>
                  <a:gd name="T13" fmla="*/ 18 h 34"/>
                  <a:gd name="T14" fmla="*/ 22 w 54"/>
                  <a:gd name="T15" fmla="*/ 18 h 34"/>
                  <a:gd name="T16" fmla="*/ 51 w 54"/>
                  <a:gd name="T17" fmla="*/ 0 h 34"/>
                  <a:gd name="T18" fmla="*/ 53 w 54"/>
                  <a:gd name="T19" fmla="*/ 0 h 34"/>
                  <a:gd name="T20" fmla="*/ 54 w 54"/>
                  <a:gd name="T21" fmla="*/ 2 h 34"/>
                  <a:gd name="T22" fmla="*/ 54 w 54"/>
                  <a:gd name="T23" fmla="*/ 4 h 34"/>
                  <a:gd name="T24" fmla="*/ 53 w 54"/>
                  <a:gd name="T25" fmla="*/ 6 h 34"/>
                  <a:gd name="T26" fmla="*/ 5 w 54"/>
                  <a:gd name="T27" fmla="*/ 34 h 34"/>
                  <a:gd name="T28" fmla="*/ 4 w 54"/>
                  <a:gd name="T2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34">
                    <a:moveTo>
                      <a:pt x="4" y="34"/>
                    </a:moveTo>
                    <a:cubicBezTo>
                      <a:pt x="4" y="34"/>
                      <a:pt x="3" y="34"/>
                      <a:pt x="3" y="3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2"/>
                      <a:pt x="0" y="32"/>
                      <a:pt x="0" y="31"/>
                    </a:cubicBezTo>
                    <a:cubicBezTo>
                      <a:pt x="0" y="30"/>
                      <a:pt x="1" y="30"/>
                      <a:pt x="1" y="29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2" y="18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2" y="0"/>
                      <a:pt x="53" y="0"/>
                      <a:pt x="53" y="0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5"/>
                      <a:pt x="54" y="5"/>
                      <a:pt x="53" y="6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4" y="34"/>
                      <a:pt x="4" y="3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3" name="Freeform 950">
                <a:extLst>
                  <a:ext uri="{FF2B5EF4-FFF2-40B4-BE49-F238E27FC236}">
                    <a16:creationId xmlns:a16="http://schemas.microsoft.com/office/drawing/2014/main" id="{81476765-C267-44A2-85A7-48C4BE67F4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24445" y="5570007"/>
                <a:ext cx="174307" cy="116204"/>
              </a:xfrm>
              <a:custGeom>
                <a:avLst/>
                <a:gdLst>
                  <a:gd name="T0" fmla="*/ 52 w 71"/>
                  <a:gd name="T1" fmla="*/ 47 h 47"/>
                  <a:gd name="T2" fmla="*/ 51 w 71"/>
                  <a:gd name="T3" fmla="*/ 46 h 47"/>
                  <a:gd name="T4" fmla="*/ 1 w 71"/>
                  <a:gd name="T5" fmla="*/ 18 h 47"/>
                  <a:gd name="T6" fmla="*/ 0 w 71"/>
                  <a:gd name="T7" fmla="*/ 16 h 47"/>
                  <a:gd name="T8" fmla="*/ 0 w 71"/>
                  <a:gd name="T9" fmla="*/ 7 h 47"/>
                  <a:gd name="T10" fmla="*/ 1 w 71"/>
                  <a:gd name="T11" fmla="*/ 6 h 47"/>
                  <a:gd name="T12" fmla="*/ 11 w 71"/>
                  <a:gd name="T13" fmla="*/ 0 h 47"/>
                  <a:gd name="T14" fmla="*/ 13 w 71"/>
                  <a:gd name="T15" fmla="*/ 0 h 47"/>
                  <a:gd name="T16" fmla="*/ 70 w 71"/>
                  <a:gd name="T17" fmla="*/ 33 h 47"/>
                  <a:gd name="T18" fmla="*/ 71 w 71"/>
                  <a:gd name="T19" fmla="*/ 34 h 47"/>
                  <a:gd name="T20" fmla="*/ 70 w 71"/>
                  <a:gd name="T21" fmla="*/ 36 h 47"/>
                  <a:gd name="T22" fmla="*/ 53 w 71"/>
                  <a:gd name="T23" fmla="*/ 46 h 47"/>
                  <a:gd name="T24" fmla="*/ 52 w 71"/>
                  <a:gd name="T25" fmla="*/ 47 h 47"/>
                  <a:gd name="T26" fmla="*/ 4 w 71"/>
                  <a:gd name="T27" fmla="*/ 15 h 47"/>
                  <a:gd name="T28" fmla="*/ 52 w 71"/>
                  <a:gd name="T29" fmla="*/ 42 h 47"/>
                  <a:gd name="T30" fmla="*/ 65 w 71"/>
                  <a:gd name="T31" fmla="*/ 34 h 47"/>
                  <a:gd name="T32" fmla="*/ 12 w 71"/>
                  <a:gd name="T33" fmla="*/ 4 h 47"/>
                  <a:gd name="T34" fmla="*/ 4 w 71"/>
                  <a:gd name="T35" fmla="*/ 9 h 47"/>
                  <a:gd name="T36" fmla="*/ 4 w 71"/>
                  <a:gd name="T37" fmla="*/ 1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47">
                    <a:moveTo>
                      <a:pt x="52" y="47"/>
                    </a:moveTo>
                    <a:cubicBezTo>
                      <a:pt x="52" y="47"/>
                      <a:pt x="51" y="46"/>
                      <a:pt x="51" y="4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7"/>
                      <a:pt x="0" y="17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3" y="0"/>
                      <a:pt x="13" y="0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71" y="33"/>
                      <a:pt x="71" y="34"/>
                      <a:pt x="71" y="34"/>
                    </a:cubicBezTo>
                    <a:cubicBezTo>
                      <a:pt x="71" y="35"/>
                      <a:pt x="71" y="36"/>
                      <a:pt x="70" y="36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3" y="46"/>
                      <a:pt x="52" y="47"/>
                      <a:pt x="52" y="47"/>
                    </a:cubicBezTo>
                    <a:close/>
                    <a:moveTo>
                      <a:pt x="4" y="15"/>
                    </a:moveTo>
                    <a:cubicBezTo>
                      <a:pt x="52" y="42"/>
                      <a:pt x="52" y="42"/>
                      <a:pt x="52" y="42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4" name="Freeform 951">
                <a:extLst>
                  <a:ext uri="{FF2B5EF4-FFF2-40B4-BE49-F238E27FC236}">
                    <a16:creationId xmlns:a16="http://schemas.microsoft.com/office/drawing/2014/main" id="{D76123A6-FCE5-4E4A-9881-81568BE873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92186" y="6298359"/>
                <a:ext cx="301925" cy="183644"/>
              </a:xfrm>
              <a:custGeom>
                <a:avLst/>
                <a:gdLst>
                  <a:gd name="T0" fmla="*/ 6 w 123"/>
                  <a:gd name="T1" fmla="*/ 75 h 75"/>
                  <a:gd name="T2" fmla="*/ 5 w 123"/>
                  <a:gd name="T3" fmla="*/ 74 h 75"/>
                  <a:gd name="T4" fmla="*/ 1 w 123"/>
                  <a:gd name="T5" fmla="*/ 72 h 75"/>
                  <a:gd name="T6" fmla="*/ 0 w 123"/>
                  <a:gd name="T7" fmla="*/ 70 h 75"/>
                  <a:gd name="T8" fmla="*/ 1 w 123"/>
                  <a:gd name="T9" fmla="*/ 69 h 75"/>
                  <a:gd name="T10" fmla="*/ 120 w 123"/>
                  <a:gd name="T11" fmla="*/ 0 h 75"/>
                  <a:gd name="T12" fmla="*/ 122 w 123"/>
                  <a:gd name="T13" fmla="*/ 0 h 75"/>
                  <a:gd name="T14" fmla="*/ 123 w 123"/>
                  <a:gd name="T15" fmla="*/ 2 h 75"/>
                  <a:gd name="T16" fmla="*/ 123 w 123"/>
                  <a:gd name="T17" fmla="*/ 6 h 75"/>
                  <a:gd name="T18" fmla="*/ 122 w 123"/>
                  <a:gd name="T19" fmla="*/ 8 h 75"/>
                  <a:gd name="T20" fmla="*/ 7 w 123"/>
                  <a:gd name="T21" fmla="*/ 74 h 75"/>
                  <a:gd name="T22" fmla="*/ 6 w 123"/>
                  <a:gd name="T23" fmla="*/ 75 h 75"/>
                  <a:gd name="T24" fmla="*/ 121 w 123"/>
                  <a:gd name="T25" fmla="*/ 6 h 75"/>
                  <a:gd name="T26" fmla="*/ 121 w 123"/>
                  <a:gd name="T27" fmla="*/ 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3" h="75">
                    <a:moveTo>
                      <a:pt x="6" y="75"/>
                    </a:moveTo>
                    <a:cubicBezTo>
                      <a:pt x="6" y="75"/>
                      <a:pt x="5" y="75"/>
                      <a:pt x="5" y="74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" y="72"/>
                      <a:pt x="0" y="71"/>
                      <a:pt x="0" y="70"/>
                    </a:cubicBezTo>
                    <a:cubicBezTo>
                      <a:pt x="0" y="70"/>
                      <a:pt x="1" y="69"/>
                      <a:pt x="1" y="69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1" y="0"/>
                      <a:pt x="122" y="0"/>
                      <a:pt x="122" y="0"/>
                    </a:cubicBezTo>
                    <a:cubicBezTo>
                      <a:pt x="123" y="0"/>
                      <a:pt x="123" y="1"/>
                      <a:pt x="123" y="2"/>
                    </a:cubicBezTo>
                    <a:cubicBezTo>
                      <a:pt x="123" y="6"/>
                      <a:pt x="123" y="6"/>
                      <a:pt x="123" y="6"/>
                    </a:cubicBezTo>
                    <a:cubicBezTo>
                      <a:pt x="123" y="7"/>
                      <a:pt x="123" y="8"/>
                      <a:pt x="122" y="8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7" y="75"/>
                      <a:pt x="6" y="75"/>
                      <a:pt x="6" y="75"/>
                    </a:cubicBezTo>
                    <a:close/>
                    <a:moveTo>
                      <a:pt x="121" y="6"/>
                    </a:moveTo>
                    <a:cubicBezTo>
                      <a:pt x="121" y="6"/>
                      <a:pt x="121" y="6"/>
                      <a:pt x="121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5" name="Freeform 952">
                <a:extLst>
                  <a:ext uri="{FF2B5EF4-FFF2-40B4-BE49-F238E27FC236}">
                    <a16:creationId xmlns:a16="http://schemas.microsoft.com/office/drawing/2014/main" id="{8A1ECAA5-4830-4A6B-A806-A8FC7503A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09824" y="6562932"/>
                <a:ext cx="309187" cy="294661"/>
              </a:xfrm>
              <a:custGeom>
                <a:avLst/>
                <a:gdLst>
                  <a:gd name="T0" fmla="*/ 2 w 126"/>
                  <a:gd name="T1" fmla="*/ 120 h 120"/>
                  <a:gd name="T2" fmla="*/ 1 w 126"/>
                  <a:gd name="T3" fmla="*/ 120 h 120"/>
                  <a:gd name="T4" fmla="*/ 0 w 126"/>
                  <a:gd name="T5" fmla="*/ 118 h 120"/>
                  <a:gd name="T6" fmla="*/ 0 w 126"/>
                  <a:gd name="T7" fmla="*/ 27 h 120"/>
                  <a:gd name="T8" fmla="*/ 1 w 126"/>
                  <a:gd name="T9" fmla="*/ 26 h 120"/>
                  <a:gd name="T10" fmla="*/ 44 w 126"/>
                  <a:gd name="T11" fmla="*/ 1 h 120"/>
                  <a:gd name="T12" fmla="*/ 46 w 126"/>
                  <a:gd name="T13" fmla="*/ 1 h 120"/>
                  <a:gd name="T14" fmla="*/ 125 w 126"/>
                  <a:gd name="T15" fmla="*/ 46 h 120"/>
                  <a:gd name="T16" fmla="*/ 126 w 126"/>
                  <a:gd name="T17" fmla="*/ 48 h 120"/>
                  <a:gd name="T18" fmla="*/ 125 w 126"/>
                  <a:gd name="T19" fmla="*/ 50 h 120"/>
                  <a:gd name="T20" fmla="*/ 3 w 126"/>
                  <a:gd name="T21" fmla="*/ 120 h 120"/>
                  <a:gd name="T22" fmla="*/ 2 w 126"/>
                  <a:gd name="T23" fmla="*/ 120 h 120"/>
                  <a:gd name="T24" fmla="*/ 4 w 126"/>
                  <a:gd name="T25" fmla="*/ 29 h 120"/>
                  <a:gd name="T26" fmla="*/ 4 w 126"/>
                  <a:gd name="T27" fmla="*/ 115 h 120"/>
                  <a:gd name="T28" fmla="*/ 120 w 126"/>
                  <a:gd name="T29" fmla="*/ 48 h 120"/>
                  <a:gd name="T30" fmla="*/ 45 w 126"/>
                  <a:gd name="T31" fmla="*/ 5 h 120"/>
                  <a:gd name="T32" fmla="*/ 4 w 126"/>
                  <a:gd name="T3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6" h="120">
                    <a:moveTo>
                      <a:pt x="2" y="120"/>
                    </a:moveTo>
                    <a:cubicBezTo>
                      <a:pt x="1" y="120"/>
                      <a:pt x="1" y="120"/>
                      <a:pt x="1" y="120"/>
                    </a:cubicBezTo>
                    <a:cubicBezTo>
                      <a:pt x="0" y="120"/>
                      <a:pt x="0" y="119"/>
                      <a:pt x="0" y="11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6"/>
                      <a:pt x="1" y="26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4" y="0"/>
                      <a:pt x="45" y="0"/>
                      <a:pt x="46" y="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5" y="47"/>
                      <a:pt x="126" y="47"/>
                      <a:pt x="126" y="48"/>
                    </a:cubicBezTo>
                    <a:cubicBezTo>
                      <a:pt x="126" y="49"/>
                      <a:pt x="125" y="49"/>
                      <a:pt x="125" y="5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2" y="120"/>
                      <a:pt x="2" y="120"/>
                      <a:pt x="2" y="120"/>
                    </a:cubicBezTo>
                    <a:close/>
                    <a:moveTo>
                      <a:pt x="4" y="29"/>
                    </a:moveTo>
                    <a:cubicBezTo>
                      <a:pt x="4" y="115"/>
                      <a:pt x="4" y="115"/>
                      <a:pt x="4" y="115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45" y="5"/>
                      <a:pt x="45" y="5"/>
                      <a:pt x="45" y="5"/>
                    </a:cubicBezTo>
                    <a:lnTo>
                      <a:pt x="4" y="2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6" name="Freeform 953">
                <a:extLst>
                  <a:ext uri="{FF2B5EF4-FFF2-40B4-BE49-F238E27FC236}">
                    <a16:creationId xmlns:a16="http://schemas.microsoft.com/office/drawing/2014/main" id="{0369B7B0-CF8E-4D83-B025-8EB11E7824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892186" y="6312885"/>
                <a:ext cx="326826" cy="370402"/>
              </a:xfrm>
              <a:custGeom>
                <a:avLst/>
                <a:gdLst>
                  <a:gd name="T0" fmla="*/ 125 w 133"/>
                  <a:gd name="T1" fmla="*/ 151 h 151"/>
                  <a:gd name="T2" fmla="*/ 124 w 133"/>
                  <a:gd name="T3" fmla="*/ 151 h 151"/>
                  <a:gd name="T4" fmla="*/ 45 w 133"/>
                  <a:gd name="T5" fmla="*/ 105 h 151"/>
                  <a:gd name="T6" fmla="*/ 3 w 133"/>
                  <a:gd name="T7" fmla="*/ 129 h 151"/>
                  <a:gd name="T8" fmla="*/ 1 w 133"/>
                  <a:gd name="T9" fmla="*/ 129 h 151"/>
                  <a:gd name="T10" fmla="*/ 0 w 133"/>
                  <a:gd name="T11" fmla="*/ 127 h 151"/>
                  <a:gd name="T12" fmla="*/ 0 w 133"/>
                  <a:gd name="T13" fmla="*/ 71 h 151"/>
                  <a:gd name="T14" fmla="*/ 1 w 133"/>
                  <a:gd name="T15" fmla="*/ 69 h 151"/>
                  <a:gd name="T16" fmla="*/ 10 w 133"/>
                  <a:gd name="T17" fmla="*/ 64 h 151"/>
                  <a:gd name="T18" fmla="*/ 12 w 133"/>
                  <a:gd name="T19" fmla="*/ 64 h 151"/>
                  <a:gd name="T20" fmla="*/ 16 w 133"/>
                  <a:gd name="T21" fmla="*/ 66 h 151"/>
                  <a:gd name="T22" fmla="*/ 130 w 133"/>
                  <a:gd name="T23" fmla="*/ 0 h 151"/>
                  <a:gd name="T24" fmla="*/ 132 w 133"/>
                  <a:gd name="T25" fmla="*/ 0 h 151"/>
                  <a:gd name="T26" fmla="*/ 133 w 133"/>
                  <a:gd name="T27" fmla="*/ 2 h 151"/>
                  <a:gd name="T28" fmla="*/ 133 w 133"/>
                  <a:gd name="T29" fmla="*/ 146 h 151"/>
                  <a:gd name="T30" fmla="*/ 132 w 133"/>
                  <a:gd name="T31" fmla="*/ 147 h 151"/>
                  <a:gd name="T32" fmla="*/ 126 w 133"/>
                  <a:gd name="T33" fmla="*/ 151 h 151"/>
                  <a:gd name="T34" fmla="*/ 125 w 133"/>
                  <a:gd name="T35" fmla="*/ 151 h 151"/>
                  <a:gd name="T36" fmla="*/ 45 w 133"/>
                  <a:gd name="T37" fmla="*/ 101 h 151"/>
                  <a:gd name="T38" fmla="*/ 46 w 133"/>
                  <a:gd name="T39" fmla="*/ 101 h 151"/>
                  <a:gd name="T40" fmla="*/ 125 w 133"/>
                  <a:gd name="T41" fmla="*/ 147 h 151"/>
                  <a:gd name="T42" fmla="*/ 129 w 133"/>
                  <a:gd name="T43" fmla="*/ 144 h 151"/>
                  <a:gd name="T44" fmla="*/ 129 w 133"/>
                  <a:gd name="T45" fmla="*/ 5 h 151"/>
                  <a:gd name="T46" fmla="*/ 17 w 133"/>
                  <a:gd name="T47" fmla="*/ 70 h 151"/>
                  <a:gd name="T48" fmla="*/ 15 w 133"/>
                  <a:gd name="T49" fmla="*/ 70 h 151"/>
                  <a:gd name="T50" fmla="*/ 11 w 133"/>
                  <a:gd name="T51" fmla="*/ 68 h 151"/>
                  <a:gd name="T52" fmla="*/ 4 w 133"/>
                  <a:gd name="T53" fmla="*/ 72 h 151"/>
                  <a:gd name="T54" fmla="*/ 4 w 133"/>
                  <a:gd name="T55" fmla="*/ 124 h 151"/>
                  <a:gd name="T56" fmla="*/ 44 w 133"/>
                  <a:gd name="T57" fmla="*/ 101 h 151"/>
                  <a:gd name="T58" fmla="*/ 45 w 133"/>
                  <a:gd name="T59" fmla="*/ 10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3" h="151">
                    <a:moveTo>
                      <a:pt x="125" y="151"/>
                    </a:moveTo>
                    <a:cubicBezTo>
                      <a:pt x="125" y="151"/>
                      <a:pt x="125" y="151"/>
                      <a:pt x="124" y="151"/>
                    </a:cubicBezTo>
                    <a:cubicBezTo>
                      <a:pt x="45" y="105"/>
                      <a:pt x="45" y="105"/>
                      <a:pt x="45" y="105"/>
                    </a:cubicBezTo>
                    <a:cubicBezTo>
                      <a:pt x="3" y="129"/>
                      <a:pt x="3" y="129"/>
                      <a:pt x="3" y="129"/>
                    </a:cubicBezTo>
                    <a:cubicBezTo>
                      <a:pt x="2" y="130"/>
                      <a:pt x="1" y="130"/>
                      <a:pt x="1" y="129"/>
                    </a:cubicBezTo>
                    <a:cubicBezTo>
                      <a:pt x="0" y="129"/>
                      <a:pt x="0" y="128"/>
                      <a:pt x="0" y="12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0"/>
                      <a:pt x="0" y="69"/>
                      <a:pt x="1" y="69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0" y="63"/>
                      <a:pt x="11" y="63"/>
                      <a:pt x="12" y="64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1" y="0"/>
                      <a:pt x="132" y="0"/>
                      <a:pt x="132" y="0"/>
                    </a:cubicBezTo>
                    <a:cubicBezTo>
                      <a:pt x="133" y="1"/>
                      <a:pt x="133" y="1"/>
                      <a:pt x="133" y="2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6"/>
                      <a:pt x="133" y="147"/>
                      <a:pt x="132" y="147"/>
                    </a:cubicBezTo>
                    <a:cubicBezTo>
                      <a:pt x="126" y="151"/>
                      <a:pt x="126" y="151"/>
                      <a:pt x="126" y="151"/>
                    </a:cubicBezTo>
                    <a:cubicBezTo>
                      <a:pt x="126" y="151"/>
                      <a:pt x="126" y="151"/>
                      <a:pt x="125" y="151"/>
                    </a:cubicBezTo>
                    <a:close/>
                    <a:moveTo>
                      <a:pt x="45" y="101"/>
                    </a:moveTo>
                    <a:cubicBezTo>
                      <a:pt x="45" y="101"/>
                      <a:pt x="46" y="101"/>
                      <a:pt x="46" y="101"/>
                    </a:cubicBezTo>
                    <a:cubicBezTo>
                      <a:pt x="125" y="147"/>
                      <a:pt x="125" y="147"/>
                      <a:pt x="125" y="147"/>
                    </a:cubicBezTo>
                    <a:cubicBezTo>
                      <a:pt x="129" y="144"/>
                      <a:pt x="129" y="144"/>
                      <a:pt x="129" y="144"/>
                    </a:cubicBezTo>
                    <a:cubicBezTo>
                      <a:pt x="129" y="5"/>
                      <a:pt x="129" y="5"/>
                      <a:pt x="129" y="5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7" y="71"/>
                      <a:pt x="16" y="71"/>
                      <a:pt x="15" y="70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4" y="124"/>
                      <a:pt x="4" y="124"/>
                      <a:pt x="4" y="124"/>
                    </a:cubicBezTo>
                    <a:cubicBezTo>
                      <a:pt x="44" y="101"/>
                      <a:pt x="44" y="101"/>
                      <a:pt x="44" y="101"/>
                    </a:cubicBezTo>
                    <a:cubicBezTo>
                      <a:pt x="44" y="101"/>
                      <a:pt x="45" y="101"/>
                      <a:pt x="45" y="10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7" name="Freeform 955">
                <a:extLst>
                  <a:ext uri="{FF2B5EF4-FFF2-40B4-BE49-F238E27FC236}">
                    <a16:creationId xmlns:a16="http://schemas.microsoft.com/office/drawing/2014/main" id="{3AB0C109-013F-4FAB-B27C-FC5CF2B2AF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192036" y="6291097"/>
                <a:ext cx="387003" cy="377664"/>
              </a:xfrm>
              <a:custGeom>
                <a:avLst/>
                <a:gdLst>
                  <a:gd name="T0" fmla="*/ 121 w 158"/>
                  <a:gd name="T1" fmla="*/ 154 h 154"/>
                  <a:gd name="T2" fmla="*/ 120 w 158"/>
                  <a:gd name="T3" fmla="*/ 154 h 154"/>
                  <a:gd name="T4" fmla="*/ 119 w 158"/>
                  <a:gd name="T5" fmla="*/ 152 h 154"/>
                  <a:gd name="T6" fmla="*/ 119 w 158"/>
                  <a:gd name="T7" fmla="*/ 90 h 154"/>
                  <a:gd name="T8" fmla="*/ 1 w 158"/>
                  <a:gd name="T9" fmla="*/ 22 h 154"/>
                  <a:gd name="T10" fmla="*/ 0 w 158"/>
                  <a:gd name="T11" fmla="*/ 20 h 154"/>
                  <a:gd name="T12" fmla="*/ 1 w 158"/>
                  <a:gd name="T13" fmla="*/ 18 h 154"/>
                  <a:gd name="T14" fmla="*/ 32 w 158"/>
                  <a:gd name="T15" fmla="*/ 0 h 154"/>
                  <a:gd name="T16" fmla="*/ 34 w 158"/>
                  <a:gd name="T17" fmla="*/ 0 h 154"/>
                  <a:gd name="T18" fmla="*/ 157 w 158"/>
                  <a:gd name="T19" fmla="*/ 72 h 154"/>
                  <a:gd name="T20" fmla="*/ 158 w 158"/>
                  <a:gd name="T21" fmla="*/ 73 h 154"/>
                  <a:gd name="T22" fmla="*/ 157 w 158"/>
                  <a:gd name="T23" fmla="*/ 75 h 154"/>
                  <a:gd name="T24" fmla="*/ 149 w 158"/>
                  <a:gd name="T25" fmla="*/ 80 h 154"/>
                  <a:gd name="T26" fmla="*/ 149 w 158"/>
                  <a:gd name="T27" fmla="*/ 137 h 154"/>
                  <a:gd name="T28" fmla="*/ 148 w 158"/>
                  <a:gd name="T29" fmla="*/ 139 h 154"/>
                  <a:gd name="T30" fmla="*/ 122 w 158"/>
                  <a:gd name="T31" fmla="*/ 154 h 154"/>
                  <a:gd name="T32" fmla="*/ 121 w 158"/>
                  <a:gd name="T33" fmla="*/ 154 h 154"/>
                  <a:gd name="T34" fmla="*/ 6 w 158"/>
                  <a:gd name="T35" fmla="*/ 20 h 154"/>
                  <a:gd name="T36" fmla="*/ 122 w 158"/>
                  <a:gd name="T37" fmla="*/ 87 h 154"/>
                  <a:gd name="T38" fmla="*/ 123 w 158"/>
                  <a:gd name="T39" fmla="*/ 89 h 154"/>
                  <a:gd name="T40" fmla="*/ 123 w 158"/>
                  <a:gd name="T41" fmla="*/ 149 h 154"/>
                  <a:gd name="T42" fmla="*/ 145 w 158"/>
                  <a:gd name="T43" fmla="*/ 136 h 154"/>
                  <a:gd name="T44" fmla="*/ 145 w 158"/>
                  <a:gd name="T45" fmla="*/ 79 h 154"/>
                  <a:gd name="T46" fmla="*/ 146 w 158"/>
                  <a:gd name="T47" fmla="*/ 77 h 154"/>
                  <a:gd name="T48" fmla="*/ 152 w 158"/>
                  <a:gd name="T49" fmla="*/ 73 h 154"/>
                  <a:gd name="T50" fmla="*/ 33 w 158"/>
                  <a:gd name="T51" fmla="*/ 5 h 154"/>
                  <a:gd name="T52" fmla="*/ 6 w 158"/>
                  <a:gd name="T53" fmla="*/ 2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8" h="154">
                    <a:moveTo>
                      <a:pt x="121" y="154"/>
                    </a:moveTo>
                    <a:cubicBezTo>
                      <a:pt x="121" y="154"/>
                      <a:pt x="121" y="154"/>
                      <a:pt x="120" y="154"/>
                    </a:cubicBezTo>
                    <a:cubicBezTo>
                      <a:pt x="120" y="154"/>
                      <a:pt x="119" y="153"/>
                      <a:pt x="119" y="152"/>
                    </a:cubicBezTo>
                    <a:cubicBezTo>
                      <a:pt x="119" y="90"/>
                      <a:pt x="119" y="90"/>
                      <a:pt x="119" y="90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9"/>
                      <a:pt x="0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3" y="0"/>
                      <a:pt x="34" y="0"/>
                    </a:cubicBezTo>
                    <a:cubicBezTo>
                      <a:pt x="157" y="72"/>
                      <a:pt x="157" y="72"/>
                      <a:pt x="157" y="72"/>
                    </a:cubicBezTo>
                    <a:cubicBezTo>
                      <a:pt x="158" y="72"/>
                      <a:pt x="158" y="73"/>
                      <a:pt x="158" y="73"/>
                    </a:cubicBezTo>
                    <a:cubicBezTo>
                      <a:pt x="158" y="74"/>
                      <a:pt x="158" y="75"/>
                      <a:pt x="157" y="75"/>
                    </a:cubicBezTo>
                    <a:cubicBezTo>
                      <a:pt x="149" y="80"/>
                      <a:pt x="149" y="80"/>
                      <a:pt x="149" y="80"/>
                    </a:cubicBezTo>
                    <a:cubicBezTo>
                      <a:pt x="149" y="137"/>
                      <a:pt x="149" y="137"/>
                      <a:pt x="149" y="137"/>
                    </a:cubicBezTo>
                    <a:cubicBezTo>
                      <a:pt x="149" y="138"/>
                      <a:pt x="149" y="139"/>
                      <a:pt x="148" y="139"/>
                    </a:cubicBezTo>
                    <a:cubicBezTo>
                      <a:pt x="122" y="154"/>
                      <a:pt x="122" y="154"/>
                      <a:pt x="122" y="154"/>
                    </a:cubicBezTo>
                    <a:cubicBezTo>
                      <a:pt x="122" y="154"/>
                      <a:pt x="122" y="154"/>
                      <a:pt x="121" y="154"/>
                    </a:cubicBezTo>
                    <a:close/>
                    <a:moveTo>
                      <a:pt x="6" y="20"/>
                    </a:moveTo>
                    <a:cubicBezTo>
                      <a:pt x="122" y="87"/>
                      <a:pt x="122" y="87"/>
                      <a:pt x="122" y="87"/>
                    </a:cubicBezTo>
                    <a:cubicBezTo>
                      <a:pt x="123" y="87"/>
                      <a:pt x="123" y="88"/>
                      <a:pt x="123" y="89"/>
                    </a:cubicBezTo>
                    <a:cubicBezTo>
                      <a:pt x="123" y="149"/>
                      <a:pt x="123" y="149"/>
                      <a:pt x="123" y="149"/>
                    </a:cubicBezTo>
                    <a:cubicBezTo>
                      <a:pt x="145" y="136"/>
                      <a:pt x="145" y="136"/>
                      <a:pt x="145" y="136"/>
                    </a:cubicBezTo>
                    <a:cubicBezTo>
                      <a:pt x="145" y="79"/>
                      <a:pt x="145" y="79"/>
                      <a:pt x="145" y="79"/>
                    </a:cubicBezTo>
                    <a:cubicBezTo>
                      <a:pt x="145" y="78"/>
                      <a:pt x="145" y="77"/>
                      <a:pt x="146" y="77"/>
                    </a:cubicBezTo>
                    <a:cubicBezTo>
                      <a:pt x="152" y="73"/>
                      <a:pt x="152" y="73"/>
                      <a:pt x="152" y="73"/>
                    </a:cubicBezTo>
                    <a:cubicBezTo>
                      <a:pt x="33" y="5"/>
                      <a:pt x="33" y="5"/>
                      <a:pt x="33" y="5"/>
                    </a:cubicBezTo>
                    <a:lnTo>
                      <a:pt x="6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8" name="Freeform 956">
                <a:extLst>
                  <a:ext uri="{FF2B5EF4-FFF2-40B4-BE49-F238E27FC236}">
                    <a16:creationId xmlns:a16="http://schemas.microsoft.com/office/drawing/2014/main" id="{8808C701-5085-431C-96CF-57775FFE1EB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82302" y="6161404"/>
                <a:ext cx="225147" cy="134880"/>
              </a:xfrm>
              <a:custGeom>
                <a:avLst/>
                <a:gdLst>
                  <a:gd name="T0" fmla="*/ 4 w 92"/>
                  <a:gd name="T1" fmla="*/ 55 h 55"/>
                  <a:gd name="T2" fmla="*/ 3 w 92"/>
                  <a:gd name="T3" fmla="*/ 55 h 55"/>
                  <a:gd name="T4" fmla="*/ 1 w 92"/>
                  <a:gd name="T5" fmla="*/ 54 h 55"/>
                  <a:gd name="T6" fmla="*/ 0 w 92"/>
                  <a:gd name="T7" fmla="*/ 52 h 55"/>
                  <a:gd name="T8" fmla="*/ 1 w 92"/>
                  <a:gd name="T9" fmla="*/ 51 h 55"/>
                  <a:gd name="T10" fmla="*/ 89 w 92"/>
                  <a:gd name="T11" fmla="*/ 0 h 55"/>
                  <a:gd name="T12" fmla="*/ 91 w 92"/>
                  <a:gd name="T13" fmla="*/ 0 h 55"/>
                  <a:gd name="T14" fmla="*/ 92 w 92"/>
                  <a:gd name="T15" fmla="*/ 2 h 55"/>
                  <a:gd name="T16" fmla="*/ 92 w 92"/>
                  <a:gd name="T17" fmla="*/ 3 h 55"/>
                  <a:gd name="T18" fmla="*/ 91 w 92"/>
                  <a:gd name="T19" fmla="*/ 5 h 55"/>
                  <a:gd name="T20" fmla="*/ 5 w 92"/>
                  <a:gd name="T21" fmla="*/ 55 h 55"/>
                  <a:gd name="T22" fmla="*/ 4 w 92"/>
                  <a:gd name="T23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55">
                    <a:moveTo>
                      <a:pt x="4" y="55"/>
                    </a:moveTo>
                    <a:cubicBezTo>
                      <a:pt x="3" y="55"/>
                      <a:pt x="3" y="55"/>
                      <a:pt x="3" y="55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4"/>
                      <a:pt x="0" y="53"/>
                      <a:pt x="0" y="52"/>
                    </a:cubicBezTo>
                    <a:cubicBezTo>
                      <a:pt x="0" y="52"/>
                      <a:pt x="1" y="51"/>
                      <a:pt x="1" y="5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0" y="0"/>
                      <a:pt x="90" y="0"/>
                      <a:pt x="91" y="0"/>
                    </a:cubicBezTo>
                    <a:cubicBezTo>
                      <a:pt x="92" y="0"/>
                      <a:pt x="92" y="1"/>
                      <a:pt x="92" y="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2" y="4"/>
                      <a:pt x="92" y="5"/>
                      <a:pt x="91" y="5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4" y="55"/>
                      <a:pt x="4" y="55"/>
                      <a:pt x="4" y="5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9" name="Freeform 957">
                <a:extLst>
                  <a:ext uri="{FF2B5EF4-FFF2-40B4-BE49-F238E27FC236}">
                    <a16:creationId xmlns:a16="http://schemas.microsoft.com/office/drawing/2014/main" id="{106713A3-7A1C-4AB1-AAE1-B3F0E50BA0A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67776" y="6832692"/>
                <a:ext cx="19713" cy="19713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7 h 8"/>
                  <a:gd name="T4" fmla="*/ 0 w 8"/>
                  <a:gd name="T5" fmla="*/ 6 h 8"/>
                  <a:gd name="T6" fmla="*/ 0 w 8"/>
                  <a:gd name="T7" fmla="*/ 2 h 8"/>
                  <a:gd name="T8" fmla="*/ 1 w 8"/>
                  <a:gd name="T9" fmla="*/ 0 h 8"/>
                  <a:gd name="T10" fmla="*/ 3 w 8"/>
                  <a:gd name="T11" fmla="*/ 0 h 8"/>
                  <a:gd name="T12" fmla="*/ 7 w 8"/>
                  <a:gd name="T13" fmla="*/ 2 h 8"/>
                  <a:gd name="T14" fmla="*/ 8 w 8"/>
                  <a:gd name="T15" fmla="*/ 4 h 8"/>
                  <a:gd name="T16" fmla="*/ 7 w 8"/>
                  <a:gd name="T17" fmla="*/ 6 h 8"/>
                  <a:gd name="T18" fmla="*/ 3 w 8"/>
                  <a:gd name="T19" fmla="*/ 7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2" y="8"/>
                      <a:pt x="1" y="7"/>
                    </a:cubicBezTo>
                    <a:cubicBezTo>
                      <a:pt x="1" y="7"/>
                      <a:pt x="0" y="6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3"/>
                      <a:pt x="8" y="3"/>
                      <a:pt x="8" y="4"/>
                    </a:cubicBezTo>
                    <a:cubicBezTo>
                      <a:pt x="8" y="5"/>
                      <a:pt x="7" y="5"/>
                      <a:pt x="7" y="6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8"/>
                      <a:pt x="3" y="8"/>
                      <a:pt x="2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0" name="Freeform 958">
                <a:extLst>
                  <a:ext uri="{FF2B5EF4-FFF2-40B4-BE49-F238E27FC236}">
                    <a16:creationId xmlns:a16="http://schemas.microsoft.com/office/drawing/2014/main" id="{3C37DE1A-A540-4F53-9299-4D2D34D2D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792582" y="6627260"/>
                <a:ext cx="494907" cy="306074"/>
              </a:xfrm>
              <a:custGeom>
                <a:avLst/>
                <a:gdLst>
                  <a:gd name="T0" fmla="*/ 73 w 202"/>
                  <a:gd name="T1" fmla="*/ 125 h 125"/>
                  <a:gd name="T2" fmla="*/ 72 w 202"/>
                  <a:gd name="T3" fmla="*/ 125 h 125"/>
                  <a:gd name="T4" fmla="*/ 1 w 202"/>
                  <a:gd name="T5" fmla="*/ 84 h 125"/>
                  <a:gd name="T6" fmla="*/ 0 w 202"/>
                  <a:gd name="T7" fmla="*/ 83 h 125"/>
                  <a:gd name="T8" fmla="*/ 0 w 202"/>
                  <a:gd name="T9" fmla="*/ 17 h 125"/>
                  <a:gd name="T10" fmla="*/ 1 w 202"/>
                  <a:gd name="T11" fmla="*/ 15 h 125"/>
                  <a:gd name="T12" fmla="*/ 27 w 202"/>
                  <a:gd name="T13" fmla="*/ 1 h 125"/>
                  <a:gd name="T14" fmla="*/ 29 w 202"/>
                  <a:gd name="T15" fmla="*/ 1 h 125"/>
                  <a:gd name="T16" fmla="*/ 30 w 202"/>
                  <a:gd name="T17" fmla="*/ 2 h 125"/>
                  <a:gd name="T18" fmla="*/ 30 w 202"/>
                  <a:gd name="T19" fmla="*/ 92 h 125"/>
                  <a:gd name="T20" fmla="*/ 152 w 202"/>
                  <a:gd name="T21" fmla="*/ 21 h 125"/>
                  <a:gd name="T22" fmla="*/ 154 w 202"/>
                  <a:gd name="T23" fmla="*/ 21 h 125"/>
                  <a:gd name="T24" fmla="*/ 201 w 202"/>
                  <a:gd name="T25" fmla="*/ 48 h 125"/>
                  <a:gd name="T26" fmla="*/ 202 w 202"/>
                  <a:gd name="T27" fmla="*/ 50 h 125"/>
                  <a:gd name="T28" fmla="*/ 201 w 202"/>
                  <a:gd name="T29" fmla="*/ 52 h 125"/>
                  <a:gd name="T30" fmla="*/ 74 w 202"/>
                  <a:gd name="T31" fmla="*/ 125 h 125"/>
                  <a:gd name="T32" fmla="*/ 73 w 202"/>
                  <a:gd name="T33" fmla="*/ 125 h 125"/>
                  <a:gd name="T34" fmla="*/ 30 w 202"/>
                  <a:gd name="T35" fmla="*/ 96 h 125"/>
                  <a:gd name="T36" fmla="*/ 73 w 202"/>
                  <a:gd name="T37" fmla="*/ 121 h 125"/>
                  <a:gd name="T38" fmla="*/ 196 w 202"/>
                  <a:gd name="T39" fmla="*/ 50 h 125"/>
                  <a:gd name="T40" fmla="*/ 153 w 202"/>
                  <a:gd name="T41" fmla="*/ 25 h 125"/>
                  <a:gd name="T42" fmla="*/ 30 w 202"/>
                  <a:gd name="T43" fmla="*/ 96 h 125"/>
                  <a:gd name="T44" fmla="*/ 4 w 202"/>
                  <a:gd name="T45" fmla="*/ 82 h 125"/>
                  <a:gd name="T46" fmla="*/ 26 w 202"/>
                  <a:gd name="T47" fmla="*/ 94 h 125"/>
                  <a:gd name="T48" fmla="*/ 26 w 202"/>
                  <a:gd name="T49" fmla="*/ 6 h 125"/>
                  <a:gd name="T50" fmla="*/ 4 w 202"/>
                  <a:gd name="T51" fmla="*/ 18 h 125"/>
                  <a:gd name="T52" fmla="*/ 4 w 202"/>
                  <a:gd name="T53" fmla="*/ 8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2" h="125">
                    <a:moveTo>
                      <a:pt x="73" y="125"/>
                    </a:moveTo>
                    <a:cubicBezTo>
                      <a:pt x="73" y="125"/>
                      <a:pt x="72" y="125"/>
                      <a:pt x="72" y="125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0" y="83"/>
                      <a:pt x="0" y="8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6"/>
                      <a:pt x="1" y="15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8" y="0"/>
                      <a:pt x="28" y="0"/>
                      <a:pt x="29" y="1"/>
                    </a:cubicBezTo>
                    <a:cubicBezTo>
                      <a:pt x="30" y="1"/>
                      <a:pt x="30" y="2"/>
                      <a:pt x="30" y="2"/>
                    </a:cubicBezTo>
                    <a:cubicBezTo>
                      <a:pt x="30" y="92"/>
                      <a:pt x="30" y="92"/>
                      <a:pt x="30" y="92"/>
                    </a:cubicBezTo>
                    <a:cubicBezTo>
                      <a:pt x="152" y="21"/>
                      <a:pt x="152" y="21"/>
                      <a:pt x="152" y="21"/>
                    </a:cubicBezTo>
                    <a:cubicBezTo>
                      <a:pt x="153" y="21"/>
                      <a:pt x="154" y="21"/>
                      <a:pt x="154" y="21"/>
                    </a:cubicBezTo>
                    <a:cubicBezTo>
                      <a:pt x="201" y="48"/>
                      <a:pt x="201" y="48"/>
                      <a:pt x="201" y="48"/>
                    </a:cubicBezTo>
                    <a:cubicBezTo>
                      <a:pt x="202" y="48"/>
                      <a:pt x="202" y="49"/>
                      <a:pt x="202" y="50"/>
                    </a:cubicBezTo>
                    <a:cubicBezTo>
                      <a:pt x="202" y="51"/>
                      <a:pt x="202" y="51"/>
                      <a:pt x="201" y="52"/>
                    </a:cubicBezTo>
                    <a:cubicBezTo>
                      <a:pt x="74" y="125"/>
                      <a:pt x="74" y="125"/>
                      <a:pt x="74" y="125"/>
                    </a:cubicBezTo>
                    <a:cubicBezTo>
                      <a:pt x="74" y="125"/>
                      <a:pt x="73" y="125"/>
                      <a:pt x="73" y="125"/>
                    </a:cubicBezTo>
                    <a:close/>
                    <a:moveTo>
                      <a:pt x="30" y="96"/>
                    </a:moveTo>
                    <a:cubicBezTo>
                      <a:pt x="73" y="121"/>
                      <a:pt x="73" y="121"/>
                      <a:pt x="73" y="121"/>
                    </a:cubicBezTo>
                    <a:cubicBezTo>
                      <a:pt x="196" y="50"/>
                      <a:pt x="196" y="50"/>
                      <a:pt x="196" y="50"/>
                    </a:cubicBezTo>
                    <a:cubicBezTo>
                      <a:pt x="153" y="25"/>
                      <a:pt x="153" y="25"/>
                      <a:pt x="153" y="25"/>
                    </a:cubicBezTo>
                    <a:lnTo>
                      <a:pt x="30" y="96"/>
                    </a:lnTo>
                    <a:close/>
                    <a:moveTo>
                      <a:pt x="4" y="82"/>
                    </a:moveTo>
                    <a:cubicBezTo>
                      <a:pt x="26" y="94"/>
                      <a:pt x="26" y="94"/>
                      <a:pt x="26" y="94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1" name="Freeform 959">
                <a:extLst>
                  <a:ext uri="{FF2B5EF4-FFF2-40B4-BE49-F238E27FC236}">
                    <a16:creationId xmlns:a16="http://schemas.microsoft.com/office/drawing/2014/main" id="{EA704687-CF31-448F-AC69-09ECBE4B65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66588" y="5555481"/>
                <a:ext cx="32164" cy="34239"/>
              </a:xfrm>
              <a:custGeom>
                <a:avLst/>
                <a:gdLst>
                  <a:gd name="T0" fmla="*/ 2 w 13"/>
                  <a:gd name="T1" fmla="*/ 14 h 14"/>
                  <a:gd name="T2" fmla="*/ 1 w 13"/>
                  <a:gd name="T3" fmla="*/ 13 h 14"/>
                  <a:gd name="T4" fmla="*/ 0 w 13"/>
                  <a:gd name="T5" fmla="*/ 12 h 14"/>
                  <a:gd name="T6" fmla="*/ 0 w 13"/>
                  <a:gd name="T7" fmla="*/ 2 h 14"/>
                  <a:gd name="T8" fmla="*/ 1 w 13"/>
                  <a:gd name="T9" fmla="*/ 0 h 14"/>
                  <a:gd name="T10" fmla="*/ 3 w 13"/>
                  <a:gd name="T11" fmla="*/ 0 h 14"/>
                  <a:gd name="T12" fmla="*/ 12 w 13"/>
                  <a:gd name="T13" fmla="*/ 5 h 14"/>
                  <a:gd name="T14" fmla="*/ 13 w 13"/>
                  <a:gd name="T15" fmla="*/ 7 h 14"/>
                  <a:gd name="T16" fmla="*/ 12 w 13"/>
                  <a:gd name="T17" fmla="*/ 8 h 14"/>
                  <a:gd name="T18" fmla="*/ 3 w 13"/>
                  <a:gd name="T19" fmla="*/ 13 h 14"/>
                  <a:gd name="T20" fmla="*/ 2 w 13"/>
                  <a:gd name="T21" fmla="*/ 14 h 14"/>
                  <a:gd name="T22" fmla="*/ 4 w 13"/>
                  <a:gd name="T23" fmla="*/ 5 h 14"/>
                  <a:gd name="T24" fmla="*/ 4 w 13"/>
                  <a:gd name="T25" fmla="*/ 8 h 14"/>
                  <a:gd name="T26" fmla="*/ 7 w 13"/>
                  <a:gd name="T27" fmla="*/ 7 h 14"/>
                  <a:gd name="T28" fmla="*/ 4 w 13"/>
                  <a:gd name="T2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4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3" y="6"/>
                      <a:pt x="13" y="7"/>
                    </a:cubicBezTo>
                    <a:cubicBezTo>
                      <a:pt x="13" y="7"/>
                      <a:pt x="12" y="8"/>
                      <a:pt x="12" y="8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3"/>
                      <a:pt x="3" y="14"/>
                      <a:pt x="2" y="14"/>
                    </a:cubicBezTo>
                    <a:close/>
                    <a:moveTo>
                      <a:pt x="4" y="5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2" name="Freeform 960">
                <a:extLst>
                  <a:ext uri="{FF2B5EF4-FFF2-40B4-BE49-F238E27FC236}">
                    <a16:creationId xmlns:a16="http://schemas.microsoft.com/office/drawing/2014/main" id="{AC1C2643-BF63-492D-9249-081B70F3DC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2302" y="5825241"/>
                <a:ext cx="304000" cy="517732"/>
              </a:xfrm>
              <a:custGeom>
                <a:avLst/>
                <a:gdLst>
                  <a:gd name="T0" fmla="*/ 3 w 124"/>
                  <a:gd name="T1" fmla="*/ 211 h 211"/>
                  <a:gd name="T2" fmla="*/ 2 w 124"/>
                  <a:gd name="T3" fmla="*/ 211 h 211"/>
                  <a:gd name="T4" fmla="*/ 1 w 124"/>
                  <a:gd name="T5" fmla="*/ 210 h 211"/>
                  <a:gd name="T6" fmla="*/ 0 w 124"/>
                  <a:gd name="T7" fmla="*/ 208 h 211"/>
                  <a:gd name="T8" fmla="*/ 0 w 124"/>
                  <a:gd name="T9" fmla="*/ 71 h 211"/>
                  <a:gd name="T10" fmla="*/ 1 w 124"/>
                  <a:gd name="T11" fmla="*/ 70 h 211"/>
                  <a:gd name="T12" fmla="*/ 121 w 124"/>
                  <a:gd name="T13" fmla="*/ 1 h 211"/>
                  <a:gd name="T14" fmla="*/ 123 w 124"/>
                  <a:gd name="T15" fmla="*/ 1 h 211"/>
                  <a:gd name="T16" fmla="*/ 124 w 124"/>
                  <a:gd name="T17" fmla="*/ 2 h 211"/>
                  <a:gd name="T18" fmla="*/ 124 w 124"/>
                  <a:gd name="T19" fmla="*/ 137 h 211"/>
                  <a:gd name="T20" fmla="*/ 123 w 124"/>
                  <a:gd name="T21" fmla="*/ 139 h 211"/>
                  <a:gd name="T22" fmla="*/ 35 w 124"/>
                  <a:gd name="T23" fmla="*/ 189 h 211"/>
                  <a:gd name="T24" fmla="*/ 35 w 124"/>
                  <a:gd name="T25" fmla="*/ 190 h 211"/>
                  <a:gd name="T26" fmla="*/ 36 w 124"/>
                  <a:gd name="T27" fmla="*/ 191 h 211"/>
                  <a:gd name="T28" fmla="*/ 35 w 124"/>
                  <a:gd name="T29" fmla="*/ 193 h 211"/>
                  <a:gd name="T30" fmla="*/ 4 w 124"/>
                  <a:gd name="T31" fmla="*/ 211 h 211"/>
                  <a:gd name="T32" fmla="*/ 3 w 124"/>
                  <a:gd name="T33" fmla="*/ 211 h 211"/>
                  <a:gd name="T34" fmla="*/ 4 w 124"/>
                  <a:gd name="T35" fmla="*/ 73 h 211"/>
                  <a:gd name="T36" fmla="*/ 4 w 124"/>
                  <a:gd name="T37" fmla="*/ 206 h 211"/>
                  <a:gd name="T38" fmla="*/ 30 w 124"/>
                  <a:gd name="T39" fmla="*/ 191 h 211"/>
                  <a:gd name="T40" fmla="*/ 30 w 124"/>
                  <a:gd name="T41" fmla="*/ 191 h 211"/>
                  <a:gd name="T42" fmla="*/ 29 w 124"/>
                  <a:gd name="T43" fmla="*/ 189 h 211"/>
                  <a:gd name="T44" fmla="*/ 30 w 124"/>
                  <a:gd name="T45" fmla="*/ 188 h 211"/>
                  <a:gd name="T46" fmla="*/ 120 w 124"/>
                  <a:gd name="T47" fmla="*/ 136 h 211"/>
                  <a:gd name="T48" fmla="*/ 120 w 124"/>
                  <a:gd name="T49" fmla="*/ 6 h 211"/>
                  <a:gd name="T50" fmla="*/ 4 w 124"/>
                  <a:gd name="T51" fmla="*/ 73 h 211"/>
                  <a:gd name="T52" fmla="*/ 122 w 124"/>
                  <a:gd name="T53" fmla="*/ 137 h 211"/>
                  <a:gd name="T54" fmla="*/ 122 w 124"/>
                  <a:gd name="T55" fmla="*/ 137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4" h="211">
                    <a:moveTo>
                      <a:pt x="3" y="211"/>
                    </a:moveTo>
                    <a:cubicBezTo>
                      <a:pt x="3" y="211"/>
                      <a:pt x="3" y="211"/>
                      <a:pt x="2" y="211"/>
                    </a:cubicBezTo>
                    <a:cubicBezTo>
                      <a:pt x="1" y="210"/>
                      <a:pt x="1" y="210"/>
                      <a:pt x="1" y="210"/>
                    </a:cubicBezTo>
                    <a:cubicBezTo>
                      <a:pt x="1" y="210"/>
                      <a:pt x="0" y="209"/>
                      <a:pt x="0" y="208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1" y="70"/>
                      <a:pt x="1" y="70"/>
                    </a:cubicBezTo>
                    <a:cubicBezTo>
                      <a:pt x="121" y="1"/>
                      <a:pt x="121" y="1"/>
                      <a:pt x="121" y="1"/>
                    </a:cubicBezTo>
                    <a:cubicBezTo>
                      <a:pt x="122" y="0"/>
                      <a:pt x="122" y="0"/>
                      <a:pt x="123" y="1"/>
                    </a:cubicBezTo>
                    <a:cubicBezTo>
                      <a:pt x="124" y="1"/>
                      <a:pt x="124" y="2"/>
                      <a:pt x="124" y="2"/>
                    </a:cubicBezTo>
                    <a:cubicBezTo>
                      <a:pt x="124" y="137"/>
                      <a:pt x="124" y="137"/>
                      <a:pt x="124" y="137"/>
                    </a:cubicBezTo>
                    <a:cubicBezTo>
                      <a:pt x="124" y="138"/>
                      <a:pt x="124" y="138"/>
                      <a:pt x="123" y="139"/>
                    </a:cubicBezTo>
                    <a:cubicBezTo>
                      <a:pt x="35" y="189"/>
                      <a:pt x="35" y="189"/>
                      <a:pt x="35" y="189"/>
                    </a:cubicBezTo>
                    <a:cubicBezTo>
                      <a:pt x="35" y="190"/>
                      <a:pt x="35" y="190"/>
                      <a:pt x="35" y="190"/>
                    </a:cubicBezTo>
                    <a:cubicBezTo>
                      <a:pt x="36" y="190"/>
                      <a:pt x="36" y="191"/>
                      <a:pt x="36" y="191"/>
                    </a:cubicBezTo>
                    <a:cubicBezTo>
                      <a:pt x="36" y="192"/>
                      <a:pt x="36" y="193"/>
                      <a:pt x="35" y="193"/>
                    </a:cubicBezTo>
                    <a:cubicBezTo>
                      <a:pt x="4" y="211"/>
                      <a:pt x="4" y="211"/>
                      <a:pt x="4" y="211"/>
                    </a:cubicBezTo>
                    <a:cubicBezTo>
                      <a:pt x="4" y="211"/>
                      <a:pt x="4" y="211"/>
                      <a:pt x="3" y="211"/>
                    </a:cubicBezTo>
                    <a:close/>
                    <a:moveTo>
                      <a:pt x="4" y="73"/>
                    </a:moveTo>
                    <a:cubicBezTo>
                      <a:pt x="4" y="206"/>
                      <a:pt x="4" y="206"/>
                      <a:pt x="4" y="206"/>
                    </a:cubicBezTo>
                    <a:cubicBezTo>
                      <a:pt x="30" y="191"/>
                      <a:pt x="30" y="191"/>
                      <a:pt x="30" y="191"/>
                    </a:cubicBezTo>
                    <a:cubicBezTo>
                      <a:pt x="30" y="191"/>
                      <a:pt x="30" y="191"/>
                      <a:pt x="30" y="191"/>
                    </a:cubicBezTo>
                    <a:cubicBezTo>
                      <a:pt x="29" y="191"/>
                      <a:pt x="29" y="190"/>
                      <a:pt x="29" y="189"/>
                    </a:cubicBezTo>
                    <a:cubicBezTo>
                      <a:pt x="29" y="189"/>
                      <a:pt x="29" y="188"/>
                      <a:pt x="30" y="188"/>
                    </a:cubicBezTo>
                    <a:cubicBezTo>
                      <a:pt x="120" y="136"/>
                      <a:pt x="120" y="136"/>
                      <a:pt x="120" y="136"/>
                    </a:cubicBezTo>
                    <a:cubicBezTo>
                      <a:pt x="120" y="6"/>
                      <a:pt x="120" y="6"/>
                      <a:pt x="120" y="6"/>
                    </a:cubicBezTo>
                    <a:lnTo>
                      <a:pt x="4" y="73"/>
                    </a:lnTo>
                    <a:close/>
                    <a:moveTo>
                      <a:pt x="122" y="137"/>
                    </a:moveTo>
                    <a:cubicBezTo>
                      <a:pt x="122" y="137"/>
                      <a:pt x="122" y="137"/>
                      <a:pt x="122" y="1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3" name="Freeform 961">
                <a:extLst>
                  <a:ext uri="{FF2B5EF4-FFF2-40B4-BE49-F238E27FC236}">
                    <a16:creationId xmlns:a16="http://schemas.microsoft.com/office/drawing/2014/main" id="{4FBDD969-5E25-4756-AFAE-5E361B620D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34274" y="5704887"/>
                <a:ext cx="29051" cy="34239"/>
              </a:xfrm>
              <a:custGeom>
                <a:avLst/>
                <a:gdLst>
                  <a:gd name="T0" fmla="*/ 2 w 12"/>
                  <a:gd name="T1" fmla="*/ 14 h 14"/>
                  <a:gd name="T2" fmla="*/ 1 w 12"/>
                  <a:gd name="T3" fmla="*/ 14 h 14"/>
                  <a:gd name="T4" fmla="*/ 0 w 12"/>
                  <a:gd name="T5" fmla="*/ 12 h 14"/>
                  <a:gd name="T6" fmla="*/ 0 w 12"/>
                  <a:gd name="T7" fmla="*/ 2 h 14"/>
                  <a:gd name="T8" fmla="*/ 1 w 12"/>
                  <a:gd name="T9" fmla="*/ 0 h 14"/>
                  <a:gd name="T10" fmla="*/ 3 w 12"/>
                  <a:gd name="T11" fmla="*/ 0 h 14"/>
                  <a:gd name="T12" fmla="*/ 11 w 12"/>
                  <a:gd name="T13" fmla="*/ 5 h 14"/>
                  <a:gd name="T14" fmla="*/ 12 w 12"/>
                  <a:gd name="T15" fmla="*/ 7 h 14"/>
                  <a:gd name="T16" fmla="*/ 11 w 12"/>
                  <a:gd name="T17" fmla="*/ 9 h 14"/>
                  <a:gd name="T18" fmla="*/ 3 w 12"/>
                  <a:gd name="T19" fmla="*/ 14 h 14"/>
                  <a:gd name="T20" fmla="*/ 2 w 12"/>
                  <a:gd name="T21" fmla="*/ 14 h 14"/>
                  <a:gd name="T22" fmla="*/ 4 w 12"/>
                  <a:gd name="T23" fmla="*/ 6 h 14"/>
                  <a:gd name="T24" fmla="*/ 4 w 12"/>
                  <a:gd name="T25" fmla="*/ 9 h 14"/>
                  <a:gd name="T26" fmla="*/ 6 w 12"/>
                  <a:gd name="T27" fmla="*/ 7 h 14"/>
                  <a:gd name="T28" fmla="*/ 4 w 12"/>
                  <a:gd name="T2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4">
                    <a:moveTo>
                      <a:pt x="2" y="14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6"/>
                      <a:pt x="12" y="7"/>
                    </a:cubicBezTo>
                    <a:cubicBezTo>
                      <a:pt x="12" y="8"/>
                      <a:pt x="12" y="8"/>
                      <a:pt x="11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2" y="14"/>
                      <a:pt x="2" y="14"/>
                      <a:pt x="2" y="14"/>
                    </a:cubicBezTo>
                    <a:close/>
                    <a:moveTo>
                      <a:pt x="4" y="6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4" name="Freeform 962">
                <a:extLst>
                  <a:ext uri="{FF2B5EF4-FFF2-40B4-BE49-F238E27FC236}">
                    <a16:creationId xmlns:a16="http://schemas.microsoft.com/office/drawing/2014/main" id="{84263113-9DAC-41FB-8A53-12F91F3773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23898" y="5224506"/>
                <a:ext cx="328901" cy="397378"/>
              </a:xfrm>
              <a:custGeom>
                <a:avLst/>
                <a:gdLst>
                  <a:gd name="T0" fmla="*/ 64 w 134"/>
                  <a:gd name="T1" fmla="*/ 162 h 162"/>
                  <a:gd name="T2" fmla="*/ 63 w 134"/>
                  <a:gd name="T3" fmla="*/ 162 h 162"/>
                  <a:gd name="T4" fmla="*/ 1 w 134"/>
                  <a:gd name="T5" fmla="*/ 126 h 162"/>
                  <a:gd name="T6" fmla="*/ 0 w 134"/>
                  <a:gd name="T7" fmla="*/ 125 h 162"/>
                  <a:gd name="T8" fmla="*/ 0 w 134"/>
                  <a:gd name="T9" fmla="*/ 30 h 162"/>
                  <a:gd name="T10" fmla="*/ 1 w 134"/>
                  <a:gd name="T11" fmla="*/ 29 h 162"/>
                  <a:gd name="T12" fmla="*/ 49 w 134"/>
                  <a:gd name="T13" fmla="*/ 1 h 162"/>
                  <a:gd name="T14" fmla="*/ 51 w 134"/>
                  <a:gd name="T15" fmla="*/ 1 h 162"/>
                  <a:gd name="T16" fmla="*/ 133 w 134"/>
                  <a:gd name="T17" fmla="*/ 48 h 162"/>
                  <a:gd name="T18" fmla="*/ 134 w 134"/>
                  <a:gd name="T19" fmla="*/ 49 h 162"/>
                  <a:gd name="T20" fmla="*/ 134 w 134"/>
                  <a:gd name="T21" fmla="*/ 51 h 162"/>
                  <a:gd name="T22" fmla="*/ 133 w 134"/>
                  <a:gd name="T23" fmla="*/ 52 h 162"/>
                  <a:gd name="T24" fmla="*/ 120 w 134"/>
                  <a:gd name="T25" fmla="*/ 60 h 162"/>
                  <a:gd name="T26" fmla="*/ 120 w 134"/>
                  <a:gd name="T27" fmla="*/ 129 h 162"/>
                  <a:gd name="T28" fmla="*/ 119 w 134"/>
                  <a:gd name="T29" fmla="*/ 131 h 162"/>
                  <a:gd name="T30" fmla="*/ 65 w 134"/>
                  <a:gd name="T31" fmla="*/ 162 h 162"/>
                  <a:gd name="T32" fmla="*/ 64 w 134"/>
                  <a:gd name="T33" fmla="*/ 162 h 162"/>
                  <a:gd name="T34" fmla="*/ 4 w 134"/>
                  <a:gd name="T35" fmla="*/ 124 h 162"/>
                  <a:gd name="T36" fmla="*/ 64 w 134"/>
                  <a:gd name="T37" fmla="*/ 158 h 162"/>
                  <a:gd name="T38" fmla="*/ 116 w 134"/>
                  <a:gd name="T39" fmla="*/ 128 h 162"/>
                  <a:gd name="T40" fmla="*/ 116 w 134"/>
                  <a:gd name="T41" fmla="*/ 58 h 162"/>
                  <a:gd name="T42" fmla="*/ 117 w 134"/>
                  <a:gd name="T43" fmla="*/ 57 h 162"/>
                  <a:gd name="T44" fmla="*/ 129 w 134"/>
                  <a:gd name="T45" fmla="*/ 50 h 162"/>
                  <a:gd name="T46" fmla="*/ 50 w 134"/>
                  <a:gd name="T47" fmla="*/ 5 h 162"/>
                  <a:gd name="T48" fmla="*/ 4 w 134"/>
                  <a:gd name="T49" fmla="*/ 31 h 162"/>
                  <a:gd name="T50" fmla="*/ 4 w 134"/>
                  <a:gd name="T51" fmla="*/ 124 h 162"/>
                  <a:gd name="T52" fmla="*/ 132 w 134"/>
                  <a:gd name="T53" fmla="*/ 51 h 162"/>
                  <a:gd name="T54" fmla="*/ 132 w 134"/>
                  <a:gd name="T55" fmla="*/ 5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4" h="162">
                    <a:moveTo>
                      <a:pt x="64" y="162"/>
                    </a:moveTo>
                    <a:cubicBezTo>
                      <a:pt x="63" y="162"/>
                      <a:pt x="63" y="162"/>
                      <a:pt x="63" y="162"/>
                    </a:cubicBezTo>
                    <a:cubicBezTo>
                      <a:pt x="1" y="126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50" y="0"/>
                      <a:pt x="50" y="0"/>
                      <a:pt x="51" y="1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3" y="48"/>
                      <a:pt x="134" y="49"/>
                      <a:pt x="134" y="49"/>
                    </a:cubicBezTo>
                    <a:cubicBezTo>
                      <a:pt x="134" y="51"/>
                      <a:pt x="134" y="51"/>
                      <a:pt x="134" y="51"/>
                    </a:cubicBezTo>
                    <a:cubicBezTo>
                      <a:pt x="134" y="51"/>
                      <a:pt x="133" y="52"/>
                      <a:pt x="133" y="52"/>
                    </a:cubicBezTo>
                    <a:cubicBezTo>
                      <a:pt x="120" y="60"/>
                      <a:pt x="120" y="60"/>
                      <a:pt x="120" y="60"/>
                    </a:cubicBezTo>
                    <a:cubicBezTo>
                      <a:pt x="120" y="129"/>
                      <a:pt x="120" y="129"/>
                      <a:pt x="120" y="129"/>
                    </a:cubicBezTo>
                    <a:cubicBezTo>
                      <a:pt x="120" y="130"/>
                      <a:pt x="120" y="130"/>
                      <a:pt x="119" y="131"/>
                    </a:cubicBezTo>
                    <a:cubicBezTo>
                      <a:pt x="65" y="162"/>
                      <a:pt x="65" y="162"/>
                      <a:pt x="65" y="162"/>
                    </a:cubicBezTo>
                    <a:cubicBezTo>
                      <a:pt x="64" y="162"/>
                      <a:pt x="64" y="162"/>
                      <a:pt x="64" y="162"/>
                    </a:cubicBezTo>
                    <a:close/>
                    <a:moveTo>
                      <a:pt x="4" y="124"/>
                    </a:moveTo>
                    <a:cubicBezTo>
                      <a:pt x="64" y="158"/>
                      <a:pt x="64" y="158"/>
                      <a:pt x="64" y="158"/>
                    </a:cubicBezTo>
                    <a:cubicBezTo>
                      <a:pt x="116" y="128"/>
                      <a:pt x="116" y="128"/>
                      <a:pt x="116" y="128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6" y="58"/>
                      <a:pt x="117" y="57"/>
                      <a:pt x="117" y="57"/>
                    </a:cubicBezTo>
                    <a:cubicBezTo>
                      <a:pt x="129" y="50"/>
                      <a:pt x="129" y="50"/>
                      <a:pt x="129" y="50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4" y="124"/>
                    </a:lnTo>
                    <a:close/>
                    <a:moveTo>
                      <a:pt x="132" y="51"/>
                    </a:moveTo>
                    <a:cubicBezTo>
                      <a:pt x="132" y="51"/>
                      <a:pt x="132" y="51"/>
                      <a:pt x="132" y="5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5" name="Freeform 963">
                <a:extLst>
                  <a:ext uri="{FF2B5EF4-FFF2-40B4-BE49-F238E27FC236}">
                    <a16:creationId xmlns:a16="http://schemas.microsoft.com/office/drawing/2014/main" id="{A6E637F6-A26D-49E6-AE11-C7E2C9F260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34424" y="5249407"/>
                <a:ext cx="64328" cy="325787"/>
              </a:xfrm>
              <a:custGeom>
                <a:avLst/>
                <a:gdLst>
                  <a:gd name="T0" fmla="*/ 12 w 26"/>
                  <a:gd name="T1" fmla="*/ 133 h 133"/>
                  <a:gd name="T2" fmla="*/ 11 w 26"/>
                  <a:gd name="T3" fmla="*/ 132 h 133"/>
                  <a:gd name="T4" fmla="*/ 1 w 26"/>
                  <a:gd name="T5" fmla="*/ 127 h 133"/>
                  <a:gd name="T6" fmla="*/ 0 w 26"/>
                  <a:gd name="T7" fmla="*/ 125 h 133"/>
                  <a:gd name="T8" fmla="*/ 0 w 26"/>
                  <a:gd name="T9" fmla="*/ 2 h 133"/>
                  <a:gd name="T10" fmla="*/ 1 w 26"/>
                  <a:gd name="T11" fmla="*/ 0 h 133"/>
                  <a:gd name="T12" fmla="*/ 3 w 26"/>
                  <a:gd name="T13" fmla="*/ 0 h 133"/>
                  <a:gd name="T14" fmla="*/ 25 w 26"/>
                  <a:gd name="T15" fmla="*/ 13 h 133"/>
                  <a:gd name="T16" fmla="*/ 26 w 26"/>
                  <a:gd name="T17" fmla="*/ 14 h 133"/>
                  <a:gd name="T18" fmla="*/ 26 w 26"/>
                  <a:gd name="T19" fmla="*/ 124 h 133"/>
                  <a:gd name="T20" fmla="*/ 25 w 26"/>
                  <a:gd name="T21" fmla="*/ 126 h 133"/>
                  <a:gd name="T22" fmla="*/ 13 w 26"/>
                  <a:gd name="T23" fmla="*/ 132 h 133"/>
                  <a:gd name="T24" fmla="*/ 12 w 26"/>
                  <a:gd name="T25" fmla="*/ 133 h 133"/>
                  <a:gd name="T26" fmla="*/ 4 w 26"/>
                  <a:gd name="T27" fmla="*/ 124 h 133"/>
                  <a:gd name="T28" fmla="*/ 12 w 26"/>
                  <a:gd name="T29" fmla="*/ 128 h 133"/>
                  <a:gd name="T30" fmla="*/ 22 w 26"/>
                  <a:gd name="T31" fmla="*/ 123 h 133"/>
                  <a:gd name="T32" fmla="*/ 22 w 26"/>
                  <a:gd name="T33" fmla="*/ 16 h 133"/>
                  <a:gd name="T34" fmla="*/ 4 w 26"/>
                  <a:gd name="T35" fmla="*/ 6 h 133"/>
                  <a:gd name="T36" fmla="*/ 4 w 26"/>
                  <a:gd name="T37" fmla="*/ 124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33">
                    <a:moveTo>
                      <a:pt x="12" y="133"/>
                    </a:moveTo>
                    <a:cubicBezTo>
                      <a:pt x="12" y="133"/>
                      <a:pt x="12" y="133"/>
                      <a:pt x="11" y="13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1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4"/>
                      <a:pt x="26" y="14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26" y="125"/>
                      <a:pt x="25" y="126"/>
                      <a:pt x="25" y="126"/>
                    </a:cubicBezTo>
                    <a:cubicBezTo>
                      <a:pt x="13" y="132"/>
                      <a:pt x="13" y="132"/>
                      <a:pt x="13" y="132"/>
                    </a:cubicBezTo>
                    <a:cubicBezTo>
                      <a:pt x="13" y="133"/>
                      <a:pt x="13" y="133"/>
                      <a:pt x="12" y="133"/>
                    </a:cubicBezTo>
                    <a:close/>
                    <a:moveTo>
                      <a:pt x="4" y="124"/>
                    </a:moveTo>
                    <a:cubicBezTo>
                      <a:pt x="12" y="128"/>
                      <a:pt x="12" y="128"/>
                      <a:pt x="12" y="128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6" name="Freeform 964">
                <a:extLst>
                  <a:ext uri="{FF2B5EF4-FFF2-40B4-BE49-F238E27FC236}">
                    <a16:creationId xmlns:a16="http://schemas.microsoft.com/office/drawing/2014/main" id="{F6AB887E-274A-4164-B7A3-508FC109FE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2302" y="5677911"/>
                <a:ext cx="581023" cy="323712"/>
              </a:xfrm>
              <a:custGeom>
                <a:avLst/>
                <a:gdLst>
                  <a:gd name="T0" fmla="*/ 115 w 237"/>
                  <a:gd name="T1" fmla="*/ 132 h 132"/>
                  <a:gd name="T2" fmla="*/ 114 w 237"/>
                  <a:gd name="T3" fmla="*/ 132 h 132"/>
                  <a:gd name="T4" fmla="*/ 1 w 237"/>
                  <a:gd name="T5" fmla="*/ 67 h 132"/>
                  <a:gd name="T6" fmla="*/ 0 w 237"/>
                  <a:gd name="T7" fmla="*/ 65 h 132"/>
                  <a:gd name="T8" fmla="*/ 0 w 237"/>
                  <a:gd name="T9" fmla="*/ 38 h 132"/>
                  <a:gd name="T10" fmla="*/ 1 w 237"/>
                  <a:gd name="T11" fmla="*/ 36 h 132"/>
                  <a:gd name="T12" fmla="*/ 3 w 237"/>
                  <a:gd name="T13" fmla="*/ 36 h 132"/>
                  <a:gd name="T14" fmla="*/ 50 w 237"/>
                  <a:gd name="T15" fmla="*/ 64 h 132"/>
                  <a:gd name="T16" fmla="*/ 159 w 237"/>
                  <a:gd name="T17" fmla="*/ 1 h 132"/>
                  <a:gd name="T18" fmla="*/ 161 w 237"/>
                  <a:gd name="T19" fmla="*/ 1 h 132"/>
                  <a:gd name="T20" fmla="*/ 236 w 237"/>
                  <a:gd name="T21" fmla="*/ 44 h 132"/>
                  <a:gd name="T22" fmla="*/ 237 w 237"/>
                  <a:gd name="T23" fmla="*/ 46 h 132"/>
                  <a:gd name="T24" fmla="*/ 237 w 237"/>
                  <a:gd name="T25" fmla="*/ 60 h 132"/>
                  <a:gd name="T26" fmla="*/ 236 w 237"/>
                  <a:gd name="T27" fmla="*/ 62 h 132"/>
                  <a:gd name="T28" fmla="*/ 116 w 237"/>
                  <a:gd name="T29" fmla="*/ 132 h 132"/>
                  <a:gd name="T30" fmla="*/ 115 w 237"/>
                  <a:gd name="T31" fmla="*/ 132 h 132"/>
                  <a:gd name="T32" fmla="*/ 4 w 237"/>
                  <a:gd name="T33" fmla="*/ 64 h 132"/>
                  <a:gd name="T34" fmla="*/ 115 w 237"/>
                  <a:gd name="T35" fmla="*/ 128 h 132"/>
                  <a:gd name="T36" fmla="*/ 233 w 237"/>
                  <a:gd name="T37" fmla="*/ 59 h 132"/>
                  <a:gd name="T38" fmla="*/ 233 w 237"/>
                  <a:gd name="T39" fmla="*/ 47 h 132"/>
                  <a:gd name="T40" fmla="*/ 160 w 237"/>
                  <a:gd name="T41" fmla="*/ 5 h 132"/>
                  <a:gd name="T42" fmla="*/ 51 w 237"/>
                  <a:gd name="T43" fmla="*/ 68 h 132"/>
                  <a:gd name="T44" fmla="*/ 49 w 237"/>
                  <a:gd name="T45" fmla="*/ 68 h 132"/>
                  <a:gd name="T46" fmla="*/ 4 w 237"/>
                  <a:gd name="T47" fmla="*/ 41 h 132"/>
                  <a:gd name="T48" fmla="*/ 4 w 237"/>
                  <a:gd name="T49" fmla="*/ 64 h 132"/>
                  <a:gd name="T50" fmla="*/ 235 w 237"/>
                  <a:gd name="T51" fmla="*/ 60 h 132"/>
                  <a:gd name="T52" fmla="*/ 235 w 237"/>
                  <a:gd name="T53" fmla="*/ 6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7" h="132">
                    <a:moveTo>
                      <a:pt x="115" y="132"/>
                    </a:move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66"/>
                      <a:pt x="0" y="66"/>
                      <a:pt x="0" y="65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7"/>
                      <a:pt x="0" y="37"/>
                      <a:pt x="1" y="36"/>
                    </a:cubicBezTo>
                    <a:cubicBezTo>
                      <a:pt x="1" y="36"/>
                      <a:pt x="2" y="36"/>
                      <a:pt x="3" y="36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159" y="1"/>
                      <a:pt x="159" y="1"/>
                      <a:pt x="159" y="1"/>
                    </a:cubicBezTo>
                    <a:cubicBezTo>
                      <a:pt x="159" y="0"/>
                      <a:pt x="160" y="0"/>
                      <a:pt x="161" y="1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7" y="44"/>
                      <a:pt x="237" y="45"/>
                      <a:pt x="237" y="46"/>
                    </a:cubicBezTo>
                    <a:cubicBezTo>
                      <a:pt x="237" y="60"/>
                      <a:pt x="237" y="60"/>
                      <a:pt x="237" y="60"/>
                    </a:cubicBezTo>
                    <a:cubicBezTo>
                      <a:pt x="237" y="61"/>
                      <a:pt x="237" y="62"/>
                      <a:pt x="236" y="62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5" y="132"/>
                      <a:pt x="115" y="132"/>
                      <a:pt x="115" y="132"/>
                    </a:cubicBezTo>
                    <a:close/>
                    <a:moveTo>
                      <a:pt x="4" y="64"/>
                    </a:moveTo>
                    <a:cubicBezTo>
                      <a:pt x="115" y="128"/>
                      <a:pt x="115" y="128"/>
                      <a:pt x="115" y="128"/>
                    </a:cubicBezTo>
                    <a:cubicBezTo>
                      <a:pt x="233" y="59"/>
                      <a:pt x="233" y="59"/>
                      <a:pt x="233" y="59"/>
                    </a:cubicBezTo>
                    <a:cubicBezTo>
                      <a:pt x="233" y="47"/>
                      <a:pt x="233" y="47"/>
                      <a:pt x="233" y="47"/>
                    </a:cubicBezTo>
                    <a:cubicBezTo>
                      <a:pt x="160" y="5"/>
                      <a:pt x="160" y="5"/>
                      <a:pt x="160" y="5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1" y="68"/>
                      <a:pt x="50" y="68"/>
                      <a:pt x="49" y="68"/>
                    </a:cubicBezTo>
                    <a:cubicBezTo>
                      <a:pt x="4" y="41"/>
                      <a:pt x="4" y="41"/>
                      <a:pt x="4" y="41"/>
                    </a:cubicBezTo>
                    <a:lnTo>
                      <a:pt x="4" y="64"/>
                    </a:lnTo>
                    <a:close/>
                    <a:moveTo>
                      <a:pt x="235" y="60"/>
                    </a:moveTo>
                    <a:cubicBezTo>
                      <a:pt x="235" y="60"/>
                      <a:pt x="235" y="60"/>
                      <a:pt x="235" y="6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7" name="Freeform 965">
                <a:extLst>
                  <a:ext uri="{FF2B5EF4-FFF2-40B4-BE49-F238E27FC236}">
                    <a16:creationId xmlns:a16="http://schemas.microsoft.com/office/drawing/2014/main" id="{BB8F83ED-75F4-49A8-B41D-F5CF938C54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94000" y="5769214"/>
                <a:ext cx="328901" cy="509432"/>
              </a:xfrm>
              <a:custGeom>
                <a:avLst/>
                <a:gdLst>
                  <a:gd name="T0" fmla="*/ 132 w 134"/>
                  <a:gd name="T1" fmla="*/ 208 h 208"/>
                  <a:gd name="T2" fmla="*/ 131 w 134"/>
                  <a:gd name="T3" fmla="*/ 208 h 208"/>
                  <a:gd name="T4" fmla="*/ 1 w 134"/>
                  <a:gd name="T5" fmla="*/ 133 h 208"/>
                  <a:gd name="T6" fmla="*/ 0 w 134"/>
                  <a:gd name="T7" fmla="*/ 131 h 208"/>
                  <a:gd name="T8" fmla="*/ 0 w 134"/>
                  <a:gd name="T9" fmla="*/ 2 h 208"/>
                  <a:gd name="T10" fmla="*/ 1 w 134"/>
                  <a:gd name="T11" fmla="*/ 0 h 208"/>
                  <a:gd name="T12" fmla="*/ 3 w 134"/>
                  <a:gd name="T13" fmla="*/ 0 h 208"/>
                  <a:gd name="T14" fmla="*/ 23 w 134"/>
                  <a:gd name="T15" fmla="*/ 11 h 208"/>
                  <a:gd name="T16" fmla="*/ 24 w 134"/>
                  <a:gd name="T17" fmla="*/ 13 h 208"/>
                  <a:gd name="T18" fmla="*/ 24 w 134"/>
                  <a:gd name="T19" fmla="*/ 22 h 208"/>
                  <a:gd name="T20" fmla="*/ 31 w 134"/>
                  <a:gd name="T21" fmla="*/ 18 h 208"/>
                  <a:gd name="T22" fmla="*/ 33 w 134"/>
                  <a:gd name="T23" fmla="*/ 18 h 208"/>
                  <a:gd name="T24" fmla="*/ 49 w 134"/>
                  <a:gd name="T25" fmla="*/ 27 h 208"/>
                  <a:gd name="T26" fmla="*/ 66 w 134"/>
                  <a:gd name="T27" fmla="*/ 17 h 208"/>
                  <a:gd name="T28" fmla="*/ 68 w 134"/>
                  <a:gd name="T29" fmla="*/ 17 h 208"/>
                  <a:gd name="T30" fmla="*/ 133 w 134"/>
                  <a:gd name="T31" fmla="*/ 54 h 208"/>
                  <a:gd name="T32" fmla="*/ 134 w 134"/>
                  <a:gd name="T33" fmla="*/ 56 h 208"/>
                  <a:gd name="T34" fmla="*/ 134 w 134"/>
                  <a:gd name="T35" fmla="*/ 206 h 208"/>
                  <a:gd name="T36" fmla="*/ 133 w 134"/>
                  <a:gd name="T37" fmla="*/ 208 h 208"/>
                  <a:gd name="T38" fmla="*/ 132 w 134"/>
                  <a:gd name="T39" fmla="*/ 208 h 208"/>
                  <a:gd name="T40" fmla="*/ 4 w 134"/>
                  <a:gd name="T41" fmla="*/ 130 h 208"/>
                  <a:gd name="T42" fmla="*/ 130 w 134"/>
                  <a:gd name="T43" fmla="*/ 203 h 208"/>
                  <a:gd name="T44" fmla="*/ 130 w 134"/>
                  <a:gd name="T45" fmla="*/ 57 h 208"/>
                  <a:gd name="T46" fmla="*/ 67 w 134"/>
                  <a:gd name="T47" fmla="*/ 21 h 208"/>
                  <a:gd name="T48" fmla="*/ 50 w 134"/>
                  <a:gd name="T49" fmla="*/ 31 h 208"/>
                  <a:gd name="T50" fmla="*/ 48 w 134"/>
                  <a:gd name="T51" fmla="*/ 31 h 208"/>
                  <a:gd name="T52" fmla="*/ 32 w 134"/>
                  <a:gd name="T53" fmla="*/ 22 h 208"/>
                  <a:gd name="T54" fmla="*/ 23 w 134"/>
                  <a:gd name="T55" fmla="*/ 27 h 208"/>
                  <a:gd name="T56" fmla="*/ 21 w 134"/>
                  <a:gd name="T57" fmla="*/ 27 h 208"/>
                  <a:gd name="T58" fmla="*/ 20 w 134"/>
                  <a:gd name="T59" fmla="*/ 25 h 208"/>
                  <a:gd name="T60" fmla="*/ 20 w 134"/>
                  <a:gd name="T61" fmla="*/ 14 h 208"/>
                  <a:gd name="T62" fmla="*/ 4 w 134"/>
                  <a:gd name="T63" fmla="*/ 5 h 208"/>
                  <a:gd name="T64" fmla="*/ 4 w 134"/>
                  <a:gd name="T65" fmla="*/ 13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208">
                    <a:moveTo>
                      <a:pt x="132" y="208"/>
                    </a:moveTo>
                    <a:cubicBezTo>
                      <a:pt x="132" y="208"/>
                      <a:pt x="131" y="208"/>
                      <a:pt x="131" y="208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2"/>
                      <a:pt x="0" y="132"/>
                      <a:pt x="0" y="13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2" y="17"/>
                      <a:pt x="32" y="17"/>
                      <a:pt x="33" y="18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7" y="16"/>
                      <a:pt x="67" y="16"/>
                      <a:pt x="68" y="17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4" y="55"/>
                      <a:pt x="134" y="55"/>
                      <a:pt x="134" y="56"/>
                    </a:cubicBezTo>
                    <a:cubicBezTo>
                      <a:pt x="134" y="206"/>
                      <a:pt x="134" y="206"/>
                      <a:pt x="134" y="206"/>
                    </a:cubicBezTo>
                    <a:cubicBezTo>
                      <a:pt x="134" y="207"/>
                      <a:pt x="134" y="208"/>
                      <a:pt x="133" y="208"/>
                    </a:cubicBezTo>
                    <a:cubicBezTo>
                      <a:pt x="133" y="208"/>
                      <a:pt x="132" y="208"/>
                      <a:pt x="132" y="208"/>
                    </a:cubicBezTo>
                    <a:close/>
                    <a:moveTo>
                      <a:pt x="4" y="130"/>
                    </a:moveTo>
                    <a:cubicBezTo>
                      <a:pt x="130" y="203"/>
                      <a:pt x="130" y="203"/>
                      <a:pt x="130" y="203"/>
                    </a:cubicBezTo>
                    <a:cubicBezTo>
                      <a:pt x="130" y="57"/>
                      <a:pt x="130" y="57"/>
                      <a:pt x="130" y="57"/>
                    </a:cubicBezTo>
                    <a:cubicBezTo>
                      <a:pt x="67" y="21"/>
                      <a:pt x="67" y="21"/>
                      <a:pt x="67" y="21"/>
                    </a:cubicBezTo>
                    <a:cubicBezTo>
                      <a:pt x="50" y="31"/>
                      <a:pt x="50" y="31"/>
                      <a:pt x="50" y="31"/>
                    </a:cubicBezTo>
                    <a:cubicBezTo>
                      <a:pt x="49" y="31"/>
                      <a:pt x="48" y="31"/>
                      <a:pt x="48" y="31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27"/>
                      <a:pt x="21" y="27"/>
                      <a:pt x="21" y="27"/>
                    </a:cubicBezTo>
                    <a:cubicBezTo>
                      <a:pt x="20" y="27"/>
                      <a:pt x="20" y="26"/>
                      <a:pt x="20" y="25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8" name="Freeform 966">
                <a:extLst>
                  <a:ext uri="{FF2B5EF4-FFF2-40B4-BE49-F238E27FC236}">
                    <a16:creationId xmlns:a16="http://schemas.microsoft.com/office/drawing/2014/main" id="{7F6B15FD-A7A5-46E0-8D5B-5A5EA825E91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579039" y="6339861"/>
                <a:ext cx="19713" cy="352763"/>
              </a:xfrm>
              <a:custGeom>
                <a:avLst/>
                <a:gdLst>
                  <a:gd name="T0" fmla="*/ 3 w 8"/>
                  <a:gd name="T1" fmla="*/ 144 h 144"/>
                  <a:gd name="T2" fmla="*/ 2 w 8"/>
                  <a:gd name="T3" fmla="*/ 144 h 144"/>
                  <a:gd name="T4" fmla="*/ 0 w 8"/>
                  <a:gd name="T5" fmla="*/ 142 h 144"/>
                  <a:gd name="T6" fmla="*/ 0 w 8"/>
                  <a:gd name="T7" fmla="*/ 4 h 144"/>
                  <a:gd name="T8" fmla="*/ 1 w 8"/>
                  <a:gd name="T9" fmla="*/ 3 h 144"/>
                  <a:gd name="T10" fmla="*/ 5 w 8"/>
                  <a:gd name="T11" fmla="*/ 1 h 144"/>
                  <a:gd name="T12" fmla="*/ 7 w 8"/>
                  <a:gd name="T13" fmla="*/ 1 h 144"/>
                  <a:gd name="T14" fmla="*/ 8 w 8"/>
                  <a:gd name="T15" fmla="*/ 2 h 144"/>
                  <a:gd name="T16" fmla="*/ 8 w 8"/>
                  <a:gd name="T17" fmla="*/ 140 h 144"/>
                  <a:gd name="T18" fmla="*/ 7 w 8"/>
                  <a:gd name="T19" fmla="*/ 142 h 144"/>
                  <a:gd name="T20" fmla="*/ 4 w 8"/>
                  <a:gd name="T21" fmla="*/ 144 h 144"/>
                  <a:gd name="T22" fmla="*/ 3 w 8"/>
                  <a:gd name="T2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44">
                    <a:moveTo>
                      <a:pt x="3" y="144"/>
                    </a:moveTo>
                    <a:cubicBezTo>
                      <a:pt x="2" y="144"/>
                      <a:pt x="2" y="144"/>
                      <a:pt x="2" y="144"/>
                    </a:cubicBezTo>
                    <a:cubicBezTo>
                      <a:pt x="1" y="144"/>
                      <a:pt x="0" y="143"/>
                      <a:pt x="0" y="14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7" y="1"/>
                      <a:pt x="8" y="2"/>
                      <a:pt x="8" y="2"/>
                    </a:cubicBezTo>
                    <a:cubicBezTo>
                      <a:pt x="8" y="140"/>
                      <a:pt x="8" y="140"/>
                      <a:pt x="8" y="140"/>
                    </a:cubicBezTo>
                    <a:cubicBezTo>
                      <a:pt x="8" y="141"/>
                      <a:pt x="7" y="142"/>
                      <a:pt x="7" y="142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3" y="144"/>
                      <a:pt x="3" y="144"/>
                      <a:pt x="3" y="14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9" name="Freeform 967">
                <a:extLst>
                  <a:ext uri="{FF2B5EF4-FFF2-40B4-BE49-F238E27FC236}">
                    <a16:creationId xmlns:a16="http://schemas.microsoft.com/office/drawing/2014/main" id="{E0019888-FDD7-4EED-8A61-D5ECDD3A746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823898" y="5697624"/>
                <a:ext cx="39427" cy="30089"/>
              </a:xfrm>
              <a:custGeom>
                <a:avLst/>
                <a:gdLst>
                  <a:gd name="T0" fmla="*/ 13 w 16"/>
                  <a:gd name="T1" fmla="*/ 12 h 12"/>
                  <a:gd name="T2" fmla="*/ 12 w 16"/>
                  <a:gd name="T3" fmla="*/ 12 h 12"/>
                  <a:gd name="T4" fmla="*/ 1 w 16"/>
                  <a:gd name="T5" fmla="*/ 5 h 12"/>
                  <a:gd name="T6" fmla="*/ 0 w 16"/>
                  <a:gd name="T7" fmla="*/ 3 h 12"/>
                  <a:gd name="T8" fmla="*/ 0 w 16"/>
                  <a:gd name="T9" fmla="*/ 2 h 12"/>
                  <a:gd name="T10" fmla="*/ 1 w 16"/>
                  <a:gd name="T11" fmla="*/ 0 h 12"/>
                  <a:gd name="T12" fmla="*/ 3 w 16"/>
                  <a:gd name="T13" fmla="*/ 0 h 12"/>
                  <a:gd name="T14" fmla="*/ 15 w 16"/>
                  <a:gd name="T15" fmla="*/ 7 h 12"/>
                  <a:gd name="T16" fmla="*/ 16 w 16"/>
                  <a:gd name="T17" fmla="*/ 9 h 12"/>
                  <a:gd name="T18" fmla="*/ 15 w 16"/>
                  <a:gd name="T19" fmla="*/ 11 h 12"/>
                  <a:gd name="T20" fmla="*/ 14 w 16"/>
                  <a:gd name="T21" fmla="*/ 12 h 12"/>
                  <a:gd name="T22" fmla="*/ 13 w 16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2">
                    <a:moveTo>
                      <a:pt x="13" y="12"/>
                    </a:moveTo>
                    <a:cubicBezTo>
                      <a:pt x="13" y="12"/>
                      <a:pt x="12" y="12"/>
                      <a:pt x="12" y="1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8"/>
                      <a:pt x="16" y="8"/>
                      <a:pt x="16" y="9"/>
                    </a:cubicBezTo>
                    <a:cubicBezTo>
                      <a:pt x="16" y="10"/>
                      <a:pt x="16" y="10"/>
                      <a:pt x="15" y="11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3" y="12"/>
                      <a:pt x="13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0" name="Freeform 969">
                <a:extLst>
                  <a:ext uri="{FF2B5EF4-FFF2-40B4-BE49-F238E27FC236}">
                    <a16:creationId xmlns:a16="http://schemas.microsoft.com/office/drawing/2014/main" id="{751B2A56-E261-4C21-917E-D1906631F5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34424" y="6742427"/>
                <a:ext cx="134880" cy="264573"/>
              </a:xfrm>
              <a:custGeom>
                <a:avLst/>
                <a:gdLst>
                  <a:gd name="T0" fmla="*/ 53 w 55"/>
                  <a:gd name="T1" fmla="*/ 108 h 108"/>
                  <a:gd name="T2" fmla="*/ 52 w 55"/>
                  <a:gd name="T3" fmla="*/ 107 h 108"/>
                  <a:gd name="T4" fmla="*/ 1 w 55"/>
                  <a:gd name="T5" fmla="*/ 79 h 108"/>
                  <a:gd name="T6" fmla="*/ 0 w 55"/>
                  <a:gd name="T7" fmla="*/ 77 h 108"/>
                  <a:gd name="T8" fmla="*/ 0 w 55"/>
                  <a:gd name="T9" fmla="*/ 3 h 108"/>
                  <a:gd name="T10" fmla="*/ 1 w 55"/>
                  <a:gd name="T11" fmla="*/ 1 h 108"/>
                  <a:gd name="T12" fmla="*/ 3 w 55"/>
                  <a:gd name="T13" fmla="*/ 1 h 108"/>
                  <a:gd name="T14" fmla="*/ 39 w 55"/>
                  <a:gd name="T15" fmla="*/ 21 h 108"/>
                  <a:gd name="T16" fmla="*/ 40 w 55"/>
                  <a:gd name="T17" fmla="*/ 23 h 108"/>
                  <a:gd name="T18" fmla="*/ 39 w 55"/>
                  <a:gd name="T19" fmla="*/ 25 h 108"/>
                  <a:gd name="T20" fmla="*/ 11 w 55"/>
                  <a:gd name="T21" fmla="*/ 41 h 108"/>
                  <a:gd name="T22" fmla="*/ 54 w 55"/>
                  <a:gd name="T23" fmla="*/ 66 h 108"/>
                  <a:gd name="T24" fmla="*/ 55 w 55"/>
                  <a:gd name="T25" fmla="*/ 67 h 108"/>
                  <a:gd name="T26" fmla="*/ 55 w 55"/>
                  <a:gd name="T27" fmla="*/ 106 h 108"/>
                  <a:gd name="T28" fmla="*/ 54 w 55"/>
                  <a:gd name="T29" fmla="*/ 107 h 108"/>
                  <a:gd name="T30" fmla="*/ 53 w 55"/>
                  <a:gd name="T31" fmla="*/ 108 h 108"/>
                  <a:gd name="T32" fmla="*/ 4 w 55"/>
                  <a:gd name="T33" fmla="*/ 76 h 108"/>
                  <a:gd name="T34" fmla="*/ 51 w 55"/>
                  <a:gd name="T35" fmla="*/ 102 h 108"/>
                  <a:gd name="T36" fmla="*/ 51 w 55"/>
                  <a:gd name="T37" fmla="*/ 68 h 108"/>
                  <a:gd name="T38" fmla="*/ 6 w 55"/>
                  <a:gd name="T39" fmla="*/ 43 h 108"/>
                  <a:gd name="T40" fmla="*/ 5 w 55"/>
                  <a:gd name="T41" fmla="*/ 41 h 108"/>
                  <a:gd name="T42" fmla="*/ 6 w 55"/>
                  <a:gd name="T43" fmla="*/ 39 h 108"/>
                  <a:gd name="T44" fmla="*/ 34 w 55"/>
                  <a:gd name="T45" fmla="*/ 23 h 108"/>
                  <a:gd name="T46" fmla="*/ 4 w 55"/>
                  <a:gd name="T47" fmla="*/ 6 h 108"/>
                  <a:gd name="T48" fmla="*/ 4 w 55"/>
                  <a:gd name="T4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108">
                    <a:moveTo>
                      <a:pt x="53" y="108"/>
                    </a:moveTo>
                    <a:cubicBezTo>
                      <a:pt x="52" y="108"/>
                      <a:pt x="52" y="108"/>
                      <a:pt x="52" y="107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1" y="78"/>
                      <a:pt x="0" y="78"/>
                      <a:pt x="0" y="77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2"/>
                      <a:pt x="40" y="22"/>
                      <a:pt x="40" y="23"/>
                    </a:cubicBezTo>
                    <a:cubicBezTo>
                      <a:pt x="40" y="24"/>
                      <a:pt x="39" y="24"/>
                      <a:pt x="39" y="25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54" y="66"/>
                      <a:pt x="54" y="66"/>
                      <a:pt x="54" y="66"/>
                    </a:cubicBezTo>
                    <a:cubicBezTo>
                      <a:pt x="54" y="66"/>
                      <a:pt x="55" y="67"/>
                      <a:pt x="55" y="67"/>
                    </a:cubicBezTo>
                    <a:cubicBezTo>
                      <a:pt x="55" y="106"/>
                      <a:pt x="55" y="106"/>
                      <a:pt x="55" y="106"/>
                    </a:cubicBezTo>
                    <a:cubicBezTo>
                      <a:pt x="55" y="106"/>
                      <a:pt x="54" y="107"/>
                      <a:pt x="54" y="107"/>
                    </a:cubicBezTo>
                    <a:cubicBezTo>
                      <a:pt x="53" y="108"/>
                      <a:pt x="53" y="108"/>
                      <a:pt x="53" y="108"/>
                    </a:cubicBezTo>
                    <a:close/>
                    <a:moveTo>
                      <a:pt x="4" y="76"/>
                    </a:moveTo>
                    <a:cubicBezTo>
                      <a:pt x="51" y="102"/>
                      <a:pt x="51" y="102"/>
                      <a:pt x="51" y="102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2"/>
                      <a:pt x="5" y="42"/>
                      <a:pt x="5" y="41"/>
                    </a:cubicBezTo>
                    <a:cubicBezTo>
                      <a:pt x="5" y="40"/>
                      <a:pt x="5" y="40"/>
                      <a:pt x="6" y="39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7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1" name="Freeform 971">
                <a:extLst>
                  <a:ext uri="{FF2B5EF4-FFF2-40B4-BE49-F238E27FC236}">
                    <a16:creationId xmlns:a16="http://schemas.microsoft.com/office/drawing/2014/main" id="{7A74BA5E-3AAB-43C1-AFF4-9673454C09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280227" y="6337786"/>
                <a:ext cx="313338" cy="417091"/>
              </a:xfrm>
              <a:custGeom>
                <a:avLst/>
                <a:gdLst>
                  <a:gd name="T0" fmla="*/ 68 w 128"/>
                  <a:gd name="T1" fmla="*/ 170 h 170"/>
                  <a:gd name="T2" fmla="*/ 67 w 128"/>
                  <a:gd name="T3" fmla="*/ 169 h 170"/>
                  <a:gd name="T4" fmla="*/ 55 w 128"/>
                  <a:gd name="T5" fmla="*/ 163 h 170"/>
                  <a:gd name="T6" fmla="*/ 43 w 128"/>
                  <a:gd name="T7" fmla="*/ 169 h 170"/>
                  <a:gd name="T8" fmla="*/ 41 w 128"/>
                  <a:gd name="T9" fmla="*/ 169 h 170"/>
                  <a:gd name="T10" fmla="*/ 1 w 128"/>
                  <a:gd name="T11" fmla="*/ 146 h 170"/>
                  <a:gd name="T12" fmla="*/ 0 w 128"/>
                  <a:gd name="T13" fmla="*/ 144 h 170"/>
                  <a:gd name="T14" fmla="*/ 1 w 128"/>
                  <a:gd name="T15" fmla="*/ 142 h 170"/>
                  <a:gd name="T16" fmla="*/ 3 w 128"/>
                  <a:gd name="T17" fmla="*/ 141 h 170"/>
                  <a:gd name="T18" fmla="*/ 3 w 128"/>
                  <a:gd name="T19" fmla="*/ 2 h 170"/>
                  <a:gd name="T20" fmla="*/ 4 w 128"/>
                  <a:gd name="T21" fmla="*/ 1 h 170"/>
                  <a:gd name="T22" fmla="*/ 5 w 128"/>
                  <a:gd name="T23" fmla="*/ 0 h 170"/>
                  <a:gd name="T24" fmla="*/ 7 w 128"/>
                  <a:gd name="T25" fmla="*/ 0 h 170"/>
                  <a:gd name="T26" fmla="*/ 127 w 128"/>
                  <a:gd name="T27" fmla="*/ 69 h 170"/>
                  <a:gd name="T28" fmla="*/ 128 w 128"/>
                  <a:gd name="T29" fmla="*/ 71 h 170"/>
                  <a:gd name="T30" fmla="*/ 128 w 128"/>
                  <a:gd name="T31" fmla="*/ 134 h 170"/>
                  <a:gd name="T32" fmla="*/ 127 w 128"/>
                  <a:gd name="T33" fmla="*/ 136 h 170"/>
                  <a:gd name="T34" fmla="*/ 69 w 128"/>
                  <a:gd name="T35" fmla="*/ 169 h 170"/>
                  <a:gd name="T36" fmla="*/ 68 w 128"/>
                  <a:gd name="T37" fmla="*/ 170 h 170"/>
                  <a:gd name="T38" fmla="*/ 55 w 128"/>
                  <a:gd name="T39" fmla="*/ 158 h 170"/>
                  <a:gd name="T40" fmla="*/ 56 w 128"/>
                  <a:gd name="T41" fmla="*/ 159 h 170"/>
                  <a:gd name="T42" fmla="*/ 68 w 128"/>
                  <a:gd name="T43" fmla="*/ 165 h 170"/>
                  <a:gd name="T44" fmla="*/ 124 w 128"/>
                  <a:gd name="T45" fmla="*/ 133 h 170"/>
                  <a:gd name="T46" fmla="*/ 124 w 128"/>
                  <a:gd name="T47" fmla="*/ 72 h 170"/>
                  <a:gd name="T48" fmla="*/ 7 w 128"/>
                  <a:gd name="T49" fmla="*/ 5 h 170"/>
                  <a:gd name="T50" fmla="*/ 7 w 128"/>
                  <a:gd name="T51" fmla="*/ 142 h 170"/>
                  <a:gd name="T52" fmla="*/ 6 w 128"/>
                  <a:gd name="T53" fmla="*/ 144 h 170"/>
                  <a:gd name="T54" fmla="*/ 6 w 128"/>
                  <a:gd name="T55" fmla="*/ 144 h 170"/>
                  <a:gd name="T56" fmla="*/ 42 w 128"/>
                  <a:gd name="T57" fmla="*/ 165 h 170"/>
                  <a:gd name="T58" fmla="*/ 54 w 128"/>
                  <a:gd name="T59" fmla="*/ 159 h 170"/>
                  <a:gd name="T60" fmla="*/ 55 w 128"/>
                  <a:gd name="T61" fmla="*/ 158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8" h="170">
                    <a:moveTo>
                      <a:pt x="68" y="170"/>
                    </a:moveTo>
                    <a:cubicBezTo>
                      <a:pt x="67" y="170"/>
                      <a:pt x="67" y="170"/>
                      <a:pt x="67" y="169"/>
                    </a:cubicBezTo>
                    <a:cubicBezTo>
                      <a:pt x="55" y="163"/>
                      <a:pt x="55" y="163"/>
                      <a:pt x="55" y="163"/>
                    </a:cubicBezTo>
                    <a:cubicBezTo>
                      <a:pt x="43" y="169"/>
                      <a:pt x="43" y="169"/>
                      <a:pt x="43" y="169"/>
                    </a:cubicBezTo>
                    <a:cubicBezTo>
                      <a:pt x="43" y="169"/>
                      <a:pt x="42" y="169"/>
                      <a:pt x="41" y="169"/>
                    </a:cubicBezTo>
                    <a:cubicBezTo>
                      <a:pt x="1" y="146"/>
                      <a:pt x="1" y="146"/>
                      <a:pt x="1" y="146"/>
                    </a:cubicBezTo>
                    <a:cubicBezTo>
                      <a:pt x="1" y="146"/>
                      <a:pt x="0" y="145"/>
                      <a:pt x="0" y="144"/>
                    </a:cubicBezTo>
                    <a:cubicBezTo>
                      <a:pt x="0" y="143"/>
                      <a:pt x="1" y="143"/>
                      <a:pt x="1" y="142"/>
                    </a:cubicBezTo>
                    <a:cubicBezTo>
                      <a:pt x="3" y="141"/>
                      <a:pt x="3" y="141"/>
                      <a:pt x="3" y="14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0"/>
                    </a:cubicBezTo>
                    <a:cubicBezTo>
                      <a:pt x="127" y="69"/>
                      <a:pt x="127" y="69"/>
                      <a:pt x="127" y="69"/>
                    </a:cubicBezTo>
                    <a:cubicBezTo>
                      <a:pt x="127" y="69"/>
                      <a:pt x="128" y="70"/>
                      <a:pt x="128" y="71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28" y="135"/>
                      <a:pt x="127" y="135"/>
                      <a:pt x="127" y="136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8" y="170"/>
                      <a:pt x="68" y="170"/>
                      <a:pt x="68" y="170"/>
                    </a:cubicBezTo>
                    <a:close/>
                    <a:moveTo>
                      <a:pt x="55" y="158"/>
                    </a:moveTo>
                    <a:cubicBezTo>
                      <a:pt x="55" y="158"/>
                      <a:pt x="55" y="158"/>
                      <a:pt x="56" y="159"/>
                    </a:cubicBezTo>
                    <a:cubicBezTo>
                      <a:pt x="68" y="165"/>
                      <a:pt x="68" y="165"/>
                      <a:pt x="68" y="165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42"/>
                      <a:pt x="7" y="142"/>
                      <a:pt x="7" y="142"/>
                    </a:cubicBezTo>
                    <a:cubicBezTo>
                      <a:pt x="7" y="143"/>
                      <a:pt x="7" y="144"/>
                      <a:pt x="6" y="144"/>
                    </a:cubicBezTo>
                    <a:cubicBezTo>
                      <a:pt x="6" y="144"/>
                      <a:pt x="6" y="144"/>
                      <a:pt x="6" y="144"/>
                    </a:cubicBezTo>
                    <a:cubicBezTo>
                      <a:pt x="42" y="165"/>
                      <a:pt x="42" y="165"/>
                      <a:pt x="42" y="165"/>
                    </a:cubicBezTo>
                    <a:cubicBezTo>
                      <a:pt x="54" y="159"/>
                      <a:pt x="54" y="159"/>
                      <a:pt x="54" y="159"/>
                    </a:cubicBezTo>
                    <a:cubicBezTo>
                      <a:pt x="54" y="158"/>
                      <a:pt x="54" y="158"/>
                      <a:pt x="55" y="15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2" name="Freeform 972">
                <a:extLst>
                  <a:ext uri="{FF2B5EF4-FFF2-40B4-BE49-F238E27FC236}">
                    <a16:creationId xmlns:a16="http://schemas.microsoft.com/office/drawing/2014/main" id="{CD9EA4F2-9BF4-4349-9BAB-A09039F324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03298" y="6796379"/>
                <a:ext cx="146293" cy="109979"/>
              </a:xfrm>
              <a:custGeom>
                <a:avLst/>
                <a:gdLst>
                  <a:gd name="T0" fmla="*/ 45 w 60"/>
                  <a:gd name="T1" fmla="*/ 45 h 45"/>
                  <a:gd name="T2" fmla="*/ 44 w 60"/>
                  <a:gd name="T3" fmla="*/ 45 h 45"/>
                  <a:gd name="T4" fmla="*/ 1 w 60"/>
                  <a:gd name="T5" fmla="*/ 21 h 45"/>
                  <a:gd name="T6" fmla="*/ 0 w 60"/>
                  <a:gd name="T7" fmla="*/ 19 h 45"/>
                  <a:gd name="T8" fmla="*/ 1 w 60"/>
                  <a:gd name="T9" fmla="*/ 17 h 45"/>
                  <a:gd name="T10" fmla="*/ 30 w 60"/>
                  <a:gd name="T11" fmla="*/ 0 h 45"/>
                  <a:gd name="T12" fmla="*/ 32 w 60"/>
                  <a:gd name="T13" fmla="*/ 0 h 45"/>
                  <a:gd name="T14" fmla="*/ 59 w 60"/>
                  <a:gd name="T15" fmla="*/ 15 h 45"/>
                  <a:gd name="T16" fmla="*/ 60 w 60"/>
                  <a:gd name="T17" fmla="*/ 17 h 45"/>
                  <a:gd name="T18" fmla="*/ 59 w 60"/>
                  <a:gd name="T19" fmla="*/ 19 h 45"/>
                  <a:gd name="T20" fmla="*/ 47 w 60"/>
                  <a:gd name="T21" fmla="*/ 26 h 45"/>
                  <a:gd name="T22" fmla="*/ 47 w 60"/>
                  <a:gd name="T23" fmla="*/ 43 h 45"/>
                  <a:gd name="T24" fmla="*/ 46 w 60"/>
                  <a:gd name="T25" fmla="*/ 45 h 45"/>
                  <a:gd name="T26" fmla="*/ 45 w 60"/>
                  <a:gd name="T27" fmla="*/ 45 h 45"/>
                  <a:gd name="T28" fmla="*/ 6 w 60"/>
                  <a:gd name="T29" fmla="*/ 19 h 45"/>
                  <a:gd name="T30" fmla="*/ 43 w 60"/>
                  <a:gd name="T31" fmla="*/ 40 h 45"/>
                  <a:gd name="T32" fmla="*/ 43 w 60"/>
                  <a:gd name="T33" fmla="*/ 24 h 45"/>
                  <a:gd name="T34" fmla="*/ 44 w 60"/>
                  <a:gd name="T35" fmla="*/ 23 h 45"/>
                  <a:gd name="T36" fmla="*/ 54 w 60"/>
                  <a:gd name="T37" fmla="*/ 17 h 45"/>
                  <a:gd name="T38" fmla="*/ 31 w 60"/>
                  <a:gd name="T39" fmla="*/ 4 h 45"/>
                  <a:gd name="T40" fmla="*/ 6 w 60"/>
                  <a:gd name="T41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5">
                    <a:moveTo>
                      <a:pt x="45" y="45"/>
                    </a:moveTo>
                    <a:cubicBezTo>
                      <a:pt x="44" y="45"/>
                      <a:pt x="44" y="45"/>
                      <a:pt x="44" y="45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20"/>
                      <a:pt x="0" y="19"/>
                    </a:cubicBezTo>
                    <a:cubicBezTo>
                      <a:pt x="0" y="18"/>
                      <a:pt x="0" y="18"/>
                      <a:pt x="1" y="17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59" y="16"/>
                      <a:pt x="60" y="16"/>
                      <a:pt x="60" y="17"/>
                    </a:cubicBezTo>
                    <a:cubicBezTo>
                      <a:pt x="60" y="18"/>
                      <a:pt x="59" y="18"/>
                      <a:pt x="59" y="19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7" y="44"/>
                      <a:pt x="46" y="45"/>
                      <a:pt x="46" y="45"/>
                    </a:cubicBezTo>
                    <a:cubicBezTo>
                      <a:pt x="45" y="45"/>
                      <a:pt x="45" y="45"/>
                      <a:pt x="45" y="45"/>
                    </a:cubicBezTo>
                    <a:close/>
                    <a:moveTo>
                      <a:pt x="6" y="19"/>
                    </a:moveTo>
                    <a:cubicBezTo>
                      <a:pt x="43" y="40"/>
                      <a:pt x="43" y="40"/>
                      <a:pt x="43" y="4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4" y="23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31" y="4"/>
                      <a:pt x="31" y="4"/>
                      <a:pt x="31" y="4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3" name="Freeform 974">
                <a:extLst>
                  <a:ext uri="{FF2B5EF4-FFF2-40B4-BE49-F238E27FC236}">
                    <a16:creationId xmlns:a16="http://schemas.microsoft.com/office/drawing/2014/main" id="{4E2917E9-930D-4D24-A6D7-5267C1E8F5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31708" y="6746577"/>
                <a:ext cx="142143" cy="93379"/>
              </a:xfrm>
              <a:custGeom>
                <a:avLst/>
                <a:gdLst>
                  <a:gd name="T0" fmla="*/ 28 w 58"/>
                  <a:gd name="T1" fmla="*/ 38 h 38"/>
                  <a:gd name="T2" fmla="*/ 27 w 58"/>
                  <a:gd name="T3" fmla="*/ 38 h 38"/>
                  <a:gd name="T4" fmla="*/ 1 w 58"/>
                  <a:gd name="T5" fmla="*/ 23 h 38"/>
                  <a:gd name="T6" fmla="*/ 0 w 58"/>
                  <a:gd name="T7" fmla="*/ 21 h 38"/>
                  <a:gd name="T8" fmla="*/ 1 w 58"/>
                  <a:gd name="T9" fmla="*/ 19 h 38"/>
                  <a:gd name="T10" fmla="*/ 33 w 58"/>
                  <a:gd name="T11" fmla="*/ 1 h 38"/>
                  <a:gd name="T12" fmla="*/ 35 w 58"/>
                  <a:gd name="T13" fmla="*/ 1 h 38"/>
                  <a:gd name="T14" fmla="*/ 57 w 58"/>
                  <a:gd name="T15" fmla="*/ 13 h 38"/>
                  <a:gd name="T16" fmla="*/ 58 w 58"/>
                  <a:gd name="T17" fmla="*/ 15 h 38"/>
                  <a:gd name="T18" fmla="*/ 58 w 58"/>
                  <a:gd name="T19" fmla="*/ 20 h 38"/>
                  <a:gd name="T20" fmla="*/ 57 w 58"/>
                  <a:gd name="T21" fmla="*/ 21 h 38"/>
                  <a:gd name="T22" fmla="*/ 29 w 58"/>
                  <a:gd name="T23" fmla="*/ 38 h 38"/>
                  <a:gd name="T24" fmla="*/ 28 w 58"/>
                  <a:gd name="T25" fmla="*/ 38 h 38"/>
                  <a:gd name="T26" fmla="*/ 6 w 58"/>
                  <a:gd name="T27" fmla="*/ 21 h 38"/>
                  <a:gd name="T28" fmla="*/ 28 w 58"/>
                  <a:gd name="T29" fmla="*/ 34 h 38"/>
                  <a:gd name="T30" fmla="*/ 54 w 58"/>
                  <a:gd name="T31" fmla="*/ 19 h 38"/>
                  <a:gd name="T32" fmla="*/ 54 w 58"/>
                  <a:gd name="T33" fmla="*/ 16 h 38"/>
                  <a:gd name="T34" fmla="*/ 34 w 58"/>
                  <a:gd name="T35" fmla="*/ 5 h 38"/>
                  <a:gd name="T36" fmla="*/ 6 w 58"/>
                  <a:gd name="T37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8" h="38">
                    <a:moveTo>
                      <a:pt x="28" y="38"/>
                    </a:moveTo>
                    <a:cubicBezTo>
                      <a:pt x="28" y="38"/>
                      <a:pt x="27" y="38"/>
                      <a:pt x="27" y="38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20"/>
                      <a:pt x="1" y="19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4" y="0"/>
                      <a:pt x="35" y="0"/>
                      <a:pt x="35" y="1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8" y="14"/>
                      <a:pt x="58" y="14"/>
                      <a:pt x="58" y="15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8" y="20"/>
                      <a:pt x="58" y="21"/>
                      <a:pt x="57" y="21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9" y="38"/>
                      <a:pt x="29" y="38"/>
                      <a:pt x="28" y="38"/>
                    </a:cubicBezTo>
                    <a:close/>
                    <a:moveTo>
                      <a:pt x="6" y="21"/>
                    </a:moveTo>
                    <a:cubicBezTo>
                      <a:pt x="28" y="34"/>
                      <a:pt x="28" y="34"/>
                      <a:pt x="28" y="3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34" y="5"/>
                      <a:pt x="34" y="5"/>
                      <a:pt x="34" y="5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4" name="Freeform 975">
                <a:extLst>
                  <a:ext uri="{FF2B5EF4-FFF2-40B4-BE49-F238E27FC236}">
                    <a16:creationId xmlns:a16="http://schemas.microsoft.com/office/drawing/2014/main" id="{006AA7DC-777B-408C-9BF9-B1993EE114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380868" y="6960310"/>
                <a:ext cx="160819" cy="318525"/>
              </a:xfrm>
              <a:custGeom>
                <a:avLst/>
                <a:gdLst>
                  <a:gd name="T0" fmla="*/ 43 w 66"/>
                  <a:gd name="T1" fmla="*/ 130 h 130"/>
                  <a:gd name="T2" fmla="*/ 42 w 66"/>
                  <a:gd name="T3" fmla="*/ 130 h 130"/>
                  <a:gd name="T4" fmla="*/ 42 w 66"/>
                  <a:gd name="T5" fmla="*/ 129 h 130"/>
                  <a:gd name="T6" fmla="*/ 41 w 66"/>
                  <a:gd name="T7" fmla="*/ 128 h 130"/>
                  <a:gd name="T8" fmla="*/ 41 w 66"/>
                  <a:gd name="T9" fmla="*/ 74 h 130"/>
                  <a:gd name="T10" fmla="*/ 1 w 66"/>
                  <a:gd name="T11" fmla="*/ 51 h 130"/>
                  <a:gd name="T12" fmla="*/ 0 w 66"/>
                  <a:gd name="T13" fmla="*/ 49 h 130"/>
                  <a:gd name="T14" fmla="*/ 0 w 66"/>
                  <a:gd name="T15" fmla="*/ 34 h 130"/>
                  <a:gd name="T16" fmla="*/ 1 w 66"/>
                  <a:gd name="T17" fmla="*/ 33 h 130"/>
                  <a:gd name="T18" fmla="*/ 14 w 66"/>
                  <a:gd name="T19" fmla="*/ 25 h 130"/>
                  <a:gd name="T20" fmla="*/ 15 w 66"/>
                  <a:gd name="T21" fmla="*/ 25 h 130"/>
                  <a:gd name="T22" fmla="*/ 15 w 66"/>
                  <a:gd name="T23" fmla="*/ 24 h 130"/>
                  <a:gd name="T24" fmla="*/ 57 w 66"/>
                  <a:gd name="T25" fmla="*/ 0 h 130"/>
                  <a:gd name="T26" fmla="*/ 59 w 66"/>
                  <a:gd name="T27" fmla="*/ 0 h 130"/>
                  <a:gd name="T28" fmla="*/ 65 w 66"/>
                  <a:gd name="T29" fmla="*/ 4 h 130"/>
                  <a:gd name="T30" fmla="*/ 66 w 66"/>
                  <a:gd name="T31" fmla="*/ 5 h 130"/>
                  <a:gd name="T32" fmla="*/ 65 w 66"/>
                  <a:gd name="T33" fmla="*/ 7 h 130"/>
                  <a:gd name="T34" fmla="*/ 17 w 66"/>
                  <a:gd name="T35" fmla="*/ 35 h 130"/>
                  <a:gd name="T36" fmla="*/ 53 w 66"/>
                  <a:gd name="T37" fmla="*/ 56 h 130"/>
                  <a:gd name="T38" fmla="*/ 54 w 66"/>
                  <a:gd name="T39" fmla="*/ 58 h 130"/>
                  <a:gd name="T40" fmla="*/ 53 w 66"/>
                  <a:gd name="T41" fmla="*/ 59 h 130"/>
                  <a:gd name="T42" fmla="*/ 45 w 66"/>
                  <a:gd name="T43" fmla="*/ 64 h 130"/>
                  <a:gd name="T44" fmla="*/ 45 w 66"/>
                  <a:gd name="T45" fmla="*/ 128 h 130"/>
                  <a:gd name="T46" fmla="*/ 44 w 66"/>
                  <a:gd name="T47" fmla="*/ 130 h 130"/>
                  <a:gd name="T48" fmla="*/ 43 w 66"/>
                  <a:gd name="T49" fmla="*/ 130 h 130"/>
                  <a:gd name="T50" fmla="*/ 4 w 66"/>
                  <a:gd name="T51" fmla="*/ 48 h 130"/>
                  <a:gd name="T52" fmla="*/ 41 w 66"/>
                  <a:gd name="T53" fmla="*/ 69 h 130"/>
                  <a:gd name="T54" fmla="*/ 41 w 66"/>
                  <a:gd name="T55" fmla="*/ 62 h 130"/>
                  <a:gd name="T56" fmla="*/ 42 w 66"/>
                  <a:gd name="T57" fmla="*/ 61 h 130"/>
                  <a:gd name="T58" fmla="*/ 48 w 66"/>
                  <a:gd name="T59" fmla="*/ 58 h 130"/>
                  <a:gd name="T60" fmla="*/ 12 w 66"/>
                  <a:gd name="T61" fmla="*/ 37 h 130"/>
                  <a:gd name="T62" fmla="*/ 11 w 66"/>
                  <a:gd name="T63" fmla="*/ 35 h 130"/>
                  <a:gd name="T64" fmla="*/ 12 w 66"/>
                  <a:gd name="T65" fmla="*/ 33 h 130"/>
                  <a:gd name="T66" fmla="*/ 60 w 66"/>
                  <a:gd name="T67" fmla="*/ 5 h 130"/>
                  <a:gd name="T68" fmla="*/ 58 w 66"/>
                  <a:gd name="T69" fmla="*/ 4 h 130"/>
                  <a:gd name="T70" fmla="*/ 18 w 66"/>
                  <a:gd name="T71" fmla="*/ 27 h 130"/>
                  <a:gd name="T72" fmla="*/ 18 w 66"/>
                  <a:gd name="T73" fmla="*/ 28 h 130"/>
                  <a:gd name="T74" fmla="*/ 17 w 66"/>
                  <a:gd name="T75" fmla="*/ 30 h 130"/>
                  <a:gd name="T76" fmla="*/ 15 w 66"/>
                  <a:gd name="T77" fmla="*/ 30 h 130"/>
                  <a:gd name="T78" fmla="*/ 15 w 66"/>
                  <a:gd name="T79" fmla="*/ 29 h 130"/>
                  <a:gd name="T80" fmla="*/ 4 w 66"/>
                  <a:gd name="T81" fmla="*/ 35 h 130"/>
                  <a:gd name="T82" fmla="*/ 4 w 66"/>
                  <a:gd name="T83" fmla="*/ 4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130">
                    <a:moveTo>
                      <a:pt x="43" y="130"/>
                    </a:moveTo>
                    <a:cubicBezTo>
                      <a:pt x="43" y="130"/>
                      <a:pt x="43" y="130"/>
                      <a:pt x="42" y="130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1" y="129"/>
                      <a:pt x="41" y="128"/>
                      <a:pt x="41" y="128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4"/>
                      <a:pt x="1" y="33"/>
                      <a:pt x="1" y="33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5"/>
                      <a:pt x="14" y="25"/>
                      <a:pt x="15" y="25"/>
                    </a:cubicBezTo>
                    <a:cubicBezTo>
                      <a:pt x="15" y="25"/>
                      <a:pt x="15" y="24"/>
                      <a:pt x="15" y="24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8" y="0"/>
                      <a:pt x="59" y="0"/>
                      <a:pt x="59" y="0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6" y="4"/>
                      <a:pt x="66" y="5"/>
                      <a:pt x="66" y="5"/>
                    </a:cubicBezTo>
                    <a:cubicBezTo>
                      <a:pt x="66" y="6"/>
                      <a:pt x="66" y="7"/>
                      <a:pt x="65" y="7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53" y="56"/>
                      <a:pt x="54" y="57"/>
                      <a:pt x="54" y="58"/>
                    </a:cubicBezTo>
                    <a:cubicBezTo>
                      <a:pt x="54" y="58"/>
                      <a:pt x="53" y="59"/>
                      <a:pt x="53" y="59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5" y="129"/>
                      <a:pt x="45" y="129"/>
                      <a:pt x="44" y="130"/>
                    </a:cubicBezTo>
                    <a:cubicBezTo>
                      <a:pt x="44" y="130"/>
                      <a:pt x="44" y="130"/>
                      <a:pt x="43" y="130"/>
                    </a:cubicBezTo>
                    <a:close/>
                    <a:moveTo>
                      <a:pt x="4" y="48"/>
                    </a:moveTo>
                    <a:cubicBezTo>
                      <a:pt x="41" y="69"/>
                      <a:pt x="41" y="69"/>
                      <a:pt x="41" y="69"/>
                    </a:cubicBezTo>
                    <a:cubicBezTo>
                      <a:pt x="41" y="62"/>
                      <a:pt x="41" y="62"/>
                      <a:pt x="41" y="62"/>
                    </a:cubicBezTo>
                    <a:cubicBezTo>
                      <a:pt x="41" y="62"/>
                      <a:pt x="42" y="61"/>
                      <a:pt x="42" y="61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1" y="36"/>
                      <a:pt x="11" y="36"/>
                      <a:pt x="11" y="35"/>
                    </a:cubicBezTo>
                    <a:cubicBezTo>
                      <a:pt x="11" y="34"/>
                      <a:pt x="11" y="34"/>
                      <a:pt x="12" y="33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18" y="29"/>
                      <a:pt x="18" y="29"/>
                      <a:pt x="17" y="30"/>
                    </a:cubicBezTo>
                    <a:cubicBezTo>
                      <a:pt x="17" y="30"/>
                      <a:pt x="16" y="30"/>
                      <a:pt x="15" y="30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4" y="35"/>
                      <a:pt x="4" y="35"/>
                      <a:pt x="4" y="35"/>
                    </a:cubicBezTo>
                    <a:lnTo>
                      <a:pt x="4" y="4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5" name="Freeform 981">
                <a:extLst>
                  <a:ext uri="{FF2B5EF4-FFF2-40B4-BE49-F238E27FC236}">
                    <a16:creationId xmlns:a16="http://schemas.microsoft.com/office/drawing/2014/main" id="{A6293415-FDBA-44DF-88F4-A169FE6E1F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985565" y="6857593"/>
                <a:ext cx="301925" cy="489719"/>
              </a:xfrm>
              <a:custGeom>
                <a:avLst/>
                <a:gdLst>
                  <a:gd name="T0" fmla="*/ 121 w 123"/>
                  <a:gd name="T1" fmla="*/ 200 h 200"/>
                  <a:gd name="T2" fmla="*/ 120 w 123"/>
                  <a:gd name="T3" fmla="*/ 200 h 200"/>
                  <a:gd name="T4" fmla="*/ 44 w 123"/>
                  <a:gd name="T5" fmla="*/ 156 h 200"/>
                  <a:gd name="T6" fmla="*/ 36 w 123"/>
                  <a:gd name="T7" fmla="*/ 160 h 200"/>
                  <a:gd name="T8" fmla="*/ 34 w 123"/>
                  <a:gd name="T9" fmla="*/ 160 h 200"/>
                  <a:gd name="T10" fmla="*/ 1 w 123"/>
                  <a:gd name="T11" fmla="*/ 141 h 200"/>
                  <a:gd name="T12" fmla="*/ 0 w 123"/>
                  <a:gd name="T13" fmla="*/ 139 h 200"/>
                  <a:gd name="T14" fmla="*/ 0 w 123"/>
                  <a:gd name="T15" fmla="*/ 103 h 200"/>
                  <a:gd name="T16" fmla="*/ 1 w 123"/>
                  <a:gd name="T17" fmla="*/ 101 h 200"/>
                  <a:gd name="T18" fmla="*/ 42 w 123"/>
                  <a:gd name="T19" fmla="*/ 77 h 200"/>
                  <a:gd name="T20" fmla="*/ 1 w 123"/>
                  <a:gd name="T21" fmla="*/ 53 h 200"/>
                  <a:gd name="T22" fmla="*/ 0 w 123"/>
                  <a:gd name="T23" fmla="*/ 52 h 200"/>
                  <a:gd name="T24" fmla="*/ 0 w 123"/>
                  <a:gd name="T25" fmla="*/ 6 h 200"/>
                  <a:gd name="T26" fmla="*/ 0 w 123"/>
                  <a:gd name="T27" fmla="*/ 4 h 200"/>
                  <a:gd name="T28" fmla="*/ 0 w 123"/>
                  <a:gd name="T29" fmla="*/ 2 h 200"/>
                  <a:gd name="T30" fmla="*/ 1 w 123"/>
                  <a:gd name="T31" fmla="*/ 0 h 200"/>
                  <a:gd name="T32" fmla="*/ 3 w 123"/>
                  <a:gd name="T33" fmla="*/ 0 h 200"/>
                  <a:gd name="T34" fmla="*/ 122 w 123"/>
                  <a:gd name="T35" fmla="*/ 69 h 200"/>
                  <a:gd name="T36" fmla="*/ 123 w 123"/>
                  <a:gd name="T37" fmla="*/ 70 h 200"/>
                  <a:gd name="T38" fmla="*/ 123 w 123"/>
                  <a:gd name="T39" fmla="*/ 198 h 200"/>
                  <a:gd name="T40" fmla="*/ 122 w 123"/>
                  <a:gd name="T41" fmla="*/ 200 h 200"/>
                  <a:gd name="T42" fmla="*/ 121 w 123"/>
                  <a:gd name="T43" fmla="*/ 200 h 200"/>
                  <a:gd name="T44" fmla="*/ 44 w 123"/>
                  <a:gd name="T45" fmla="*/ 151 h 200"/>
                  <a:gd name="T46" fmla="*/ 45 w 123"/>
                  <a:gd name="T47" fmla="*/ 152 h 200"/>
                  <a:gd name="T48" fmla="*/ 119 w 123"/>
                  <a:gd name="T49" fmla="*/ 194 h 200"/>
                  <a:gd name="T50" fmla="*/ 119 w 123"/>
                  <a:gd name="T51" fmla="*/ 72 h 200"/>
                  <a:gd name="T52" fmla="*/ 4 w 123"/>
                  <a:gd name="T53" fmla="*/ 5 h 200"/>
                  <a:gd name="T54" fmla="*/ 4 w 123"/>
                  <a:gd name="T55" fmla="*/ 6 h 200"/>
                  <a:gd name="T56" fmla="*/ 4 w 123"/>
                  <a:gd name="T57" fmla="*/ 8 h 200"/>
                  <a:gd name="T58" fmla="*/ 4 w 123"/>
                  <a:gd name="T59" fmla="*/ 50 h 200"/>
                  <a:gd name="T60" fmla="*/ 47 w 123"/>
                  <a:gd name="T61" fmla="*/ 75 h 200"/>
                  <a:gd name="T62" fmla="*/ 48 w 123"/>
                  <a:gd name="T63" fmla="*/ 77 h 200"/>
                  <a:gd name="T64" fmla="*/ 47 w 123"/>
                  <a:gd name="T65" fmla="*/ 79 h 200"/>
                  <a:gd name="T66" fmla="*/ 4 w 123"/>
                  <a:gd name="T67" fmla="*/ 104 h 200"/>
                  <a:gd name="T68" fmla="*/ 4 w 123"/>
                  <a:gd name="T69" fmla="*/ 138 h 200"/>
                  <a:gd name="T70" fmla="*/ 35 w 123"/>
                  <a:gd name="T71" fmla="*/ 156 h 200"/>
                  <a:gd name="T72" fmla="*/ 43 w 123"/>
                  <a:gd name="T73" fmla="*/ 152 h 200"/>
                  <a:gd name="T74" fmla="*/ 44 w 123"/>
                  <a:gd name="T75" fmla="*/ 15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3" h="200">
                    <a:moveTo>
                      <a:pt x="121" y="200"/>
                    </a:moveTo>
                    <a:cubicBezTo>
                      <a:pt x="121" y="200"/>
                      <a:pt x="121" y="200"/>
                      <a:pt x="120" y="200"/>
                    </a:cubicBezTo>
                    <a:cubicBezTo>
                      <a:pt x="44" y="156"/>
                      <a:pt x="44" y="156"/>
                      <a:pt x="44" y="156"/>
                    </a:cubicBezTo>
                    <a:cubicBezTo>
                      <a:pt x="36" y="160"/>
                      <a:pt x="36" y="160"/>
                      <a:pt x="36" y="160"/>
                    </a:cubicBezTo>
                    <a:cubicBezTo>
                      <a:pt x="35" y="161"/>
                      <a:pt x="34" y="161"/>
                      <a:pt x="34" y="160"/>
                    </a:cubicBezTo>
                    <a:cubicBezTo>
                      <a:pt x="1" y="141"/>
                      <a:pt x="1" y="141"/>
                      <a:pt x="1" y="141"/>
                    </a:cubicBezTo>
                    <a:cubicBezTo>
                      <a:pt x="0" y="141"/>
                      <a:pt x="0" y="140"/>
                      <a:pt x="0" y="139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102"/>
                      <a:pt x="0" y="101"/>
                      <a:pt x="1" y="101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3"/>
                      <a:pt x="0" y="52"/>
                      <a:pt x="0" y="5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23" y="69"/>
                      <a:pt x="123" y="70"/>
                      <a:pt x="123" y="70"/>
                    </a:cubicBezTo>
                    <a:cubicBezTo>
                      <a:pt x="123" y="198"/>
                      <a:pt x="123" y="198"/>
                      <a:pt x="123" y="198"/>
                    </a:cubicBezTo>
                    <a:cubicBezTo>
                      <a:pt x="123" y="199"/>
                      <a:pt x="123" y="199"/>
                      <a:pt x="122" y="200"/>
                    </a:cubicBezTo>
                    <a:cubicBezTo>
                      <a:pt x="122" y="200"/>
                      <a:pt x="122" y="200"/>
                      <a:pt x="121" y="200"/>
                    </a:cubicBezTo>
                    <a:close/>
                    <a:moveTo>
                      <a:pt x="44" y="151"/>
                    </a:moveTo>
                    <a:cubicBezTo>
                      <a:pt x="44" y="151"/>
                      <a:pt x="45" y="151"/>
                      <a:pt x="45" y="152"/>
                    </a:cubicBezTo>
                    <a:cubicBezTo>
                      <a:pt x="119" y="194"/>
                      <a:pt x="119" y="194"/>
                      <a:pt x="119" y="194"/>
                    </a:cubicBezTo>
                    <a:cubicBezTo>
                      <a:pt x="119" y="72"/>
                      <a:pt x="119" y="72"/>
                      <a:pt x="119" y="7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7" y="76"/>
                      <a:pt x="48" y="76"/>
                      <a:pt x="48" y="77"/>
                    </a:cubicBezTo>
                    <a:cubicBezTo>
                      <a:pt x="48" y="78"/>
                      <a:pt x="47" y="78"/>
                      <a:pt x="47" y="7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35" y="156"/>
                      <a:pt x="35" y="156"/>
                      <a:pt x="35" y="156"/>
                    </a:cubicBezTo>
                    <a:cubicBezTo>
                      <a:pt x="43" y="152"/>
                      <a:pt x="43" y="152"/>
                      <a:pt x="43" y="152"/>
                    </a:cubicBezTo>
                    <a:cubicBezTo>
                      <a:pt x="43" y="151"/>
                      <a:pt x="44" y="151"/>
                      <a:pt x="44" y="15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6" name="Freeform 984">
                <a:extLst>
                  <a:ext uri="{FF2B5EF4-FFF2-40B4-BE49-F238E27FC236}">
                    <a16:creationId xmlns:a16="http://schemas.microsoft.com/office/drawing/2014/main" id="{036C6D7D-D4B1-4BEF-8B7C-38E32EED8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82737" y="6073214"/>
                <a:ext cx="292587" cy="198170"/>
              </a:xfrm>
              <a:custGeom>
                <a:avLst/>
                <a:gdLst>
                  <a:gd name="T0" fmla="*/ 54 w 119"/>
                  <a:gd name="T1" fmla="*/ 81 h 81"/>
                  <a:gd name="T2" fmla="*/ 53 w 119"/>
                  <a:gd name="T3" fmla="*/ 81 h 81"/>
                  <a:gd name="T4" fmla="*/ 44 w 119"/>
                  <a:gd name="T5" fmla="*/ 76 h 81"/>
                  <a:gd name="T6" fmla="*/ 43 w 119"/>
                  <a:gd name="T7" fmla="*/ 74 h 81"/>
                  <a:gd name="T8" fmla="*/ 43 w 119"/>
                  <a:gd name="T9" fmla="*/ 56 h 81"/>
                  <a:gd name="T10" fmla="*/ 28 w 119"/>
                  <a:gd name="T11" fmla="*/ 65 h 81"/>
                  <a:gd name="T12" fmla="*/ 26 w 119"/>
                  <a:gd name="T13" fmla="*/ 65 h 81"/>
                  <a:gd name="T14" fmla="*/ 1 w 119"/>
                  <a:gd name="T15" fmla="*/ 51 h 81"/>
                  <a:gd name="T16" fmla="*/ 0 w 119"/>
                  <a:gd name="T17" fmla="*/ 49 h 81"/>
                  <a:gd name="T18" fmla="*/ 0 w 119"/>
                  <a:gd name="T19" fmla="*/ 43 h 81"/>
                  <a:gd name="T20" fmla="*/ 1 w 119"/>
                  <a:gd name="T21" fmla="*/ 41 h 81"/>
                  <a:gd name="T22" fmla="*/ 72 w 119"/>
                  <a:gd name="T23" fmla="*/ 0 h 81"/>
                  <a:gd name="T24" fmla="*/ 74 w 119"/>
                  <a:gd name="T25" fmla="*/ 0 h 81"/>
                  <a:gd name="T26" fmla="*/ 101 w 119"/>
                  <a:gd name="T27" fmla="*/ 16 h 81"/>
                  <a:gd name="T28" fmla="*/ 102 w 119"/>
                  <a:gd name="T29" fmla="*/ 18 h 81"/>
                  <a:gd name="T30" fmla="*/ 102 w 119"/>
                  <a:gd name="T31" fmla="*/ 31 h 81"/>
                  <a:gd name="T32" fmla="*/ 118 w 119"/>
                  <a:gd name="T33" fmla="*/ 40 h 81"/>
                  <a:gd name="T34" fmla="*/ 119 w 119"/>
                  <a:gd name="T35" fmla="*/ 42 h 81"/>
                  <a:gd name="T36" fmla="*/ 118 w 119"/>
                  <a:gd name="T37" fmla="*/ 44 h 81"/>
                  <a:gd name="T38" fmla="*/ 86 w 119"/>
                  <a:gd name="T39" fmla="*/ 63 h 81"/>
                  <a:gd name="T40" fmla="*/ 84 w 119"/>
                  <a:gd name="T41" fmla="*/ 63 h 81"/>
                  <a:gd name="T42" fmla="*/ 58 w 119"/>
                  <a:gd name="T43" fmla="*/ 48 h 81"/>
                  <a:gd name="T44" fmla="*/ 58 w 119"/>
                  <a:gd name="T45" fmla="*/ 78 h 81"/>
                  <a:gd name="T46" fmla="*/ 57 w 119"/>
                  <a:gd name="T47" fmla="*/ 79 h 81"/>
                  <a:gd name="T48" fmla="*/ 55 w 119"/>
                  <a:gd name="T49" fmla="*/ 81 h 81"/>
                  <a:gd name="T50" fmla="*/ 54 w 119"/>
                  <a:gd name="T51" fmla="*/ 81 h 81"/>
                  <a:gd name="T52" fmla="*/ 47 w 119"/>
                  <a:gd name="T53" fmla="*/ 73 h 81"/>
                  <a:gd name="T54" fmla="*/ 54 w 119"/>
                  <a:gd name="T55" fmla="*/ 76 h 81"/>
                  <a:gd name="T56" fmla="*/ 54 w 119"/>
                  <a:gd name="T57" fmla="*/ 76 h 81"/>
                  <a:gd name="T58" fmla="*/ 54 w 119"/>
                  <a:gd name="T59" fmla="*/ 44 h 81"/>
                  <a:gd name="T60" fmla="*/ 55 w 119"/>
                  <a:gd name="T61" fmla="*/ 43 h 81"/>
                  <a:gd name="T62" fmla="*/ 57 w 119"/>
                  <a:gd name="T63" fmla="*/ 43 h 81"/>
                  <a:gd name="T64" fmla="*/ 85 w 119"/>
                  <a:gd name="T65" fmla="*/ 59 h 81"/>
                  <a:gd name="T66" fmla="*/ 113 w 119"/>
                  <a:gd name="T67" fmla="*/ 42 h 81"/>
                  <a:gd name="T68" fmla="*/ 99 w 119"/>
                  <a:gd name="T69" fmla="*/ 34 h 81"/>
                  <a:gd name="T70" fmla="*/ 98 w 119"/>
                  <a:gd name="T71" fmla="*/ 32 h 81"/>
                  <a:gd name="T72" fmla="*/ 98 w 119"/>
                  <a:gd name="T73" fmla="*/ 19 h 81"/>
                  <a:gd name="T74" fmla="*/ 73 w 119"/>
                  <a:gd name="T75" fmla="*/ 5 h 81"/>
                  <a:gd name="T76" fmla="*/ 4 w 119"/>
                  <a:gd name="T77" fmla="*/ 44 h 81"/>
                  <a:gd name="T78" fmla="*/ 4 w 119"/>
                  <a:gd name="T79" fmla="*/ 48 h 81"/>
                  <a:gd name="T80" fmla="*/ 27 w 119"/>
                  <a:gd name="T81" fmla="*/ 61 h 81"/>
                  <a:gd name="T82" fmla="*/ 44 w 119"/>
                  <a:gd name="T83" fmla="*/ 51 h 81"/>
                  <a:gd name="T84" fmla="*/ 46 w 119"/>
                  <a:gd name="T85" fmla="*/ 51 h 81"/>
                  <a:gd name="T86" fmla="*/ 47 w 119"/>
                  <a:gd name="T87" fmla="*/ 53 h 81"/>
                  <a:gd name="T88" fmla="*/ 47 w 119"/>
                  <a:gd name="T89" fmla="*/ 7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81">
                    <a:moveTo>
                      <a:pt x="54" y="81"/>
                    </a:moveTo>
                    <a:cubicBezTo>
                      <a:pt x="54" y="81"/>
                      <a:pt x="53" y="81"/>
                      <a:pt x="53" y="81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4" y="75"/>
                      <a:pt x="43" y="75"/>
                      <a:pt x="43" y="74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7" y="65"/>
                      <a:pt x="26" y="65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3" y="0"/>
                      <a:pt x="74" y="0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1" y="16"/>
                      <a:pt x="102" y="17"/>
                      <a:pt x="102" y="18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2"/>
                    </a:cubicBezTo>
                    <a:cubicBezTo>
                      <a:pt x="119" y="43"/>
                      <a:pt x="119" y="44"/>
                      <a:pt x="118" y="44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5" y="63"/>
                      <a:pt x="85" y="63"/>
                      <a:pt x="84" y="63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78"/>
                      <a:pt x="58" y="79"/>
                      <a:pt x="57" y="79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5" y="81"/>
                      <a:pt x="54" y="81"/>
                      <a:pt x="54" y="81"/>
                    </a:cubicBezTo>
                    <a:close/>
                    <a:moveTo>
                      <a:pt x="47" y="73"/>
                    </a:move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4"/>
                      <a:pt x="54" y="43"/>
                      <a:pt x="55" y="43"/>
                    </a:cubicBezTo>
                    <a:cubicBezTo>
                      <a:pt x="56" y="42"/>
                      <a:pt x="56" y="42"/>
                      <a:pt x="57" y="43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99" y="34"/>
                      <a:pt x="99" y="34"/>
                      <a:pt x="99" y="34"/>
                    </a:cubicBezTo>
                    <a:cubicBezTo>
                      <a:pt x="98" y="33"/>
                      <a:pt x="98" y="33"/>
                      <a:pt x="98" y="32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27" y="61"/>
                      <a:pt x="27" y="61"/>
                      <a:pt x="27" y="6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5" y="51"/>
                      <a:pt x="46" y="51"/>
                      <a:pt x="46" y="51"/>
                    </a:cubicBezTo>
                    <a:cubicBezTo>
                      <a:pt x="47" y="52"/>
                      <a:pt x="47" y="52"/>
                      <a:pt x="47" y="53"/>
                    </a:cubicBezTo>
                    <a:lnTo>
                      <a:pt x="47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7" name="Freeform 985">
                <a:extLst>
                  <a:ext uri="{FF2B5EF4-FFF2-40B4-BE49-F238E27FC236}">
                    <a16:creationId xmlns:a16="http://schemas.microsoft.com/office/drawing/2014/main" id="{5259DF11-F3B1-449B-ABE3-AB2D318EDA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25276" y="5857405"/>
                <a:ext cx="250048" cy="320600"/>
              </a:xfrm>
              <a:custGeom>
                <a:avLst/>
                <a:gdLst>
                  <a:gd name="T0" fmla="*/ 2 w 102"/>
                  <a:gd name="T1" fmla="*/ 131 h 131"/>
                  <a:gd name="T2" fmla="*/ 1 w 102"/>
                  <a:gd name="T3" fmla="*/ 131 h 131"/>
                  <a:gd name="T4" fmla="*/ 0 w 102"/>
                  <a:gd name="T5" fmla="*/ 129 h 131"/>
                  <a:gd name="T6" fmla="*/ 0 w 102"/>
                  <a:gd name="T7" fmla="*/ 58 h 131"/>
                  <a:gd name="T8" fmla="*/ 1 w 102"/>
                  <a:gd name="T9" fmla="*/ 57 h 131"/>
                  <a:gd name="T10" fmla="*/ 99 w 102"/>
                  <a:gd name="T11" fmla="*/ 1 h 131"/>
                  <a:gd name="T12" fmla="*/ 101 w 102"/>
                  <a:gd name="T13" fmla="*/ 1 h 131"/>
                  <a:gd name="T14" fmla="*/ 102 w 102"/>
                  <a:gd name="T15" fmla="*/ 2 h 131"/>
                  <a:gd name="T16" fmla="*/ 102 w 102"/>
                  <a:gd name="T17" fmla="*/ 104 h 131"/>
                  <a:gd name="T18" fmla="*/ 101 w 102"/>
                  <a:gd name="T19" fmla="*/ 106 h 131"/>
                  <a:gd name="T20" fmla="*/ 99 w 102"/>
                  <a:gd name="T21" fmla="*/ 106 h 131"/>
                  <a:gd name="T22" fmla="*/ 73 w 102"/>
                  <a:gd name="T23" fmla="*/ 91 h 131"/>
                  <a:gd name="T24" fmla="*/ 3 w 102"/>
                  <a:gd name="T25" fmla="*/ 131 h 131"/>
                  <a:gd name="T26" fmla="*/ 2 w 102"/>
                  <a:gd name="T27" fmla="*/ 131 h 131"/>
                  <a:gd name="T28" fmla="*/ 4 w 102"/>
                  <a:gd name="T29" fmla="*/ 60 h 131"/>
                  <a:gd name="T30" fmla="*/ 4 w 102"/>
                  <a:gd name="T31" fmla="*/ 125 h 131"/>
                  <a:gd name="T32" fmla="*/ 72 w 102"/>
                  <a:gd name="T33" fmla="*/ 87 h 131"/>
                  <a:gd name="T34" fmla="*/ 74 w 102"/>
                  <a:gd name="T35" fmla="*/ 87 h 131"/>
                  <a:gd name="T36" fmla="*/ 98 w 102"/>
                  <a:gd name="T37" fmla="*/ 100 h 131"/>
                  <a:gd name="T38" fmla="*/ 98 w 102"/>
                  <a:gd name="T39" fmla="*/ 6 h 131"/>
                  <a:gd name="T40" fmla="*/ 4 w 102"/>
                  <a:gd name="T41" fmla="*/ 6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31">
                    <a:moveTo>
                      <a:pt x="2" y="131"/>
                    </a:moveTo>
                    <a:cubicBezTo>
                      <a:pt x="2" y="131"/>
                      <a:pt x="2" y="131"/>
                      <a:pt x="1" y="131"/>
                    </a:cubicBezTo>
                    <a:cubicBezTo>
                      <a:pt x="1" y="130"/>
                      <a:pt x="0" y="130"/>
                      <a:pt x="0" y="129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1" y="57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5"/>
                      <a:pt x="101" y="105"/>
                      <a:pt x="101" y="106"/>
                    </a:cubicBezTo>
                    <a:cubicBezTo>
                      <a:pt x="100" y="106"/>
                      <a:pt x="99" y="106"/>
                      <a:pt x="99" y="106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" y="131"/>
                      <a:pt x="3" y="131"/>
                      <a:pt x="2" y="131"/>
                    </a:cubicBezTo>
                    <a:close/>
                    <a:moveTo>
                      <a:pt x="4" y="60"/>
                    </a:moveTo>
                    <a:cubicBezTo>
                      <a:pt x="4" y="125"/>
                      <a:pt x="4" y="125"/>
                      <a:pt x="4" y="125"/>
                    </a:cubicBezTo>
                    <a:cubicBezTo>
                      <a:pt x="72" y="87"/>
                      <a:pt x="72" y="87"/>
                      <a:pt x="72" y="87"/>
                    </a:cubicBezTo>
                    <a:cubicBezTo>
                      <a:pt x="72" y="86"/>
                      <a:pt x="73" y="86"/>
                      <a:pt x="74" y="87"/>
                    </a:cubicBezTo>
                    <a:cubicBezTo>
                      <a:pt x="98" y="100"/>
                      <a:pt x="98" y="100"/>
                      <a:pt x="98" y="100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8" name="Freeform 986">
                <a:extLst>
                  <a:ext uri="{FF2B5EF4-FFF2-40B4-BE49-F238E27FC236}">
                    <a16:creationId xmlns:a16="http://schemas.microsoft.com/office/drawing/2014/main" id="{6A0F91DA-75B9-4B5C-A417-74B4ADE6B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05809" y="6193568"/>
                <a:ext cx="69515" cy="75740"/>
              </a:xfrm>
              <a:custGeom>
                <a:avLst/>
                <a:gdLst>
                  <a:gd name="T0" fmla="*/ 2 w 28"/>
                  <a:gd name="T1" fmla="*/ 31 h 31"/>
                  <a:gd name="T2" fmla="*/ 1 w 28"/>
                  <a:gd name="T3" fmla="*/ 30 h 31"/>
                  <a:gd name="T4" fmla="*/ 0 w 28"/>
                  <a:gd name="T5" fmla="*/ 29 h 31"/>
                  <a:gd name="T6" fmla="*/ 0 w 28"/>
                  <a:gd name="T7" fmla="*/ 2 h 31"/>
                  <a:gd name="T8" fmla="*/ 1 w 28"/>
                  <a:gd name="T9" fmla="*/ 0 h 31"/>
                  <a:gd name="T10" fmla="*/ 3 w 28"/>
                  <a:gd name="T11" fmla="*/ 0 h 31"/>
                  <a:gd name="T12" fmla="*/ 27 w 28"/>
                  <a:gd name="T13" fmla="*/ 14 h 31"/>
                  <a:gd name="T14" fmla="*/ 28 w 28"/>
                  <a:gd name="T15" fmla="*/ 15 h 31"/>
                  <a:gd name="T16" fmla="*/ 27 w 28"/>
                  <a:gd name="T17" fmla="*/ 17 h 31"/>
                  <a:gd name="T18" fmla="*/ 3 w 28"/>
                  <a:gd name="T19" fmla="*/ 30 h 31"/>
                  <a:gd name="T20" fmla="*/ 2 w 28"/>
                  <a:gd name="T21" fmla="*/ 31 h 31"/>
                  <a:gd name="T22" fmla="*/ 4 w 28"/>
                  <a:gd name="T23" fmla="*/ 5 h 31"/>
                  <a:gd name="T24" fmla="*/ 4 w 28"/>
                  <a:gd name="T25" fmla="*/ 25 h 31"/>
                  <a:gd name="T26" fmla="*/ 22 w 28"/>
                  <a:gd name="T27" fmla="*/ 15 h 31"/>
                  <a:gd name="T28" fmla="*/ 4 w 28"/>
                  <a:gd name="T2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1">
                    <a:moveTo>
                      <a:pt x="2" y="31"/>
                    </a:moveTo>
                    <a:cubicBezTo>
                      <a:pt x="2" y="31"/>
                      <a:pt x="2" y="31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4"/>
                      <a:pt x="28" y="15"/>
                      <a:pt x="28" y="15"/>
                    </a:cubicBezTo>
                    <a:cubicBezTo>
                      <a:pt x="28" y="16"/>
                      <a:pt x="27" y="17"/>
                      <a:pt x="27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1"/>
                      <a:pt x="3" y="31"/>
                      <a:pt x="2" y="31"/>
                    </a:cubicBezTo>
                    <a:close/>
                    <a:moveTo>
                      <a:pt x="4" y="5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2" y="15"/>
                      <a:pt x="22" y="15"/>
                      <a:pt x="22" y="15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9" name="Freeform 987">
                <a:extLst>
                  <a:ext uri="{FF2B5EF4-FFF2-40B4-BE49-F238E27FC236}">
                    <a16:creationId xmlns:a16="http://schemas.microsoft.com/office/drawing/2014/main" id="{0A3E7EA7-7E91-487B-AF19-65BDD1931E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68212" y="5788928"/>
                <a:ext cx="64328" cy="70553"/>
              </a:xfrm>
              <a:custGeom>
                <a:avLst/>
                <a:gdLst>
                  <a:gd name="T0" fmla="*/ 2 w 26"/>
                  <a:gd name="T1" fmla="*/ 29 h 29"/>
                  <a:gd name="T2" fmla="*/ 1 w 26"/>
                  <a:gd name="T3" fmla="*/ 29 h 29"/>
                  <a:gd name="T4" fmla="*/ 0 w 26"/>
                  <a:gd name="T5" fmla="*/ 27 h 29"/>
                  <a:gd name="T6" fmla="*/ 0 w 26"/>
                  <a:gd name="T7" fmla="*/ 2 h 29"/>
                  <a:gd name="T8" fmla="*/ 1 w 26"/>
                  <a:gd name="T9" fmla="*/ 1 h 29"/>
                  <a:gd name="T10" fmla="*/ 3 w 26"/>
                  <a:gd name="T11" fmla="*/ 1 h 29"/>
                  <a:gd name="T12" fmla="*/ 25 w 26"/>
                  <a:gd name="T13" fmla="*/ 13 h 29"/>
                  <a:gd name="T14" fmla="*/ 26 w 26"/>
                  <a:gd name="T15" fmla="*/ 15 h 29"/>
                  <a:gd name="T16" fmla="*/ 25 w 26"/>
                  <a:gd name="T17" fmla="*/ 17 h 29"/>
                  <a:gd name="T18" fmla="*/ 3 w 26"/>
                  <a:gd name="T19" fmla="*/ 29 h 29"/>
                  <a:gd name="T20" fmla="*/ 2 w 26"/>
                  <a:gd name="T21" fmla="*/ 29 h 29"/>
                  <a:gd name="T22" fmla="*/ 4 w 26"/>
                  <a:gd name="T23" fmla="*/ 6 h 29"/>
                  <a:gd name="T24" fmla="*/ 4 w 26"/>
                  <a:gd name="T25" fmla="*/ 24 h 29"/>
                  <a:gd name="T26" fmla="*/ 20 w 26"/>
                  <a:gd name="T27" fmla="*/ 15 h 29"/>
                  <a:gd name="T28" fmla="*/ 4 w 26"/>
                  <a:gd name="T29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" y="29"/>
                    </a:moveTo>
                    <a:cubicBezTo>
                      <a:pt x="2" y="29"/>
                      <a:pt x="2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3"/>
                      <a:pt x="26" y="14"/>
                      <a:pt x="26" y="15"/>
                    </a:cubicBezTo>
                    <a:cubicBezTo>
                      <a:pt x="26" y="16"/>
                      <a:pt x="26" y="16"/>
                      <a:pt x="25" y="1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2" y="29"/>
                    </a:cubicBezTo>
                    <a:close/>
                    <a:moveTo>
                      <a:pt x="4" y="6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20" y="15"/>
                      <a:pt x="20" y="15"/>
                      <a:pt x="20" y="1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0" name="Freeform 988">
                <a:extLst>
                  <a:ext uri="{FF2B5EF4-FFF2-40B4-BE49-F238E27FC236}">
                    <a16:creationId xmlns:a16="http://schemas.microsoft.com/office/drawing/2014/main" id="{EE82C0BD-5B62-4535-9BB2-B89167F02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62232" y="6227807"/>
                <a:ext cx="113092" cy="115167"/>
              </a:xfrm>
              <a:custGeom>
                <a:avLst/>
                <a:gdLst>
                  <a:gd name="T0" fmla="*/ 4 w 46"/>
                  <a:gd name="T1" fmla="*/ 47 h 47"/>
                  <a:gd name="T2" fmla="*/ 3 w 46"/>
                  <a:gd name="T3" fmla="*/ 47 h 47"/>
                  <a:gd name="T4" fmla="*/ 1 w 46"/>
                  <a:gd name="T5" fmla="*/ 46 h 47"/>
                  <a:gd name="T6" fmla="*/ 0 w 46"/>
                  <a:gd name="T7" fmla="*/ 44 h 47"/>
                  <a:gd name="T8" fmla="*/ 0 w 46"/>
                  <a:gd name="T9" fmla="*/ 17 h 47"/>
                  <a:gd name="T10" fmla="*/ 1 w 46"/>
                  <a:gd name="T11" fmla="*/ 15 h 47"/>
                  <a:gd name="T12" fmla="*/ 26 w 46"/>
                  <a:gd name="T13" fmla="*/ 1 h 47"/>
                  <a:gd name="T14" fmla="*/ 28 w 46"/>
                  <a:gd name="T15" fmla="*/ 1 h 47"/>
                  <a:gd name="T16" fmla="*/ 45 w 46"/>
                  <a:gd name="T17" fmla="*/ 10 h 47"/>
                  <a:gd name="T18" fmla="*/ 46 w 46"/>
                  <a:gd name="T19" fmla="*/ 12 h 47"/>
                  <a:gd name="T20" fmla="*/ 46 w 46"/>
                  <a:gd name="T21" fmla="*/ 22 h 47"/>
                  <a:gd name="T22" fmla="*/ 45 w 46"/>
                  <a:gd name="T23" fmla="*/ 23 h 47"/>
                  <a:gd name="T24" fmla="*/ 5 w 46"/>
                  <a:gd name="T25" fmla="*/ 47 h 47"/>
                  <a:gd name="T26" fmla="*/ 4 w 46"/>
                  <a:gd name="T27" fmla="*/ 47 h 47"/>
                  <a:gd name="T28" fmla="*/ 4 w 46"/>
                  <a:gd name="T29" fmla="*/ 18 h 47"/>
                  <a:gd name="T30" fmla="*/ 4 w 46"/>
                  <a:gd name="T31" fmla="*/ 42 h 47"/>
                  <a:gd name="T32" fmla="*/ 42 w 46"/>
                  <a:gd name="T33" fmla="*/ 21 h 47"/>
                  <a:gd name="T34" fmla="*/ 42 w 46"/>
                  <a:gd name="T35" fmla="*/ 13 h 47"/>
                  <a:gd name="T36" fmla="*/ 27 w 46"/>
                  <a:gd name="T37" fmla="*/ 5 h 47"/>
                  <a:gd name="T38" fmla="*/ 4 w 46"/>
                  <a:gd name="T39" fmla="*/ 1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7">
                    <a:moveTo>
                      <a:pt x="4" y="47"/>
                    </a:move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8" y="0"/>
                      <a:pt x="28" y="1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2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22"/>
                      <a:pt x="45" y="23"/>
                      <a:pt x="45" y="2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7"/>
                      <a:pt x="4" y="47"/>
                      <a:pt x="4" y="47"/>
                    </a:cubicBezTo>
                    <a:close/>
                    <a:moveTo>
                      <a:pt x="4" y="18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1" name="Freeform 989">
                <a:extLst>
                  <a:ext uri="{FF2B5EF4-FFF2-40B4-BE49-F238E27FC236}">
                    <a16:creationId xmlns:a16="http://schemas.microsoft.com/office/drawing/2014/main" id="{23A2182F-FA52-4C6E-8670-4ED4CF1A58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5825242"/>
                <a:ext cx="61215" cy="323712"/>
              </a:xfrm>
              <a:custGeom>
                <a:avLst/>
                <a:gdLst>
                  <a:gd name="T0" fmla="*/ 23 w 25"/>
                  <a:gd name="T1" fmla="*/ 132 h 132"/>
                  <a:gd name="T2" fmla="*/ 22 w 25"/>
                  <a:gd name="T3" fmla="*/ 132 h 132"/>
                  <a:gd name="T4" fmla="*/ 1 w 25"/>
                  <a:gd name="T5" fmla="*/ 120 h 132"/>
                  <a:gd name="T6" fmla="*/ 0 w 25"/>
                  <a:gd name="T7" fmla="*/ 118 h 132"/>
                  <a:gd name="T8" fmla="*/ 0 w 25"/>
                  <a:gd name="T9" fmla="*/ 14 h 132"/>
                  <a:gd name="T10" fmla="*/ 1 w 25"/>
                  <a:gd name="T11" fmla="*/ 13 h 132"/>
                  <a:gd name="T12" fmla="*/ 22 w 25"/>
                  <a:gd name="T13" fmla="*/ 1 h 132"/>
                  <a:gd name="T14" fmla="*/ 24 w 25"/>
                  <a:gd name="T15" fmla="*/ 1 h 132"/>
                  <a:gd name="T16" fmla="*/ 25 w 25"/>
                  <a:gd name="T17" fmla="*/ 2 h 132"/>
                  <a:gd name="T18" fmla="*/ 25 w 25"/>
                  <a:gd name="T19" fmla="*/ 130 h 132"/>
                  <a:gd name="T20" fmla="*/ 24 w 25"/>
                  <a:gd name="T21" fmla="*/ 132 h 132"/>
                  <a:gd name="T22" fmla="*/ 23 w 25"/>
                  <a:gd name="T23" fmla="*/ 132 h 132"/>
                  <a:gd name="T24" fmla="*/ 4 w 25"/>
                  <a:gd name="T25" fmla="*/ 117 h 132"/>
                  <a:gd name="T26" fmla="*/ 21 w 25"/>
                  <a:gd name="T27" fmla="*/ 126 h 132"/>
                  <a:gd name="T28" fmla="*/ 21 w 25"/>
                  <a:gd name="T29" fmla="*/ 6 h 132"/>
                  <a:gd name="T30" fmla="*/ 4 w 25"/>
                  <a:gd name="T31" fmla="*/ 16 h 132"/>
                  <a:gd name="T32" fmla="*/ 4 w 25"/>
                  <a:gd name="T33" fmla="*/ 11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132">
                    <a:moveTo>
                      <a:pt x="23" y="132"/>
                    </a:moveTo>
                    <a:cubicBezTo>
                      <a:pt x="23" y="132"/>
                      <a:pt x="22" y="132"/>
                      <a:pt x="22" y="13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19"/>
                      <a:pt x="0" y="119"/>
                      <a:pt x="0" y="11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5" y="1"/>
                      <a:pt x="25" y="2"/>
                      <a:pt x="25" y="2"/>
                    </a:cubicBezTo>
                    <a:cubicBezTo>
                      <a:pt x="25" y="130"/>
                      <a:pt x="25" y="130"/>
                      <a:pt x="25" y="130"/>
                    </a:cubicBezTo>
                    <a:cubicBezTo>
                      <a:pt x="25" y="131"/>
                      <a:pt x="25" y="131"/>
                      <a:pt x="24" y="132"/>
                    </a:cubicBezTo>
                    <a:cubicBezTo>
                      <a:pt x="24" y="132"/>
                      <a:pt x="23" y="132"/>
                      <a:pt x="23" y="132"/>
                    </a:cubicBezTo>
                    <a:close/>
                    <a:moveTo>
                      <a:pt x="4" y="117"/>
                    </a:moveTo>
                    <a:cubicBezTo>
                      <a:pt x="21" y="126"/>
                      <a:pt x="21" y="126"/>
                      <a:pt x="21" y="12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1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2" name="Freeform 990">
                <a:extLst>
                  <a:ext uri="{FF2B5EF4-FFF2-40B4-BE49-F238E27FC236}">
                    <a16:creationId xmlns:a16="http://schemas.microsoft.com/office/drawing/2014/main" id="{EFE02286-34A7-4973-9EA5-DC7DFDBA4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06997" y="6146879"/>
                <a:ext cx="75741" cy="58102"/>
              </a:xfrm>
              <a:custGeom>
                <a:avLst/>
                <a:gdLst>
                  <a:gd name="T0" fmla="*/ 19 w 31"/>
                  <a:gd name="T1" fmla="*/ 24 h 24"/>
                  <a:gd name="T2" fmla="*/ 18 w 31"/>
                  <a:gd name="T3" fmla="*/ 24 h 24"/>
                  <a:gd name="T4" fmla="*/ 1 w 31"/>
                  <a:gd name="T5" fmla="*/ 14 h 24"/>
                  <a:gd name="T6" fmla="*/ 0 w 31"/>
                  <a:gd name="T7" fmla="*/ 12 h 24"/>
                  <a:gd name="T8" fmla="*/ 1 w 31"/>
                  <a:gd name="T9" fmla="*/ 10 h 24"/>
                  <a:gd name="T10" fmla="*/ 3 w 31"/>
                  <a:gd name="T11" fmla="*/ 9 h 24"/>
                  <a:gd name="T12" fmla="*/ 3 w 31"/>
                  <a:gd name="T13" fmla="*/ 2 h 24"/>
                  <a:gd name="T14" fmla="*/ 4 w 31"/>
                  <a:gd name="T15" fmla="*/ 0 h 24"/>
                  <a:gd name="T16" fmla="*/ 6 w 31"/>
                  <a:gd name="T17" fmla="*/ 0 h 24"/>
                  <a:gd name="T18" fmla="*/ 30 w 31"/>
                  <a:gd name="T19" fmla="*/ 14 h 24"/>
                  <a:gd name="T20" fmla="*/ 31 w 31"/>
                  <a:gd name="T21" fmla="*/ 16 h 24"/>
                  <a:gd name="T22" fmla="*/ 30 w 31"/>
                  <a:gd name="T23" fmla="*/ 18 h 24"/>
                  <a:gd name="T24" fmla="*/ 20 w 31"/>
                  <a:gd name="T25" fmla="*/ 24 h 24"/>
                  <a:gd name="T26" fmla="*/ 19 w 31"/>
                  <a:gd name="T27" fmla="*/ 24 h 24"/>
                  <a:gd name="T28" fmla="*/ 6 w 31"/>
                  <a:gd name="T29" fmla="*/ 12 h 24"/>
                  <a:gd name="T30" fmla="*/ 19 w 31"/>
                  <a:gd name="T31" fmla="*/ 20 h 24"/>
                  <a:gd name="T32" fmla="*/ 25 w 31"/>
                  <a:gd name="T33" fmla="*/ 16 h 24"/>
                  <a:gd name="T34" fmla="*/ 7 w 31"/>
                  <a:gd name="T35" fmla="*/ 5 h 24"/>
                  <a:gd name="T36" fmla="*/ 7 w 31"/>
                  <a:gd name="T37" fmla="*/ 10 h 24"/>
                  <a:gd name="T38" fmla="*/ 6 w 31"/>
                  <a:gd name="T39" fmla="*/ 12 h 24"/>
                  <a:gd name="T40" fmla="*/ 5 w 31"/>
                  <a:gd name="T41" fmla="*/ 10 h 24"/>
                  <a:gd name="T42" fmla="*/ 5 w 31"/>
                  <a:gd name="T4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24">
                    <a:moveTo>
                      <a:pt x="19" y="24"/>
                    </a:moveTo>
                    <a:cubicBezTo>
                      <a:pt x="18" y="24"/>
                      <a:pt x="18" y="24"/>
                      <a:pt x="18" y="2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0"/>
                      <a:pt x="4" y="0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5"/>
                      <a:pt x="31" y="15"/>
                      <a:pt x="31" y="16"/>
                    </a:cubicBezTo>
                    <a:cubicBezTo>
                      <a:pt x="31" y="17"/>
                      <a:pt x="31" y="17"/>
                      <a:pt x="30" y="18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9" y="24"/>
                      <a:pt x="19" y="24"/>
                      <a:pt x="19" y="24"/>
                    </a:cubicBezTo>
                    <a:close/>
                    <a:moveTo>
                      <a:pt x="6" y="12"/>
                    </a:moveTo>
                    <a:cubicBezTo>
                      <a:pt x="19" y="20"/>
                      <a:pt x="19" y="20"/>
                      <a:pt x="19" y="20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3" name="Freeform 991">
                <a:extLst>
                  <a:ext uri="{FF2B5EF4-FFF2-40B4-BE49-F238E27FC236}">
                    <a16:creationId xmlns:a16="http://schemas.microsoft.com/office/drawing/2014/main" id="{F010DE3A-4656-490A-9A9C-6B77B54C64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471324" y="6114715"/>
                <a:ext cx="61215" cy="63290"/>
              </a:xfrm>
              <a:custGeom>
                <a:avLst/>
                <a:gdLst>
                  <a:gd name="T0" fmla="*/ 20 w 25"/>
                  <a:gd name="T1" fmla="*/ 26 h 26"/>
                  <a:gd name="T2" fmla="*/ 19 w 25"/>
                  <a:gd name="T3" fmla="*/ 26 h 26"/>
                  <a:gd name="T4" fmla="*/ 1 w 25"/>
                  <a:gd name="T5" fmla="*/ 16 h 26"/>
                  <a:gd name="T6" fmla="*/ 0 w 25"/>
                  <a:gd name="T7" fmla="*/ 14 h 26"/>
                  <a:gd name="T8" fmla="*/ 0 w 25"/>
                  <a:gd name="T9" fmla="*/ 2 h 26"/>
                  <a:gd name="T10" fmla="*/ 1 w 25"/>
                  <a:gd name="T11" fmla="*/ 0 h 26"/>
                  <a:gd name="T12" fmla="*/ 3 w 25"/>
                  <a:gd name="T13" fmla="*/ 0 h 26"/>
                  <a:gd name="T14" fmla="*/ 24 w 25"/>
                  <a:gd name="T15" fmla="*/ 12 h 26"/>
                  <a:gd name="T16" fmla="*/ 25 w 25"/>
                  <a:gd name="T17" fmla="*/ 14 h 26"/>
                  <a:gd name="T18" fmla="*/ 25 w 25"/>
                  <a:gd name="T19" fmla="*/ 22 h 26"/>
                  <a:gd name="T20" fmla="*/ 24 w 25"/>
                  <a:gd name="T21" fmla="*/ 24 h 26"/>
                  <a:gd name="T22" fmla="*/ 21 w 25"/>
                  <a:gd name="T23" fmla="*/ 26 h 26"/>
                  <a:gd name="T24" fmla="*/ 20 w 25"/>
                  <a:gd name="T25" fmla="*/ 26 h 26"/>
                  <a:gd name="T26" fmla="*/ 4 w 25"/>
                  <a:gd name="T27" fmla="*/ 13 h 26"/>
                  <a:gd name="T28" fmla="*/ 20 w 25"/>
                  <a:gd name="T29" fmla="*/ 22 h 26"/>
                  <a:gd name="T30" fmla="*/ 21 w 25"/>
                  <a:gd name="T31" fmla="*/ 21 h 26"/>
                  <a:gd name="T32" fmla="*/ 21 w 25"/>
                  <a:gd name="T33" fmla="*/ 15 h 26"/>
                  <a:gd name="T34" fmla="*/ 4 w 25"/>
                  <a:gd name="T35" fmla="*/ 5 h 26"/>
                  <a:gd name="T36" fmla="*/ 4 w 25"/>
                  <a:gd name="T37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6">
                    <a:moveTo>
                      <a:pt x="20" y="26"/>
                    </a:moveTo>
                    <a:cubicBezTo>
                      <a:pt x="20" y="26"/>
                      <a:pt x="19" y="26"/>
                      <a:pt x="19" y="2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5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5" y="12"/>
                      <a:pt x="25" y="13"/>
                      <a:pt x="25" y="1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5" y="23"/>
                      <a:pt x="25" y="24"/>
                      <a:pt x="24" y="24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0" y="26"/>
                      <a:pt x="20" y="26"/>
                    </a:cubicBezTo>
                    <a:close/>
                    <a:moveTo>
                      <a:pt x="4" y="13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4" name="Freeform 992">
                <a:extLst>
                  <a:ext uri="{FF2B5EF4-FFF2-40B4-BE49-F238E27FC236}">
                    <a16:creationId xmlns:a16="http://schemas.microsoft.com/office/drawing/2014/main" id="{7953354B-8F0F-4DA9-A78F-45CDABAF18D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767024" y="6175930"/>
                <a:ext cx="19713" cy="19713"/>
              </a:xfrm>
              <a:custGeom>
                <a:avLst/>
                <a:gdLst>
                  <a:gd name="T0" fmla="*/ 6 w 8"/>
                  <a:gd name="T1" fmla="*/ 8 h 8"/>
                  <a:gd name="T2" fmla="*/ 5 w 8"/>
                  <a:gd name="T3" fmla="*/ 8 h 8"/>
                  <a:gd name="T4" fmla="*/ 1 w 8"/>
                  <a:gd name="T5" fmla="*/ 6 h 8"/>
                  <a:gd name="T6" fmla="*/ 0 w 8"/>
                  <a:gd name="T7" fmla="*/ 4 h 8"/>
                  <a:gd name="T8" fmla="*/ 1 w 8"/>
                  <a:gd name="T9" fmla="*/ 2 h 8"/>
                  <a:gd name="T10" fmla="*/ 5 w 8"/>
                  <a:gd name="T11" fmla="*/ 0 h 8"/>
                  <a:gd name="T12" fmla="*/ 7 w 8"/>
                  <a:gd name="T13" fmla="*/ 0 h 8"/>
                  <a:gd name="T14" fmla="*/ 8 w 8"/>
                  <a:gd name="T15" fmla="*/ 2 h 8"/>
                  <a:gd name="T16" fmla="*/ 8 w 8"/>
                  <a:gd name="T17" fmla="*/ 6 h 8"/>
                  <a:gd name="T18" fmla="*/ 7 w 8"/>
                  <a:gd name="T19" fmla="*/ 8 h 8"/>
                  <a:gd name="T20" fmla="*/ 6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7" y="8"/>
                    </a:cubicBezTo>
                    <a:cubicBezTo>
                      <a:pt x="7" y="8"/>
                      <a:pt x="6" y="8"/>
                      <a:pt x="6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5" name="Freeform 993">
                <a:extLst>
                  <a:ext uri="{FF2B5EF4-FFF2-40B4-BE49-F238E27FC236}">
                    <a16:creationId xmlns:a16="http://schemas.microsoft.com/office/drawing/2014/main" id="{0B202E02-1FB0-42AC-A65C-84DBD97C05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67024" y="6264121"/>
                <a:ext cx="62252" cy="73665"/>
              </a:xfrm>
              <a:custGeom>
                <a:avLst/>
                <a:gdLst>
                  <a:gd name="T0" fmla="*/ 23 w 25"/>
                  <a:gd name="T1" fmla="*/ 30 h 30"/>
                  <a:gd name="T2" fmla="*/ 22 w 25"/>
                  <a:gd name="T3" fmla="*/ 30 h 30"/>
                  <a:gd name="T4" fmla="*/ 1 w 25"/>
                  <a:gd name="T5" fmla="*/ 18 h 30"/>
                  <a:gd name="T6" fmla="*/ 0 w 25"/>
                  <a:gd name="T7" fmla="*/ 16 h 30"/>
                  <a:gd name="T8" fmla="*/ 0 w 25"/>
                  <a:gd name="T9" fmla="*/ 15 h 30"/>
                  <a:gd name="T10" fmla="*/ 1 w 25"/>
                  <a:gd name="T11" fmla="*/ 13 h 30"/>
                  <a:gd name="T12" fmla="*/ 22 w 25"/>
                  <a:gd name="T13" fmla="*/ 1 h 30"/>
                  <a:gd name="T14" fmla="*/ 24 w 25"/>
                  <a:gd name="T15" fmla="*/ 1 h 30"/>
                  <a:gd name="T16" fmla="*/ 25 w 25"/>
                  <a:gd name="T17" fmla="*/ 3 h 30"/>
                  <a:gd name="T18" fmla="*/ 25 w 25"/>
                  <a:gd name="T19" fmla="*/ 28 h 30"/>
                  <a:gd name="T20" fmla="*/ 24 w 25"/>
                  <a:gd name="T21" fmla="*/ 30 h 30"/>
                  <a:gd name="T22" fmla="*/ 23 w 25"/>
                  <a:gd name="T23" fmla="*/ 30 h 30"/>
                  <a:gd name="T24" fmla="*/ 5 w 25"/>
                  <a:gd name="T25" fmla="*/ 15 h 30"/>
                  <a:gd name="T26" fmla="*/ 21 w 25"/>
                  <a:gd name="T27" fmla="*/ 25 h 30"/>
                  <a:gd name="T28" fmla="*/ 21 w 25"/>
                  <a:gd name="T29" fmla="*/ 6 h 30"/>
                  <a:gd name="T30" fmla="*/ 5 w 25"/>
                  <a:gd name="T3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30">
                    <a:moveTo>
                      <a:pt x="23" y="30"/>
                    </a:moveTo>
                    <a:cubicBezTo>
                      <a:pt x="22" y="30"/>
                      <a:pt x="22" y="30"/>
                      <a:pt x="22" y="3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3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4" y="29"/>
                      <a:pt x="24" y="30"/>
                    </a:cubicBezTo>
                    <a:cubicBezTo>
                      <a:pt x="24" y="30"/>
                      <a:pt x="23" y="30"/>
                      <a:pt x="23" y="30"/>
                    </a:cubicBezTo>
                    <a:close/>
                    <a:moveTo>
                      <a:pt x="5" y="15"/>
                    </a:moveTo>
                    <a:cubicBezTo>
                      <a:pt x="21" y="25"/>
                      <a:pt x="21" y="25"/>
                      <a:pt x="21" y="25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5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6" name="Freeform 994">
                <a:extLst>
                  <a:ext uri="{FF2B5EF4-FFF2-40B4-BE49-F238E27FC236}">
                    <a16:creationId xmlns:a16="http://schemas.microsoft.com/office/drawing/2014/main" id="{9B64442D-B377-4B00-AE3D-367610C447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91925" y="5751576"/>
                <a:ext cx="519808" cy="629786"/>
              </a:xfrm>
              <a:custGeom>
                <a:avLst/>
                <a:gdLst>
                  <a:gd name="T0" fmla="*/ 129 w 212"/>
                  <a:gd name="T1" fmla="*/ 257 h 257"/>
                  <a:gd name="T2" fmla="*/ 128 w 212"/>
                  <a:gd name="T3" fmla="*/ 201 h 257"/>
                  <a:gd name="T4" fmla="*/ 66 w 212"/>
                  <a:gd name="T5" fmla="*/ 236 h 257"/>
                  <a:gd name="T6" fmla="*/ 65 w 212"/>
                  <a:gd name="T7" fmla="*/ 224 h 257"/>
                  <a:gd name="T8" fmla="*/ 0 w 212"/>
                  <a:gd name="T9" fmla="*/ 185 h 257"/>
                  <a:gd name="T10" fmla="*/ 4 w 212"/>
                  <a:gd name="T11" fmla="*/ 182 h 257"/>
                  <a:gd name="T12" fmla="*/ 68 w 212"/>
                  <a:gd name="T13" fmla="*/ 218 h 257"/>
                  <a:gd name="T14" fmla="*/ 68 w 212"/>
                  <a:gd name="T15" fmla="*/ 144 h 257"/>
                  <a:gd name="T16" fmla="*/ 66 w 212"/>
                  <a:gd name="T17" fmla="*/ 144 h 257"/>
                  <a:gd name="T18" fmla="*/ 65 w 212"/>
                  <a:gd name="T19" fmla="*/ 2 h 257"/>
                  <a:gd name="T20" fmla="*/ 68 w 212"/>
                  <a:gd name="T21" fmla="*/ 0 h 257"/>
                  <a:gd name="T22" fmla="*/ 79 w 212"/>
                  <a:gd name="T23" fmla="*/ 8 h 257"/>
                  <a:gd name="T24" fmla="*/ 211 w 212"/>
                  <a:gd name="T25" fmla="*/ 214 h 257"/>
                  <a:gd name="T26" fmla="*/ 211 w 212"/>
                  <a:gd name="T27" fmla="*/ 217 h 257"/>
                  <a:gd name="T28" fmla="*/ 198 w 212"/>
                  <a:gd name="T29" fmla="*/ 226 h 257"/>
                  <a:gd name="T30" fmla="*/ 190 w 212"/>
                  <a:gd name="T31" fmla="*/ 222 h 257"/>
                  <a:gd name="T32" fmla="*/ 187 w 212"/>
                  <a:gd name="T33" fmla="*/ 223 h 257"/>
                  <a:gd name="T34" fmla="*/ 161 w 212"/>
                  <a:gd name="T35" fmla="*/ 238 h 257"/>
                  <a:gd name="T36" fmla="*/ 131 w 212"/>
                  <a:gd name="T37" fmla="*/ 257 h 257"/>
                  <a:gd name="T38" fmla="*/ 130 w 212"/>
                  <a:gd name="T39" fmla="*/ 196 h 257"/>
                  <a:gd name="T40" fmla="*/ 132 w 212"/>
                  <a:gd name="T41" fmla="*/ 198 h 257"/>
                  <a:gd name="T42" fmla="*/ 157 w 212"/>
                  <a:gd name="T43" fmla="*/ 237 h 257"/>
                  <a:gd name="T44" fmla="*/ 158 w 212"/>
                  <a:gd name="T45" fmla="*/ 203 h 257"/>
                  <a:gd name="T46" fmla="*/ 188 w 212"/>
                  <a:gd name="T47" fmla="*/ 219 h 257"/>
                  <a:gd name="T48" fmla="*/ 191 w 212"/>
                  <a:gd name="T49" fmla="*/ 218 h 257"/>
                  <a:gd name="T50" fmla="*/ 206 w 212"/>
                  <a:gd name="T51" fmla="*/ 215 h 257"/>
                  <a:gd name="T52" fmla="*/ 75 w 212"/>
                  <a:gd name="T53" fmla="*/ 139 h 257"/>
                  <a:gd name="T54" fmla="*/ 69 w 212"/>
                  <a:gd name="T55" fmla="*/ 6 h 257"/>
                  <a:gd name="T56" fmla="*/ 69 w 212"/>
                  <a:gd name="T57" fmla="*/ 140 h 257"/>
                  <a:gd name="T58" fmla="*/ 139 w 212"/>
                  <a:gd name="T59" fmla="*/ 181 h 257"/>
                  <a:gd name="T60" fmla="*/ 69 w 212"/>
                  <a:gd name="T61" fmla="*/ 222 h 257"/>
                  <a:gd name="T62" fmla="*/ 69 w 212"/>
                  <a:gd name="T63" fmla="*/ 223 h 257"/>
                  <a:gd name="T64" fmla="*/ 129 w 212"/>
                  <a:gd name="T65" fmla="*/ 196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2" h="257">
                    <a:moveTo>
                      <a:pt x="130" y="257"/>
                    </a:moveTo>
                    <a:cubicBezTo>
                      <a:pt x="129" y="257"/>
                      <a:pt x="129" y="257"/>
                      <a:pt x="129" y="257"/>
                    </a:cubicBezTo>
                    <a:cubicBezTo>
                      <a:pt x="128" y="256"/>
                      <a:pt x="128" y="256"/>
                      <a:pt x="128" y="255"/>
                    </a:cubicBezTo>
                    <a:cubicBezTo>
                      <a:pt x="128" y="201"/>
                      <a:pt x="128" y="201"/>
                      <a:pt x="128" y="201"/>
                    </a:cubicBezTo>
                    <a:cubicBezTo>
                      <a:pt x="68" y="236"/>
                      <a:pt x="68" y="236"/>
                      <a:pt x="68" y="236"/>
                    </a:cubicBezTo>
                    <a:cubicBezTo>
                      <a:pt x="68" y="236"/>
                      <a:pt x="67" y="236"/>
                      <a:pt x="66" y="236"/>
                    </a:cubicBezTo>
                    <a:cubicBezTo>
                      <a:pt x="66" y="235"/>
                      <a:pt x="65" y="235"/>
                      <a:pt x="65" y="234"/>
                    </a:cubicBezTo>
                    <a:cubicBezTo>
                      <a:pt x="65" y="224"/>
                      <a:pt x="65" y="224"/>
                      <a:pt x="65" y="224"/>
                    </a:cubicBezTo>
                    <a:cubicBezTo>
                      <a:pt x="1" y="187"/>
                      <a:pt x="1" y="187"/>
                      <a:pt x="1" y="187"/>
                    </a:cubicBezTo>
                    <a:cubicBezTo>
                      <a:pt x="1" y="187"/>
                      <a:pt x="0" y="186"/>
                      <a:pt x="0" y="185"/>
                    </a:cubicBezTo>
                    <a:cubicBezTo>
                      <a:pt x="0" y="185"/>
                      <a:pt x="1" y="184"/>
                      <a:pt x="1" y="184"/>
                    </a:cubicBezTo>
                    <a:cubicBezTo>
                      <a:pt x="4" y="182"/>
                      <a:pt x="4" y="182"/>
                      <a:pt x="4" y="182"/>
                    </a:cubicBezTo>
                    <a:cubicBezTo>
                      <a:pt x="5" y="182"/>
                      <a:pt x="5" y="182"/>
                      <a:pt x="6" y="182"/>
                    </a:cubicBezTo>
                    <a:cubicBezTo>
                      <a:pt x="68" y="218"/>
                      <a:pt x="68" y="218"/>
                      <a:pt x="68" y="218"/>
                    </a:cubicBezTo>
                    <a:cubicBezTo>
                      <a:pt x="133" y="181"/>
                      <a:pt x="133" y="181"/>
                      <a:pt x="133" y="181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7" y="144"/>
                      <a:pt x="66" y="144"/>
                    </a:cubicBezTo>
                    <a:cubicBezTo>
                      <a:pt x="66" y="144"/>
                      <a:pt x="65" y="143"/>
                      <a:pt x="65" y="14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5" y="1"/>
                      <a:pt x="66" y="1"/>
                      <a:pt x="66" y="0"/>
                    </a:cubicBezTo>
                    <a:cubicBezTo>
                      <a:pt x="67" y="0"/>
                      <a:pt x="68" y="0"/>
                      <a:pt x="68" y="0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9" y="7"/>
                      <a:pt x="79" y="7"/>
                      <a:pt x="79" y="8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211" y="214"/>
                      <a:pt x="211" y="214"/>
                      <a:pt x="211" y="214"/>
                    </a:cubicBezTo>
                    <a:cubicBezTo>
                      <a:pt x="211" y="214"/>
                      <a:pt x="212" y="215"/>
                      <a:pt x="212" y="215"/>
                    </a:cubicBezTo>
                    <a:cubicBezTo>
                      <a:pt x="212" y="216"/>
                      <a:pt x="211" y="217"/>
                      <a:pt x="211" y="217"/>
                    </a:cubicBezTo>
                    <a:cubicBezTo>
                      <a:pt x="199" y="224"/>
                      <a:pt x="199" y="224"/>
                      <a:pt x="199" y="224"/>
                    </a:cubicBezTo>
                    <a:cubicBezTo>
                      <a:pt x="199" y="225"/>
                      <a:pt x="199" y="225"/>
                      <a:pt x="198" y="226"/>
                    </a:cubicBezTo>
                    <a:cubicBezTo>
                      <a:pt x="197" y="226"/>
                      <a:pt x="197" y="226"/>
                      <a:pt x="196" y="226"/>
                    </a:cubicBezTo>
                    <a:cubicBezTo>
                      <a:pt x="190" y="222"/>
                      <a:pt x="190" y="222"/>
                      <a:pt x="190" y="222"/>
                    </a:cubicBezTo>
                    <a:cubicBezTo>
                      <a:pt x="189" y="223"/>
                      <a:pt x="189" y="223"/>
                      <a:pt x="189" y="223"/>
                    </a:cubicBezTo>
                    <a:cubicBezTo>
                      <a:pt x="188" y="223"/>
                      <a:pt x="188" y="223"/>
                      <a:pt x="187" y="223"/>
                    </a:cubicBezTo>
                    <a:cubicBezTo>
                      <a:pt x="161" y="208"/>
                      <a:pt x="161" y="208"/>
                      <a:pt x="161" y="208"/>
                    </a:cubicBezTo>
                    <a:cubicBezTo>
                      <a:pt x="161" y="238"/>
                      <a:pt x="161" y="238"/>
                      <a:pt x="161" y="238"/>
                    </a:cubicBezTo>
                    <a:cubicBezTo>
                      <a:pt x="161" y="238"/>
                      <a:pt x="161" y="239"/>
                      <a:pt x="160" y="239"/>
                    </a:cubicBezTo>
                    <a:cubicBezTo>
                      <a:pt x="131" y="257"/>
                      <a:pt x="131" y="257"/>
                      <a:pt x="131" y="257"/>
                    </a:cubicBezTo>
                    <a:cubicBezTo>
                      <a:pt x="130" y="257"/>
                      <a:pt x="130" y="257"/>
                      <a:pt x="130" y="257"/>
                    </a:cubicBezTo>
                    <a:close/>
                    <a:moveTo>
                      <a:pt x="130" y="196"/>
                    </a:moveTo>
                    <a:cubicBezTo>
                      <a:pt x="130" y="196"/>
                      <a:pt x="130" y="196"/>
                      <a:pt x="131" y="196"/>
                    </a:cubicBezTo>
                    <a:cubicBezTo>
                      <a:pt x="131" y="196"/>
                      <a:pt x="132" y="197"/>
                      <a:pt x="132" y="198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57" y="237"/>
                      <a:pt x="157" y="237"/>
                      <a:pt x="157" y="237"/>
                    </a:cubicBezTo>
                    <a:cubicBezTo>
                      <a:pt x="157" y="205"/>
                      <a:pt x="157" y="205"/>
                      <a:pt x="157" y="205"/>
                    </a:cubicBezTo>
                    <a:cubicBezTo>
                      <a:pt x="157" y="204"/>
                      <a:pt x="158" y="203"/>
                      <a:pt x="158" y="203"/>
                    </a:cubicBezTo>
                    <a:cubicBezTo>
                      <a:pt x="159" y="202"/>
                      <a:pt x="160" y="202"/>
                      <a:pt x="160" y="203"/>
                    </a:cubicBezTo>
                    <a:cubicBezTo>
                      <a:pt x="188" y="219"/>
                      <a:pt x="188" y="219"/>
                      <a:pt x="188" y="219"/>
                    </a:cubicBezTo>
                    <a:cubicBezTo>
                      <a:pt x="189" y="218"/>
                      <a:pt x="189" y="218"/>
                      <a:pt x="189" y="218"/>
                    </a:cubicBezTo>
                    <a:cubicBezTo>
                      <a:pt x="190" y="218"/>
                      <a:pt x="190" y="218"/>
                      <a:pt x="191" y="218"/>
                    </a:cubicBezTo>
                    <a:cubicBezTo>
                      <a:pt x="196" y="221"/>
                      <a:pt x="196" y="221"/>
                      <a:pt x="196" y="221"/>
                    </a:cubicBezTo>
                    <a:cubicBezTo>
                      <a:pt x="206" y="215"/>
                      <a:pt x="206" y="215"/>
                      <a:pt x="206" y="215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76" y="140"/>
                      <a:pt x="75" y="140"/>
                      <a:pt x="75" y="13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138" y="179"/>
                      <a:pt x="138" y="179"/>
                      <a:pt x="138" y="179"/>
                    </a:cubicBezTo>
                    <a:cubicBezTo>
                      <a:pt x="139" y="180"/>
                      <a:pt x="139" y="180"/>
                      <a:pt x="139" y="181"/>
                    </a:cubicBezTo>
                    <a:cubicBezTo>
                      <a:pt x="139" y="182"/>
                      <a:pt x="139" y="182"/>
                      <a:pt x="138" y="183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3"/>
                      <a:pt x="69" y="223"/>
                      <a:pt x="69" y="223"/>
                    </a:cubicBezTo>
                    <a:cubicBezTo>
                      <a:pt x="69" y="230"/>
                      <a:pt x="69" y="230"/>
                      <a:pt x="69" y="230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196"/>
                      <a:pt x="129" y="196"/>
                      <a:pt x="130" y="19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7" name="Freeform 995">
                <a:extLst>
                  <a:ext uri="{FF2B5EF4-FFF2-40B4-BE49-F238E27FC236}">
                    <a16:creationId xmlns:a16="http://schemas.microsoft.com/office/drawing/2014/main" id="{DBF776E6-E095-4C64-A03F-6AC4ECBF11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502451" y="6266196"/>
                <a:ext cx="272873" cy="490756"/>
              </a:xfrm>
              <a:custGeom>
                <a:avLst/>
                <a:gdLst>
                  <a:gd name="T0" fmla="*/ 44 w 111"/>
                  <a:gd name="T1" fmla="*/ 200 h 200"/>
                  <a:gd name="T2" fmla="*/ 43 w 111"/>
                  <a:gd name="T3" fmla="*/ 200 h 200"/>
                  <a:gd name="T4" fmla="*/ 37 w 111"/>
                  <a:gd name="T5" fmla="*/ 196 h 200"/>
                  <a:gd name="T6" fmla="*/ 36 w 111"/>
                  <a:gd name="T7" fmla="*/ 194 h 200"/>
                  <a:gd name="T8" fmla="*/ 36 w 111"/>
                  <a:gd name="T9" fmla="*/ 137 h 200"/>
                  <a:gd name="T10" fmla="*/ 1 w 111"/>
                  <a:gd name="T11" fmla="*/ 117 h 200"/>
                  <a:gd name="T12" fmla="*/ 0 w 111"/>
                  <a:gd name="T13" fmla="*/ 115 h 200"/>
                  <a:gd name="T14" fmla="*/ 0 w 111"/>
                  <a:gd name="T15" fmla="*/ 76 h 200"/>
                  <a:gd name="T16" fmla="*/ 1 w 111"/>
                  <a:gd name="T17" fmla="*/ 75 h 200"/>
                  <a:gd name="T18" fmla="*/ 43 w 111"/>
                  <a:gd name="T19" fmla="*/ 51 h 200"/>
                  <a:gd name="T20" fmla="*/ 43 w 111"/>
                  <a:gd name="T21" fmla="*/ 7 h 200"/>
                  <a:gd name="T22" fmla="*/ 44 w 111"/>
                  <a:gd name="T23" fmla="*/ 5 h 200"/>
                  <a:gd name="T24" fmla="*/ 53 w 111"/>
                  <a:gd name="T25" fmla="*/ 0 h 200"/>
                  <a:gd name="T26" fmla="*/ 55 w 111"/>
                  <a:gd name="T27" fmla="*/ 0 h 200"/>
                  <a:gd name="T28" fmla="*/ 57 w 111"/>
                  <a:gd name="T29" fmla="*/ 1 h 200"/>
                  <a:gd name="T30" fmla="*/ 58 w 111"/>
                  <a:gd name="T31" fmla="*/ 3 h 200"/>
                  <a:gd name="T32" fmla="*/ 58 w 111"/>
                  <a:gd name="T33" fmla="*/ 42 h 200"/>
                  <a:gd name="T34" fmla="*/ 110 w 111"/>
                  <a:gd name="T35" fmla="*/ 72 h 200"/>
                  <a:gd name="T36" fmla="*/ 111 w 111"/>
                  <a:gd name="T37" fmla="*/ 74 h 200"/>
                  <a:gd name="T38" fmla="*/ 111 w 111"/>
                  <a:gd name="T39" fmla="*/ 89 h 200"/>
                  <a:gd name="T40" fmla="*/ 110 w 111"/>
                  <a:gd name="T41" fmla="*/ 90 h 200"/>
                  <a:gd name="T42" fmla="*/ 46 w 111"/>
                  <a:gd name="T43" fmla="*/ 128 h 200"/>
                  <a:gd name="T44" fmla="*/ 46 w 111"/>
                  <a:gd name="T45" fmla="*/ 198 h 200"/>
                  <a:gd name="T46" fmla="*/ 45 w 111"/>
                  <a:gd name="T47" fmla="*/ 200 h 200"/>
                  <a:gd name="T48" fmla="*/ 44 w 111"/>
                  <a:gd name="T49" fmla="*/ 200 h 200"/>
                  <a:gd name="T50" fmla="*/ 40 w 111"/>
                  <a:gd name="T51" fmla="*/ 193 h 200"/>
                  <a:gd name="T52" fmla="*/ 42 w 111"/>
                  <a:gd name="T53" fmla="*/ 194 h 200"/>
                  <a:gd name="T54" fmla="*/ 42 w 111"/>
                  <a:gd name="T55" fmla="*/ 127 h 200"/>
                  <a:gd name="T56" fmla="*/ 43 w 111"/>
                  <a:gd name="T57" fmla="*/ 125 h 200"/>
                  <a:gd name="T58" fmla="*/ 107 w 111"/>
                  <a:gd name="T59" fmla="*/ 88 h 200"/>
                  <a:gd name="T60" fmla="*/ 107 w 111"/>
                  <a:gd name="T61" fmla="*/ 75 h 200"/>
                  <a:gd name="T62" fmla="*/ 55 w 111"/>
                  <a:gd name="T63" fmla="*/ 45 h 200"/>
                  <a:gd name="T64" fmla="*/ 54 w 111"/>
                  <a:gd name="T65" fmla="*/ 43 h 200"/>
                  <a:gd name="T66" fmla="*/ 54 w 111"/>
                  <a:gd name="T67" fmla="*/ 4 h 200"/>
                  <a:gd name="T68" fmla="*/ 54 w 111"/>
                  <a:gd name="T69" fmla="*/ 4 h 200"/>
                  <a:gd name="T70" fmla="*/ 47 w 111"/>
                  <a:gd name="T71" fmla="*/ 8 h 200"/>
                  <a:gd name="T72" fmla="*/ 47 w 111"/>
                  <a:gd name="T73" fmla="*/ 52 h 200"/>
                  <a:gd name="T74" fmla="*/ 46 w 111"/>
                  <a:gd name="T75" fmla="*/ 53 h 200"/>
                  <a:gd name="T76" fmla="*/ 4 w 111"/>
                  <a:gd name="T77" fmla="*/ 78 h 200"/>
                  <a:gd name="T78" fmla="*/ 4 w 111"/>
                  <a:gd name="T79" fmla="*/ 114 h 200"/>
                  <a:gd name="T80" fmla="*/ 39 w 111"/>
                  <a:gd name="T81" fmla="*/ 134 h 200"/>
                  <a:gd name="T82" fmla="*/ 40 w 111"/>
                  <a:gd name="T83" fmla="*/ 135 h 200"/>
                  <a:gd name="T84" fmla="*/ 40 w 111"/>
                  <a:gd name="T85" fmla="*/ 19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1" h="200">
                    <a:moveTo>
                      <a:pt x="44" y="200"/>
                    </a:moveTo>
                    <a:cubicBezTo>
                      <a:pt x="43" y="200"/>
                      <a:pt x="43" y="200"/>
                      <a:pt x="43" y="200"/>
                    </a:cubicBezTo>
                    <a:cubicBezTo>
                      <a:pt x="37" y="196"/>
                      <a:pt x="37" y="196"/>
                      <a:pt x="37" y="196"/>
                    </a:cubicBezTo>
                    <a:cubicBezTo>
                      <a:pt x="36" y="196"/>
                      <a:pt x="36" y="195"/>
                      <a:pt x="36" y="194"/>
                    </a:cubicBezTo>
                    <a:cubicBezTo>
                      <a:pt x="36" y="137"/>
                      <a:pt x="36" y="137"/>
                      <a:pt x="36" y="137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1" y="116"/>
                      <a:pt x="0" y="116"/>
                      <a:pt x="0" y="115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0" y="76"/>
                      <a:pt x="1" y="75"/>
                      <a:pt x="1" y="75"/>
                    </a:cubicBezTo>
                    <a:cubicBezTo>
                      <a:pt x="43" y="51"/>
                      <a:pt x="43" y="51"/>
                      <a:pt x="43" y="51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3" y="6"/>
                      <a:pt x="44" y="5"/>
                      <a:pt x="44" y="5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54" y="0"/>
                      <a:pt x="55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8" y="2"/>
                      <a:pt x="58" y="2"/>
                      <a:pt x="58" y="3"/>
                    </a:cubicBezTo>
                    <a:cubicBezTo>
                      <a:pt x="58" y="42"/>
                      <a:pt x="58" y="42"/>
                      <a:pt x="58" y="42"/>
                    </a:cubicBezTo>
                    <a:cubicBezTo>
                      <a:pt x="110" y="72"/>
                      <a:pt x="110" y="72"/>
                      <a:pt x="110" y="72"/>
                    </a:cubicBezTo>
                    <a:cubicBezTo>
                      <a:pt x="111" y="73"/>
                      <a:pt x="111" y="73"/>
                      <a:pt x="111" y="74"/>
                    </a:cubicBezTo>
                    <a:cubicBezTo>
                      <a:pt x="111" y="89"/>
                      <a:pt x="111" y="89"/>
                      <a:pt x="111" y="89"/>
                    </a:cubicBezTo>
                    <a:cubicBezTo>
                      <a:pt x="111" y="89"/>
                      <a:pt x="111" y="90"/>
                      <a:pt x="110" y="90"/>
                    </a:cubicBezTo>
                    <a:cubicBezTo>
                      <a:pt x="46" y="128"/>
                      <a:pt x="46" y="128"/>
                      <a:pt x="46" y="128"/>
                    </a:cubicBezTo>
                    <a:cubicBezTo>
                      <a:pt x="46" y="198"/>
                      <a:pt x="46" y="198"/>
                      <a:pt x="46" y="198"/>
                    </a:cubicBezTo>
                    <a:cubicBezTo>
                      <a:pt x="46" y="199"/>
                      <a:pt x="45" y="199"/>
                      <a:pt x="45" y="200"/>
                    </a:cubicBezTo>
                    <a:cubicBezTo>
                      <a:pt x="44" y="200"/>
                      <a:pt x="44" y="200"/>
                      <a:pt x="44" y="200"/>
                    </a:cubicBezTo>
                    <a:close/>
                    <a:moveTo>
                      <a:pt x="40" y="193"/>
                    </a:moveTo>
                    <a:cubicBezTo>
                      <a:pt x="42" y="194"/>
                      <a:pt x="42" y="194"/>
                      <a:pt x="42" y="194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42" y="126"/>
                      <a:pt x="42" y="125"/>
                      <a:pt x="43" y="125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4" y="45"/>
                      <a:pt x="54" y="44"/>
                      <a:pt x="54" y="43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52"/>
                      <a:pt x="47" y="52"/>
                      <a:pt x="47" y="52"/>
                    </a:cubicBezTo>
                    <a:cubicBezTo>
                      <a:pt x="47" y="52"/>
                      <a:pt x="47" y="53"/>
                      <a:pt x="46" y="53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114"/>
                      <a:pt x="4" y="114"/>
                      <a:pt x="4" y="114"/>
                    </a:cubicBezTo>
                    <a:cubicBezTo>
                      <a:pt x="39" y="134"/>
                      <a:pt x="39" y="134"/>
                      <a:pt x="39" y="134"/>
                    </a:cubicBezTo>
                    <a:cubicBezTo>
                      <a:pt x="39" y="134"/>
                      <a:pt x="40" y="135"/>
                      <a:pt x="40" y="135"/>
                    </a:cubicBezTo>
                    <a:lnTo>
                      <a:pt x="40" y="19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8" name="Freeform 996">
                <a:extLst>
                  <a:ext uri="{FF2B5EF4-FFF2-40B4-BE49-F238E27FC236}">
                    <a16:creationId xmlns:a16="http://schemas.microsoft.com/office/drawing/2014/main" id="{9E00EF6B-C7F4-4FE7-91D6-323CD654A9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1945" y="6548407"/>
                <a:ext cx="97529" cy="196095"/>
              </a:xfrm>
              <a:custGeom>
                <a:avLst/>
                <a:gdLst>
                  <a:gd name="T0" fmla="*/ 38 w 40"/>
                  <a:gd name="T1" fmla="*/ 80 h 80"/>
                  <a:gd name="T2" fmla="*/ 37 w 40"/>
                  <a:gd name="T3" fmla="*/ 80 h 80"/>
                  <a:gd name="T4" fmla="*/ 1 w 40"/>
                  <a:gd name="T5" fmla="*/ 59 h 80"/>
                  <a:gd name="T6" fmla="*/ 0 w 40"/>
                  <a:gd name="T7" fmla="*/ 58 h 80"/>
                  <a:gd name="T8" fmla="*/ 1 w 40"/>
                  <a:gd name="T9" fmla="*/ 56 h 80"/>
                  <a:gd name="T10" fmla="*/ 2 w 40"/>
                  <a:gd name="T11" fmla="*/ 55 h 80"/>
                  <a:gd name="T12" fmla="*/ 2 w 40"/>
                  <a:gd name="T13" fmla="*/ 2 h 80"/>
                  <a:gd name="T14" fmla="*/ 3 w 40"/>
                  <a:gd name="T15" fmla="*/ 0 h 80"/>
                  <a:gd name="T16" fmla="*/ 5 w 40"/>
                  <a:gd name="T17" fmla="*/ 0 h 80"/>
                  <a:gd name="T18" fmla="*/ 39 w 40"/>
                  <a:gd name="T19" fmla="*/ 20 h 80"/>
                  <a:gd name="T20" fmla="*/ 40 w 40"/>
                  <a:gd name="T21" fmla="*/ 21 h 80"/>
                  <a:gd name="T22" fmla="*/ 40 w 40"/>
                  <a:gd name="T23" fmla="*/ 78 h 80"/>
                  <a:gd name="T24" fmla="*/ 39 w 40"/>
                  <a:gd name="T25" fmla="*/ 80 h 80"/>
                  <a:gd name="T26" fmla="*/ 38 w 40"/>
                  <a:gd name="T27" fmla="*/ 80 h 80"/>
                  <a:gd name="T28" fmla="*/ 6 w 40"/>
                  <a:gd name="T29" fmla="*/ 58 h 80"/>
                  <a:gd name="T30" fmla="*/ 36 w 40"/>
                  <a:gd name="T31" fmla="*/ 75 h 80"/>
                  <a:gd name="T32" fmla="*/ 36 w 40"/>
                  <a:gd name="T33" fmla="*/ 23 h 80"/>
                  <a:gd name="T34" fmla="*/ 6 w 40"/>
                  <a:gd name="T35" fmla="*/ 5 h 80"/>
                  <a:gd name="T36" fmla="*/ 6 w 40"/>
                  <a:gd name="T37" fmla="*/ 56 h 80"/>
                  <a:gd name="T38" fmla="*/ 6 w 40"/>
                  <a:gd name="T39" fmla="*/ 58 h 80"/>
                  <a:gd name="T40" fmla="*/ 4 w 40"/>
                  <a:gd name="T41" fmla="*/ 56 h 80"/>
                  <a:gd name="T42" fmla="*/ 4 w 40"/>
                  <a:gd name="T43" fmla="*/ 5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80">
                    <a:moveTo>
                      <a:pt x="38" y="80"/>
                    </a:moveTo>
                    <a:cubicBezTo>
                      <a:pt x="38" y="80"/>
                      <a:pt x="37" y="80"/>
                      <a:pt x="37" y="80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59"/>
                      <a:pt x="0" y="58"/>
                      <a:pt x="0" y="58"/>
                    </a:cubicBezTo>
                    <a:cubicBezTo>
                      <a:pt x="0" y="57"/>
                      <a:pt x="1" y="56"/>
                      <a:pt x="1" y="56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3" y="1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40" y="20"/>
                      <a:pt x="40" y="21"/>
                      <a:pt x="40" y="21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40" y="79"/>
                      <a:pt x="40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lose/>
                    <a:moveTo>
                      <a:pt x="6" y="58"/>
                    </a:moveTo>
                    <a:cubicBezTo>
                      <a:pt x="36" y="75"/>
                      <a:pt x="36" y="75"/>
                      <a:pt x="36" y="75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7"/>
                      <a:pt x="6" y="57"/>
                      <a:pt x="6" y="58"/>
                    </a:cubicBezTo>
                    <a:close/>
                    <a:moveTo>
                      <a:pt x="4" y="56"/>
                    </a:moveTo>
                    <a:cubicBezTo>
                      <a:pt x="4" y="56"/>
                      <a:pt x="4" y="56"/>
                      <a:pt x="4" y="5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9" name="Freeform 997">
                <a:extLst>
                  <a:ext uri="{FF2B5EF4-FFF2-40B4-BE49-F238E27FC236}">
                    <a16:creationId xmlns:a16="http://schemas.microsoft.com/office/drawing/2014/main" id="{D2EE6DB1-EF87-4B34-BFE3-B49F048026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62232" y="6281759"/>
                <a:ext cx="113092" cy="173269"/>
              </a:xfrm>
              <a:custGeom>
                <a:avLst/>
                <a:gdLst>
                  <a:gd name="T0" fmla="*/ 2 w 46"/>
                  <a:gd name="T1" fmla="*/ 71 h 71"/>
                  <a:gd name="T2" fmla="*/ 1 w 46"/>
                  <a:gd name="T3" fmla="*/ 70 h 71"/>
                  <a:gd name="T4" fmla="*/ 0 w 46"/>
                  <a:gd name="T5" fmla="*/ 69 h 71"/>
                  <a:gd name="T6" fmla="*/ 0 w 46"/>
                  <a:gd name="T7" fmla="*/ 62 h 71"/>
                  <a:gd name="T8" fmla="*/ 1 w 46"/>
                  <a:gd name="T9" fmla="*/ 60 h 71"/>
                  <a:gd name="T10" fmla="*/ 33 w 46"/>
                  <a:gd name="T11" fmla="*/ 42 h 71"/>
                  <a:gd name="T12" fmla="*/ 4 w 46"/>
                  <a:gd name="T13" fmla="*/ 25 h 71"/>
                  <a:gd name="T14" fmla="*/ 3 w 46"/>
                  <a:gd name="T15" fmla="*/ 24 h 71"/>
                  <a:gd name="T16" fmla="*/ 4 w 46"/>
                  <a:gd name="T17" fmla="*/ 22 h 71"/>
                  <a:gd name="T18" fmla="*/ 43 w 46"/>
                  <a:gd name="T19" fmla="*/ 0 h 71"/>
                  <a:gd name="T20" fmla="*/ 45 w 46"/>
                  <a:gd name="T21" fmla="*/ 0 h 71"/>
                  <a:gd name="T22" fmla="*/ 46 w 46"/>
                  <a:gd name="T23" fmla="*/ 2 h 71"/>
                  <a:gd name="T24" fmla="*/ 46 w 46"/>
                  <a:gd name="T25" fmla="*/ 45 h 71"/>
                  <a:gd name="T26" fmla="*/ 45 w 46"/>
                  <a:gd name="T27" fmla="*/ 47 h 71"/>
                  <a:gd name="T28" fmla="*/ 3 w 46"/>
                  <a:gd name="T29" fmla="*/ 70 h 71"/>
                  <a:gd name="T30" fmla="*/ 2 w 46"/>
                  <a:gd name="T31" fmla="*/ 71 h 71"/>
                  <a:gd name="T32" fmla="*/ 4 w 46"/>
                  <a:gd name="T33" fmla="*/ 63 h 71"/>
                  <a:gd name="T34" fmla="*/ 4 w 46"/>
                  <a:gd name="T35" fmla="*/ 65 h 71"/>
                  <a:gd name="T36" fmla="*/ 42 w 46"/>
                  <a:gd name="T37" fmla="*/ 44 h 71"/>
                  <a:gd name="T38" fmla="*/ 42 w 46"/>
                  <a:gd name="T39" fmla="*/ 5 h 71"/>
                  <a:gd name="T40" fmla="*/ 9 w 46"/>
                  <a:gd name="T41" fmla="*/ 24 h 71"/>
                  <a:gd name="T42" fmla="*/ 38 w 46"/>
                  <a:gd name="T43" fmla="*/ 40 h 71"/>
                  <a:gd name="T44" fmla="*/ 39 w 46"/>
                  <a:gd name="T45" fmla="*/ 42 h 71"/>
                  <a:gd name="T46" fmla="*/ 38 w 46"/>
                  <a:gd name="T47" fmla="*/ 44 h 71"/>
                  <a:gd name="T48" fmla="*/ 4 w 46"/>
                  <a:gd name="T49" fmla="*/ 6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71">
                    <a:moveTo>
                      <a:pt x="2" y="71"/>
                    </a:moveTo>
                    <a:cubicBezTo>
                      <a:pt x="2" y="71"/>
                      <a:pt x="2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5"/>
                      <a:pt x="3" y="24"/>
                      <a:pt x="3" y="24"/>
                    </a:cubicBezTo>
                    <a:cubicBezTo>
                      <a:pt x="3" y="23"/>
                      <a:pt x="4" y="22"/>
                      <a:pt x="4" y="2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0"/>
                      <a:pt x="46" y="1"/>
                      <a:pt x="46" y="2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46" y="45"/>
                      <a:pt x="45" y="46"/>
                      <a:pt x="45" y="4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3" y="71"/>
                      <a:pt x="2" y="71"/>
                    </a:cubicBezTo>
                    <a:close/>
                    <a:moveTo>
                      <a:pt x="4" y="63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38" y="40"/>
                      <a:pt x="38" y="40"/>
                      <a:pt x="38" y="40"/>
                    </a:cubicBezTo>
                    <a:cubicBezTo>
                      <a:pt x="39" y="41"/>
                      <a:pt x="39" y="41"/>
                      <a:pt x="39" y="42"/>
                    </a:cubicBezTo>
                    <a:cubicBezTo>
                      <a:pt x="39" y="43"/>
                      <a:pt x="39" y="43"/>
                      <a:pt x="38" y="44"/>
                    </a:cubicBezTo>
                    <a:lnTo>
                      <a:pt x="4" y="6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0" name="Freeform 998">
                <a:extLst>
                  <a:ext uri="{FF2B5EF4-FFF2-40B4-BE49-F238E27FC236}">
                    <a16:creationId xmlns:a16="http://schemas.microsoft.com/office/drawing/2014/main" id="{D633E3BF-0F95-4B44-B4A6-024F5D325D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7133" y="6337786"/>
                <a:ext cx="88191" cy="95454"/>
              </a:xfrm>
              <a:custGeom>
                <a:avLst/>
                <a:gdLst>
                  <a:gd name="T0" fmla="*/ 2 w 36"/>
                  <a:gd name="T1" fmla="*/ 39 h 39"/>
                  <a:gd name="T2" fmla="*/ 1 w 36"/>
                  <a:gd name="T3" fmla="*/ 39 h 39"/>
                  <a:gd name="T4" fmla="*/ 0 w 36"/>
                  <a:gd name="T5" fmla="*/ 37 h 39"/>
                  <a:gd name="T6" fmla="*/ 0 w 36"/>
                  <a:gd name="T7" fmla="*/ 2 h 39"/>
                  <a:gd name="T8" fmla="*/ 1 w 36"/>
                  <a:gd name="T9" fmla="*/ 1 h 39"/>
                  <a:gd name="T10" fmla="*/ 3 w 36"/>
                  <a:gd name="T11" fmla="*/ 0 h 39"/>
                  <a:gd name="T12" fmla="*/ 5 w 36"/>
                  <a:gd name="T13" fmla="*/ 0 h 39"/>
                  <a:gd name="T14" fmla="*/ 35 w 36"/>
                  <a:gd name="T15" fmla="*/ 17 h 39"/>
                  <a:gd name="T16" fmla="*/ 36 w 36"/>
                  <a:gd name="T17" fmla="*/ 19 h 39"/>
                  <a:gd name="T18" fmla="*/ 35 w 36"/>
                  <a:gd name="T19" fmla="*/ 21 h 39"/>
                  <a:gd name="T20" fmla="*/ 3 w 36"/>
                  <a:gd name="T21" fmla="*/ 39 h 39"/>
                  <a:gd name="T22" fmla="*/ 2 w 36"/>
                  <a:gd name="T23" fmla="*/ 39 h 39"/>
                  <a:gd name="T24" fmla="*/ 4 w 36"/>
                  <a:gd name="T25" fmla="*/ 4 h 39"/>
                  <a:gd name="T26" fmla="*/ 4 w 36"/>
                  <a:gd name="T27" fmla="*/ 34 h 39"/>
                  <a:gd name="T28" fmla="*/ 30 w 36"/>
                  <a:gd name="T29" fmla="*/ 19 h 39"/>
                  <a:gd name="T30" fmla="*/ 4 w 36"/>
                  <a:gd name="T31" fmla="*/ 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9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8"/>
                      <a:pt x="36" y="18"/>
                      <a:pt x="36" y="19"/>
                    </a:cubicBezTo>
                    <a:cubicBezTo>
                      <a:pt x="36" y="20"/>
                      <a:pt x="35" y="20"/>
                      <a:pt x="35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4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30" y="19"/>
                      <a:pt x="30" y="19"/>
                      <a:pt x="30" y="19"/>
                    </a:cubicBez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1" name="Freeform 999">
                <a:extLst>
                  <a:ext uri="{FF2B5EF4-FFF2-40B4-BE49-F238E27FC236}">
                    <a16:creationId xmlns:a16="http://schemas.microsoft.com/office/drawing/2014/main" id="{F0BF4865-43B8-4AD4-8781-37710C4B96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625728" y="5153954"/>
                <a:ext cx="403604" cy="198170"/>
              </a:xfrm>
              <a:custGeom>
                <a:avLst/>
                <a:gdLst>
                  <a:gd name="T0" fmla="*/ 84 w 165"/>
                  <a:gd name="T1" fmla="*/ 81 h 81"/>
                  <a:gd name="T2" fmla="*/ 83 w 165"/>
                  <a:gd name="T3" fmla="*/ 80 h 81"/>
                  <a:gd name="T4" fmla="*/ 82 w 165"/>
                  <a:gd name="T5" fmla="*/ 79 h 81"/>
                  <a:gd name="T6" fmla="*/ 1 w 165"/>
                  <a:gd name="T7" fmla="*/ 32 h 81"/>
                  <a:gd name="T8" fmla="*/ 0 w 165"/>
                  <a:gd name="T9" fmla="*/ 30 h 81"/>
                  <a:gd name="T10" fmla="*/ 1 w 165"/>
                  <a:gd name="T11" fmla="*/ 29 h 81"/>
                  <a:gd name="T12" fmla="*/ 48 w 165"/>
                  <a:gd name="T13" fmla="*/ 1 h 81"/>
                  <a:gd name="T14" fmla="*/ 50 w 165"/>
                  <a:gd name="T15" fmla="*/ 1 h 81"/>
                  <a:gd name="T16" fmla="*/ 78 w 165"/>
                  <a:gd name="T17" fmla="*/ 18 h 81"/>
                  <a:gd name="T18" fmla="*/ 109 w 165"/>
                  <a:gd name="T19" fmla="*/ 0 h 81"/>
                  <a:gd name="T20" fmla="*/ 111 w 165"/>
                  <a:gd name="T21" fmla="*/ 0 h 81"/>
                  <a:gd name="T22" fmla="*/ 164 w 165"/>
                  <a:gd name="T23" fmla="*/ 31 h 81"/>
                  <a:gd name="T24" fmla="*/ 165 w 165"/>
                  <a:gd name="T25" fmla="*/ 33 h 81"/>
                  <a:gd name="T26" fmla="*/ 164 w 165"/>
                  <a:gd name="T27" fmla="*/ 34 h 81"/>
                  <a:gd name="T28" fmla="*/ 85 w 165"/>
                  <a:gd name="T29" fmla="*/ 80 h 81"/>
                  <a:gd name="T30" fmla="*/ 84 w 165"/>
                  <a:gd name="T31" fmla="*/ 81 h 81"/>
                  <a:gd name="T32" fmla="*/ 6 w 165"/>
                  <a:gd name="T33" fmla="*/ 30 h 81"/>
                  <a:gd name="T34" fmla="*/ 84 w 165"/>
                  <a:gd name="T35" fmla="*/ 76 h 81"/>
                  <a:gd name="T36" fmla="*/ 159 w 165"/>
                  <a:gd name="T37" fmla="*/ 33 h 81"/>
                  <a:gd name="T38" fmla="*/ 110 w 165"/>
                  <a:gd name="T39" fmla="*/ 4 h 81"/>
                  <a:gd name="T40" fmla="*/ 79 w 165"/>
                  <a:gd name="T41" fmla="*/ 22 h 81"/>
                  <a:gd name="T42" fmla="*/ 77 w 165"/>
                  <a:gd name="T43" fmla="*/ 22 h 81"/>
                  <a:gd name="T44" fmla="*/ 49 w 165"/>
                  <a:gd name="T45" fmla="*/ 5 h 81"/>
                  <a:gd name="T46" fmla="*/ 6 w 165"/>
                  <a:gd name="T47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5" h="81">
                    <a:moveTo>
                      <a:pt x="84" y="81"/>
                    </a:moveTo>
                    <a:cubicBezTo>
                      <a:pt x="83" y="81"/>
                      <a:pt x="83" y="81"/>
                      <a:pt x="83" y="80"/>
                    </a:cubicBezTo>
                    <a:cubicBezTo>
                      <a:pt x="82" y="80"/>
                      <a:pt x="82" y="79"/>
                      <a:pt x="82" y="79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9" y="1"/>
                      <a:pt x="49" y="1"/>
                      <a:pt x="50" y="1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110" y="0"/>
                      <a:pt x="111" y="0"/>
                    </a:cubicBezTo>
                    <a:cubicBezTo>
                      <a:pt x="164" y="31"/>
                      <a:pt x="164" y="31"/>
                      <a:pt x="164" y="31"/>
                    </a:cubicBezTo>
                    <a:cubicBezTo>
                      <a:pt x="165" y="31"/>
                      <a:pt x="165" y="32"/>
                      <a:pt x="165" y="33"/>
                    </a:cubicBezTo>
                    <a:cubicBezTo>
                      <a:pt x="165" y="33"/>
                      <a:pt x="165" y="34"/>
                      <a:pt x="164" y="34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81"/>
                      <a:pt x="84" y="81"/>
                      <a:pt x="84" y="81"/>
                    </a:cubicBezTo>
                    <a:close/>
                    <a:moveTo>
                      <a:pt x="6" y="30"/>
                    </a:moveTo>
                    <a:cubicBezTo>
                      <a:pt x="84" y="76"/>
                      <a:pt x="84" y="76"/>
                      <a:pt x="84" y="76"/>
                    </a:cubicBezTo>
                    <a:cubicBezTo>
                      <a:pt x="159" y="33"/>
                      <a:pt x="159" y="33"/>
                      <a:pt x="159" y="33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78" y="22"/>
                      <a:pt x="78" y="22"/>
                      <a:pt x="77" y="22"/>
                    </a:cubicBezTo>
                    <a:cubicBezTo>
                      <a:pt x="49" y="5"/>
                      <a:pt x="49" y="5"/>
                      <a:pt x="49" y="5"/>
                    </a:cubicBez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2" name="Freeform 1000">
                <a:extLst>
                  <a:ext uri="{FF2B5EF4-FFF2-40B4-BE49-F238E27FC236}">
                    <a16:creationId xmlns:a16="http://schemas.microsoft.com/office/drawing/2014/main" id="{B2D5AFDF-2ED2-4E81-A85A-B4ACBD2799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995093" y="5296097"/>
                <a:ext cx="184682" cy="330975"/>
              </a:xfrm>
              <a:custGeom>
                <a:avLst/>
                <a:gdLst>
                  <a:gd name="T0" fmla="*/ 72 w 75"/>
                  <a:gd name="T1" fmla="*/ 135 h 135"/>
                  <a:gd name="T2" fmla="*/ 71 w 75"/>
                  <a:gd name="T3" fmla="*/ 135 h 135"/>
                  <a:gd name="T4" fmla="*/ 7 w 75"/>
                  <a:gd name="T5" fmla="*/ 98 h 135"/>
                  <a:gd name="T6" fmla="*/ 3 w 75"/>
                  <a:gd name="T7" fmla="*/ 101 h 135"/>
                  <a:gd name="T8" fmla="*/ 1 w 75"/>
                  <a:gd name="T9" fmla="*/ 101 h 135"/>
                  <a:gd name="T10" fmla="*/ 0 w 75"/>
                  <a:gd name="T11" fmla="*/ 99 h 135"/>
                  <a:gd name="T12" fmla="*/ 0 w 75"/>
                  <a:gd name="T13" fmla="*/ 24 h 135"/>
                  <a:gd name="T14" fmla="*/ 1 w 75"/>
                  <a:gd name="T15" fmla="*/ 22 h 135"/>
                  <a:gd name="T16" fmla="*/ 5 w 75"/>
                  <a:gd name="T17" fmla="*/ 20 h 135"/>
                  <a:gd name="T18" fmla="*/ 1 w 75"/>
                  <a:gd name="T19" fmla="*/ 18 h 135"/>
                  <a:gd name="T20" fmla="*/ 0 w 75"/>
                  <a:gd name="T21" fmla="*/ 16 h 135"/>
                  <a:gd name="T22" fmla="*/ 0 w 75"/>
                  <a:gd name="T23" fmla="*/ 7 h 135"/>
                  <a:gd name="T24" fmla="*/ 1 w 75"/>
                  <a:gd name="T25" fmla="*/ 6 h 135"/>
                  <a:gd name="T26" fmla="*/ 10 w 75"/>
                  <a:gd name="T27" fmla="*/ 0 h 135"/>
                  <a:gd name="T28" fmla="*/ 12 w 75"/>
                  <a:gd name="T29" fmla="*/ 0 h 135"/>
                  <a:gd name="T30" fmla="*/ 13 w 75"/>
                  <a:gd name="T31" fmla="*/ 2 h 135"/>
                  <a:gd name="T32" fmla="*/ 13 w 75"/>
                  <a:gd name="T33" fmla="*/ 95 h 135"/>
                  <a:gd name="T34" fmla="*/ 74 w 75"/>
                  <a:gd name="T35" fmla="*/ 131 h 135"/>
                  <a:gd name="T36" fmla="*/ 75 w 75"/>
                  <a:gd name="T37" fmla="*/ 132 h 135"/>
                  <a:gd name="T38" fmla="*/ 74 w 75"/>
                  <a:gd name="T39" fmla="*/ 134 h 135"/>
                  <a:gd name="T40" fmla="*/ 73 w 75"/>
                  <a:gd name="T41" fmla="*/ 135 h 135"/>
                  <a:gd name="T42" fmla="*/ 72 w 75"/>
                  <a:gd name="T43" fmla="*/ 135 h 135"/>
                  <a:gd name="T44" fmla="*/ 4 w 75"/>
                  <a:gd name="T45" fmla="*/ 25 h 135"/>
                  <a:gd name="T46" fmla="*/ 4 w 75"/>
                  <a:gd name="T47" fmla="*/ 96 h 135"/>
                  <a:gd name="T48" fmla="*/ 6 w 75"/>
                  <a:gd name="T49" fmla="*/ 94 h 135"/>
                  <a:gd name="T50" fmla="*/ 8 w 75"/>
                  <a:gd name="T51" fmla="*/ 94 h 135"/>
                  <a:gd name="T52" fmla="*/ 9 w 75"/>
                  <a:gd name="T53" fmla="*/ 95 h 135"/>
                  <a:gd name="T54" fmla="*/ 9 w 75"/>
                  <a:gd name="T55" fmla="*/ 22 h 135"/>
                  <a:gd name="T56" fmla="*/ 4 w 75"/>
                  <a:gd name="T57" fmla="*/ 25 h 135"/>
                  <a:gd name="T58" fmla="*/ 4 w 75"/>
                  <a:gd name="T59" fmla="*/ 15 h 135"/>
                  <a:gd name="T60" fmla="*/ 9 w 75"/>
                  <a:gd name="T61" fmla="*/ 18 h 135"/>
                  <a:gd name="T62" fmla="*/ 9 w 75"/>
                  <a:gd name="T63" fmla="*/ 6 h 135"/>
                  <a:gd name="T64" fmla="*/ 4 w 75"/>
                  <a:gd name="T65" fmla="*/ 9 h 135"/>
                  <a:gd name="T66" fmla="*/ 4 w 75"/>
                  <a:gd name="T67" fmla="*/ 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35">
                    <a:moveTo>
                      <a:pt x="72" y="135"/>
                    </a:moveTo>
                    <a:cubicBezTo>
                      <a:pt x="71" y="135"/>
                      <a:pt x="71" y="135"/>
                      <a:pt x="71" y="13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2" y="101"/>
                      <a:pt x="2" y="101"/>
                      <a:pt x="1" y="101"/>
                    </a:cubicBezTo>
                    <a:cubicBezTo>
                      <a:pt x="0" y="100"/>
                      <a:pt x="0" y="100"/>
                      <a:pt x="0" y="9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3" y="1"/>
                      <a:pt x="13" y="1"/>
                      <a:pt x="13" y="2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74" y="131"/>
                      <a:pt x="74" y="131"/>
                      <a:pt x="74" y="131"/>
                    </a:cubicBezTo>
                    <a:cubicBezTo>
                      <a:pt x="75" y="131"/>
                      <a:pt x="75" y="132"/>
                      <a:pt x="75" y="132"/>
                    </a:cubicBezTo>
                    <a:cubicBezTo>
                      <a:pt x="75" y="133"/>
                      <a:pt x="75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2" y="135"/>
                      <a:pt x="72" y="135"/>
                      <a:pt x="72" y="135"/>
                    </a:cubicBezTo>
                    <a:close/>
                    <a:moveTo>
                      <a:pt x="4" y="25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7" y="94"/>
                      <a:pt x="8" y="94"/>
                      <a:pt x="8" y="94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9" y="22"/>
                      <a:pt x="9" y="22"/>
                      <a:pt x="9" y="22"/>
                    </a:cubicBezTo>
                    <a:lnTo>
                      <a:pt x="4" y="25"/>
                    </a:lnTo>
                    <a:close/>
                    <a:moveTo>
                      <a:pt x="4" y="15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3" name="Freeform 1001">
                <a:extLst>
                  <a:ext uri="{FF2B5EF4-FFF2-40B4-BE49-F238E27FC236}">
                    <a16:creationId xmlns:a16="http://schemas.microsoft.com/office/drawing/2014/main" id="{2B7B1DEA-21BD-4650-B019-93A06BD993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910014" y="5004548"/>
                <a:ext cx="269761" cy="311262"/>
              </a:xfrm>
              <a:custGeom>
                <a:avLst/>
                <a:gdLst>
                  <a:gd name="T0" fmla="*/ 2 w 110"/>
                  <a:gd name="T1" fmla="*/ 127 h 127"/>
                  <a:gd name="T2" fmla="*/ 1 w 110"/>
                  <a:gd name="T3" fmla="*/ 126 h 127"/>
                  <a:gd name="T4" fmla="*/ 0 w 110"/>
                  <a:gd name="T5" fmla="*/ 125 h 127"/>
                  <a:gd name="T6" fmla="*/ 0 w 110"/>
                  <a:gd name="T7" fmla="*/ 2 h 127"/>
                  <a:gd name="T8" fmla="*/ 1 w 110"/>
                  <a:gd name="T9" fmla="*/ 0 h 127"/>
                  <a:gd name="T10" fmla="*/ 3 w 110"/>
                  <a:gd name="T11" fmla="*/ 0 h 127"/>
                  <a:gd name="T12" fmla="*/ 109 w 110"/>
                  <a:gd name="T13" fmla="*/ 61 h 127"/>
                  <a:gd name="T14" fmla="*/ 110 w 110"/>
                  <a:gd name="T15" fmla="*/ 63 h 127"/>
                  <a:gd name="T16" fmla="*/ 109 w 110"/>
                  <a:gd name="T17" fmla="*/ 65 h 127"/>
                  <a:gd name="T18" fmla="*/ 62 w 110"/>
                  <a:gd name="T19" fmla="*/ 92 h 127"/>
                  <a:gd name="T20" fmla="*/ 60 w 110"/>
                  <a:gd name="T21" fmla="*/ 92 h 127"/>
                  <a:gd name="T22" fmla="*/ 13 w 110"/>
                  <a:gd name="T23" fmla="*/ 65 h 127"/>
                  <a:gd name="T24" fmla="*/ 13 w 110"/>
                  <a:gd name="T25" fmla="*/ 119 h 127"/>
                  <a:gd name="T26" fmla="*/ 12 w 110"/>
                  <a:gd name="T27" fmla="*/ 121 h 127"/>
                  <a:gd name="T28" fmla="*/ 3 w 110"/>
                  <a:gd name="T29" fmla="*/ 126 h 127"/>
                  <a:gd name="T30" fmla="*/ 2 w 110"/>
                  <a:gd name="T31" fmla="*/ 127 h 127"/>
                  <a:gd name="T32" fmla="*/ 4 w 110"/>
                  <a:gd name="T33" fmla="*/ 5 h 127"/>
                  <a:gd name="T34" fmla="*/ 4 w 110"/>
                  <a:gd name="T35" fmla="*/ 121 h 127"/>
                  <a:gd name="T36" fmla="*/ 9 w 110"/>
                  <a:gd name="T37" fmla="*/ 118 h 127"/>
                  <a:gd name="T38" fmla="*/ 9 w 110"/>
                  <a:gd name="T39" fmla="*/ 61 h 127"/>
                  <a:gd name="T40" fmla="*/ 10 w 110"/>
                  <a:gd name="T41" fmla="*/ 60 h 127"/>
                  <a:gd name="T42" fmla="*/ 12 w 110"/>
                  <a:gd name="T43" fmla="*/ 60 h 127"/>
                  <a:gd name="T44" fmla="*/ 61 w 110"/>
                  <a:gd name="T45" fmla="*/ 88 h 127"/>
                  <a:gd name="T46" fmla="*/ 104 w 110"/>
                  <a:gd name="T47" fmla="*/ 63 h 127"/>
                  <a:gd name="T48" fmla="*/ 4 w 110"/>
                  <a:gd name="T49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0" h="127">
                    <a:moveTo>
                      <a:pt x="2" y="127"/>
                    </a:moveTo>
                    <a:cubicBezTo>
                      <a:pt x="2" y="127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9" y="61"/>
                      <a:pt x="109" y="61"/>
                      <a:pt x="109" y="61"/>
                    </a:cubicBezTo>
                    <a:cubicBezTo>
                      <a:pt x="110" y="62"/>
                      <a:pt x="110" y="62"/>
                      <a:pt x="110" y="63"/>
                    </a:cubicBezTo>
                    <a:cubicBezTo>
                      <a:pt x="110" y="64"/>
                      <a:pt x="110" y="65"/>
                      <a:pt x="109" y="65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61" y="92"/>
                      <a:pt x="61" y="92"/>
                      <a:pt x="60" y="92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119"/>
                      <a:pt x="13" y="119"/>
                      <a:pt x="13" y="119"/>
                    </a:cubicBezTo>
                    <a:cubicBezTo>
                      <a:pt x="13" y="120"/>
                      <a:pt x="13" y="121"/>
                      <a:pt x="12" y="121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3" y="126"/>
                      <a:pt x="2" y="127"/>
                      <a:pt x="2" y="127"/>
                    </a:cubicBezTo>
                    <a:close/>
                    <a:moveTo>
                      <a:pt x="4" y="5"/>
                    </a:moveTo>
                    <a:cubicBezTo>
                      <a:pt x="4" y="121"/>
                      <a:pt x="4" y="121"/>
                      <a:pt x="4" y="121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1"/>
                      <a:pt x="9" y="60"/>
                      <a:pt x="10" y="60"/>
                    </a:cubicBezTo>
                    <a:cubicBezTo>
                      <a:pt x="11" y="59"/>
                      <a:pt x="11" y="59"/>
                      <a:pt x="12" y="60"/>
                    </a:cubicBezTo>
                    <a:cubicBezTo>
                      <a:pt x="61" y="88"/>
                      <a:pt x="61" y="88"/>
                      <a:pt x="61" y="88"/>
                    </a:cubicBezTo>
                    <a:cubicBezTo>
                      <a:pt x="104" y="63"/>
                      <a:pt x="104" y="63"/>
                      <a:pt x="104" y="63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4" name="Freeform 1002">
                <a:extLst>
                  <a:ext uri="{FF2B5EF4-FFF2-40B4-BE49-F238E27FC236}">
                    <a16:creationId xmlns:a16="http://schemas.microsoft.com/office/drawing/2014/main" id="{3F606DAE-CAD6-4C0B-99B9-1F0BC3940E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91489" y="5215169"/>
                <a:ext cx="34239" cy="36314"/>
              </a:xfrm>
              <a:custGeom>
                <a:avLst/>
                <a:gdLst>
                  <a:gd name="T0" fmla="*/ 12 w 14"/>
                  <a:gd name="T1" fmla="*/ 15 h 15"/>
                  <a:gd name="T2" fmla="*/ 11 w 14"/>
                  <a:gd name="T3" fmla="*/ 15 h 15"/>
                  <a:gd name="T4" fmla="*/ 1 w 14"/>
                  <a:gd name="T5" fmla="*/ 9 h 15"/>
                  <a:gd name="T6" fmla="*/ 0 w 14"/>
                  <a:gd name="T7" fmla="*/ 8 h 15"/>
                  <a:gd name="T8" fmla="*/ 1 w 14"/>
                  <a:gd name="T9" fmla="*/ 6 h 15"/>
                  <a:gd name="T10" fmla="*/ 11 w 14"/>
                  <a:gd name="T11" fmla="*/ 0 h 15"/>
                  <a:gd name="T12" fmla="*/ 13 w 14"/>
                  <a:gd name="T13" fmla="*/ 0 h 15"/>
                  <a:gd name="T14" fmla="*/ 14 w 14"/>
                  <a:gd name="T15" fmla="*/ 2 h 15"/>
                  <a:gd name="T16" fmla="*/ 14 w 14"/>
                  <a:gd name="T17" fmla="*/ 13 h 15"/>
                  <a:gd name="T18" fmla="*/ 13 w 14"/>
                  <a:gd name="T19" fmla="*/ 15 h 15"/>
                  <a:gd name="T20" fmla="*/ 12 w 14"/>
                  <a:gd name="T21" fmla="*/ 15 h 15"/>
                  <a:gd name="T22" fmla="*/ 6 w 14"/>
                  <a:gd name="T23" fmla="*/ 8 h 15"/>
                  <a:gd name="T24" fmla="*/ 10 w 14"/>
                  <a:gd name="T25" fmla="*/ 10 h 15"/>
                  <a:gd name="T26" fmla="*/ 10 w 14"/>
                  <a:gd name="T27" fmla="*/ 5 h 15"/>
                  <a:gd name="T28" fmla="*/ 6 w 14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12" y="15"/>
                    </a:moveTo>
                    <a:cubicBezTo>
                      <a:pt x="11" y="15"/>
                      <a:pt x="11" y="15"/>
                      <a:pt x="11" y="15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4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2" y="15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5"/>
                      <a:pt x="10" y="5"/>
                      <a:pt x="10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5" name="Freeform 1003">
                <a:extLst>
                  <a:ext uri="{FF2B5EF4-FFF2-40B4-BE49-F238E27FC236}">
                    <a16:creationId xmlns:a16="http://schemas.microsoft.com/office/drawing/2014/main" id="{E38FA7DF-AC3E-4D8B-8EC3-CF5B56776F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760608" y="5085476"/>
                <a:ext cx="149406" cy="117242"/>
              </a:xfrm>
              <a:custGeom>
                <a:avLst/>
                <a:gdLst>
                  <a:gd name="T0" fmla="*/ 29 w 61"/>
                  <a:gd name="T1" fmla="*/ 48 h 48"/>
                  <a:gd name="T2" fmla="*/ 28 w 61"/>
                  <a:gd name="T3" fmla="*/ 48 h 48"/>
                  <a:gd name="T4" fmla="*/ 1 w 61"/>
                  <a:gd name="T5" fmla="*/ 32 h 48"/>
                  <a:gd name="T6" fmla="*/ 0 w 61"/>
                  <a:gd name="T7" fmla="*/ 30 h 48"/>
                  <a:gd name="T8" fmla="*/ 1 w 61"/>
                  <a:gd name="T9" fmla="*/ 28 h 48"/>
                  <a:gd name="T10" fmla="*/ 11 w 61"/>
                  <a:gd name="T11" fmla="*/ 22 h 48"/>
                  <a:gd name="T12" fmla="*/ 11 w 61"/>
                  <a:gd name="T13" fmla="*/ 2 h 48"/>
                  <a:gd name="T14" fmla="*/ 12 w 61"/>
                  <a:gd name="T15" fmla="*/ 0 h 48"/>
                  <a:gd name="T16" fmla="*/ 14 w 61"/>
                  <a:gd name="T17" fmla="*/ 0 h 48"/>
                  <a:gd name="T18" fmla="*/ 60 w 61"/>
                  <a:gd name="T19" fmla="*/ 27 h 48"/>
                  <a:gd name="T20" fmla="*/ 61 w 61"/>
                  <a:gd name="T21" fmla="*/ 29 h 48"/>
                  <a:gd name="T22" fmla="*/ 60 w 61"/>
                  <a:gd name="T23" fmla="*/ 30 h 48"/>
                  <a:gd name="T24" fmla="*/ 30 w 61"/>
                  <a:gd name="T25" fmla="*/ 48 h 48"/>
                  <a:gd name="T26" fmla="*/ 29 w 61"/>
                  <a:gd name="T27" fmla="*/ 48 h 48"/>
                  <a:gd name="T28" fmla="*/ 6 w 61"/>
                  <a:gd name="T29" fmla="*/ 30 h 48"/>
                  <a:gd name="T30" fmla="*/ 29 w 61"/>
                  <a:gd name="T31" fmla="*/ 44 h 48"/>
                  <a:gd name="T32" fmla="*/ 55 w 61"/>
                  <a:gd name="T33" fmla="*/ 29 h 48"/>
                  <a:gd name="T34" fmla="*/ 15 w 61"/>
                  <a:gd name="T35" fmla="*/ 6 h 48"/>
                  <a:gd name="T36" fmla="*/ 15 w 61"/>
                  <a:gd name="T37" fmla="*/ 23 h 48"/>
                  <a:gd name="T38" fmla="*/ 14 w 61"/>
                  <a:gd name="T39" fmla="*/ 25 h 48"/>
                  <a:gd name="T40" fmla="*/ 6 w 61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8">
                    <a:moveTo>
                      <a:pt x="29" y="48"/>
                    </a:moveTo>
                    <a:cubicBezTo>
                      <a:pt x="29" y="48"/>
                      <a:pt x="28" y="48"/>
                      <a:pt x="28" y="48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9"/>
                      <a:pt x="0" y="29"/>
                      <a:pt x="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1"/>
                      <a:pt x="12" y="1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1" y="27"/>
                      <a:pt x="61" y="28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29" y="48"/>
                      <a:pt x="29" y="48"/>
                    </a:cubicBezTo>
                    <a:close/>
                    <a:moveTo>
                      <a:pt x="6" y="30"/>
                    </a:moveTo>
                    <a:cubicBezTo>
                      <a:pt x="29" y="44"/>
                      <a:pt x="29" y="44"/>
                      <a:pt x="29" y="44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4"/>
                      <a:pt x="15" y="25"/>
                      <a:pt x="14" y="25"/>
                    </a:cubicBez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6" name="Freeform 1004">
                <a:extLst>
                  <a:ext uri="{FF2B5EF4-FFF2-40B4-BE49-F238E27FC236}">
                    <a16:creationId xmlns:a16="http://schemas.microsoft.com/office/drawing/2014/main" id="{10A7AC27-FEFA-4A19-83CC-00E21D66CA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91489" y="5058500"/>
                <a:ext cx="171194" cy="178457"/>
              </a:xfrm>
              <a:custGeom>
                <a:avLst/>
                <a:gdLst>
                  <a:gd name="T0" fmla="*/ 56 w 70"/>
                  <a:gd name="T1" fmla="*/ 73 h 73"/>
                  <a:gd name="T2" fmla="*/ 55 w 70"/>
                  <a:gd name="T3" fmla="*/ 72 h 73"/>
                  <a:gd name="T4" fmla="*/ 1 w 70"/>
                  <a:gd name="T5" fmla="*/ 41 h 73"/>
                  <a:gd name="T6" fmla="*/ 0 w 70"/>
                  <a:gd name="T7" fmla="*/ 40 h 73"/>
                  <a:gd name="T8" fmla="*/ 1 w 70"/>
                  <a:gd name="T9" fmla="*/ 38 h 73"/>
                  <a:gd name="T10" fmla="*/ 67 w 70"/>
                  <a:gd name="T11" fmla="*/ 0 h 73"/>
                  <a:gd name="T12" fmla="*/ 69 w 70"/>
                  <a:gd name="T13" fmla="*/ 0 h 73"/>
                  <a:gd name="T14" fmla="*/ 70 w 70"/>
                  <a:gd name="T15" fmla="*/ 2 h 73"/>
                  <a:gd name="T16" fmla="*/ 70 w 70"/>
                  <a:gd name="T17" fmla="*/ 64 h 73"/>
                  <a:gd name="T18" fmla="*/ 69 w 70"/>
                  <a:gd name="T19" fmla="*/ 66 h 73"/>
                  <a:gd name="T20" fmla="*/ 57 w 70"/>
                  <a:gd name="T21" fmla="*/ 72 h 73"/>
                  <a:gd name="T22" fmla="*/ 56 w 70"/>
                  <a:gd name="T23" fmla="*/ 73 h 73"/>
                  <a:gd name="T24" fmla="*/ 6 w 70"/>
                  <a:gd name="T25" fmla="*/ 40 h 73"/>
                  <a:gd name="T26" fmla="*/ 56 w 70"/>
                  <a:gd name="T27" fmla="*/ 68 h 73"/>
                  <a:gd name="T28" fmla="*/ 66 w 70"/>
                  <a:gd name="T29" fmla="*/ 63 h 73"/>
                  <a:gd name="T30" fmla="*/ 66 w 70"/>
                  <a:gd name="T31" fmla="*/ 5 h 73"/>
                  <a:gd name="T32" fmla="*/ 6 w 70"/>
                  <a:gd name="T33" fmla="*/ 4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" h="73">
                    <a:moveTo>
                      <a:pt x="56" y="73"/>
                    </a:moveTo>
                    <a:cubicBezTo>
                      <a:pt x="56" y="73"/>
                      <a:pt x="55" y="72"/>
                      <a:pt x="55" y="7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8" y="0"/>
                      <a:pt x="69" y="0"/>
                    </a:cubicBezTo>
                    <a:cubicBezTo>
                      <a:pt x="69" y="1"/>
                      <a:pt x="70" y="1"/>
                      <a:pt x="70" y="2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5"/>
                      <a:pt x="69" y="65"/>
                      <a:pt x="69" y="6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7" y="72"/>
                      <a:pt x="56" y="73"/>
                      <a:pt x="56" y="73"/>
                    </a:cubicBezTo>
                    <a:close/>
                    <a:moveTo>
                      <a:pt x="6" y="40"/>
                    </a:moveTo>
                    <a:cubicBezTo>
                      <a:pt x="56" y="68"/>
                      <a:pt x="56" y="68"/>
                      <a:pt x="56" y="68"/>
                    </a:cubicBez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5"/>
                      <a:pt x="66" y="5"/>
                      <a:pt x="66" y="5"/>
                    </a:cubicBezTo>
                    <a:lnTo>
                      <a:pt x="6" y="4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7" name="Freeform 1005">
                <a:extLst>
                  <a:ext uri="{FF2B5EF4-FFF2-40B4-BE49-F238E27FC236}">
                    <a16:creationId xmlns:a16="http://schemas.microsoft.com/office/drawing/2014/main" id="{CC35668C-36B3-43C6-9663-AF7B7C4C70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91489" y="5470403"/>
                <a:ext cx="237597" cy="252122"/>
              </a:xfrm>
              <a:custGeom>
                <a:avLst/>
                <a:gdLst>
                  <a:gd name="T0" fmla="*/ 2 w 97"/>
                  <a:gd name="T1" fmla="*/ 103 h 103"/>
                  <a:gd name="T2" fmla="*/ 1 w 97"/>
                  <a:gd name="T3" fmla="*/ 103 h 103"/>
                  <a:gd name="T4" fmla="*/ 0 w 97"/>
                  <a:gd name="T5" fmla="*/ 101 h 103"/>
                  <a:gd name="T6" fmla="*/ 0 w 97"/>
                  <a:gd name="T7" fmla="*/ 22 h 103"/>
                  <a:gd name="T8" fmla="*/ 1 w 97"/>
                  <a:gd name="T9" fmla="*/ 20 h 103"/>
                  <a:gd name="T10" fmla="*/ 35 w 97"/>
                  <a:gd name="T11" fmla="*/ 0 h 103"/>
                  <a:gd name="T12" fmla="*/ 37 w 97"/>
                  <a:gd name="T13" fmla="*/ 0 h 103"/>
                  <a:gd name="T14" fmla="*/ 96 w 97"/>
                  <a:gd name="T15" fmla="*/ 34 h 103"/>
                  <a:gd name="T16" fmla="*/ 97 w 97"/>
                  <a:gd name="T17" fmla="*/ 36 h 103"/>
                  <a:gd name="T18" fmla="*/ 97 w 97"/>
                  <a:gd name="T19" fmla="*/ 48 h 103"/>
                  <a:gd name="T20" fmla="*/ 96 w 97"/>
                  <a:gd name="T21" fmla="*/ 49 h 103"/>
                  <a:gd name="T22" fmla="*/ 3 w 97"/>
                  <a:gd name="T23" fmla="*/ 103 h 103"/>
                  <a:gd name="T24" fmla="*/ 2 w 97"/>
                  <a:gd name="T25" fmla="*/ 103 h 103"/>
                  <a:gd name="T26" fmla="*/ 4 w 97"/>
                  <a:gd name="T27" fmla="*/ 23 h 103"/>
                  <a:gd name="T28" fmla="*/ 4 w 97"/>
                  <a:gd name="T29" fmla="*/ 98 h 103"/>
                  <a:gd name="T30" fmla="*/ 93 w 97"/>
                  <a:gd name="T31" fmla="*/ 46 h 103"/>
                  <a:gd name="T32" fmla="*/ 93 w 97"/>
                  <a:gd name="T33" fmla="*/ 37 h 103"/>
                  <a:gd name="T34" fmla="*/ 36 w 97"/>
                  <a:gd name="T35" fmla="*/ 4 h 103"/>
                  <a:gd name="T36" fmla="*/ 4 w 97"/>
                  <a:gd name="T37" fmla="*/ 2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103">
                    <a:moveTo>
                      <a:pt x="2" y="103"/>
                    </a:move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1"/>
                      <a:pt x="0" y="21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7" y="0"/>
                      <a:pt x="37" y="0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6" y="35"/>
                      <a:pt x="97" y="35"/>
                      <a:pt x="97" y="36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48"/>
                      <a:pt x="96" y="49"/>
                      <a:pt x="96" y="49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2" y="103"/>
                      <a:pt x="2" y="103"/>
                      <a:pt x="2" y="103"/>
                    </a:cubicBezTo>
                    <a:close/>
                    <a:moveTo>
                      <a:pt x="4" y="23"/>
                    </a:moveTo>
                    <a:cubicBezTo>
                      <a:pt x="4" y="98"/>
                      <a:pt x="4" y="98"/>
                      <a:pt x="4" y="98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93" y="37"/>
                      <a:pt x="93" y="37"/>
                      <a:pt x="93" y="37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8" name="Freeform 1006">
                <a:extLst>
                  <a:ext uri="{FF2B5EF4-FFF2-40B4-BE49-F238E27FC236}">
                    <a16:creationId xmlns:a16="http://schemas.microsoft.com/office/drawing/2014/main" id="{A8371E65-32E1-4FAC-ABCA-B605CC2529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91489" y="5229694"/>
                <a:ext cx="237597" cy="328900"/>
              </a:xfrm>
              <a:custGeom>
                <a:avLst/>
                <a:gdLst>
                  <a:gd name="T0" fmla="*/ 95 w 97"/>
                  <a:gd name="T1" fmla="*/ 134 h 134"/>
                  <a:gd name="T2" fmla="*/ 94 w 97"/>
                  <a:gd name="T3" fmla="*/ 134 h 134"/>
                  <a:gd name="T4" fmla="*/ 36 w 97"/>
                  <a:gd name="T5" fmla="*/ 100 h 134"/>
                  <a:gd name="T6" fmla="*/ 3 w 97"/>
                  <a:gd name="T7" fmla="*/ 120 h 134"/>
                  <a:gd name="T8" fmla="*/ 1 w 97"/>
                  <a:gd name="T9" fmla="*/ 120 h 134"/>
                  <a:gd name="T10" fmla="*/ 0 w 97"/>
                  <a:gd name="T11" fmla="*/ 118 h 134"/>
                  <a:gd name="T12" fmla="*/ 0 w 97"/>
                  <a:gd name="T13" fmla="*/ 50 h 134"/>
                  <a:gd name="T14" fmla="*/ 1 w 97"/>
                  <a:gd name="T15" fmla="*/ 48 h 134"/>
                  <a:gd name="T16" fmla="*/ 82 w 97"/>
                  <a:gd name="T17" fmla="*/ 1 h 134"/>
                  <a:gd name="T18" fmla="*/ 84 w 97"/>
                  <a:gd name="T19" fmla="*/ 1 h 134"/>
                  <a:gd name="T20" fmla="*/ 96 w 97"/>
                  <a:gd name="T21" fmla="*/ 8 h 134"/>
                  <a:gd name="T22" fmla="*/ 97 w 97"/>
                  <a:gd name="T23" fmla="*/ 9 h 134"/>
                  <a:gd name="T24" fmla="*/ 97 w 97"/>
                  <a:gd name="T25" fmla="*/ 132 h 134"/>
                  <a:gd name="T26" fmla="*/ 96 w 97"/>
                  <a:gd name="T27" fmla="*/ 134 h 134"/>
                  <a:gd name="T28" fmla="*/ 95 w 97"/>
                  <a:gd name="T29" fmla="*/ 134 h 134"/>
                  <a:gd name="T30" fmla="*/ 36 w 97"/>
                  <a:gd name="T31" fmla="*/ 96 h 134"/>
                  <a:gd name="T32" fmla="*/ 37 w 97"/>
                  <a:gd name="T33" fmla="*/ 96 h 134"/>
                  <a:gd name="T34" fmla="*/ 93 w 97"/>
                  <a:gd name="T35" fmla="*/ 129 h 134"/>
                  <a:gd name="T36" fmla="*/ 93 w 97"/>
                  <a:gd name="T37" fmla="*/ 10 h 134"/>
                  <a:gd name="T38" fmla="*/ 83 w 97"/>
                  <a:gd name="T39" fmla="*/ 5 h 134"/>
                  <a:gd name="T40" fmla="*/ 4 w 97"/>
                  <a:gd name="T41" fmla="*/ 51 h 134"/>
                  <a:gd name="T42" fmla="*/ 4 w 97"/>
                  <a:gd name="T43" fmla="*/ 115 h 134"/>
                  <a:gd name="T44" fmla="*/ 35 w 97"/>
                  <a:gd name="T45" fmla="*/ 96 h 134"/>
                  <a:gd name="T46" fmla="*/ 36 w 97"/>
                  <a:gd name="T47" fmla="*/ 9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7" h="134">
                    <a:moveTo>
                      <a:pt x="95" y="134"/>
                    </a:moveTo>
                    <a:cubicBezTo>
                      <a:pt x="94" y="134"/>
                      <a:pt x="94" y="134"/>
                      <a:pt x="94" y="134"/>
                    </a:cubicBezTo>
                    <a:cubicBezTo>
                      <a:pt x="36" y="100"/>
                      <a:pt x="36" y="100"/>
                      <a:pt x="36" y="10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2" y="120"/>
                      <a:pt x="1" y="120"/>
                      <a:pt x="1" y="120"/>
                    </a:cubicBezTo>
                    <a:cubicBezTo>
                      <a:pt x="0" y="119"/>
                      <a:pt x="0" y="119"/>
                      <a:pt x="0" y="118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49"/>
                      <a:pt x="0" y="48"/>
                      <a:pt x="1" y="48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3" y="0"/>
                      <a:pt x="83" y="0"/>
                      <a:pt x="84" y="1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97" y="9"/>
                      <a:pt x="97" y="9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7" y="133"/>
                      <a:pt x="96" y="133"/>
                      <a:pt x="96" y="134"/>
                    </a:cubicBezTo>
                    <a:cubicBezTo>
                      <a:pt x="95" y="134"/>
                      <a:pt x="95" y="134"/>
                      <a:pt x="95" y="134"/>
                    </a:cubicBezTo>
                    <a:close/>
                    <a:moveTo>
                      <a:pt x="36" y="96"/>
                    </a:moveTo>
                    <a:cubicBezTo>
                      <a:pt x="36" y="96"/>
                      <a:pt x="37" y="96"/>
                      <a:pt x="37" y="96"/>
                    </a:cubicBezTo>
                    <a:cubicBezTo>
                      <a:pt x="93" y="129"/>
                      <a:pt x="93" y="129"/>
                      <a:pt x="93" y="12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6"/>
                      <a:pt x="36" y="96"/>
                      <a:pt x="36" y="9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9" name="Freeform 1007">
                <a:extLst>
                  <a:ext uri="{FF2B5EF4-FFF2-40B4-BE49-F238E27FC236}">
                    <a16:creationId xmlns:a16="http://schemas.microsoft.com/office/drawing/2014/main" id="{482FA72A-90D2-4CAE-B2FC-64E4ED9D7DE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160062" y="5335523"/>
                <a:ext cx="19713" cy="19713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2 h 8"/>
                  <a:gd name="T8" fmla="*/ 1 w 8"/>
                  <a:gd name="T9" fmla="*/ 0 h 8"/>
                  <a:gd name="T10" fmla="*/ 3 w 8"/>
                  <a:gd name="T11" fmla="*/ 0 h 8"/>
                  <a:gd name="T12" fmla="*/ 7 w 8"/>
                  <a:gd name="T13" fmla="*/ 2 h 8"/>
                  <a:gd name="T14" fmla="*/ 8 w 8"/>
                  <a:gd name="T15" fmla="*/ 4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5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0" name="Freeform 1008">
                <a:extLst>
                  <a:ext uri="{FF2B5EF4-FFF2-40B4-BE49-F238E27FC236}">
                    <a16:creationId xmlns:a16="http://schemas.microsoft.com/office/drawing/2014/main" id="{E8F1CB41-59FB-4633-B59D-EFF5A1640A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214014" y="5820054"/>
                <a:ext cx="261460" cy="415016"/>
              </a:xfrm>
              <a:custGeom>
                <a:avLst/>
                <a:gdLst>
                  <a:gd name="T0" fmla="*/ 36 w 107"/>
                  <a:gd name="T1" fmla="*/ 169 h 169"/>
                  <a:gd name="T2" fmla="*/ 35 w 107"/>
                  <a:gd name="T3" fmla="*/ 169 h 169"/>
                  <a:gd name="T4" fmla="*/ 16 w 107"/>
                  <a:gd name="T5" fmla="*/ 158 h 169"/>
                  <a:gd name="T6" fmla="*/ 15 w 107"/>
                  <a:gd name="T7" fmla="*/ 156 h 169"/>
                  <a:gd name="T8" fmla="*/ 16 w 107"/>
                  <a:gd name="T9" fmla="*/ 154 h 169"/>
                  <a:gd name="T10" fmla="*/ 26 w 107"/>
                  <a:gd name="T11" fmla="*/ 149 h 169"/>
                  <a:gd name="T12" fmla="*/ 1 w 107"/>
                  <a:gd name="T13" fmla="*/ 135 h 169"/>
                  <a:gd name="T14" fmla="*/ 0 w 107"/>
                  <a:gd name="T15" fmla="*/ 133 h 169"/>
                  <a:gd name="T16" fmla="*/ 0 w 107"/>
                  <a:gd name="T17" fmla="*/ 2 h 169"/>
                  <a:gd name="T18" fmla="*/ 1 w 107"/>
                  <a:gd name="T19" fmla="*/ 0 h 169"/>
                  <a:gd name="T20" fmla="*/ 3 w 107"/>
                  <a:gd name="T21" fmla="*/ 0 h 169"/>
                  <a:gd name="T22" fmla="*/ 106 w 107"/>
                  <a:gd name="T23" fmla="*/ 60 h 169"/>
                  <a:gd name="T24" fmla="*/ 107 w 107"/>
                  <a:gd name="T25" fmla="*/ 62 h 169"/>
                  <a:gd name="T26" fmla="*/ 107 w 107"/>
                  <a:gd name="T27" fmla="*/ 119 h 169"/>
                  <a:gd name="T28" fmla="*/ 106 w 107"/>
                  <a:gd name="T29" fmla="*/ 120 h 169"/>
                  <a:gd name="T30" fmla="*/ 45 w 107"/>
                  <a:gd name="T31" fmla="*/ 156 h 169"/>
                  <a:gd name="T32" fmla="*/ 49 w 107"/>
                  <a:gd name="T33" fmla="*/ 158 h 169"/>
                  <a:gd name="T34" fmla="*/ 50 w 107"/>
                  <a:gd name="T35" fmla="*/ 160 h 169"/>
                  <a:gd name="T36" fmla="*/ 49 w 107"/>
                  <a:gd name="T37" fmla="*/ 162 h 169"/>
                  <a:gd name="T38" fmla="*/ 37 w 107"/>
                  <a:gd name="T39" fmla="*/ 169 h 169"/>
                  <a:gd name="T40" fmla="*/ 36 w 107"/>
                  <a:gd name="T41" fmla="*/ 169 h 169"/>
                  <a:gd name="T42" fmla="*/ 21 w 107"/>
                  <a:gd name="T43" fmla="*/ 156 h 169"/>
                  <a:gd name="T44" fmla="*/ 36 w 107"/>
                  <a:gd name="T45" fmla="*/ 164 h 169"/>
                  <a:gd name="T46" fmla="*/ 44 w 107"/>
                  <a:gd name="T47" fmla="*/ 160 h 169"/>
                  <a:gd name="T48" fmla="*/ 40 w 107"/>
                  <a:gd name="T49" fmla="*/ 157 h 169"/>
                  <a:gd name="T50" fmla="*/ 39 w 107"/>
                  <a:gd name="T51" fmla="*/ 156 h 169"/>
                  <a:gd name="T52" fmla="*/ 40 w 107"/>
                  <a:gd name="T53" fmla="*/ 154 h 169"/>
                  <a:gd name="T54" fmla="*/ 103 w 107"/>
                  <a:gd name="T55" fmla="*/ 118 h 169"/>
                  <a:gd name="T56" fmla="*/ 103 w 107"/>
                  <a:gd name="T57" fmla="*/ 63 h 169"/>
                  <a:gd name="T58" fmla="*/ 4 w 107"/>
                  <a:gd name="T59" fmla="*/ 6 h 169"/>
                  <a:gd name="T60" fmla="*/ 4 w 107"/>
                  <a:gd name="T61" fmla="*/ 132 h 169"/>
                  <a:gd name="T62" fmla="*/ 31 w 107"/>
                  <a:gd name="T63" fmla="*/ 147 h 169"/>
                  <a:gd name="T64" fmla="*/ 32 w 107"/>
                  <a:gd name="T65" fmla="*/ 149 h 169"/>
                  <a:gd name="T66" fmla="*/ 31 w 107"/>
                  <a:gd name="T67" fmla="*/ 151 h 169"/>
                  <a:gd name="T68" fmla="*/ 21 w 107"/>
                  <a:gd name="T69" fmla="*/ 156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169">
                    <a:moveTo>
                      <a:pt x="36" y="169"/>
                    </a:moveTo>
                    <a:cubicBezTo>
                      <a:pt x="36" y="169"/>
                      <a:pt x="35" y="169"/>
                      <a:pt x="35" y="16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16" y="157"/>
                      <a:pt x="15" y="157"/>
                      <a:pt x="15" y="156"/>
                    </a:cubicBezTo>
                    <a:cubicBezTo>
                      <a:pt x="15" y="155"/>
                      <a:pt x="16" y="155"/>
                      <a:pt x="16" y="154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4"/>
                      <a:pt x="0" y="133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06" y="60"/>
                      <a:pt x="106" y="60"/>
                      <a:pt x="106" y="60"/>
                    </a:cubicBezTo>
                    <a:cubicBezTo>
                      <a:pt x="106" y="60"/>
                      <a:pt x="107" y="61"/>
                      <a:pt x="107" y="62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19"/>
                      <a:pt x="106" y="120"/>
                      <a:pt x="106" y="120"/>
                    </a:cubicBezTo>
                    <a:cubicBezTo>
                      <a:pt x="45" y="156"/>
                      <a:pt x="45" y="156"/>
                      <a:pt x="45" y="156"/>
                    </a:cubicBezTo>
                    <a:cubicBezTo>
                      <a:pt x="49" y="158"/>
                      <a:pt x="49" y="158"/>
                      <a:pt x="49" y="158"/>
                    </a:cubicBezTo>
                    <a:cubicBezTo>
                      <a:pt x="50" y="158"/>
                      <a:pt x="50" y="159"/>
                      <a:pt x="50" y="160"/>
                    </a:cubicBezTo>
                    <a:cubicBezTo>
                      <a:pt x="50" y="161"/>
                      <a:pt x="50" y="161"/>
                      <a:pt x="49" y="162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7" y="169"/>
                      <a:pt x="36" y="169"/>
                      <a:pt x="36" y="169"/>
                    </a:cubicBezTo>
                    <a:close/>
                    <a:moveTo>
                      <a:pt x="21" y="156"/>
                    </a:moveTo>
                    <a:cubicBezTo>
                      <a:pt x="36" y="164"/>
                      <a:pt x="36" y="164"/>
                      <a:pt x="36" y="164"/>
                    </a:cubicBezTo>
                    <a:cubicBezTo>
                      <a:pt x="44" y="160"/>
                      <a:pt x="44" y="160"/>
                      <a:pt x="44" y="160"/>
                    </a:cubicBezTo>
                    <a:cubicBezTo>
                      <a:pt x="40" y="157"/>
                      <a:pt x="40" y="157"/>
                      <a:pt x="40" y="157"/>
                    </a:cubicBezTo>
                    <a:cubicBezTo>
                      <a:pt x="39" y="157"/>
                      <a:pt x="39" y="156"/>
                      <a:pt x="39" y="156"/>
                    </a:cubicBezTo>
                    <a:cubicBezTo>
                      <a:pt x="39" y="155"/>
                      <a:pt x="39" y="154"/>
                      <a:pt x="40" y="154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3" y="63"/>
                      <a:pt x="103" y="63"/>
                      <a:pt x="103" y="6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31" y="147"/>
                      <a:pt x="31" y="147"/>
                      <a:pt x="31" y="147"/>
                    </a:cubicBezTo>
                    <a:cubicBezTo>
                      <a:pt x="31" y="148"/>
                      <a:pt x="32" y="148"/>
                      <a:pt x="32" y="149"/>
                    </a:cubicBezTo>
                    <a:cubicBezTo>
                      <a:pt x="32" y="150"/>
                      <a:pt x="31" y="150"/>
                      <a:pt x="31" y="151"/>
                    </a:cubicBezTo>
                    <a:lnTo>
                      <a:pt x="21" y="15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1" name="Freeform 1009">
                <a:extLst>
                  <a:ext uri="{FF2B5EF4-FFF2-40B4-BE49-F238E27FC236}">
                    <a16:creationId xmlns:a16="http://schemas.microsoft.com/office/drawing/2014/main" id="{A92F779E-E15D-4EF2-AA16-A1772754C0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47611" y="6089814"/>
                <a:ext cx="73665" cy="240709"/>
              </a:xfrm>
              <a:custGeom>
                <a:avLst/>
                <a:gdLst>
                  <a:gd name="T0" fmla="*/ 28 w 30"/>
                  <a:gd name="T1" fmla="*/ 98 h 98"/>
                  <a:gd name="T2" fmla="*/ 27 w 30"/>
                  <a:gd name="T3" fmla="*/ 98 h 98"/>
                  <a:gd name="T4" fmla="*/ 1 w 30"/>
                  <a:gd name="T5" fmla="*/ 83 h 98"/>
                  <a:gd name="T6" fmla="*/ 0 w 30"/>
                  <a:gd name="T7" fmla="*/ 82 h 98"/>
                  <a:gd name="T8" fmla="*/ 0 w 30"/>
                  <a:gd name="T9" fmla="*/ 10 h 98"/>
                  <a:gd name="T10" fmla="*/ 1 w 30"/>
                  <a:gd name="T11" fmla="*/ 8 h 98"/>
                  <a:gd name="T12" fmla="*/ 14 w 30"/>
                  <a:gd name="T13" fmla="*/ 1 h 98"/>
                  <a:gd name="T14" fmla="*/ 16 w 30"/>
                  <a:gd name="T15" fmla="*/ 1 h 98"/>
                  <a:gd name="T16" fmla="*/ 17 w 30"/>
                  <a:gd name="T17" fmla="*/ 3 h 98"/>
                  <a:gd name="T18" fmla="*/ 17 w 30"/>
                  <a:gd name="T19" fmla="*/ 83 h 98"/>
                  <a:gd name="T20" fmla="*/ 27 w 30"/>
                  <a:gd name="T21" fmla="*/ 77 h 98"/>
                  <a:gd name="T22" fmla="*/ 29 w 30"/>
                  <a:gd name="T23" fmla="*/ 77 h 98"/>
                  <a:gd name="T24" fmla="*/ 30 w 30"/>
                  <a:gd name="T25" fmla="*/ 79 h 98"/>
                  <a:gd name="T26" fmla="*/ 30 w 30"/>
                  <a:gd name="T27" fmla="*/ 96 h 98"/>
                  <a:gd name="T28" fmla="*/ 29 w 30"/>
                  <a:gd name="T29" fmla="*/ 98 h 98"/>
                  <a:gd name="T30" fmla="*/ 28 w 30"/>
                  <a:gd name="T31" fmla="*/ 98 h 98"/>
                  <a:gd name="T32" fmla="*/ 17 w 30"/>
                  <a:gd name="T33" fmla="*/ 88 h 98"/>
                  <a:gd name="T34" fmla="*/ 26 w 30"/>
                  <a:gd name="T35" fmla="*/ 93 h 98"/>
                  <a:gd name="T36" fmla="*/ 26 w 30"/>
                  <a:gd name="T37" fmla="*/ 83 h 98"/>
                  <a:gd name="T38" fmla="*/ 17 w 30"/>
                  <a:gd name="T39" fmla="*/ 88 h 98"/>
                  <a:gd name="T40" fmla="*/ 17 w 30"/>
                  <a:gd name="T41" fmla="*/ 88 h 98"/>
                  <a:gd name="T42" fmla="*/ 4 w 30"/>
                  <a:gd name="T43" fmla="*/ 80 h 98"/>
                  <a:gd name="T44" fmla="*/ 13 w 30"/>
                  <a:gd name="T45" fmla="*/ 85 h 98"/>
                  <a:gd name="T46" fmla="*/ 13 w 30"/>
                  <a:gd name="T47" fmla="*/ 6 h 98"/>
                  <a:gd name="T48" fmla="*/ 4 w 30"/>
                  <a:gd name="T49" fmla="*/ 11 h 98"/>
                  <a:gd name="T50" fmla="*/ 4 w 30"/>
                  <a:gd name="T51" fmla="*/ 8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98">
                    <a:moveTo>
                      <a:pt x="28" y="98"/>
                    </a:moveTo>
                    <a:cubicBezTo>
                      <a:pt x="28" y="98"/>
                      <a:pt x="27" y="98"/>
                      <a:pt x="27" y="98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2"/>
                      <a:pt x="0" y="8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7" y="3"/>
                    </a:cubicBezTo>
                    <a:cubicBezTo>
                      <a:pt x="17" y="83"/>
                      <a:pt x="17" y="83"/>
                      <a:pt x="17" y="83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8" y="77"/>
                      <a:pt x="28" y="77"/>
                      <a:pt x="29" y="77"/>
                    </a:cubicBezTo>
                    <a:cubicBezTo>
                      <a:pt x="30" y="78"/>
                      <a:pt x="30" y="78"/>
                      <a:pt x="30" y="79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7"/>
                      <a:pt x="30" y="98"/>
                      <a:pt x="29" y="98"/>
                    </a:cubicBezTo>
                    <a:cubicBezTo>
                      <a:pt x="29" y="98"/>
                      <a:pt x="28" y="98"/>
                      <a:pt x="28" y="98"/>
                    </a:cubicBezTo>
                    <a:close/>
                    <a:moveTo>
                      <a:pt x="17" y="88"/>
                    </a:moveTo>
                    <a:cubicBezTo>
                      <a:pt x="26" y="93"/>
                      <a:pt x="26" y="93"/>
                      <a:pt x="26" y="93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17" y="88"/>
                      <a:pt x="17" y="88"/>
                      <a:pt x="17" y="88"/>
                    </a:cubicBezTo>
                    <a:cubicBezTo>
                      <a:pt x="17" y="88"/>
                      <a:pt x="17" y="88"/>
                      <a:pt x="17" y="88"/>
                    </a:cubicBezTo>
                    <a:close/>
                    <a:moveTo>
                      <a:pt x="4" y="80"/>
                    </a:move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8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2" name="Freeform 1010">
                <a:extLst>
                  <a:ext uri="{FF2B5EF4-FFF2-40B4-BE49-F238E27FC236}">
                    <a16:creationId xmlns:a16="http://schemas.microsoft.com/office/drawing/2014/main" id="{6609EAB9-D31F-4B6F-B3E9-3F042DCB39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74587" y="6266196"/>
                <a:ext cx="154594" cy="206470"/>
              </a:xfrm>
              <a:custGeom>
                <a:avLst/>
                <a:gdLst>
                  <a:gd name="T0" fmla="*/ 61 w 63"/>
                  <a:gd name="T1" fmla="*/ 84 h 84"/>
                  <a:gd name="T2" fmla="*/ 60 w 63"/>
                  <a:gd name="T3" fmla="*/ 83 h 84"/>
                  <a:gd name="T4" fmla="*/ 1 w 63"/>
                  <a:gd name="T5" fmla="*/ 49 h 84"/>
                  <a:gd name="T6" fmla="*/ 0 w 63"/>
                  <a:gd name="T7" fmla="*/ 48 h 84"/>
                  <a:gd name="T8" fmla="*/ 0 w 63"/>
                  <a:gd name="T9" fmla="*/ 2 h 84"/>
                  <a:gd name="T10" fmla="*/ 1 w 63"/>
                  <a:gd name="T11" fmla="*/ 0 h 84"/>
                  <a:gd name="T12" fmla="*/ 3 w 63"/>
                  <a:gd name="T13" fmla="*/ 0 h 84"/>
                  <a:gd name="T14" fmla="*/ 44 w 63"/>
                  <a:gd name="T15" fmla="*/ 24 h 84"/>
                  <a:gd name="T16" fmla="*/ 44 w 63"/>
                  <a:gd name="T17" fmla="*/ 23 h 84"/>
                  <a:gd name="T18" fmla="*/ 45 w 63"/>
                  <a:gd name="T19" fmla="*/ 21 h 84"/>
                  <a:gd name="T20" fmla="*/ 47 w 63"/>
                  <a:gd name="T21" fmla="*/ 21 h 84"/>
                  <a:gd name="T22" fmla="*/ 62 w 63"/>
                  <a:gd name="T23" fmla="*/ 30 h 84"/>
                  <a:gd name="T24" fmla="*/ 63 w 63"/>
                  <a:gd name="T25" fmla="*/ 31 h 84"/>
                  <a:gd name="T26" fmla="*/ 63 w 63"/>
                  <a:gd name="T27" fmla="*/ 82 h 84"/>
                  <a:gd name="T28" fmla="*/ 62 w 63"/>
                  <a:gd name="T29" fmla="*/ 83 h 84"/>
                  <a:gd name="T30" fmla="*/ 61 w 63"/>
                  <a:gd name="T31" fmla="*/ 84 h 84"/>
                  <a:gd name="T32" fmla="*/ 4 w 63"/>
                  <a:gd name="T33" fmla="*/ 46 h 84"/>
                  <a:gd name="T34" fmla="*/ 59 w 63"/>
                  <a:gd name="T35" fmla="*/ 78 h 84"/>
                  <a:gd name="T36" fmla="*/ 59 w 63"/>
                  <a:gd name="T37" fmla="*/ 33 h 84"/>
                  <a:gd name="T38" fmla="*/ 48 w 63"/>
                  <a:gd name="T39" fmla="*/ 26 h 84"/>
                  <a:gd name="T40" fmla="*/ 48 w 63"/>
                  <a:gd name="T41" fmla="*/ 27 h 84"/>
                  <a:gd name="T42" fmla="*/ 47 w 63"/>
                  <a:gd name="T43" fmla="*/ 29 h 84"/>
                  <a:gd name="T44" fmla="*/ 45 w 63"/>
                  <a:gd name="T45" fmla="*/ 29 h 84"/>
                  <a:gd name="T46" fmla="*/ 4 w 63"/>
                  <a:gd name="T47" fmla="*/ 5 h 84"/>
                  <a:gd name="T48" fmla="*/ 4 w 63"/>
                  <a:gd name="T49" fmla="*/ 4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84">
                    <a:moveTo>
                      <a:pt x="61" y="84"/>
                    </a:moveTo>
                    <a:cubicBezTo>
                      <a:pt x="61" y="84"/>
                      <a:pt x="61" y="84"/>
                      <a:pt x="60" y="83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49"/>
                      <a:pt x="0" y="48"/>
                      <a:pt x="0" y="4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2"/>
                      <a:pt x="45" y="21"/>
                      <a:pt x="45" y="21"/>
                    </a:cubicBezTo>
                    <a:cubicBezTo>
                      <a:pt x="46" y="21"/>
                      <a:pt x="47" y="21"/>
                      <a:pt x="47" y="21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3" y="31"/>
                      <a:pt x="63" y="31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63" y="82"/>
                      <a:pt x="63" y="83"/>
                      <a:pt x="62" y="83"/>
                    </a:cubicBezTo>
                    <a:cubicBezTo>
                      <a:pt x="62" y="84"/>
                      <a:pt x="62" y="84"/>
                      <a:pt x="61" y="84"/>
                    </a:cubicBezTo>
                    <a:close/>
                    <a:moveTo>
                      <a:pt x="4" y="46"/>
                    </a:moveTo>
                    <a:cubicBezTo>
                      <a:pt x="59" y="78"/>
                      <a:pt x="59" y="78"/>
                      <a:pt x="59" y="78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8" y="28"/>
                      <a:pt x="48" y="29"/>
                      <a:pt x="47" y="29"/>
                    </a:cubicBezTo>
                    <a:cubicBezTo>
                      <a:pt x="47" y="29"/>
                      <a:pt x="46" y="29"/>
                      <a:pt x="45" y="2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3" name="Freeform 1011">
                <a:extLst>
                  <a:ext uri="{FF2B5EF4-FFF2-40B4-BE49-F238E27FC236}">
                    <a16:creationId xmlns:a16="http://schemas.microsoft.com/office/drawing/2014/main" id="{0DC888E0-58C2-46E6-8A47-B15B597FFB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75775" y="6289022"/>
                <a:ext cx="615262" cy="592435"/>
              </a:xfrm>
              <a:custGeom>
                <a:avLst/>
                <a:gdLst>
                  <a:gd name="T0" fmla="*/ 213 w 251"/>
                  <a:gd name="T1" fmla="*/ 242 h 242"/>
                  <a:gd name="T2" fmla="*/ 13 w 251"/>
                  <a:gd name="T3" fmla="*/ 239 h 242"/>
                  <a:gd name="T4" fmla="*/ 1 w 251"/>
                  <a:gd name="T5" fmla="*/ 234 h 242"/>
                  <a:gd name="T6" fmla="*/ 1 w 251"/>
                  <a:gd name="T7" fmla="*/ 230 h 242"/>
                  <a:gd name="T8" fmla="*/ 68 w 251"/>
                  <a:gd name="T9" fmla="*/ 193 h 242"/>
                  <a:gd name="T10" fmla="*/ 69 w 251"/>
                  <a:gd name="T11" fmla="*/ 195 h 242"/>
                  <a:gd name="T12" fmla="*/ 127 w 251"/>
                  <a:gd name="T13" fmla="*/ 82 h 242"/>
                  <a:gd name="T14" fmla="*/ 132 w 251"/>
                  <a:gd name="T15" fmla="*/ 78 h 242"/>
                  <a:gd name="T16" fmla="*/ 127 w 251"/>
                  <a:gd name="T17" fmla="*/ 74 h 242"/>
                  <a:gd name="T18" fmla="*/ 111 w 251"/>
                  <a:gd name="T19" fmla="*/ 14 h 242"/>
                  <a:gd name="T20" fmla="*/ 110 w 251"/>
                  <a:gd name="T21" fmla="*/ 3 h 242"/>
                  <a:gd name="T22" fmla="*/ 113 w 251"/>
                  <a:gd name="T23" fmla="*/ 1 h 242"/>
                  <a:gd name="T24" fmla="*/ 140 w 251"/>
                  <a:gd name="T25" fmla="*/ 17 h 242"/>
                  <a:gd name="T26" fmla="*/ 250 w 251"/>
                  <a:gd name="T27" fmla="*/ 211 h 242"/>
                  <a:gd name="T28" fmla="*/ 251 w 251"/>
                  <a:gd name="T29" fmla="*/ 228 h 242"/>
                  <a:gd name="T30" fmla="*/ 248 w 251"/>
                  <a:gd name="T31" fmla="*/ 230 h 242"/>
                  <a:gd name="T32" fmla="*/ 215 w 251"/>
                  <a:gd name="T33" fmla="*/ 242 h 242"/>
                  <a:gd name="T34" fmla="*/ 111 w 251"/>
                  <a:gd name="T35" fmla="*/ 178 h 242"/>
                  <a:gd name="T36" fmla="*/ 214 w 251"/>
                  <a:gd name="T37" fmla="*/ 238 h 242"/>
                  <a:gd name="T38" fmla="*/ 243 w 251"/>
                  <a:gd name="T39" fmla="*/ 222 h 242"/>
                  <a:gd name="T40" fmla="*/ 247 w 251"/>
                  <a:gd name="T41" fmla="*/ 214 h 242"/>
                  <a:gd name="T42" fmla="*/ 136 w 251"/>
                  <a:gd name="T43" fmla="*/ 149 h 242"/>
                  <a:gd name="T44" fmla="*/ 131 w 251"/>
                  <a:gd name="T45" fmla="*/ 83 h 242"/>
                  <a:gd name="T46" fmla="*/ 130 w 251"/>
                  <a:gd name="T47" fmla="*/ 164 h 242"/>
                  <a:gd name="T48" fmla="*/ 66 w 251"/>
                  <a:gd name="T49" fmla="*/ 200 h 242"/>
                  <a:gd name="T50" fmla="*/ 65 w 251"/>
                  <a:gd name="T51" fmla="*/ 198 h 242"/>
                  <a:gd name="T52" fmla="*/ 12 w 251"/>
                  <a:gd name="T53" fmla="*/ 235 h 242"/>
                  <a:gd name="T54" fmla="*/ 111 w 251"/>
                  <a:gd name="T55" fmla="*/ 178 h 242"/>
                  <a:gd name="T56" fmla="*/ 136 w 251"/>
                  <a:gd name="T57" fmla="*/ 75 h 242"/>
                  <a:gd name="T58" fmla="*/ 114 w 251"/>
                  <a:gd name="T59" fmla="*/ 6 h 242"/>
                  <a:gd name="T60" fmla="*/ 130 w 251"/>
                  <a:gd name="T61" fmla="*/ 20 h 242"/>
                  <a:gd name="T62" fmla="*/ 131 w 251"/>
                  <a:gd name="T63" fmla="*/ 7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1" h="242">
                    <a:moveTo>
                      <a:pt x="214" y="242"/>
                    </a:moveTo>
                    <a:cubicBezTo>
                      <a:pt x="214" y="242"/>
                      <a:pt x="214" y="242"/>
                      <a:pt x="213" y="242"/>
                    </a:cubicBezTo>
                    <a:cubicBezTo>
                      <a:pt x="111" y="183"/>
                      <a:pt x="111" y="183"/>
                      <a:pt x="111" y="183"/>
                    </a:cubicBezTo>
                    <a:cubicBezTo>
                      <a:pt x="13" y="239"/>
                      <a:pt x="13" y="239"/>
                      <a:pt x="13" y="239"/>
                    </a:cubicBezTo>
                    <a:cubicBezTo>
                      <a:pt x="13" y="240"/>
                      <a:pt x="12" y="240"/>
                      <a:pt x="11" y="239"/>
                    </a:cubicBezTo>
                    <a:cubicBezTo>
                      <a:pt x="1" y="234"/>
                      <a:pt x="1" y="234"/>
                      <a:pt x="1" y="234"/>
                    </a:cubicBezTo>
                    <a:cubicBezTo>
                      <a:pt x="1" y="233"/>
                      <a:pt x="0" y="233"/>
                      <a:pt x="0" y="232"/>
                    </a:cubicBezTo>
                    <a:cubicBezTo>
                      <a:pt x="0" y="231"/>
                      <a:pt x="1" y="231"/>
                      <a:pt x="1" y="230"/>
                    </a:cubicBezTo>
                    <a:cubicBezTo>
                      <a:pt x="66" y="193"/>
                      <a:pt x="66" y="193"/>
                      <a:pt x="66" y="193"/>
                    </a:cubicBezTo>
                    <a:cubicBezTo>
                      <a:pt x="66" y="193"/>
                      <a:pt x="67" y="193"/>
                      <a:pt x="68" y="193"/>
                    </a:cubicBezTo>
                    <a:cubicBezTo>
                      <a:pt x="68" y="193"/>
                      <a:pt x="69" y="194"/>
                      <a:pt x="69" y="195"/>
                    </a:cubicBezTo>
                    <a:cubicBezTo>
                      <a:pt x="69" y="195"/>
                      <a:pt x="69" y="195"/>
                      <a:pt x="69" y="195"/>
                    </a:cubicBezTo>
                    <a:cubicBezTo>
                      <a:pt x="127" y="161"/>
                      <a:pt x="127" y="161"/>
                      <a:pt x="127" y="161"/>
                    </a:cubicBezTo>
                    <a:cubicBezTo>
                      <a:pt x="127" y="82"/>
                      <a:pt x="127" y="82"/>
                      <a:pt x="127" y="82"/>
                    </a:cubicBezTo>
                    <a:cubicBezTo>
                      <a:pt x="127" y="81"/>
                      <a:pt x="127" y="80"/>
                      <a:pt x="128" y="80"/>
                    </a:cubicBezTo>
                    <a:cubicBezTo>
                      <a:pt x="132" y="78"/>
                      <a:pt x="132" y="78"/>
                      <a:pt x="132" y="78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7" y="75"/>
                      <a:pt x="127" y="74"/>
                      <a:pt x="127" y="74"/>
                    </a:cubicBezTo>
                    <a:cubicBezTo>
                      <a:pt x="127" y="23"/>
                      <a:pt x="127" y="23"/>
                      <a:pt x="127" y="23"/>
                    </a:cubicBezTo>
                    <a:cubicBezTo>
                      <a:pt x="111" y="14"/>
                      <a:pt x="111" y="14"/>
                      <a:pt x="111" y="14"/>
                    </a:cubicBezTo>
                    <a:cubicBezTo>
                      <a:pt x="111" y="13"/>
                      <a:pt x="110" y="13"/>
                      <a:pt x="110" y="12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10" y="2"/>
                      <a:pt x="111" y="1"/>
                      <a:pt x="111" y="1"/>
                    </a:cubicBezTo>
                    <a:cubicBezTo>
                      <a:pt x="112" y="0"/>
                      <a:pt x="113" y="0"/>
                      <a:pt x="113" y="1"/>
                    </a:cubicBezTo>
                    <a:cubicBezTo>
                      <a:pt x="139" y="16"/>
                      <a:pt x="139" y="16"/>
                      <a:pt x="139" y="16"/>
                    </a:cubicBezTo>
                    <a:cubicBezTo>
                      <a:pt x="140" y="16"/>
                      <a:pt x="140" y="17"/>
                      <a:pt x="140" y="17"/>
                    </a:cubicBezTo>
                    <a:cubicBezTo>
                      <a:pt x="140" y="147"/>
                      <a:pt x="140" y="147"/>
                      <a:pt x="140" y="147"/>
                    </a:cubicBezTo>
                    <a:cubicBezTo>
                      <a:pt x="250" y="211"/>
                      <a:pt x="250" y="211"/>
                      <a:pt x="250" y="211"/>
                    </a:cubicBezTo>
                    <a:cubicBezTo>
                      <a:pt x="250" y="211"/>
                      <a:pt x="251" y="212"/>
                      <a:pt x="251" y="212"/>
                    </a:cubicBezTo>
                    <a:cubicBezTo>
                      <a:pt x="251" y="228"/>
                      <a:pt x="251" y="228"/>
                      <a:pt x="251" y="228"/>
                    </a:cubicBezTo>
                    <a:cubicBezTo>
                      <a:pt x="251" y="229"/>
                      <a:pt x="250" y="229"/>
                      <a:pt x="250" y="230"/>
                    </a:cubicBezTo>
                    <a:cubicBezTo>
                      <a:pt x="249" y="230"/>
                      <a:pt x="248" y="230"/>
                      <a:pt x="248" y="230"/>
                    </a:cubicBezTo>
                    <a:cubicBezTo>
                      <a:pt x="242" y="226"/>
                      <a:pt x="242" y="226"/>
                      <a:pt x="242" y="226"/>
                    </a:cubicBezTo>
                    <a:cubicBezTo>
                      <a:pt x="215" y="242"/>
                      <a:pt x="215" y="242"/>
                      <a:pt x="215" y="242"/>
                    </a:cubicBezTo>
                    <a:cubicBezTo>
                      <a:pt x="215" y="242"/>
                      <a:pt x="215" y="242"/>
                      <a:pt x="214" y="242"/>
                    </a:cubicBezTo>
                    <a:close/>
                    <a:moveTo>
                      <a:pt x="111" y="178"/>
                    </a:moveTo>
                    <a:cubicBezTo>
                      <a:pt x="112" y="178"/>
                      <a:pt x="112" y="178"/>
                      <a:pt x="112" y="179"/>
                    </a:cubicBezTo>
                    <a:cubicBezTo>
                      <a:pt x="214" y="238"/>
                      <a:pt x="214" y="238"/>
                      <a:pt x="214" y="238"/>
                    </a:cubicBezTo>
                    <a:cubicBezTo>
                      <a:pt x="241" y="222"/>
                      <a:pt x="241" y="222"/>
                      <a:pt x="241" y="222"/>
                    </a:cubicBezTo>
                    <a:cubicBezTo>
                      <a:pt x="241" y="222"/>
                      <a:pt x="242" y="222"/>
                      <a:pt x="243" y="222"/>
                    </a:cubicBezTo>
                    <a:cubicBezTo>
                      <a:pt x="247" y="225"/>
                      <a:pt x="247" y="225"/>
                      <a:pt x="247" y="225"/>
                    </a:cubicBezTo>
                    <a:cubicBezTo>
                      <a:pt x="247" y="214"/>
                      <a:pt x="247" y="214"/>
                      <a:pt x="247" y="214"/>
                    </a:cubicBezTo>
                    <a:cubicBezTo>
                      <a:pt x="137" y="150"/>
                      <a:pt x="137" y="150"/>
                      <a:pt x="137" y="150"/>
                    </a:cubicBezTo>
                    <a:cubicBezTo>
                      <a:pt x="136" y="150"/>
                      <a:pt x="136" y="149"/>
                      <a:pt x="136" y="149"/>
                    </a:cubicBezTo>
                    <a:cubicBezTo>
                      <a:pt x="136" y="80"/>
                      <a:pt x="136" y="80"/>
                      <a:pt x="136" y="80"/>
                    </a:cubicBezTo>
                    <a:cubicBezTo>
                      <a:pt x="131" y="83"/>
                      <a:pt x="131" y="83"/>
                      <a:pt x="131" y="83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131" y="163"/>
                      <a:pt x="131" y="164"/>
                      <a:pt x="130" y="164"/>
                    </a:cubicBezTo>
                    <a:cubicBezTo>
                      <a:pt x="68" y="200"/>
                      <a:pt x="68" y="200"/>
                      <a:pt x="68" y="200"/>
                    </a:cubicBezTo>
                    <a:cubicBezTo>
                      <a:pt x="67" y="200"/>
                      <a:pt x="66" y="200"/>
                      <a:pt x="66" y="200"/>
                    </a:cubicBezTo>
                    <a:cubicBezTo>
                      <a:pt x="65" y="200"/>
                      <a:pt x="65" y="199"/>
                      <a:pt x="65" y="198"/>
                    </a:cubicBezTo>
                    <a:cubicBezTo>
                      <a:pt x="65" y="198"/>
                      <a:pt x="65" y="198"/>
                      <a:pt x="65" y="198"/>
                    </a:cubicBezTo>
                    <a:cubicBezTo>
                      <a:pt x="6" y="232"/>
                      <a:pt x="6" y="232"/>
                      <a:pt x="6" y="232"/>
                    </a:cubicBezTo>
                    <a:cubicBezTo>
                      <a:pt x="12" y="235"/>
                      <a:pt x="12" y="235"/>
                      <a:pt x="12" y="235"/>
                    </a:cubicBezTo>
                    <a:cubicBezTo>
                      <a:pt x="110" y="179"/>
                      <a:pt x="110" y="179"/>
                      <a:pt x="110" y="179"/>
                    </a:cubicBezTo>
                    <a:cubicBezTo>
                      <a:pt x="111" y="178"/>
                      <a:pt x="111" y="178"/>
                      <a:pt x="111" y="178"/>
                    </a:cubicBezTo>
                    <a:close/>
                    <a:moveTo>
                      <a:pt x="131" y="72"/>
                    </a:moveTo>
                    <a:cubicBezTo>
                      <a:pt x="136" y="75"/>
                      <a:pt x="136" y="75"/>
                      <a:pt x="136" y="75"/>
                    </a:cubicBezTo>
                    <a:cubicBezTo>
                      <a:pt x="136" y="18"/>
                      <a:pt x="136" y="18"/>
                      <a:pt x="136" y="18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1" y="20"/>
                      <a:pt x="131" y="21"/>
                      <a:pt x="131" y="21"/>
                    </a:cubicBezTo>
                    <a:lnTo>
                      <a:pt x="131" y="7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4" name="Freeform 1012">
                <a:extLst>
                  <a:ext uri="{FF2B5EF4-FFF2-40B4-BE49-F238E27FC236}">
                    <a16:creationId xmlns:a16="http://schemas.microsoft.com/office/drawing/2014/main" id="{87829E02-A493-440F-ABBA-C6D8C2D06C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75775" y="6016149"/>
                <a:ext cx="311262" cy="284286"/>
              </a:xfrm>
              <a:custGeom>
                <a:avLst/>
                <a:gdLst>
                  <a:gd name="T0" fmla="*/ 2 w 127"/>
                  <a:gd name="T1" fmla="*/ 116 h 116"/>
                  <a:gd name="T2" fmla="*/ 1 w 127"/>
                  <a:gd name="T3" fmla="*/ 116 h 116"/>
                  <a:gd name="T4" fmla="*/ 0 w 127"/>
                  <a:gd name="T5" fmla="*/ 114 h 116"/>
                  <a:gd name="T6" fmla="*/ 0 w 127"/>
                  <a:gd name="T7" fmla="*/ 32 h 116"/>
                  <a:gd name="T8" fmla="*/ 1 w 127"/>
                  <a:gd name="T9" fmla="*/ 30 h 116"/>
                  <a:gd name="T10" fmla="*/ 52 w 127"/>
                  <a:gd name="T11" fmla="*/ 0 h 116"/>
                  <a:gd name="T12" fmla="*/ 54 w 127"/>
                  <a:gd name="T13" fmla="*/ 0 h 116"/>
                  <a:gd name="T14" fmla="*/ 126 w 127"/>
                  <a:gd name="T15" fmla="*/ 42 h 116"/>
                  <a:gd name="T16" fmla="*/ 127 w 127"/>
                  <a:gd name="T17" fmla="*/ 43 h 116"/>
                  <a:gd name="T18" fmla="*/ 126 w 127"/>
                  <a:gd name="T19" fmla="*/ 45 h 116"/>
                  <a:gd name="T20" fmla="*/ 17 w 127"/>
                  <a:gd name="T21" fmla="*/ 108 h 116"/>
                  <a:gd name="T22" fmla="*/ 16 w 127"/>
                  <a:gd name="T23" fmla="*/ 108 h 116"/>
                  <a:gd name="T24" fmla="*/ 15 w 127"/>
                  <a:gd name="T25" fmla="*/ 109 h 116"/>
                  <a:gd name="T26" fmla="*/ 3 w 127"/>
                  <a:gd name="T27" fmla="*/ 116 h 116"/>
                  <a:gd name="T28" fmla="*/ 2 w 127"/>
                  <a:gd name="T29" fmla="*/ 116 h 116"/>
                  <a:gd name="T30" fmla="*/ 4 w 127"/>
                  <a:gd name="T31" fmla="*/ 33 h 116"/>
                  <a:gd name="T32" fmla="*/ 4 w 127"/>
                  <a:gd name="T33" fmla="*/ 110 h 116"/>
                  <a:gd name="T34" fmla="*/ 12 w 127"/>
                  <a:gd name="T35" fmla="*/ 106 h 116"/>
                  <a:gd name="T36" fmla="*/ 12 w 127"/>
                  <a:gd name="T37" fmla="*/ 105 h 116"/>
                  <a:gd name="T38" fmla="*/ 13 w 127"/>
                  <a:gd name="T39" fmla="*/ 104 h 116"/>
                  <a:gd name="T40" fmla="*/ 15 w 127"/>
                  <a:gd name="T41" fmla="*/ 104 h 116"/>
                  <a:gd name="T42" fmla="*/ 16 w 127"/>
                  <a:gd name="T43" fmla="*/ 104 h 116"/>
                  <a:gd name="T44" fmla="*/ 121 w 127"/>
                  <a:gd name="T45" fmla="*/ 43 h 116"/>
                  <a:gd name="T46" fmla="*/ 53 w 127"/>
                  <a:gd name="T47" fmla="*/ 5 h 116"/>
                  <a:gd name="T48" fmla="*/ 4 w 127"/>
                  <a:gd name="T49" fmla="*/ 3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7" h="116">
                    <a:moveTo>
                      <a:pt x="2" y="116"/>
                    </a:moveTo>
                    <a:cubicBezTo>
                      <a:pt x="2" y="116"/>
                      <a:pt x="2" y="116"/>
                      <a:pt x="1" y="116"/>
                    </a:cubicBezTo>
                    <a:cubicBezTo>
                      <a:pt x="1" y="115"/>
                      <a:pt x="0" y="115"/>
                      <a:pt x="0" y="11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4" y="0"/>
                      <a:pt x="54" y="0"/>
                    </a:cubicBezTo>
                    <a:cubicBezTo>
                      <a:pt x="126" y="42"/>
                      <a:pt x="126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27" y="44"/>
                      <a:pt x="126" y="45"/>
                      <a:pt x="126" y="45"/>
                    </a:cubicBezTo>
                    <a:cubicBezTo>
                      <a:pt x="17" y="108"/>
                      <a:pt x="17" y="108"/>
                      <a:pt x="17" y="108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3" y="116"/>
                      <a:pt x="3" y="116"/>
                      <a:pt x="3" y="116"/>
                    </a:cubicBezTo>
                    <a:cubicBezTo>
                      <a:pt x="3" y="116"/>
                      <a:pt x="3" y="116"/>
                      <a:pt x="2" y="116"/>
                    </a:cubicBezTo>
                    <a:close/>
                    <a:moveTo>
                      <a:pt x="4" y="33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12" y="106"/>
                      <a:pt x="12" y="106"/>
                      <a:pt x="12" y="106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2" y="105"/>
                      <a:pt x="12" y="104"/>
                      <a:pt x="13" y="104"/>
                    </a:cubicBezTo>
                    <a:cubicBezTo>
                      <a:pt x="14" y="103"/>
                      <a:pt x="14" y="103"/>
                      <a:pt x="15" y="104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21" y="43"/>
                      <a:pt x="121" y="43"/>
                      <a:pt x="121" y="43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5" name="Freeform 1013">
                <a:extLst>
                  <a:ext uri="{FF2B5EF4-FFF2-40B4-BE49-F238E27FC236}">
                    <a16:creationId xmlns:a16="http://schemas.microsoft.com/office/drawing/2014/main" id="{8E3C5E15-E3C4-4A57-A0D2-C9D63874E2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5621884"/>
                <a:ext cx="198170" cy="134880"/>
              </a:xfrm>
              <a:custGeom>
                <a:avLst/>
                <a:gdLst>
                  <a:gd name="T0" fmla="*/ 69 w 81"/>
                  <a:gd name="T1" fmla="*/ 55 h 55"/>
                  <a:gd name="T2" fmla="*/ 68 w 81"/>
                  <a:gd name="T3" fmla="*/ 54 h 55"/>
                  <a:gd name="T4" fmla="*/ 1 w 81"/>
                  <a:gd name="T5" fmla="*/ 15 h 55"/>
                  <a:gd name="T6" fmla="*/ 0 w 81"/>
                  <a:gd name="T7" fmla="*/ 13 h 55"/>
                  <a:gd name="T8" fmla="*/ 1 w 81"/>
                  <a:gd name="T9" fmla="*/ 12 h 55"/>
                  <a:gd name="T10" fmla="*/ 21 w 81"/>
                  <a:gd name="T11" fmla="*/ 0 h 55"/>
                  <a:gd name="T12" fmla="*/ 23 w 81"/>
                  <a:gd name="T13" fmla="*/ 0 h 55"/>
                  <a:gd name="T14" fmla="*/ 80 w 81"/>
                  <a:gd name="T15" fmla="*/ 34 h 55"/>
                  <a:gd name="T16" fmla="*/ 81 w 81"/>
                  <a:gd name="T17" fmla="*/ 35 h 55"/>
                  <a:gd name="T18" fmla="*/ 81 w 81"/>
                  <a:gd name="T19" fmla="*/ 47 h 55"/>
                  <a:gd name="T20" fmla="*/ 80 w 81"/>
                  <a:gd name="T21" fmla="*/ 49 h 55"/>
                  <a:gd name="T22" fmla="*/ 70 w 81"/>
                  <a:gd name="T23" fmla="*/ 54 h 55"/>
                  <a:gd name="T24" fmla="*/ 69 w 81"/>
                  <a:gd name="T25" fmla="*/ 55 h 55"/>
                  <a:gd name="T26" fmla="*/ 6 w 81"/>
                  <a:gd name="T27" fmla="*/ 13 h 55"/>
                  <a:gd name="T28" fmla="*/ 69 w 81"/>
                  <a:gd name="T29" fmla="*/ 50 h 55"/>
                  <a:gd name="T30" fmla="*/ 77 w 81"/>
                  <a:gd name="T31" fmla="*/ 46 h 55"/>
                  <a:gd name="T32" fmla="*/ 77 w 81"/>
                  <a:gd name="T33" fmla="*/ 36 h 55"/>
                  <a:gd name="T34" fmla="*/ 22 w 81"/>
                  <a:gd name="T35" fmla="*/ 4 h 55"/>
                  <a:gd name="T36" fmla="*/ 6 w 81"/>
                  <a:gd name="T3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1" h="55">
                    <a:moveTo>
                      <a:pt x="69" y="55"/>
                    </a:moveTo>
                    <a:cubicBezTo>
                      <a:pt x="69" y="55"/>
                      <a:pt x="69" y="54"/>
                      <a:pt x="68" y="5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80" y="34"/>
                      <a:pt x="80" y="34"/>
                      <a:pt x="80" y="34"/>
                    </a:cubicBezTo>
                    <a:cubicBezTo>
                      <a:pt x="81" y="34"/>
                      <a:pt x="81" y="35"/>
                      <a:pt x="81" y="35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48"/>
                      <a:pt x="81" y="48"/>
                      <a:pt x="80" y="49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70" y="54"/>
                      <a:pt x="70" y="55"/>
                      <a:pt x="69" y="55"/>
                    </a:cubicBezTo>
                    <a:close/>
                    <a:moveTo>
                      <a:pt x="6" y="13"/>
                    </a:moveTo>
                    <a:cubicBezTo>
                      <a:pt x="69" y="50"/>
                      <a:pt x="69" y="50"/>
                      <a:pt x="69" y="50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22" y="4"/>
                      <a:pt x="22" y="4"/>
                      <a:pt x="22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6" name="Freeform 1014">
                <a:extLst>
                  <a:ext uri="{FF2B5EF4-FFF2-40B4-BE49-F238E27FC236}">
                    <a16:creationId xmlns:a16="http://schemas.microsoft.com/office/drawing/2014/main" id="{F6977FFB-96EB-4F76-8872-D80426080F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5751576"/>
                <a:ext cx="328901" cy="370402"/>
              </a:xfrm>
              <a:custGeom>
                <a:avLst/>
                <a:gdLst>
                  <a:gd name="T0" fmla="*/ 125 w 134"/>
                  <a:gd name="T1" fmla="*/ 151 h 151"/>
                  <a:gd name="T2" fmla="*/ 124 w 134"/>
                  <a:gd name="T3" fmla="*/ 151 h 151"/>
                  <a:gd name="T4" fmla="*/ 53 w 134"/>
                  <a:gd name="T5" fmla="*/ 111 h 151"/>
                  <a:gd name="T6" fmla="*/ 3 w 134"/>
                  <a:gd name="T7" fmla="*/ 139 h 151"/>
                  <a:gd name="T8" fmla="*/ 1 w 134"/>
                  <a:gd name="T9" fmla="*/ 139 h 151"/>
                  <a:gd name="T10" fmla="*/ 0 w 134"/>
                  <a:gd name="T11" fmla="*/ 138 h 151"/>
                  <a:gd name="T12" fmla="*/ 0 w 134"/>
                  <a:gd name="T13" fmla="*/ 72 h 151"/>
                  <a:gd name="T14" fmla="*/ 1 w 134"/>
                  <a:gd name="T15" fmla="*/ 70 h 151"/>
                  <a:gd name="T16" fmla="*/ 123 w 134"/>
                  <a:gd name="T17" fmla="*/ 0 h 151"/>
                  <a:gd name="T18" fmla="*/ 125 w 134"/>
                  <a:gd name="T19" fmla="*/ 0 h 151"/>
                  <a:gd name="T20" fmla="*/ 133 w 134"/>
                  <a:gd name="T21" fmla="*/ 5 h 151"/>
                  <a:gd name="T22" fmla="*/ 134 w 134"/>
                  <a:gd name="T23" fmla="*/ 7 h 151"/>
                  <a:gd name="T24" fmla="*/ 134 w 134"/>
                  <a:gd name="T25" fmla="*/ 34 h 151"/>
                  <a:gd name="T26" fmla="*/ 133 w 134"/>
                  <a:gd name="T27" fmla="*/ 36 h 151"/>
                  <a:gd name="T28" fmla="*/ 131 w 134"/>
                  <a:gd name="T29" fmla="*/ 36 h 151"/>
                  <a:gd name="T30" fmla="*/ 127 w 134"/>
                  <a:gd name="T31" fmla="*/ 33 h 151"/>
                  <a:gd name="T32" fmla="*/ 127 w 134"/>
                  <a:gd name="T33" fmla="*/ 149 h 151"/>
                  <a:gd name="T34" fmla="*/ 126 w 134"/>
                  <a:gd name="T35" fmla="*/ 151 h 151"/>
                  <a:gd name="T36" fmla="*/ 125 w 134"/>
                  <a:gd name="T37" fmla="*/ 151 h 151"/>
                  <a:gd name="T38" fmla="*/ 53 w 134"/>
                  <a:gd name="T39" fmla="*/ 106 h 151"/>
                  <a:gd name="T40" fmla="*/ 54 w 134"/>
                  <a:gd name="T41" fmla="*/ 107 h 151"/>
                  <a:gd name="T42" fmla="*/ 123 w 134"/>
                  <a:gd name="T43" fmla="*/ 146 h 151"/>
                  <a:gd name="T44" fmla="*/ 123 w 134"/>
                  <a:gd name="T45" fmla="*/ 30 h 151"/>
                  <a:gd name="T46" fmla="*/ 124 w 134"/>
                  <a:gd name="T47" fmla="*/ 28 h 151"/>
                  <a:gd name="T48" fmla="*/ 126 w 134"/>
                  <a:gd name="T49" fmla="*/ 28 h 151"/>
                  <a:gd name="T50" fmla="*/ 130 w 134"/>
                  <a:gd name="T51" fmla="*/ 30 h 151"/>
                  <a:gd name="T52" fmla="*/ 130 w 134"/>
                  <a:gd name="T53" fmla="*/ 8 h 151"/>
                  <a:gd name="T54" fmla="*/ 124 w 134"/>
                  <a:gd name="T55" fmla="*/ 4 h 151"/>
                  <a:gd name="T56" fmla="*/ 4 w 134"/>
                  <a:gd name="T57" fmla="*/ 73 h 151"/>
                  <a:gd name="T58" fmla="*/ 4 w 134"/>
                  <a:gd name="T59" fmla="*/ 134 h 151"/>
                  <a:gd name="T60" fmla="*/ 52 w 134"/>
                  <a:gd name="T61" fmla="*/ 107 h 151"/>
                  <a:gd name="T62" fmla="*/ 53 w 134"/>
                  <a:gd name="T63" fmla="*/ 106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4" h="151">
                    <a:moveTo>
                      <a:pt x="125" y="151"/>
                    </a:moveTo>
                    <a:cubicBezTo>
                      <a:pt x="124" y="151"/>
                      <a:pt x="124" y="151"/>
                      <a:pt x="124" y="151"/>
                    </a:cubicBezTo>
                    <a:cubicBezTo>
                      <a:pt x="53" y="111"/>
                      <a:pt x="53" y="111"/>
                      <a:pt x="53" y="11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3" y="140"/>
                      <a:pt x="2" y="140"/>
                      <a:pt x="1" y="139"/>
                    </a:cubicBezTo>
                    <a:cubicBezTo>
                      <a:pt x="1" y="139"/>
                      <a:pt x="0" y="138"/>
                      <a:pt x="0" y="138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1"/>
                      <a:pt x="1" y="71"/>
                      <a:pt x="1" y="7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24" y="0"/>
                      <a:pt x="125" y="0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134" y="6"/>
                      <a:pt x="134" y="6"/>
                      <a:pt x="134" y="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5"/>
                      <a:pt x="134" y="35"/>
                      <a:pt x="133" y="36"/>
                    </a:cubicBezTo>
                    <a:cubicBezTo>
                      <a:pt x="133" y="36"/>
                      <a:pt x="132" y="36"/>
                      <a:pt x="131" y="36"/>
                    </a:cubicBezTo>
                    <a:cubicBezTo>
                      <a:pt x="127" y="33"/>
                      <a:pt x="127" y="33"/>
                      <a:pt x="127" y="33"/>
                    </a:cubicBezTo>
                    <a:cubicBezTo>
                      <a:pt x="127" y="149"/>
                      <a:pt x="127" y="149"/>
                      <a:pt x="127" y="149"/>
                    </a:cubicBezTo>
                    <a:cubicBezTo>
                      <a:pt x="127" y="150"/>
                      <a:pt x="126" y="151"/>
                      <a:pt x="126" y="151"/>
                    </a:cubicBezTo>
                    <a:cubicBezTo>
                      <a:pt x="125" y="151"/>
                      <a:pt x="125" y="151"/>
                      <a:pt x="125" y="151"/>
                    </a:cubicBezTo>
                    <a:close/>
                    <a:moveTo>
                      <a:pt x="53" y="106"/>
                    </a:moveTo>
                    <a:cubicBezTo>
                      <a:pt x="54" y="106"/>
                      <a:pt x="54" y="106"/>
                      <a:pt x="54" y="107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23" y="30"/>
                      <a:pt x="123" y="30"/>
                      <a:pt x="123" y="30"/>
                    </a:cubicBezTo>
                    <a:cubicBezTo>
                      <a:pt x="123" y="29"/>
                      <a:pt x="123" y="28"/>
                      <a:pt x="124" y="28"/>
                    </a:cubicBezTo>
                    <a:cubicBezTo>
                      <a:pt x="124" y="27"/>
                      <a:pt x="125" y="27"/>
                      <a:pt x="126" y="28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24" y="4"/>
                      <a:pt x="124" y="4"/>
                      <a:pt x="124" y="4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52" y="107"/>
                      <a:pt x="52" y="107"/>
                      <a:pt x="52" y="107"/>
                    </a:cubicBezTo>
                    <a:cubicBezTo>
                      <a:pt x="53" y="106"/>
                      <a:pt x="53" y="106"/>
                      <a:pt x="53" y="10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7" name="Freeform 1016">
                <a:extLst>
                  <a:ext uri="{FF2B5EF4-FFF2-40B4-BE49-F238E27FC236}">
                    <a16:creationId xmlns:a16="http://schemas.microsoft.com/office/drawing/2014/main" id="{E433E26B-92E8-496A-881E-696003CC15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916620" y="6339861"/>
                <a:ext cx="44614" cy="46689"/>
              </a:xfrm>
              <a:custGeom>
                <a:avLst/>
                <a:gdLst>
                  <a:gd name="T0" fmla="*/ 4 w 18"/>
                  <a:gd name="T1" fmla="*/ 19 h 19"/>
                  <a:gd name="T2" fmla="*/ 3 w 18"/>
                  <a:gd name="T3" fmla="*/ 19 h 19"/>
                  <a:gd name="T4" fmla="*/ 1 w 18"/>
                  <a:gd name="T5" fmla="*/ 17 h 19"/>
                  <a:gd name="T6" fmla="*/ 0 w 18"/>
                  <a:gd name="T7" fmla="*/ 16 h 19"/>
                  <a:gd name="T8" fmla="*/ 0 w 18"/>
                  <a:gd name="T9" fmla="*/ 2 h 19"/>
                  <a:gd name="T10" fmla="*/ 1 w 18"/>
                  <a:gd name="T11" fmla="*/ 1 h 19"/>
                  <a:gd name="T12" fmla="*/ 3 w 18"/>
                  <a:gd name="T13" fmla="*/ 1 h 19"/>
                  <a:gd name="T14" fmla="*/ 17 w 18"/>
                  <a:gd name="T15" fmla="*/ 9 h 19"/>
                  <a:gd name="T16" fmla="*/ 18 w 18"/>
                  <a:gd name="T17" fmla="*/ 10 h 19"/>
                  <a:gd name="T18" fmla="*/ 17 w 18"/>
                  <a:gd name="T19" fmla="*/ 12 h 19"/>
                  <a:gd name="T20" fmla="*/ 5 w 18"/>
                  <a:gd name="T21" fmla="*/ 19 h 19"/>
                  <a:gd name="T22" fmla="*/ 4 w 18"/>
                  <a:gd name="T23" fmla="*/ 19 h 19"/>
                  <a:gd name="T24" fmla="*/ 4 w 18"/>
                  <a:gd name="T25" fmla="*/ 14 h 19"/>
                  <a:gd name="T26" fmla="*/ 4 w 18"/>
                  <a:gd name="T27" fmla="*/ 15 h 19"/>
                  <a:gd name="T28" fmla="*/ 12 w 18"/>
                  <a:gd name="T29" fmla="*/ 10 h 19"/>
                  <a:gd name="T30" fmla="*/ 4 w 18"/>
                  <a:gd name="T31" fmla="*/ 6 h 19"/>
                  <a:gd name="T32" fmla="*/ 4 w 18"/>
                  <a:gd name="T3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9">
                    <a:moveTo>
                      <a:pt x="4" y="19"/>
                    </a:moveTo>
                    <a:cubicBezTo>
                      <a:pt x="4" y="19"/>
                      <a:pt x="3" y="19"/>
                      <a:pt x="3" y="1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9"/>
                      <a:pt x="18" y="10"/>
                      <a:pt x="18" y="10"/>
                    </a:cubicBezTo>
                    <a:cubicBezTo>
                      <a:pt x="18" y="11"/>
                      <a:pt x="17" y="12"/>
                      <a:pt x="17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9"/>
                      <a:pt x="4" y="19"/>
                    </a:cubicBezTo>
                    <a:close/>
                    <a:moveTo>
                      <a:pt x="4" y="14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8" name="Freeform 1017">
                <a:extLst>
                  <a:ext uri="{FF2B5EF4-FFF2-40B4-BE49-F238E27FC236}">
                    <a16:creationId xmlns:a16="http://schemas.microsoft.com/office/drawing/2014/main" id="{3E6D569D-689C-4B53-B5D6-FC2353BCF0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89002" y="6717526"/>
                <a:ext cx="161856" cy="125542"/>
              </a:xfrm>
              <a:custGeom>
                <a:avLst/>
                <a:gdLst>
                  <a:gd name="T0" fmla="*/ 64 w 66"/>
                  <a:gd name="T1" fmla="*/ 51 h 51"/>
                  <a:gd name="T2" fmla="*/ 63 w 66"/>
                  <a:gd name="T3" fmla="*/ 50 h 51"/>
                  <a:gd name="T4" fmla="*/ 1 w 66"/>
                  <a:gd name="T5" fmla="*/ 15 h 51"/>
                  <a:gd name="T6" fmla="*/ 0 w 66"/>
                  <a:gd name="T7" fmla="*/ 13 h 51"/>
                  <a:gd name="T8" fmla="*/ 1 w 66"/>
                  <a:gd name="T9" fmla="*/ 11 h 51"/>
                  <a:gd name="T10" fmla="*/ 20 w 66"/>
                  <a:gd name="T11" fmla="*/ 0 h 51"/>
                  <a:gd name="T12" fmla="*/ 22 w 66"/>
                  <a:gd name="T13" fmla="*/ 0 h 51"/>
                  <a:gd name="T14" fmla="*/ 65 w 66"/>
                  <a:gd name="T15" fmla="*/ 25 h 51"/>
                  <a:gd name="T16" fmla="*/ 66 w 66"/>
                  <a:gd name="T17" fmla="*/ 27 h 51"/>
                  <a:gd name="T18" fmla="*/ 66 w 66"/>
                  <a:gd name="T19" fmla="*/ 49 h 51"/>
                  <a:gd name="T20" fmla="*/ 65 w 66"/>
                  <a:gd name="T21" fmla="*/ 50 h 51"/>
                  <a:gd name="T22" fmla="*/ 64 w 66"/>
                  <a:gd name="T23" fmla="*/ 51 h 51"/>
                  <a:gd name="T24" fmla="*/ 6 w 66"/>
                  <a:gd name="T25" fmla="*/ 13 h 51"/>
                  <a:gd name="T26" fmla="*/ 62 w 66"/>
                  <a:gd name="T27" fmla="*/ 45 h 51"/>
                  <a:gd name="T28" fmla="*/ 62 w 66"/>
                  <a:gd name="T29" fmla="*/ 28 h 51"/>
                  <a:gd name="T30" fmla="*/ 21 w 66"/>
                  <a:gd name="T31" fmla="*/ 4 h 51"/>
                  <a:gd name="T32" fmla="*/ 6 w 66"/>
                  <a:gd name="T33" fmla="*/ 1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" h="51">
                    <a:moveTo>
                      <a:pt x="64" y="51"/>
                    </a:moveTo>
                    <a:cubicBezTo>
                      <a:pt x="63" y="51"/>
                      <a:pt x="63" y="51"/>
                      <a:pt x="63" y="5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4"/>
                      <a:pt x="0" y="14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1" y="0"/>
                      <a:pt x="22" y="0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5" y="25"/>
                      <a:pt x="66" y="26"/>
                      <a:pt x="66" y="27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6" y="49"/>
                      <a:pt x="65" y="50"/>
                      <a:pt x="65" y="50"/>
                    </a:cubicBezTo>
                    <a:cubicBezTo>
                      <a:pt x="64" y="51"/>
                      <a:pt x="64" y="51"/>
                      <a:pt x="64" y="51"/>
                    </a:cubicBezTo>
                    <a:close/>
                    <a:moveTo>
                      <a:pt x="6" y="13"/>
                    </a:move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28"/>
                      <a:pt x="62" y="28"/>
                      <a:pt x="62" y="28"/>
                    </a:cubicBezTo>
                    <a:cubicBezTo>
                      <a:pt x="21" y="4"/>
                      <a:pt x="21" y="4"/>
                      <a:pt x="21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9" name="Freeform 1018">
                <a:extLst>
                  <a:ext uri="{FF2B5EF4-FFF2-40B4-BE49-F238E27FC236}">
                    <a16:creationId xmlns:a16="http://schemas.microsoft.com/office/drawing/2014/main" id="{A5F9D002-D16C-44EC-8ACF-8F4CD46DF9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52688" y="6362687"/>
                <a:ext cx="208546" cy="360026"/>
              </a:xfrm>
              <a:custGeom>
                <a:avLst/>
                <a:gdLst>
                  <a:gd name="T0" fmla="*/ 25 w 85"/>
                  <a:gd name="T1" fmla="*/ 147 h 147"/>
                  <a:gd name="T2" fmla="*/ 24 w 85"/>
                  <a:gd name="T3" fmla="*/ 147 h 147"/>
                  <a:gd name="T4" fmla="*/ 1 w 85"/>
                  <a:gd name="T5" fmla="*/ 133 h 147"/>
                  <a:gd name="T6" fmla="*/ 0 w 85"/>
                  <a:gd name="T7" fmla="*/ 131 h 147"/>
                  <a:gd name="T8" fmla="*/ 0 w 85"/>
                  <a:gd name="T9" fmla="*/ 9 h 147"/>
                  <a:gd name="T10" fmla="*/ 1 w 85"/>
                  <a:gd name="T11" fmla="*/ 7 h 147"/>
                  <a:gd name="T12" fmla="*/ 3 w 85"/>
                  <a:gd name="T13" fmla="*/ 7 h 147"/>
                  <a:gd name="T14" fmla="*/ 4 w 85"/>
                  <a:gd name="T15" fmla="*/ 8 h 147"/>
                  <a:gd name="T16" fmla="*/ 16 w 85"/>
                  <a:gd name="T17" fmla="*/ 1 h 147"/>
                  <a:gd name="T18" fmla="*/ 18 w 85"/>
                  <a:gd name="T19" fmla="*/ 1 h 147"/>
                  <a:gd name="T20" fmla="*/ 84 w 85"/>
                  <a:gd name="T21" fmla="*/ 39 h 147"/>
                  <a:gd name="T22" fmla="*/ 85 w 85"/>
                  <a:gd name="T23" fmla="*/ 41 h 147"/>
                  <a:gd name="T24" fmla="*/ 84 w 85"/>
                  <a:gd name="T25" fmla="*/ 42 h 147"/>
                  <a:gd name="T26" fmla="*/ 70 w 85"/>
                  <a:gd name="T27" fmla="*/ 51 h 147"/>
                  <a:gd name="T28" fmla="*/ 70 w 85"/>
                  <a:gd name="T29" fmla="*/ 120 h 147"/>
                  <a:gd name="T30" fmla="*/ 69 w 85"/>
                  <a:gd name="T31" fmla="*/ 122 h 147"/>
                  <a:gd name="T32" fmla="*/ 26 w 85"/>
                  <a:gd name="T33" fmla="*/ 147 h 147"/>
                  <a:gd name="T34" fmla="*/ 25 w 85"/>
                  <a:gd name="T35" fmla="*/ 147 h 147"/>
                  <a:gd name="T36" fmla="*/ 4 w 85"/>
                  <a:gd name="T37" fmla="*/ 130 h 147"/>
                  <a:gd name="T38" fmla="*/ 25 w 85"/>
                  <a:gd name="T39" fmla="*/ 143 h 147"/>
                  <a:gd name="T40" fmla="*/ 66 w 85"/>
                  <a:gd name="T41" fmla="*/ 119 h 147"/>
                  <a:gd name="T42" fmla="*/ 66 w 85"/>
                  <a:gd name="T43" fmla="*/ 50 h 147"/>
                  <a:gd name="T44" fmla="*/ 67 w 85"/>
                  <a:gd name="T45" fmla="*/ 48 h 147"/>
                  <a:gd name="T46" fmla="*/ 79 w 85"/>
                  <a:gd name="T47" fmla="*/ 41 h 147"/>
                  <a:gd name="T48" fmla="*/ 17 w 85"/>
                  <a:gd name="T49" fmla="*/ 5 h 147"/>
                  <a:gd name="T50" fmla="*/ 5 w 85"/>
                  <a:gd name="T51" fmla="*/ 12 h 147"/>
                  <a:gd name="T52" fmla="*/ 4 w 85"/>
                  <a:gd name="T53" fmla="*/ 12 h 147"/>
                  <a:gd name="T54" fmla="*/ 4 w 85"/>
                  <a:gd name="T55" fmla="*/ 13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147">
                    <a:moveTo>
                      <a:pt x="25" y="147"/>
                    </a:moveTo>
                    <a:cubicBezTo>
                      <a:pt x="25" y="147"/>
                      <a:pt x="24" y="147"/>
                      <a:pt x="24" y="147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" y="6"/>
                      <a:pt x="2" y="6"/>
                      <a:pt x="3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0"/>
                      <a:pt x="18" y="0"/>
                      <a:pt x="18" y="1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5" y="39"/>
                      <a:pt x="85" y="40"/>
                      <a:pt x="85" y="41"/>
                    </a:cubicBezTo>
                    <a:cubicBezTo>
                      <a:pt x="85" y="41"/>
                      <a:pt x="85" y="42"/>
                      <a:pt x="84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70" y="121"/>
                      <a:pt x="69" y="122"/>
                      <a:pt x="69" y="122"/>
                    </a:cubicBezTo>
                    <a:cubicBezTo>
                      <a:pt x="26" y="147"/>
                      <a:pt x="26" y="147"/>
                      <a:pt x="26" y="147"/>
                    </a:cubicBezTo>
                    <a:cubicBezTo>
                      <a:pt x="26" y="147"/>
                      <a:pt x="25" y="147"/>
                      <a:pt x="25" y="147"/>
                    </a:cubicBezTo>
                    <a:close/>
                    <a:moveTo>
                      <a:pt x="4" y="130"/>
                    </a:moveTo>
                    <a:cubicBezTo>
                      <a:pt x="25" y="143"/>
                      <a:pt x="25" y="143"/>
                      <a:pt x="25" y="143"/>
                    </a:cubicBezTo>
                    <a:cubicBezTo>
                      <a:pt x="66" y="119"/>
                      <a:pt x="66" y="119"/>
                      <a:pt x="66" y="11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49"/>
                      <a:pt x="66" y="48"/>
                      <a:pt x="67" y="48"/>
                    </a:cubicBezTo>
                    <a:cubicBezTo>
                      <a:pt x="79" y="41"/>
                      <a:pt x="79" y="41"/>
                      <a:pt x="79" y="41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4" y="12"/>
                      <a:pt x="4" y="12"/>
                    </a:cubicBezTo>
                    <a:lnTo>
                      <a:pt x="4" y="1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0" name="Freeform 1019">
                <a:extLst>
                  <a:ext uri="{FF2B5EF4-FFF2-40B4-BE49-F238E27FC236}">
                    <a16:creationId xmlns:a16="http://schemas.microsoft.com/office/drawing/2014/main" id="{823EBCB9-7945-414E-9BDC-8545505F9B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72401" y="5891644"/>
                <a:ext cx="188833" cy="232409"/>
              </a:xfrm>
              <a:custGeom>
                <a:avLst/>
                <a:gdLst>
                  <a:gd name="T0" fmla="*/ 75 w 77"/>
                  <a:gd name="T1" fmla="*/ 95 h 95"/>
                  <a:gd name="T2" fmla="*/ 74 w 77"/>
                  <a:gd name="T3" fmla="*/ 94 h 95"/>
                  <a:gd name="T4" fmla="*/ 4 w 77"/>
                  <a:gd name="T5" fmla="*/ 54 h 95"/>
                  <a:gd name="T6" fmla="*/ 3 w 77"/>
                  <a:gd name="T7" fmla="*/ 55 h 95"/>
                  <a:gd name="T8" fmla="*/ 1 w 77"/>
                  <a:gd name="T9" fmla="*/ 55 h 95"/>
                  <a:gd name="T10" fmla="*/ 0 w 77"/>
                  <a:gd name="T11" fmla="*/ 53 h 95"/>
                  <a:gd name="T12" fmla="*/ 0 w 77"/>
                  <a:gd name="T13" fmla="*/ 44 h 95"/>
                  <a:gd name="T14" fmla="*/ 1 w 77"/>
                  <a:gd name="T15" fmla="*/ 43 h 95"/>
                  <a:gd name="T16" fmla="*/ 74 w 77"/>
                  <a:gd name="T17" fmla="*/ 0 h 95"/>
                  <a:gd name="T18" fmla="*/ 76 w 77"/>
                  <a:gd name="T19" fmla="*/ 0 h 95"/>
                  <a:gd name="T20" fmla="*/ 77 w 77"/>
                  <a:gd name="T21" fmla="*/ 2 h 95"/>
                  <a:gd name="T22" fmla="*/ 77 w 77"/>
                  <a:gd name="T23" fmla="*/ 93 h 95"/>
                  <a:gd name="T24" fmla="*/ 76 w 77"/>
                  <a:gd name="T25" fmla="*/ 94 h 95"/>
                  <a:gd name="T26" fmla="*/ 75 w 77"/>
                  <a:gd name="T27" fmla="*/ 95 h 95"/>
                  <a:gd name="T28" fmla="*/ 4 w 77"/>
                  <a:gd name="T29" fmla="*/ 49 h 95"/>
                  <a:gd name="T30" fmla="*/ 5 w 77"/>
                  <a:gd name="T31" fmla="*/ 50 h 95"/>
                  <a:gd name="T32" fmla="*/ 73 w 77"/>
                  <a:gd name="T33" fmla="*/ 89 h 95"/>
                  <a:gd name="T34" fmla="*/ 73 w 77"/>
                  <a:gd name="T35" fmla="*/ 5 h 95"/>
                  <a:gd name="T36" fmla="*/ 4 w 77"/>
                  <a:gd name="T37" fmla="*/ 46 h 95"/>
                  <a:gd name="T38" fmla="*/ 4 w 77"/>
                  <a:gd name="T39" fmla="*/ 49 h 95"/>
                  <a:gd name="T40" fmla="*/ 4 w 77"/>
                  <a:gd name="T41" fmla="*/ 4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7" h="95">
                    <a:moveTo>
                      <a:pt x="75" y="95"/>
                    </a:moveTo>
                    <a:cubicBezTo>
                      <a:pt x="75" y="95"/>
                      <a:pt x="75" y="94"/>
                      <a:pt x="74" y="9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2" y="55"/>
                      <a:pt x="1" y="55"/>
                      <a:pt x="1" y="55"/>
                    </a:cubicBezTo>
                    <a:cubicBezTo>
                      <a:pt x="0" y="54"/>
                      <a:pt x="0" y="54"/>
                      <a:pt x="0" y="5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4"/>
                      <a:pt x="76" y="94"/>
                    </a:cubicBezTo>
                    <a:cubicBezTo>
                      <a:pt x="76" y="94"/>
                      <a:pt x="76" y="95"/>
                      <a:pt x="75" y="95"/>
                    </a:cubicBezTo>
                    <a:close/>
                    <a:moveTo>
                      <a:pt x="4" y="49"/>
                    </a:moveTo>
                    <a:cubicBezTo>
                      <a:pt x="4" y="49"/>
                      <a:pt x="5" y="49"/>
                      <a:pt x="5" y="50"/>
                    </a:cubicBezTo>
                    <a:cubicBezTo>
                      <a:pt x="73" y="89"/>
                      <a:pt x="73" y="89"/>
                      <a:pt x="73" y="8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1" name="Freeform 1020">
                <a:extLst>
                  <a:ext uri="{FF2B5EF4-FFF2-40B4-BE49-F238E27FC236}">
                    <a16:creationId xmlns:a16="http://schemas.microsoft.com/office/drawing/2014/main" id="{6D26A51A-44B4-4F75-8FC9-DF85051CB9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97302" y="5641597"/>
                <a:ext cx="153556" cy="93379"/>
              </a:xfrm>
              <a:custGeom>
                <a:avLst/>
                <a:gdLst>
                  <a:gd name="T0" fmla="*/ 55 w 63"/>
                  <a:gd name="T1" fmla="*/ 38 h 38"/>
                  <a:gd name="T2" fmla="*/ 54 w 63"/>
                  <a:gd name="T3" fmla="*/ 38 h 38"/>
                  <a:gd name="T4" fmla="*/ 1 w 63"/>
                  <a:gd name="T5" fmla="*/ 7 h 38"/>
                  <a:gd name="T6" fmla="*/ 0 w 63"/>
                  <a:gd name="T7" fmla="*/ 5 h 38"/>
                  <a:gd name="T8" fmla="*/ 1 w 63"/>
                  <a:gd name="T9" fmla="*/ 4 h 38"/>
                  <a:gd name="T10" fmla="*/ 6 w 63"/>
                  <a:gd name="T11" fmla="*/ 1 h 38"/>
                  <a:gd name="T12" fmla="*/ 8 w 63"/>
                  <a:gd name="T13" fmla="*/ 1 h 38"/>
                  <a:gd name="T14" fmla="*/ 62 w 63"/>
                  <a:gd name="T15" fmla="*/ 31 h 38"/>
                  <a:gd name="T16" fmla="*/ 63 w 63"/>
                  <a:gd name="T17" fmla="*/ 33 h 38"/>
                  <a:gd name="T18" fmla="*/ 62 w 63"/>
                  <a:gd name="T19" fmla="*/ 35 h 38"/>
                  <a:gd name="T20" fmla="*/ 56 w 63"/>
                  <a:gd name="T21" fmla="*/ 38 h 38"/>
                  <a:gd name="T22" fmla="*/ 55 w 63"/>
                  <a:gd name="T23" fmla="*/ 38 h 38"/>
                  <a:gd name="T24" fmla="*/ 6 w 63"/>
                  <a:gd name="T25" fmla="*/ 5 h 38"/>
                  <a:gd name="T26" fmla="*/ 55 w 63"/>
                  <a:gd name="T27" fmla="*/ 34 h 38"/>
                  <a:gd name="T28" fmla="*/ 57 w 63"/>
                  <a:gd name="T29" fmla="*/ 33 h 38"/>
                  <a:gd name="T30" fmla="*/ 7 w 63"/>
                  <a:gd name="T31" fmla="*/ 5 h 38"/>
                  <a:gd name="T32" fmla="*/ 6 w 63"/>
                  <a:gd name="T33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8">
                    <a:moveTo>
                      <a:pt x="55" y="38"/>
                    </a:moveTo>
                    <a:cubicBezTo>
                      <a:pt x="55" y="38"/>
                      <a:pt x="54" y="38"/>
                      <a:pt x="54" y="3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32"/>
                      <a:pt x="63" y="32"/>
                      <a:pt x="63" y="33"/>
                    </a:cubicBezTo>
                    <a:cubicBezTo>
                      <a:pt x="63" y="34"/>
                      <a:pt x="62" y="34"/>
                      <a:pt x="62" y="35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6" y="38"/>
                      <a:pt x="55" y="38"/>
                      <a:pt x="55" y="38"/>
                    </a:cubicBezTo>
                    <a:close/>
                    <a:moveTo>
                      <a:pt x="6" y="5"/>
                    </a:moveTo>
                    <a:cubicBezTo>
                      <a:pt x="55" y="34"/>
                      <a:pt x="55" y="34"/>
                      <a:pt x="55" y="34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2" name="Freeform 1021">
                <a:extLst>
                  <a:ext uri="{FF2B5EF4-FFF2-40B4-BE49-F238E27FC236}">
                    <a16:creationId xmlns:a16="http://schemas.microsoft.com/office/drawing/2014/main" id="{05D84A07-2BD6-4187-B0F7-31A6004994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72401" y="5729788"/>
                <a:ext cx="73665" cy="61215"/>
              </a:xfrm>
              <a:custGeom>
                <a:avLst/>
                <a:gdLst>
                  <a:gd name="T0" fmla="*/ 28 w 30"/>
                  <a:gd name="T1" fmla="*/ 25 h 25"/>
                  <a:gd name="T2" fmla="*/ 27 w 30"/>
                  <a:gd name="T3" fmla="*/ 25 h 25"/>
                  <a:gd name="T4" fmla="*/ 1 w 30"/>
                  <a:gd name="T5" fmla="*/ 10 h 25"/>
                  <a:gd name="T6" fmla="*/ 0 w 30"/>
                  <a:gd name="T7" fmla="*/ 8 h 25"/>
                  <a:gd name="T8" fmla="*/ 1 w 30"/>
                  <a:gd name="T9" fmla="*/ 6 h 25"/>
                  <a:gd name="T10" fmla="*/ 11 w 30"/>
                  <a:gd name="T11" fmla="*/ 0 h 25"/>
                  <a:gd name="T12" fmla="*/ 13 w 30"/>
                  <a:gd name="T13" fmla="*/ 0 h 25"/>
                  <a:gd name="T14" fmla="*/ 29 w 30"/>
                  <a:gd name="T15" fmla="*/ 10 h 25"/>
                  <a:gd name="T16" fmla="*/ 30 w 30"/>
                  <a:gd name="T17" fmla="*/ 12 h 25"/>
                  <a:gd name="T18" fmla="*/ 30 w 30"/>
                  <a:gd name="T19" fmla="*/ 23 h 25"/>
                  <a:gd name="T20" fmla="*/ 29 w 30"/>
                  <a:gd name="T21" fmla="*/ 25 h 25"/>
                  <a:gd name="T22" fmla="*/ 28 w 30"/>
                  <a:gd name="T23" fmla="*/ 25 h 25"/>
                  <a:gd name="T24" fmla="*/ 6 w 30"/>
                  <a:gd name="T25" fmla="*/ 8 h 25"/>
                  <a:gd name="T26" fmla="*/ 26 w 30"/>
                  <a:gd name="T27" fmla="*/ 20 h 25"/>
                  <a:gd name="T28" fmla="*/ 26 w 30"/>
                  <a:gd name="T29" fmla="*/ 13 h 25"/>
                  <a:gd name="T30" fmla="*/ 12 w 30"/>
                  <a:gd name="T31" fmla="*/ 5 h 25"/>
                  <a:gd name="T32" fmla="*/ 6 w 30"/>
                  <a:gd name="T3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5">
                    <a:moveTo>
                      <a:pt x="28" y="25"/>
                    </a:moveTo>
                    <a:cubicBezTo>
                      <a:pt x="28" y="25"/>
                      <a:pt x="28" y="25"/>
                      <a:pt x="27" y="25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0"/>
                      <a:pt x="30" y="11"/>
                      <a:pt x="30" y="12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4"/>
                      <a:pt x="30" y="25"/>
                      <a:pt x="29" y="25"/>
                    </a:cubicBezTo>
                    <a:cubicBezTo>
                      <a:pt x="29" y="25"/>
                      <a:pt x="29" y="25"/>
                      <a:pt x="28" y="25"/>
                    </a:cubicBezTo>
                    <a:close/>
                    <a:moveTo>
                      <a:pt x="6" y="8"/>
                    </a:move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2" y="5"/>
                      <a:pt x="12" y="5"/>
                      <a:pt x="12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3" name="Freeform 1022">
                <a:extLst>
                  <a:ext uri="{FF2B5EF4-FFF2-40B4-BE49-F238E27FC236}">
                    <a16:creationId xmlns:a16="http://schemas.microsoft.com/office/drawing/2014/main" id="{F035F3E6-C7B3-4946-9B1E-F90E8C9099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72401" y="5551331"/>
                <a:ext cx="161856" cy="207508"/>
              </a:xfrm>
              <a:custGeom>
                <a:avLst/>
                <a:gdLst>
                  <a:gd name="T0" fmla="*/ 64 w 66"/>
                  <a:gd name="T1" fmla="*/ 85 h 85"/>
                  <a:gd name="T2" fmla="*/ 63 w 66"/>
                  <a:gd name="T3" fmla="*/ 84 h 85"/>
                  <a:gd name="T4" fmla="*/ 49 w 66"/>
                  <a:gd name="T5" fmla="*/ 76 h 85"/>
                  <a:gd name="T6" fmla="*/ 48 w 66"/>
                  <a:gd name="T7" fmla="*/ 74 h 85"/>
                  <a:gd name="T8" fmla="*/ 49 w 66"/>
                  <a:gd name="T9" fmla="*/ 73 h 85"/>
                  <a:gd name="T10" fmla="*/ 53 w 66"/>
                  <a:gd name="T11" fmla="*/ 70 h 85"/>
                  <a:gd name="T12" fmla="*/ 1 w 66"/>
                  <a:gd name="T13" fmla="*/ 40 h 85"/>
                  <a:gd name="T14" fmla="*/ 0 w 66"/>
                  <a:gd name="T15" fmla="*/ 38 h 85"/>
                  <a:gd name="T16" fmla="*/ 1 w 66"/>
                  <a:gd name="T17" fmla="*/ 37 h 85"/>
                  <a:gd name="T18" fmla="*/ 63 w 66"/>
                  <a:gd name="T19" fmla="*/ 0 h 85"/>
                  <a:gd name="T20" fmla="*/ 65 w 66"/>
                  <a:gd name="T21" fmla="*/ 0 h 85"/>
                  <a:gd name="T22" fmla="*/ 66 w 66"/>
                  <a:gd name="T23" fmla="*/ 2 h 85"/>
                  <a:gd name="T24" fmla="*/ 66 w 66"/>
                  <a:gd name="T25" fmla="*/ 83 h 85"/>
                  <a:gd name="T26" fmla="*/ 65 w 66"/>
                  <a:gd name="T27" fmla="*/ 84 h 85"/>
                  <a:gd name="T28" fmla="*/ 64 w 66"/>
                  <a:gd name="T29" fmla="*/ 85 h 85"/>
                  <a:gd name="T30" fmla="*/ 54 w 66"/>
                  <a:gd name="T31" fmla="*/ 74 h 85"/>
                  <a:gd name="T32" fmla="*/ 62 w 66"/>
                  <a:gd name="T33" fmla="*/ 79 h 85"/>
                  <a:gd name="T34" fmla="*/ 62 w 66"/>
                  <a:gd name="T35" fmla="*/ 6 h 85"/>
                  <a:gd name="T36" fmla="*/ 6 w 66"/>
                  <a:gd name="T37" fmla="*/ 38 h 85"/>
                  <a:gd name="T38" fmla="*/ 58 w 66"/>
                  <a:gd name="T39" fmla="*/ 68 h 85"/>
                  <a:gd name="T40" fmla="*/ 59 w 66"/>
                  <a:gd name="T41" fmla="*/ 70 h 85"/>
                  <a:gd name="T42" fmla="*/ 58 w 66"/>
                  <a:gd name="T43" fmla="*/ 72 h 85"/>
                  <a:gd name="T44" fmla="*/ 54 w 66"/>
                  <a:gd name="T45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" h="85">
                    <a:moveTo>
                      <a:pt x="64" y="85"/>
                    </a:moveTo>
                    <a:cubicBezTo>
                      <a:pt x="64" y="85"/>
                      <a:pt x="64" y="85"/>
                      <a:pt x="63" y="84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6"/>
                      <a:pt x="48" y="75"/>
                      <a:pt x="48" y="74"/>
                    </a:cubicBezTo>
                    <a:cubicBezTo>
                      <a:pt x="48" y="74"/>
                      <a:pt x="48" y="73"/>
                      <a:pt x="49" y="73"/>
                    </a:cubicBezTo>
                    <a:cubicBezTo>
                      <a:pt x="53" y="70"/>
                      <a:pt x="53" y="70"/>
                      <a:pt x="53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8"/>
                      <a:pt x="0" y="37"/>
                      <a:pt x="1" y="37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4" y="0"/>
                      <a:pt x="65" y="0"/>
                      <a:pt x="65" y="0"/>
                    </a:cubicBezTo>
                    <a:cubicBezTo>
                      <a:pt x="66" y="1"/>
                      <a:pt x="66" y="1"/>
                      <a:pt x="66" y="2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83"/>
                      <a:pt x="66" y="84"/>
                      <a:pt x="65" y="84"/>
                    </a:cubicBezTo>
                    <a:cubicBezTo>
                      <a:pt x="65" y="85"/>
                      <a:pt x="65" y="85"/>
                      <a:pt x="64" y="85"/>
                    </a:cubicBezTo>
                    <a:close/>
                    <a:moveTo>
                      <a:pt x="54" y="74"/>
                    </a:moveTo>
                    <a:cubicBezTo>
                      <a:pt x="62" y="79"/>
                      <a:pt x="62" y="79"/>
                      <a:pt x="62" y="7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9" y="69"/>
                      <a:pt x="59" y="69"/>
                      <a:pt x="59" y="70"/>
                    </a:cubicBezTo>
                    <a:cubicBezTo>
                      <a:pt x="59" y="71"/>
                      <a:pt x="59" y="71"/>
                      <a:pt x="58" y="72"/>
                    </a:cubicBezTo>
                    <a:lnTo>
                      <a:pt x="54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4" name="Freeform 1023">
                <a:extLst>
                  <a:ext uri="{FF2B5EF4-FFF2-40B4-BE49-F238E27FC236}">
                    <a16:creationId xmlns:a16="http://schemas.microsoft.com/office/drawing/2014/main" id="{48E2F357-C987-4436-9C6F-9B57AFBB13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43350" y="6920883"/>
                <a:ext cx="217884" cy="453405"/>
              </a:xfrm>
              <a:custGeom>
                <a:avLst/>
                <a:gdLst>
                  <a:gd name="T0" fmla="*/ 2 w 89"/>
                  <a:gd name="T1" fmla="*/ 185 h 185"/>
                  <a:gd name="T2" fmla="*/ 1 w 89"/>
                  <a:gd name="T3" fmla="*/ 184 h 185"/>
                  <a:gd name="T4" fmla="*/ 0 w 89"/>
                  <a:gd name="T5" fmla="*/ 183 h 185"/>
                  <a:gd name="T6" fmla="*/ 0 w 89"/>
                  <a:gd name="T7" fmla="*/ 44 h 185"/>
                  <a:gd name="T8" fmla="*/ 1 w 89"/>
                  <a:gd name="T9" fmla="*/ 43 h 185"/>
                  <a:gd name="T10" fmla="*/ 74 w 89"/>
                  <a:gd name="T11" fmla="*/ 0 h 185"/>
                  <a:gd name="T12" fmla="*/ 76 w 89"/>
                  <a:gd name="T13" fmla="*/ 0 h 185"/>
                  <a:gd name="T14" fmla="*/ 77 w 89"/>
                  <a:gd name="T15" fmla="*/ 2 h 185"/>
                  <a:gd name="T16" fmla="*/ 77 w 89"/>
                  <a:gd name="T17" fmla="*/ 125 h 185"/>
                  <a:gd name="T18" fmla="*/ 88 w 89"/>
                  <a:gd name="T19" fmla="*/ 131 h 185"/>
                  <a:gd name="T20" fmla="*/ 89 w 89"/>
                  <a:gd name="T21" fmla="*/ 133 h 185"/>
                  <a:gd name="T22" fmla="*/ 88 w 89"/>
                  <a:gd name="T23" fmla="*/ 135 h 185"/>
                  <a:gd name="T24" fmla="*/ 3 w 89"/>
                  <a:gd name="T25" fmla="*/ 184 h 185"/>
                  <a:gd name="T26" fmla="*/ 2 w 89"/>
                  <a:gd name="T27" fmla="*/ 185 h 185"/>
                  <a:gd name="T28" fmla="*/ 4 w 89"/>
                  <a:gd name="T29" fmla="*/ 46 h 185"/>
                  <a:gd name="T30" fmla="*/ 4 w 89"/>
                  <a:gd name="T31" fmla="*/ 179 h 185"/>
                  <a:gd name="T32" fmla="*/ 83 w 89"/>
                  <a:gd name="T33" fmla="*/ 133 h 185"/>
                  <a:gd name="T34" fmla="*/ 74 w 89"/>
                  <a:gd name="T35" fmla="*/ 128 h 185"/>
                  <a:gd name="T36" fmla="*/ 73 w 89"/>
                  <a:gd name="T37" fmla="*/ 126 h 185"/>
                  <a:gd name="T38" fmla="*/ 73 w 89"/>
                  <a:gd name="T39" fmla="*/ 5 h 185"/>
                  <a:gd name="T40" fmla="*/ 4 w 89"/>
                  <a:gd name="T41" fmla="*/ 46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9" h="185">
                    <a:moveTo>
                      <a:pt x="2" y="185"/>
                    </a:moveTo>
                    <a:cubicBezTo>
                      <a:pt x="1" y="185"/>
                      <a:pt x="1" y="184"/>
                      <a:pt x="1" y="184"/>
                    </a:cubicBezTo>
                    <a:cubicBezTo>
                      <a:pt x="0" y="184"/>
                      <a:pt x="0" y="183"/>
                      <a:pt x="0" y="18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125"/>
                      <a:pt x="77" y="125"/>
                      <a:pt x="77" y="125"/>
                    </a:cubicBezTo>
                    <a:cubicBezTo>
                      <a:pt x="88" y="131"/>
                      <a:pt x="88" y="131"/>
                      <a:pt x="88" y="131"/>
                    </a:cubicBezTo>
                    <a:cubicBezTo>
                      <a:pt x="89" y="132"/>
                      <a:pt x="89" y="132"/>
                      <a:pt x="89" y="133"/>
                    </a:cubicBezTo>
                    <a:cubicBezTo>
                      <a:pt x="89" y="134"/>
                      <a:pt x="89" y="134"/>
                      <a:pt x="88" y="135"/>
                    </a:cubicBezTo>
                    <a:cubicBezTo>
                      <a:pt x="3" y="184"/>
                      <a:pt x="3" y="184"/>
                      <a:pt x="3" y="184"/>
                    </a:cubicBezTo>
                    <a:cubicBezTo>
                      <a:pt x="2" y="184"/>
                      <a:pt x="2" y="185"/>
                      <a:pt x="2" y="185"/>
                    </a:cubicBezTo>
                    <a:close/>
                    <a:moveTo>
                      <a:pt x="4" y="46"/>
                    </a:moveTo>
                    <a:cubicBezTo>
                      <a:pt x="4" y="179"/>
                      <a:pt x="4" y="179"/>
                      <a:pt x="4" y="179"/>
                    </a:cubicBezTo>
                    <a:cubicBezTo>
                      <a:pt x="83" y="133"/>
                      <a:pt x="83" y="133"/>
                      <a:pt x="83" y="133"/>
                    </a:cubicBezTo>
                    <a:cubicBezTo>
                      <a:pt x="74" y="128"/>
                      <a:pt x="74" y="128"/>
                      <a:pt x="74" y="128"/>
                    </a:cubicBezTo>
                    <a:cubicBezTo>
                      <a:pt x="74" y="128"/>
                      <a:pt x="73" y="127"/>
                      <a:pt x="73" y="126"/>
                    </a:cubicBezTo>
                    <a:cubicBezTo>
                      <a:pt x="73" y="5"/>
                      <a:pt x="73" y="5"/>
                      <a:pt x="73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5" name="Freeform 1024">
                <a:extLst>
                  <a:ext uri="{FF2B5EF4-FFF2-40B4-BE49-F238E27FC236}">
                    <a16:creationId xmlns:a16="http://schemas.microsoft.com/office/drawing/2014/main" id="{472E4D6F-D60D-49B2-BF51-5449D3D0B0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09" y="6884569"/>
                <a:ext cx="71590" cy="50839"/>
              </a:xfrm>
              <a:custGeom>
                <a:avLst/>
                <a:gdLst>
                  <a:gd name="T0" fmla="*/ 27 w 29"/>
                  <a:gd name="T1" fmla="*/ 21 h 21"/>
                  <a:gd name="T2" fmla="*/ 26 w 29"/>
                  <a:gd name="T3" fmla="*/ 21 h 21"/>
                  <a:gd name="T4" fmla="*/ 1 w 29"/>
                  <a:gd name="T5" fmla="*/ 6 h 21"/>
                  <a:gd name="T6" fmla="*/ 0 w 29"/>
                  <a:gd name="T7" fmla="*/ 5 h 21"/>
                  <a:gd name="T8" fmla="*/ 1 w 29"/>
                  <a:gd name="T9" fmla="*/ 3 h 21"/>
                  <a:gd name="T10" fmla="*/ 6 w 29"/>
                  <a:gd name="T11" fmla="*/ 0 h 21"/>
                  <a:gd name="T12" fmla="*/ 8 w 29"/>
                  <a:gd name="T13" fmla="*/ 0 h 21"/>
                  <a:gd name="T14" fmla="*/ 28 w 29"/>
                  <a:gd name="T15" fmla="*/ 12 h 21"/>
                  <a:gd name="T16" fmla="*/ 29 w 29"/>
                  <a:gd name="T17" fmla="*/ 13 h 21"/>
                  <a:gd name="T18" fmla="*/ 29 w 29"/>
                  <a:gd name="T19" fmla="*/ 19 h 21"/>
                  <a:gd name="T20" fmla="*/ 28 w 29"/>
                  <a:gd name="T21" fmla="*/ 21 h 21"/>
                  <a:gd name="T22" fmla="*/ 27 w 29"/>
                  <a:gd name="T23" fmla="*/ 21 h 21"/>
                  <a:gd name="T24" fmla="*/ 6 w 29"/>
                  <a:gd name="T25" fmla="*/ 5 h 21"/>
                  <a:gd name="T26" fmla="*/ 25 w 29"/>
                  <a:gd name="T27" fmla="*/ 15 h 21"/>
                  <a:gd name="T28" fmla="*/ 25 w 29"/>
                  <a:gd name="T29" fmla="*/ 15 h 21"/>
                  <a:gd name="T30" fmla="*/ 7 w 29"/>
                  <a:gd name="T31" fmla="*/ 4 h 21"/>
                  <a:gd name="T32" fmla="*/ 6 w 29"/>
                  <a:gd name="T33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21">
                    <a:moveTo>
                      <a:pt x="27" y="21"/>
                    </a:moveTo>
                    <a:cubicBezTo>
                      <a:pt x="27" y="21"/>
                      <a:pt x="26" y="21"/>
                      <a:pt x="26" y="21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9" y="12"/>
                      <a:pt x="29" y="13"/>
                      <a:pt x="29" y="13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20"/>
                      <a:pt x="29" y="20"/>
                      <a:pt x="28" y="21"/>
                    </a:cubicBezTo>
                    <a:cubicBezTo>
                      <a:pt x="28" y="21"/>
                      <a:pt x="27" y="21"/>
                      <a:pt x="27" y="21"/>
                    </a:cubicBezTo>
                    <a:close/>
                    <a:moveTo>
                      <a:pt x="6" y="5"/>
                    </a:moveTo>
                    <a:cubicBezTo>
                      <a:pt x="25" y="15"/>
                      <a:pt x="25" y="15"/>
                      <a:pt x="25" y="1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7" y="4"/>
                      <a:pt x="7" y="4"/>
                      <a:pt x="7" y="4"/>
                    </a:cubicBez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6" name="Freeform 1025">
                <a:extLst>
                  <a:ext uri="{FF2B5EF4-FFF2-40B4-BE49-F238E27FC236}">
                    <a16:creationId xmlns:a16="http://schemas.microsoft.com/office/drawing/2014/main" id="{D2649C52-13A3-4097-89BE-774B7DD198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09" y="6891832"/>
                <a:ext cx="118280" cy="357951"/>
              </a:xfrm>
              <a:custGeom>
                <a:avLst/>
                <a:gdLst>
                  <a:gd name="T0" fmla="*/ 14 w 48"/>
                  <a:gd name="T1" fmla="*/ 146 h 146"/>
                  <a:gd name="T2" fmla="*/ 13 w 48"/>
                  <a:gd name="T3" fmla="*/ 146 h 146"/>
                  <a:gd name="T4" fmla="*/ 1 w 48"/>
                  <a:gd name="T5" fmla="*/ 139 h 146"/>
                  <a:gd name="T6" fmla="*/ 0 w 48"/>
                  <a:gd name="T7" fmla="*/ 137 h 146"/>
                  <a:gd name="T8" fmla="*/ 0 w 48"/>
                  <a:gd name="T9" fmla="*/ 13 h 146"/>
                  <a:gd name="T10" fmla="*/ 1 w 48"/>
                  <a:gd name="T11" fmla="*/ 11 h 146"/>
                  <a:gd name="T12" fmla="*/ 19 w 48"/>
                  <a:gd name="T13" fmla="*/ 1 h 146"/>
                  <a:gd name="T14" fmla="*/ 21 w 48"/>
                  <a:gd name="T15" fmla="*/ 1 h 146"/>
                  <a:gd name="T16" fmla="*/ 47 w 48"/>
                  <a:gd name="T17" fmla="*/ 16 h 146"/>
                  <a:gd name="T18" fmla="*/ 48 w 48"/>
                  <a:gd name="T19" fmla="*/ 18 h 146"/>
                  <a:gd name="T20" fmla="*/ 48 w 48"/>
                  <a:gd name="T21" fmla="*/ 125 h 146"/>
                  <a:gd name="T22" fmla="*/ 47 w 48"/>
                  <a:gd name="T23" fmla="*/ 127 h 146"/>
                  <a:gd name="T24" fmla="*/ 15 w 48"/>
                  <a:gd name="T25" fmla="*/ 146 h 146"/>
                  <a:gd name="T26" fmla="*/ 14 w 48"/>
                  <a:gd name="T27" fmla="*/ 146 h 146"/>
                  <a:gd name="T28" fmla="*/ 4 w 48"/>
                  <a:gd name="T29" fmla="*/ 136 h 146"/>
                  <a:gd name="T30" fmla="*/ 14 w 48"/>
                  <a:gd name="T31" fmla="*/ 142 h 146"/>
                  <a:gd name="T32" fmla="*/ 44 w 48"/>
                  <a:gd name="T33" fmla="*/ 124 h 146"/>
                  <a:gd name="T34" fmla="*/ 44 w 48"/>
                  <a:gd name="T35" fmla="*/ 19 h 146"/>
                  <a:gd name="T36" fmla="*/ 20 w 48"/>
                  <a:gd name="T37" fmla="*/ 5 h 146"/>
                  <a:gd name="T38" fmla="*/ 4 w 48"/>
                  <a:gd name="T39" fmla="*/ 14 h 146"/>
                  <a:gd name="T40" fmla="*/ 4 w 48"/>
                  <a:gd name="T41" fmla="*/ 13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146">
                    <a:moveTo>
                      <a:pt x="14" y="146"/>
                    </a:moveTo>
                    <a:cubicBezTo>
                      <a:pt x="14" y="146"/>
                      <a:pt x="13" y="146"/>
                      <a:pt x="13" y="146"/>
                    </a:cubicBezTo>
                    <a:cubicBezTo>
                      <a:pt x="1" y="139"/>
                      <a:pt x="1" y="139"/>
                      <a:pt x="1" y="139"/>
                    </a:cubicBezTo>
                    <a:cubicBezTo>
                      <a:pt x="0" y="139"/>
                      <a:pt x="0" y="138"/>
                      <a:pt x="0" y="137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0"/>
                      <a:pt x="20" y="0"/>
                      <a:pt x="21" y="1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8" y="16"/>
                      <a:pt x="48" y="17"/>
                      <a:pt x="48" y="18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8" y="126"/>
                      <a:pt x="48" y="127"/>
                      <a:pt x="47" y="127"/>
                    </a:cubicBezTo>
                    <a:cubicBezTo>
                      <a:pt x="15" y="146"/>
                      <a:pt x="15" y="146"/>
                      <a:pt x="15" y="146"/>
                    </a:cubicBezTo>
                    <a:cubicBezTo>
                      <a:pt x="15" y="146"/>
                      <a:pt x="14" y="146"/>
                      <a:pt x="14" y="146"/>
                    </a:cubicBezTo>
                    <a:close/>
                    <a:moveTo>
                      <a:pt x="4" y="136"/>
                    </a:moveTo>
                    <a:cubicBezTo>
                      <a:pt x="14" y="142"/>
                      <a:pt x="14" y="142"/>
                      <a:pt x="14" y="142"/>
                    </a:cubicBezTo>
                    <a:cubicBezTo>
                      <a:pt x="44" y="124"/>
                      <a:pt x="44" y="124"/>
                      <a:pt x="44" y="124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13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7" name="Freeform 1026">
                <a:extLst>
                  <a:ext uri="{FF2B5EF4-FFF2-40B4-BE49-F238E27FC236}">
                    <a16:creationId xmlns:a16="http://schemas.microsoft.com/office/drawing/2014/main" id="{83EBC5B4-9AB6-4051-8139-7D5CA82D40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27787" y="6866931"/>
                <a:ext cx="49802" cy="57065"/>
              </a:xfrm>
              <a:custGeom>
                <a:avLst/>
                <a:gdLst>
                  <a:gd name="T0" fmla="*/ 2 w 20"/>
                  <a:gd name="T1" fmla="*/ 23 h 23"/>
                  <a:gd name="T2" fmla="*/ 1 w 20"/>
                  <a:gd name="T3" fmla="*/ 23 h 23"/>
                  <a:gd name="T4" fmla="*/ 0 w 20"/>
                  <a:gd name="T5" fmla="*/ 21 h 23"/>
                  <a:gd name="T6" fmla="*/ 0 w 20"/>
                  <a:gd name="T7" fmla="*/ 2 h 23"/>
                  <a:gd name="T8" fmla="*/ 1 w 20"/>
                  <a:gd name="T9" fmla="*/ 1 h 23"/>
                  <a:gd name="T10" fmla="*/ 3 w 20"/>
                  <a:gd name="T11" fmla="*/ 1 h 23"/>
                  <a:gd name="T12" fmla="*/ 19 w 20"/>
                  <a:gd name="T13" fmla="*/ 10 h 23"/>
                  <a:gd name="T14" fmla="*/ 20 w 20"/>
                  <a:gd name="T15" fmla="*/ 12 h 23"/>
                  <a:gd name="T16" fmla="*/ 19 w 20"/>
                  <a:gd name="T17" fmla="*/ 13 h 23"/>
                  <a:gd name="T18" fmla="*/ 3 w 20"/>
                  <a:gd name="T19" fmla="*/ 23 h 23"/>
                  <a:gd name="T20" fmla="*/ 2 w 20"/>
                  <a:gd name="T21" fmla="*/ 23 h 23"/>
                  <a:gd name="T22" fmla="*/ 4 w 20"/>
                  <a:gd name="T23" fmla="*/ 6 h 23"/>
                  <a:gd name="T24" fmla="*/ 4 w 20"/>
                  <a:gd name="T25" fmla="*/ 17 h 23"/>
                  <a:gd name="T26" fmla="*/ 14 w 20"/>
                  <a:gd name="T27" fmla="*/ 12 h 23"/>
                  <a:gd name="T28" fmla="*/ 4 w 20"/>
                  <a:gd name="T29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23">
                    <a:moveTo>
                      <a:pt x="2" y="23"/>
                    </a:moveTo>
                    <a:cubicBezTo>
                      <a:pt x="2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20" y="10"/>
                      <a:pt x="20" y="11"/>
                      <a:pt x="20" y="12"/>
                    </a:cubicBezTo>
                    <a:cubicBezTo>
                      <a:pt x="20" y="12"/>
                      <a:pt x="20" y="13"/>
                      <a:pt x="19" y="1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  <a:moveTo>
                      <a:pt x="4" y="6"/>
                    </a:moveTo>
                    <a:cubicBezTo>
                      <a:pt x="4" y="17"/>
                      <a:pt x="4" y="17"/>
                      <a:pt x="4" y="17"/>
                    </a:cubicBezTo>
                    <a:cubicBezTo>
                      <a:pt x="14" y="12"/>
                      <a:pt x="14" y="12"/>
                      <a:pt x="14" y="12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8" name="Freeform 1027">
                <a:extLst>
                  <a:ext uri="{FF2B5EF4-FFF2-40B4-BE49-F238E27FC236}">
                    <a16:creationId xmlns:a16="http://schemas.microsoft.com/office/drawing/2014/main" id="{AC62FB5B-F2BC-4A31-83BE-4BFDF2AB13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842954" y="5531618"/>
                <a:ext cx="611112" cy="381815"/>
              </a:xfrm>
              <a:custGeom>
                <a:avLst/>
                <a:gdLst>
                  <a:gd name="T0" fmla="*/ 134 w 249"/>
                  <a:gd name="T1" fmla="*/ 156 h 156"/>
                  <a:gd name="T2" fmla="*/ 133 w 249"/>
                  <a:gd name="T3" fmla="*/ 156 h 156"/>
                  <a:gd name="T4" fmla="*/ 1 w 249"/>
                  <a:gd name="T5" fmla="*/ 80 h 156"/>
                  <a:gd name="T6" fmla="*/ 0 w 249"/>
                  <a:gd name="T7" fmla="*/ 78 h 156"/>
                  <a:gd name="T8" fmla="*/ 1 w 249"/>
                  <a:gd name="T9" fmla="*/ 76 h 156"/>
                  <a:gd name="T10" fmla="*/ 133 w 249"/>
                  <a:gd name="T11" fmla="*/ 0 h 156"/>
                  <a:gd name="T12" fmla="*/ 135 w 249"/>
                  <a:gd name="T13" fmla="*/ 0 h 156"/>
                  <a:gd name="T14" fmla="*/ 150 w 249"/>
                  <a:gd name="T15" fmla="*/ 9 h 156"/>
                  <a:gd name="T16" fmla="*/ 151 w 249"/>
                  <a:gd name="T17" fmla="*/ 11 h 156"/>
                  <a:gd name="T18" fmla="*/ 151 w 249"/>
                  <a:gd name="T19" fmla="*/ 32 h 156"/>
                  <a:gd name="T20" fmla="*/ 248 w 249"/>
                  <a:gd name="T21" fmla="*/ 87 h 156"/>
                  <a:gd name="T22" fmla="*/ 249 w 249"/>
                  <a:gd name="T23" fmla="*/ 89 h 156"/>
                  <a:gd name="T24" fmla="*/ 248 w 249"/>
                  <a:gd name="T25" fmla="*/ 91 h 156"/>
                  <a:gd name="T26" fmla="*/ 135 w 249"/>
                  <a:gd name="T27" fmla="*/ 156 h 156"/>
                  <a:gd name="T28" fmla="*/ 134 w 249"/>
                  <a:gd name="T29" fmla="*/ 156 h 156"/>
                  <a:gd name="T30" fmla="*/ 6 w 249"/>
                  <a:gd name="T31" fmla="*/ 78 h 156"/>
                  <a:gd name="T32" fmla="*/ 134 w 249"/>
                  <a:gd name="T33" fmla="*/ 152 h 156"/>
                  <a:gd name="T34" fmla="*/ 243 w 249"/>
                  <a:gd name="T35" fmla="*/ 89 h 156"/>
                  <a:gd name="T36" fmla="*/ 148 w 249"/>
                  <a:gd name="T37" fmla="*/ 35 h 156"/>
                  <a:gd name="T38" fmla="*/ 147 w 249"/>
                  <a:gd name="T39" fmla="*/ 33 h 156"/>
                  <a:gd name="T40" fmla="*/ 147 w 249"/>
                  <a:gd name="T41" fmla="*/ 12 h 156"/>
                  <a:gd name="T42" fmla="*/ 134 w 249"/>
                  <a:gd name="T43" fmla="*/ 4 h 156"/>
                  <a:gd name="T44" fmla="*/ 6 w 249"/>
                  <a:gd name="T45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9" h="156">
                    <a:moveTo>
                      <a:pt x="134" y="156"/>
                    </a:moveTo>
                    <a:cubicBezTo>
                      <a:pt x="133" y="156"/>
                      <a:pt x="133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77"/>
                      <a:pt x="0" y="77"/>
                      <a:pt x="1" y="76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134" y="0"/>
                      <a:pt x="135" y="0"/>
                    </a:cubicBezTo>
                    <a:cubicBezTo>
                      <a:pt x="150" y="9"/>
                      <a:pt x="150" y="9"/>
                      <a:pt x="150" y="9"/>
                    </a:cubicBezTo>
                    <a:cubicBezTo>
                      <a:pt x="151" y="10"/>
                      <a:pt x="151" y="10"/>
                      <a:pt x="151" y="11"/>
                    </a:cubicBezTo>
                    <a:cubicBezTo>
                      <a:pt x="151" y="32"/>
                      <a:pt x="151" y="32"/>
                      <a:pt x="151" y="32"/>
                    </a:cubicBezTo>
                    <a:cubicBezTo>
                      <a:pt x="248" y="87"/>
                      <a:pt x="248" y="87"/>
                      <a:pt x="248" y="87"/>
                    </a:cubicBezTo>
                    <a:cubicBezTo>
                      <a:pt x="248" y="88"/>
                      <a:pt x="249" y="88"/>
                      <a:pt x="249" y="89"/>
                    </a:cubicBezTo>
                    <a:cubicBezTo>
                      <a:pt x="249" y="90"/>
                      <a:pt x="248" y="90"/>
                      <a:pt x="248" y="91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4" y="156"/>
                      <a:pt x="134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3" y="89"/>
                      <a:pt x="243" y="89"/>
                      <a:pt x="243" y="89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8" y="34"/>
                      <a:pt x="147" y="34"/>
                      <a:pt x="147" y="33"/>
                    </a:cubicBezTo>
                    <a:cubicBezTo>
                      <a:pt x="147" y="12"/>
                      <a:pt x="147" y="12"/>
                      <a:pt x="147" y="12"/>
                    </a:cubicBezTo>
                    <a:cubicBezTo>
                      <a:pt x="134" y="4"/>
                      <a:pt x="134" y="4"/>
                      <a:pt x="134" y="4"/>
                    </a:cubicBezTo>
                    <a:lnTo>
                      <a:pt x="6" y="7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9" name="Freeform 1028">
                <a:extLst>
                  <a:ext uri="{FF2B5EF4-FFF2-40B4-BE49-F238E27FC236}">
                    <a16:creationId xmlns:a16="http://schemas.microsoft.com/office/drawing/2014/main" id="{192491AE-C4C4-4F87-864E-01FC3ED378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89002" y="6656311"/>
                <a:ext cx="113092" cy="127617"/>
              </a:xfrm>
              <a:custGeom>
                <a:avLst/>
                <a:gdLst>
                  <a:gd name="T0" fmla="*/ 44 w 46"/>
                  <a:gd name="T1" fmla="*/ 52 h 52"/>
                  <a:gd name="T2" fmla="*/ 43 w 46"/>
                  <a:gd name="T3" fmla="*/ 51 h 52"/>
                  <a:gd name="T4" fmla="*/ 1 w 46"/>
                  <a:gd name="T5" fmla="*/ 28 h 52"/>
                  <a:gd name="T6" fmla="*/ 0 w 46"/>
                  <a:gd name="T7" fmla="*/ 26 h 52"/>
                  <a:gd name="T8" fmla="*/ 1 w 46"/>
                  <a:gd name="T9" fmla="*/ 24 h 52"/>
                  <a:gd name="T10" fmla="*/ 43 w 46"/>
                  <a:gd name="T11" fmla="*/ 0 h 52"/>
                  <a:gd name="T12" fmla="*/ 45 w 46"/>
                  <a:gd name="T13" fmla="*/ 0 h 52"/>
                  <a:gd name="T14" fmla="*/ 46 w 46"/>
                  <a:gd name="T15" fmla="*/ 2 h 52"/>
                  <a:gd name="T16" fmla="*/ 46 w 46"/>
                  <a:gd name="T17" fmla="*/ 50 h 52"/>
                  <a:gd name="T18" fmla="*/ 45 w 46"/>
                  <a:gd name="T19" fmla="*/ 51 h 52"/>
                  <a:gd name="T20" fmla="*/ 44 w 46"/>
                  <a:gd name="T21" fmla="*/ 52 h 52"/>
                  <a:gd name="T22" fmla="*/ 6 w 46"/>
                  <a:gd name="T23" fmla="*/ 26 h 52"/>
                  <a:gd name="T24" fmla="*/ 42 w 46"/>
                  <a:gd name="T25" fmla="*/ 46 h 52"/>
                  <a:gd name="T26" fmla="*/ 42 w 46"/>
                  <a:gd name="T27" fmla="*/ 6 h 52"/>
                  <a:gd name="T28" fmla="*/ 6 w 46"/>
                  <a:gd name="T29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2">
                    <a:moveTo>
                      <a:pt x="44" y="52"/>
                    </a:moveTo>
                    <a:cubicBezTo>
                      <a:pt x="43" y="52"/>
                      <a:pt x="43" y="52"/>
                      <a:pt x="43" y="51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7"/>
                      <a:pt x="0" y="27"/>
                      <a:pt x="0" y="26"/>
                    </a:cubicBezTo>
                    <a:cubicBezTo>
                      <a:pt x="0" y="25"/>
                      <a:pt x="1" y="24"/>
                      <a:pt x="1" y="24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1"/>
                      <a:pt x="46" y="1"/>
                      <a:pt x="46" y="2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6" y="50"/>
                      <a:pt x="45" y="51"/>
                      <a:pt x="45" y="51"/>
                    </a:cubicBezTo>
                    <a:cubicBezTo>
                      <a:pt x="44" y="52"/>
                      <a:pt x="44" y="52"/>
                      <a:pt x="44" y="52"/>
                    </a:cubicBezTo>
                    <a:close/>
                    <a:moveTo>
                      <a:pt x="6" y="26"/>
                    </a:move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6"/>
                      <a:pt x="42" y="6"/>
                      <a:pt x="42" y="6"/>
                    </a:cubicBezTo>
                    <a:lnTo>
                      <a:pt x="6" y="2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0" name="Freeform 1029">
                <a:extLst>
                  <a:ext uri="{FF2B5EF4-FFF2-40B4-BE49-F238E27FC236}">
                    <a16:creationId xmlns:a16="http://schemas.microsoft.com/office/drawing/2014/main" id="{C9511297-E979-41D6-9D69-D22C6222CCB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77589" y="6837880"/>
                <a:ext cx="19713" cy="19713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3 h 8"/>
                  <a:gd name="T8" fmla="*/ 1 w 8"/>
                  <a:gd name="T9" fmla="*/ 1 h 8"/>
                  <a:gd name="T10" fmla="*/ 3 w 8"/>
                  <a:gd name="T11" fmla="*/ 1 h 8"/>
                  <a:gd name="T12" fmla="*/ 7 w 8"/>
                  <a:gd name="T13" fmla="*/ 3 h 8"/>
                  <a:gd name="T14" fmla="*/ 8 w 8"/>
                  <a:gd name="T15" fmla="*/ 5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2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4"/>
                      <a:pt x="8" y="5"/>
                    </a:cubicBezTo>
                    <a:cubicBezTo>
                      <a:pt x="8" y="5"/>
                      <a:pt x="7" y="6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2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1" name="Freeform 1030">
                <a:extLst>
                  <a:ext uri="{FF2B5EF4-FFF2-40B4-BE49-F238E27FC236}">
                    <a16:creationId xmlns:a16="http://schemas.microsoft.com/office/drawing/2014/main" id="{21462EAB-4F44-4216-A495-E994986A5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25712" y="6778740"/>
                <a:ext cx="71590" cy="73665"/>
              </a:xfrm>
              <a:custGeom>
                <a:avLst/>
                <a:gdLst>
                  <a:gd name="T0" fmla="*/ 7 w 29"/>
                  <a:gd name="T1" fmla="*/ 30 h 30"/>
                  <a:gd name="T2" fmla="*/ 6 w 29"/>
                  <a:gd name="T3" fmla="*/ 29 h 30"/>
                  <a:gd name="T4" fmla="*/ 1 w 29"/>
                  <a:gd name="T5" fmla="*/ 26 h 30"/>
                  <a:gd name="T6" fmla="*/ 0 w 29"/>
                  <a:gd name="T7" fmla="*/ 25 h 30"/>
                  <a:gd name="T8" fmla="*/ 0 w 29"/>
                  <a:gd name="T9" fmla="*/ 2 h 30"/>
                  <a:gd name="T10" fmla="*/ 1 w 29"/>
                  <a:gd name="T11" fmla="*/ 1 h 30"/>
                  <a:gd name="T12" fmla="*/ 3 w 29"/>
                  <a:gd name="T13" fmla="*/ 1 h 30"/>
                  <a:gd name="T14" fmla="*/ 28 w 29"/>
                  <a:gd name="T15" fmla="*/ 15 h 30"/>
                  <a:gd name="T16" fmla="*/ 29 w 29"/>
                  <a:gd name="T17" fmla="*/ 16 h 30"/>
                  <a:gd name="T18" fmla="*/ 28 w 29"/>
                  <a:gd name="T19" fmla="*/ 18 h 30"/>
                  <a:gd name="T20" fmla="*/ 8 w 29"/>
                  <a:gd name="T21" fmla="*/ 29 h 30"/>
                  <a:gd name="T22" fmla="*/ 7 w 29"/>
                  <a:gd name="T23" fmla="*/ 30 h 30"/>
                  <a:gd name="T24" fmla="*/ 4 w 29"/>
                  <a:gd name="T25" fmla="*/ 23 h 30"/>
                  <a:gd name="T26" fmla="*/ 7 w 29"/>
                  <a:gd name="T27" fmla="*/ 25 h 30"/>
                  <a:gd name="T28" fmla="*/ 23 w 29"/>
                  <a:gd name="T29" fmla="*/ 16 h 30"/>
                  <a:gd name="T30" fmla="*/ 4 w 29"/>
                  <a:gd name="T31" fmla="*/ 6 h 30"/>
                  <a:gd name="T32" fmla="*/ 4 w 29"/>
                  <a:gd name="T33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30">
                    <a:moveTo>
                      <a:pt x="7" y="30"/>
                    </a:moveTo>
                    <a:cubicBezTo>
                      <a:pt x="7" y="30"/>
                      <a:pt x="7" y="29"/>
                      <a:pt x="6" y="29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0" y="25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8" y="15"/>
                      <a:pt x="29" y="16"/>
                      <a:pt x="29" y="16"/>
                    </a:cubicBezTo>
                    <a:cubicBezTo>
                      <a:pt x="29" y="17"/>
                      <a:pt x="28" y="18"/>
                      <a:pt x="28" y="18"/>
                    </a:cubicBezTo>
                    <a:cubicBezTo>
                      <a:pt x="8" y="29"/>
                      <a:pt x="8" y="29"/>
                      <a:pt x="8" y="29"/>
                    </a:cubicBezTo>
                    <a:cubicBezTo>
                      <a:pt x="8" y="29"/>
                      <a:pt x="8" y="30"/>
                      <a:pt x="7" y="30"/>
                    </a:cubicBezTo>
                    <a:close/>
                    <a:moveTo>
                      <a:pt x="4" y="23"/>
                    </a:moveTo>
                    <a:cubicBezTo>
                      <a:pt x="7" y="25"/>
                      <a:pt x="7" y="25"/>
                      <a:pt x="7" y="2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2" name="Freeform 1031">
                <a:extLst>
                  <a:ext uri="{FF2B5EF4-FFF2-40B4-BE49-F238E27FC236}">
                    <a16:creationId xmlns:a16="http://schemas.microsoft.com/office/drawing/2014/main" id="{8C6CB426-28D9-41DA-99F2-7123991E35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62422" y="6816092"/>
                <a:ext cx="117242" cy="72628"/>
              </a:xfrm>
              <a:custGeom>
                <a:avLst/>
                <a:gdLst>
                  <a:gd name="T0" fmla="*/ 27 w 48"/>
                  <a:gd name="T1" fmla="*/ 30 h 30"/>
                  <a:gd name="T2" fmla="*/ 26 w 48"/>
                  <a:gd name="T3" fmla="*/ 30 h 30"/>
                  <a:gd name="T4" fmla="*/ 1 w 48"/>
                  <a:gd name="T5" fmla="*/ 15 h 30"/>
                  <a:gd name="T6" fmla="*/ 0 w 48"/>
                  <a:gd name="T7" fmla="*/ 13 h 30"/>
                  <a:gd name="T8" fmla="*/ 1 w 48"/>
                  <a:gd name="T9" fmla="*/ 12 h 30"/>
                  <a:gd name="T10" fmla="*/ 20 w 48"/>
                  <a:gd name="T11" fmla="*/ 1 h 30"/>
                  <a:gd name="T12" fmla="*/ 22 w 48"/>
                  <a:gd name="T13" fmla="*/ 1 h 30"/>
                  <a:gd name="T14" fmla="*/ 47 w 48"/>
                  <a:gd name="T15" fmla="*/ 15 h 30"/>
                  <a:gd name="T16" fmla="*/ 48 w 48"/>
                  <a:gd name="T17" fmla="*/ 17 h 30"/>
                  <a:gd name="T18" fmla="*/ 47 w 48"/>
                  <a:gd name="T19" fmla="*/ 19 h 30"/>
                  <a:gd name="T20" fmla="*/ 28 w 48"/>
                  <a:gd name="T21" fmla="*/ 30 h 30"/>
                  <a:gd name="T22" fmla="*/ 27 w 48"/>
                  <a:gd name="T23" fmla="*/ 30 h 30"/>
                  <a:gd name="T24" fmla="*/ 6 w 48"/>
                  <a:gd name="T25" fmla="*/ 13 h 30"/>
                  <a:gd name="T26" fmla="*/ 27 w 48"/>
                  <a:gd name="T27" fmla="*/ 26 h 30"/>
                  <a:gd name="T28" fmla="*/ 42 w 48"/>
                  <a:gd name="T29" fmla="*/ 17 h 30"/>
                  <a:gd name="T30" fmla="*/ 21 w 48"/>
                  <a:gd name="T31" fmla="*/ 5 h 30"/>
                  <a:gd name="T32" fmla="*/ 6 w 48"/>
                  <a:gd name="T3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0">
                    <a:moveTo>
                      <a:pt x="27" y="30"/>
                    </a:moveTo>
                    <a:cubicBezTo>
                      <a:pt x="27" y="30"/>
                      <a:pt x="26" y="30"/>
                      <a:pt x="26" y="3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1" y="0"/>
                      <a:pt x="22" y="0"/>
                      <a:pt x="22" y="1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8" y="16"/>
                      <a:pt x="48" y="16"/>
                      <a:pt x="48" y="17"/>
                    </a:cubicBezTo>
                    <a:cubicBezTo>
                      <a:pt x="48" y="18"/>
                      <a:pt x="48" y="18"/>
                      <a:pt x="47" y="19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30"/>
                      <a:pt x="27" y="30"/>
                      <a:pt x="27" y="30"/>
                    </a:cubicBezTo>
                    <a:close/>
                    <a:moveTo>
                      <a:pt x="6" y="13"/>
                    </a:moveTo>
                    <a:cubicBezTo>
                      <a:pt x="27" y="26"/>
                      <a:pt x="27" y="26"/>
                      <a:pt x="27" y="26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21" y="5"/>
                      <a:pt x="21" y="5"/>
                      <a:pt x="21" y="5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3" name="Freeform 1032">
                <a:extLst>
                  <a:ext uri="{FF2B5EF4-FFF2-40B4-BE49-F238E27FC236}">
                    <a16:creationId xmlns:a16="http://schemas.microsoft.com/office/drawing/2014/main" id="{554C3EA7-9034-40E7-8519-05987D81AE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816826" y="5008698"/>
                <a:ext cx="254198" cy="215808"/>
              </a:xfrm>
              <a:custGeom>
                <a:avLst/>
                <a:gdLst>
                  <a:gd name="T0" fmla="*/ 58 w 104"/>
                  <a:gd name="T1" fmla="*/ 88 h 88"/>
                  <a:gd name="T2" fmla="*/ 57 w 104"/>
                  <a:gd name="T3" fmla="*/ 87 h 88"/>
                  <a:gd name="T4" fmla="*/ 1 w 104"/>
                  <a:gd name="T5" fmla="*/ 55 h 88"/>
                  <a:gd name="T6" fmla="*/ 0 w 104"/>
                  <a:gd name="T7" fmla="*/ 53 h 88"/>
                  <a:gd name="T8" fmla="*/ 0 w 104"/>
                  <a:gd name="T9" fmla="*/ 2 h 88"/>
                  <a:gd name="T10" fmla="*/ 1 w 104"/>
                  <a:gd name="T11" fmla="*/ 0 h 88"/>
                  <a:gd name="T12" fmla="*/ 3 w 104"/>
                  <a:gd name="T13" fmla="*/ 0 h 88"/>
                  <a:gd name="T14" fmla="*/ 103 w 104"/>
                  <a:gd name="T15" fmla="*/ 58 h 88"/>
                  <a:gd name="T16" fmla="*/ 104 w 104"/>
                  <a:gd name="T17" fmla="*/ 60 h 88"/>
                  <a:gd name="T18" fmla="*/ 103 w 104"/>
                  <a:gd name="T19" fmla="*/ 61 h 88"/>
                  <a:gd name="T20" fmla="*/ 59 w 104"/>
                  <a:gd name="T21" fmla="*/ 87 h 88"/>
                  <a:gd name="T22" fmla="*/ 58 w 104"/>
                  <a:gd name="T23" fmla="*/ 88 h 88"/>
                  <a:gd name="T24" fmla="*/ 4 w 104"/>
                  <a:gd name="T25" fmla="*/ 52 h 88"/>
                  <a:gd name="T26" fmla="*/ 58 w 104"/>
                  <a:gd name="T27" fmla="*/ 83 h 88"/>
                  <a:gd name="T28" fmla="*/ 98 w 104"/>
                  <a:gd name="T29" fmla="*/ 60 h 88"/>
                  <a:gd name="T30" fmla="*/ 4 w 104"/>
                  <a:gd name="T31" fmla="*/ 5 h 88"/>
                  <a:gd name="T32" fmla="*/ 4 w 104"/>
                  <a:gd name="T33" fmla="*/ 5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88">
                    <a:moveTo>
                      <a:pt x="58" y="88"/>
                    </a:moveTo>
                    <a:cubicBezTo>
                      <a:pt x="57" y="88"/>
                      <a:pt x="57" y="87"/>
                      <a:pt x="57" y="87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4" y="58"/>
                      <a:pt x="104" y="59"/>
                      <a:pt x="104" y="60"/>
                    </a:cubicBezTo>
                    <a:cubicBezTo>
                      <a:pt x="104" y="60"/>
                      <a:pt x="104" y="61"/>
                      <a:pt x="103" y="61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58" y="87"/>
                      <a:pt x="58" y="88"/>
                      <a:pt x="58" y="88"/>
                    </a:cubicBezTo>
                    <a:close/>
                    <a:moveTo>
                      <a:pt x="4" y="52"/>
                    </a:moveTo>
                    <a:cubicBezTo>
                      <a:pt x="58" y="83"/>
                      <a:pt x="58" y="83"/>
                      <a:pt x="58" y="83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4" name="Freeform 1033">
                <a:extLst>
                  <a:ext uri="{FF2B5EF4-FFF2-40B4-BE49-F238E27FC236}">
                    <a16:creationId xmlns:a16="http://schemas.microsoft.com/office/drawing/2014/main" id="{CAF99280-CB42-41CB-AAD4-CAB02CEEFF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928880" y="4963046"/>
                <a:ext cx="541597" cy="376627"/>
              </a:xfrm>
              <a:custGeom>
                <a:avLst/>
                <a:gdLst>
                  <a:gd name="T0" fmla="*/ 138 w 221"/>
                  <a:gd name="T1" fmla="*/ 154 h 154"/>
                  <a:gd name="T2" fmla="*/ 137 w 221"/>
                  <a:gd name="T3" fmla="*/ 154 h 154"/>
                  <a:gd name="T4" fmla="*/ 12 w 221"/>
                  <a:gd name="T5" fmla="*/ 82 h 154"/>
                  <a:gd name="T6" fmla="*/ 12 w 221"/>
                  <a:gd name="T7" fmla="*/ 84 h 154"/>
                  <a:gd name="T8" fmla="*/ 11 w 221"/>
                  <a:gd name="T9" fmla="*/ 86 h 154"/>
                  <a:gd name="T10" fmla="*/ 9 w 221"/>
                  <a:gd name="T11" fmla="*/ 86 h 154"/>
                  <a:gd name="T12" fmla="*/ 1 w 221"/>
                  <a:gd name="T13" fmla="*/ 80 h 154"/>
                  <a:gd name="T14" fmla="*/ 0 w 221"/>
                  <a:gd name="T15" fmla="*/ 79 h 154"/>
                  <a:gd name="T16" fmla="*/ 1 w 221"/>
                  <a:gd name="T17" fmla="*/ 77 h 154"/>
                  <a:gd name="T18" fmla="*/ 132 w 221"/>
                  <a:gd name="T19" fmla="*/ 1 h 154"/>
                  <a:gd name="T20" fmla="*/ 134 w 221"/>
                  <a:gd name="T21" fmla="*/ 1 h 154"/>
                  <a:gd name="T22" fmla="*/ 165 w 221"/>
                  <a:gd name="T23" fmla="*/ 18 h 154"/>
                  <a:gd name="T24" fmla="*/ 166 w 221"/>
                  <a:gd name="T25" fmla="*/ 20 h 154"/>
                  <a:gd name="T26" fmla="*/ 166 w 221"/>
                  <a:gd name="T27" fmla="*/ 72 h 154"/>
                  <a:gd name="T28" fmla="*/ 220 w 221"/>
                  <a:gd name="T29" fmla="*/ 104 h 154"/>
                  <a:gd name="T30" fmla="*/ 221 w 221"/>
                  <a:gd name="T31" fmla="*/ 105 h 154"/>
                  <a:gd name="T32" fmla="*/ 220 w 221"/>
                  <a:gd name="T33" fmla="*/ 107 h 154"/>
                  <a:gd name="T34" fmla="*/ 139 w 221"/>
                  <a:gd name="T35" fmla="*/ 154 h 154"/>
                  <a:gd name="T36" fmla="*/ 138 w 221"/>
                  <a:gd name="T37" fmla="*/ 154 h 154"/>
                  <a:gd name="T38" fmla="*/ 10 w 221"/>
                  <a:gd name="T39" fmla="*/ 76 h 154"/>
                  <a:gd name="T40" fmla="*/ 11 w 221"/>
                  <a:gd name="T41" fmla="*/ 77 h 154"/>
                  <a:gd name="T42" fmla="*/ 138 w 221"/>
                  <a:gd name="T43" fmla="*/ 150 h 154"/>
                  <a:gd name="T44" fmla="*/ 215 w 221"/>
                  <a:gd name="T45" fmla="*/ 105 h 154"/>
                  <a:gd name="T46" fmla="*/ 163 w 221"/>
                  <a:gd name="T47" fmla="*/ 75 h 154"/>
                  <a:gd name="T48" fmla="*/ 162 w 221"/>
                  <a:gd name="T49" fmla="*/ 73 h 154"/>
                  <a:gd name="T50" fmla="*/ 162 w 221"/>
                  <a:gd name="T51" fmla="*/ 21 h 154"/>
                  <a:gd name="T52" fmla="*/ 133 w 221"/>
                  <a:gd name="T53" fmla="*/ 5 h 154"/>
                  <a:gd name="T54" fmla="*/ 6 w 221"/>
                  <a:gd name="T55" fmla="*/ 79 h 154"/>
                  <a:gd name="T56" fmla="*/ 8 w 221"/>
                  <a:gd name="T57" fmla="*/ 80 h 154"/>
                  <a:gd name="T58" fmla="*/ 8 w 221"/>
                  <a:gd name="T59" fmla="*/ 78 h 154"/>
                  <a:gd name="T60" fmla="*/ 9 w 221"/>
                  <a:gd name="T61" fmla="*/ 77 h 154"/>
                  <a:gd name="T62" fmla="*/ 10 w 221"/>
                  <a:gd name="T63" fmla="*/ 7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54">
                    <a:moveTo>
                      <a:pt x="138" y="154"/>
                    </a:moveTo>
                    <a:cubicBezTo>
                      <a:pt x="138" y="154"/>
                      <a:pt x="137" y="154"/>
                      <a:pt x="137" y="154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5"/>
                      <a:pt x="12" y="85"/>
                      <a:pt x="11" y="86"/>
                    </a:cubicBezTo>
                    <a:cubicBezTo>
                      <a:pt x="11" y="86"/>
                      <a:pt x="10" y="86"/>
                      <a:pt x="9" y="8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80"/>
                      <a:pt x="0" y="79"/>
                      <a:pt x="0" y="79"/>
                    </a:cubicBezTo>
                    <a:cubicBezTo>
                      <a:pt x="0" y="78"/>
                      <a:pt x="0" y="77"/>
                      <a:pt x="1" y="77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3" y="0"/>
                      <a:pt x="134" y="0"/>
                      <a:pt x="134" y="1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5" y="19"/>
                      <a:pt x="166" y="19"/>
                      <a:pt x="166" y="20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1" y="104"/>
                      <a:pt x="221" y="105"/>
                      <a:pt x="221" y="105"/>
                    </a:cubicBezTo>
                    <a:cubicBezTo>
                      <a:pt x="221" y="106"/>
                      <a:pt x="221" y="107"/>
                      <a:pt x="220" y="107"/>
                    </a:cubicBezTo>
                    <a:cubicBezTo>
                      <a:pt x="139" y="154"/>
                      <a:pt x="139" y="154"/>
                      <a:pt x="139" y="154"/>
                    </a:cubicBezTo>
                    <a:cubicBezTo>
                      <a:pt x="139" y="154"/>
                      <a:pt x="139" y="154"/>
                      <a:pt x="138" y="154"/>
                    </a:cubicBezTo>
                    <a:close/>
                    <a:moveTo>
                      <a:pt x="10" y="76"/>
                    </a:moveTo>
                    <a:cubicBezTo>
                      <a:pt x="11" y="76"/>
                      <a:pt x="11" y="76"/>
                      <a:pt x="11" y="77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215" y="105"/>
                      <a:pt x="215" y="105"/>
                      <a:pt x="215" y="105"/>
                    </a:cubicBezTo>
                    <a:cubicBezTo>
                      <a:pt x="163" y="75"/>
                      <a:pt x="163" y="75"/>
                      <a:pt x="163" y="75"/>
                    </a:cubicBezTo>
                    <a:cubicBezTo>
                      <a:pt x="162" y="75"/>
                      <a:pt x="162" y="74"/>
                      <a:pt x="162" y="7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9" y="77"/>
                      <a:pt x="9" y="77"/>
                    </a:cubicBezTo>
                    <a:cubicBezTo>
                      <a:pt x="10" y="76"/>
                      <a:pt x="10" y="76"/>
                      <a:pt x="10" y="7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5" name="Freeform 1034">
                <a:extLst>
                  <a:ext uri="{FF2B5EF4-FFF2-40B4-BE49-F238E27FC236}">
                    <a16:creationId xmlns:a16="http://schemas.microsoft.com/office/drawing/2014/main" id="{4946AF14-7080-4F8C-9C4E-DF9ACE2939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62572" y="5357311"/>
                <a:ext cx="277024" cy="271835"/>
              </a:xfrm>
              <a:custGeom>
                <a:avLst/>
                <a:gdLst>
                  <a:gd name="T0" fmla="*/ 111 w 113"/>
                  <a:gd name="T1" fmla="*/ 111 h 111"/>
                  <a:gd name="T2" fmla="*/ 110 w 113"/>
                  <a:gd name="T3" fmla="*/ 111 h 111"/>
                  <a:gd name="T4" fmla="*/ 1 w 113"/>
                  <a:gd name="T5" fmla="*/ 48 h 111"/>
                  <a:gd name="T6" fmla="*/ 0 w 113"/>
                  <a:gd name="T7" fmla="*/ 46 h 111"/>
                  <a:gd name="T8" fmla="*/ 1 w 113"/>
                  <a:gd name="T9" fmla="*/ 45 h 111"/>
                  <a:gd name="T10" fmla="*/ 78 w 113"/>
                  <a:gd name="T11" fmla="*/ 0 h 111"/>
                  <a:gd name="T12" fmla="*/ 80 w 113"/>
                  <a:gd name="T13" fmla="*/ 0 h 111"/>
                  <a:gd name="T14" fmla="*/ 81 w 113"/>
                  <a:gd name="T15" fmla="*/ 2 h 111"/>
                  <a:gd name="T16" fmla="*/ 81 w 113"/>
                  <a:gd name="T17" fmla="*/ 70 h 111"/>
                  <a:gd name="T18" fmla="*/ 112 w 113"/>
                  <a:gd name="T19" fmla="*/ 88 h 111"/>
                  <a:gd name="T20" fmla="*/ 113 w 113"/>
                  <a:gd name="T21" fmla="*/ 90 h 111"/>
                  <a:gd name="T22" fmla="*/ 113 w 113"/>
                  <a:gd name="T23" fmla="*/ 109 h 111"/>
                  <a:gd name="T24" fmla="*/ 112 w 113"/>
                  <a:gd name="T25" fmla="*/ 111 h 111"/>
                  <a:gd name="T26" fmla="*/ 111 w 113"/>
                  <a:gd name="T27" fmla="*/ 111 h 111"/>
                  <a:gd name="T28" fmla="*/ 6 w 113"/>
                  <a:gd name="T29" fmla="*/ 46 h 111"/>
                  <a:gd name="T30" fmla="*/ 109 w 113"/>
                  <a:gd name="T31" fmla="*/ 106 h 111"/>
                  <a:gd name="T32" fmla="*/ 109 w 113"/>
                  <a:gd name="T33" fmla="*/ 91 h 111"/>
                  <a:gd name="T34" fmla="*/ 78 w 113"/>
                  <a:gd name="T35" fmla="*/ 73 h 111"/>
                  <a:gd name="T36" fmla="*/ 77 w 113"/>
                  <a:gd name="T37" fmla="*/ 72 h 111"/>
                  <a:gd name="T38" fmla="*/ 77 w 113"/>
                  <a:gd name="T39" fmla="*/ 5 h 111"/>
                  <a:gd name="T40" fmla="*/ 6 w 113"/>
                  <a:gd name="T41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1">
                    <a:moveTo>
                      <a:pt x="111" y="111"/>
                    </a:moveTo>
                    <a:cubicBezTo>
                      <a:pt x="111" y="111"/>
                      <a:pt x="111" y="111"/>
                      <a:pt x="110" y="11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0" y="47"/>
                      <a:pt x="0" y="46"/>
                    </a:cubicBezTo>
                    <a:cubicBezTo>
                      <a:pt x="0" y="46"/>
                      <a:pt x="1" y="45"/>
                      <a:pt x="1" y="45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ubicBezTo>
                      <a:pt x="81" y="0"/>
                      <a:pt x="81" y="1"/>
                      <a:pt x="81" y="2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3" y="89"/>
                      <a:pt x="113" y="89"/>
                      <a:pt x="113" y="90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113" y="110"/>
                      <a:pt x="113" y="111"/>
                      <a:pt x="112" y="111"/>
                    </a:cubicBezTo>
                    <a:cubicBezTo>
                      <a:pt x="112" y="111"/>
                      <a:pt x="112" y="111"/>
                      <a:pt x="111" y="111"/>
                    </a:cubicBezTo>
                    <a:close/>
                    <a:moveTo>
                      <a:pt x="6" y="46"/>
                    </a:moveTo>
                    <a:cubicBezTo>
                      <a:pt x="109" y="106"/>
                      <a:pt x="109" y="106"/>
                      <a:pt x="109" y="106"/>
                    </a:cubicBezTo>
                    <a:cubicBezTo>
                      <a:pt x="109" y="91"/>
                      <a:pt x="109" y="91"/>
                      <a:pt x="109" y="9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78" y="73"/>
                      <a:pt x="77" y="72"/>
                      <a:pt x="77" y="72"/>
                    </a:cubicBezTo>
                    <a:cubicBezTo>
                      <a:pt x="77" y="5"/>
                      <a:pt x="77" y="5"/>
                      <a:pt x="77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6" name="Freeform 1036">
                <a:extLst>
                  <a:ext uri="{FF2B5EF4-FFF2-40B4-BE49-F238E27FC236}">
                    <a16:creationId xmlns:a16="http://schemas.microsoft.com/office/drawing/2014/main" id="{AF65E455-1FDF-41AB-BAAA-F20E586675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1945" y="5470403"/>
                <a:ext cx="93379" cy="188832"/>
              </a:xfrm>
              <a:custGeom>
                <a:avLst/>
                <a:gdLst>
                  <a:gd name="T0" fmla="*/ 36 w 38"/>
                  <a:gd name="T1" fmla="*/ 77 h 77"/>
                  <a:gd name="T2" fmla="*/ 35 w 38"/>
                  <a:gd name="T3" fmla="*/ 77 h 77"/>
                  <a:gd name="T4" fmla="*/ 1 w 38"/>
                  <a:gd name="T5" fmla="*/ 57 h 77"/>
                  <a:gd name="T6" fmla="*/ 0 w 38"/>
                  <a:gd name="T7" fmla="*/ 55 h 77"/>
                  <a:gd name="T8" fmla="*/ 0 w 38"/>
                  <a:gd name="T9" fmla="*/ 2 h 77"/>
                  <a:gd name="T10" fmla="*/ 1 w 38"/>
                  <a:gd name="T11" fmla="*/ 0 h 77"/>
                  <a:gd name="T12" fmla="*/ 3 w 38"/>
                  <a:gd name="T13" fmla="*/ 0 h 77"/>
                  <a:gd name="T14" fmla="*/ 37 w 38"/>
                  <a:gd name="T15" fmla="*/ 20 h 77"/>
                  <a:gd name="T16" fmla="*/ 38 w 38"/>
                  <a:gd name="T17" fmla="*/ 21 h 77"/>
                  <a:gd name="T18" fmla="*/ 38 w 38"/>
                  <a:gd name="T19" fmla="*/ 75 h 77"/>
                  <a:gd name="T20" fmla="*/ 37 w 38"/>
                  <a:gd name="T21" fmla="*/ 77 h 77"/>
                  <a:gd name="T22" fmla="*/ 36 w 38"/>
                  <a:gd name="T23" fmla="*/ 77 h 77"/>
                  <a:gd name="T24" fmla="*/ 4 w 38"/>
                  <a:gd name="T25" fmla="*/ 54 h 77"/>
                  <a:gd name="T26" fmla="*/ 34 w 38"/>
                  <a:gd name="T27" fmla="*/ 71 h 77"/>
                  <a:gd name="T28" fmla="*/ 34 w 38"/>
                  <a:gd name="T29" fmla="*/ 22 h 77"/>
                  <a:gd name="T30" fmla="*/ 4 w 38"/>
                  <a:gd name="T31" fmla="*/ 5 h 77"/>
                  <a:gd name="T32" fmla="*/ 4 w 38"/>
                  <a:gd name="T33" fmla="*/ 5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77">
                    <a:moveTo>
                      <a:pt x="36" y="77"/>
                    </a:moveTo>
                    <a:cubicBezTo>
                      <a:pt x="36" y="77"/>
                      <a:pt x="35" y="77"/>
                      <a:pt x="35" y="77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7"/>
                      <a:pt x="0" y="56"/>
                      <a:pt x="0" y="5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0"/>
                      <a:pt x="38" y="21"/>
                      <a:pt x="38" y="21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8" y="76"/>
                      <a:pt x="38" y="76"/>
                      <a:pt x="37" y="77"/>
                    </a:cubicBezTo>
                    <a:cubicBezTo>
                      <a:pt x="37" y="77"/>
                      <a:pt x="36" y="77"/>
                      <a:pt x="36" y="77"/>
                    </a:cubicBezTo>
                    <a:close/>
                    <a:moveTo>
                      <a:pt x="4" y="54"/>
                    </a:move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7" name="Freeform 1037">
                <a:extLst>
                  <a:ext uri="{FF2B5EF4-FFF2-40B4-BE49-F238E27FC236}">
                    <a16:creationId xmlns:a16="http://schemas.microsoft.com/office/drawing/2014/main" id="{592FCEFD-D708-4389-8D1F-8FF337FE37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725522" y="5648860"/>
                <a:ext cx="274949" cy="163931"/>
              </a:xfrm>
              <a:custGeom>
                <a:avLst/>
                <a:gdLst>
                  <a:gd name="T0" fmla="*/ 17 w 112"/>
                  <a:gd name="T1" fmla="*/ 67 h 67"/>
                  <a:gd name="T2" fmla="*/ 16 w 112"/>
                  <a:gd name="T3" fmla="*/ 67 h 67"/>
                  <a:gd name="T4" fmla="*/ 1 w 112"/>
                  <a:gd name="T5" fmla="*/ 58 h 67"/>
                  <a:gd name="T6" fmla="*/ 0 w 112"/>
                  <a:gd name="T7" fmla="*/ 57 h 67"/>
                  <a:gd name="T8" fmla="*/ 1 w 112"/>
                  <a:gd name="T9" fmla="*/ 55 h 67"/>
                  <a:gd name="T10" fmla="*/ 92 w 112"/>
                  <a:gd name="T11" fmla="*/ 2 h 67"/>
                  <a:gd name="T12" fmla="*/ 93 w 112"/>
                  <a:gd name="T13" fmla="*/ 0 h 67"/>
                  <a:gd name="T14" fmla="*/ 95 w 112"/>
                  <a:gd name="T15" fmla="*/ 0 h 67"/>
                  <a:gd name="T16" fmla="*/ 111 w 112"/>
                  <a:gd name="T17" fmla="*/ 10 h 67"/>
                  <a:gd name="T18" fmla="*/ 112 w 112"/>
                  <a:gd name="T19" fmla="*/ 11 h 67"/>
                  <a:gd name="T20" fmla="*/ 111 w 112"/>
                  <a:gd name="T21" fmla="*/ 13 h 67"/>
                  <a:gd name="T22" fmla="*/ 18 w 112"/>
                  <a:gd name="T23" fmla="*/ 67 h 67"/>
                  <a:gd name="T24" fmla="*/ 17 w 112"/>
                  <a:gd name="T25" fmla="*/ 67 h 67"/>
                  <a:gd name="T26" fmla="*/ 6 w 112"/>
                  <a:gd name="T27" fmla="*/ 57 h 67"/>
                  <a:gd name="T28" fmla="*/ 17 w 112"/>
                  <a:gd name="T29" fmla="*/ 63 h 67"/>
                  <a:gd name="T30" fmla="*/ 106 w 112"/>
                  <a:gd name="T31" fmla="*/ 11 h 67"/>
                  <a:gd name="T32" fmla="*/ 95 w 112"/>
                  <a:gd name="T33" fmla="*/ 5 h 67"/>
                  <a:gd name="T34" fmla="*/ 95 w 112"/>
                  <a:gd name="T35" fmla="*/ 5 h 67"/>
                  <a:gd name="T36" fmla="*/ 6 w 112"/>
                  <a:gd name="T37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" h="67">
                    <a:moveTo>
                      <a:pt x="17" y="67"/>
                    </a:moveTo>
                    <a:cubicBezTo>
                      <a:pt x="17" y="67"/>
                      <a:pt x="16" y="67"/>
                      <a:pt x="16" y="67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1" y="55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3" y="1"/>
                      <a:pt x="93" y="0"/>
                    </a:cubicBezTo>
                    <a:cubicBezTo>
                      <a:pt x="94" y="0"/>
                      <a:pt x="95" y="0"/>
                      <a:pt x="95" y="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2" y="10"/>
                      <a:pt x="112" y="11"/>
                      <a:pt x="112" y="11"/>
                    </a:cubicBezTo>
                    <a:cubicBezTo>
                      <a:pt x="112" y="12"/>
                      <a:pt x="112" y="13"/>
                      <a:pt x="111" y="13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7"/>
                      <a:pt x="17" y="67"/>
                      <a:pt x="17" y="67"/>
                    </a:cubicBezTo>
                    <a:close/>
                    <a:moveTo>
                      <a:pt x="6" y="57"/>
                    </a:moveTo>
                    <a:cubicBezTo>
                      <a:pt x="17" y="63"/>
                      <a:pt x="17" y="63"/>
                      <a:pt x="17" y="63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5" y="5"/>
                      <a:pt x="95" y="5"/>
                      <a:pt x="95" y="5"/>
                    </a:cubicBezTo>
                    <a:lnTo>
                      <a:pt x="6" y="5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8" name="Freeform 1038">
                <a:extLst>
                  <a:ext uri="{FF2B5EF4-FFF2-40B4-BE49-F238E27FC236}">
                    <a16:creationId xmlns:a16="http://schemas.microsoft.com/office/drawing/2014/main" id="{46F8BB18-4F03-4337-83F6-15056F1C49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687133" y="5605283"/>
                <a:ext cx="88191" cy="72628"/>
              </a:xfrm>
              <a:custGeom>
                <a:avLst/>
                <a:gdLst>
                  <a:gd name="T0" fmla="*/ 20 w 36"/>
                  <a:gd name="T1" fmla="*/ 30 h 30"/>
                  <a:gd name="T2" fmla="*/ 19 w 36"/>
                  <a:gd name="T3" fmla="*/ 30 h 30"/>
                  <a:gd name="T4" fmla="*/ 1 w 36"/>
                  <a:gd name="T5" fmla="*/ 20 h 30"/>
                  <a:gd name="T6" fmla="*/ 0 w 36"/>
                  <a:gd name="T7" fmla="*/ 18 h 30"/>
                  <a:gd name="T8" fmla="*/ 0 w 36"/>
                  <a:gd name="T9" fmla="*/ 2 h 30"/>
                  <a:gd name="T10" fmla="*/ 1 w 36"/>
                  <a:gd name="T11" fmla="*/ 1 h 30"/>
                  <a:gd name="T12" fmla="*/ 3 w 36"/>
                  <a:gd name="T13" fmla="*/ 1 h 30"/>
                  <a:gd name="T14" fmla="*/ 35 w 36"/>
                  <a:gd name="T15" fmla="*/ 19 h 30"/>
                  <a:gd name="T16" fmla="*/ 36 w 36"/>
                  <a:gd name="T17" fmla="*/ 20 h 30"/>
                  <a:gd name="T18" fmla="*/ 35 w 36"/>
                  <a:gd name="T19" fmla="*/ 22 h 30"/>
                  <a:gd name="T20" fmla="*/ 21 w 36"/>
                  <a:gd name="T21" fmla="*/ 30 h 30"/>
                  <a:gd name="T22" fmla="*/ 20 w 36"/>
                  <a:gd name="T23" fmla="*/ 30 h 30"/>
                  <a:gd name="T24" fmla="*/ 4 w 36"/>
                  <a:gd name="T25" fmla="*/ 17 h 30"/>
                  <a:gd name="T26" fmla="*/ 20 w 36"/>
                  <a:gd name="T27" fmla="*/ 26 h 30"/>
                  <a:gd name="T28" fmla="*/ 30 w 36"/>
                  <a:gd name="T29" fmla="*/ 20 h 30"/>
                  <a:gd name="T30" fmla="*/ 4 w 36"/>
                  <a:gd name="T31" fmla="*/ 6 h 30"/>
                  <a:gd name="T32" fmla="*/ 4 w 36"/>
                  <a:gd name="T33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30">
                    <a:moveTo>
                      <a:pt x="20" y="30"/>
                    </a:moveTo>
                    <a:cubicBezTo>
                      <a:pt x="20" y="30"/>
                      <a:pt x="19" y="30"/>
                      <a:pt x="1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6" y="20"/>
                      <a:pt x="36" y="20"/>
                    </a:cubicBezTo>
                    <a:cubicBezTo>
                      <a:pt x="36" y="21"/>
                      <a:pt x="35" y="22"/>
                      <a:pt x="35" y="22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0" y="30"/>
                      <a:pt x="20" y="30"/>
                    </a:cubicBezTo>
                    <a:close/>
                    <a:moveTo>
                      <a:pt x="4" y="17"/>
                    </a:moveTo>
                    <a:cubicBezTo>
                      <a:pt x="20" y="26"/>
                      <a:pt x="20" y="26"/>
                      <a:pt x="20" y="26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9" name="Freeform 1039">
                <a:extLst>
                  <a:ext uri="{FF2B5EF4-FFF2-40B4-BE49-F238E27FC236}">
                    <a16:creationId xmlns:a16="http://schemas.microsoft.com/office/drawing/2014/main" id="{4EA8B572-4738-4A5A-B473-BAE901B0B8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68402" y="5855330"/>
                <a:ext cx="208546" cy="455480"/>
              </a:xfrm>
              <a:custGeom>
                <a:avLst/>
                <a:gdLst>
                  <a:gd name="T0" fmla="*/ 71 w 85"/>
                  <a:gd name="T1" fmla="*/ 186 h 186"/>
                  <a:gd name="T2" fmla="*/ 70 w 85"/>
                  <a:gd name="T3" fmla="*/ 185 h 186"/>
                  <a:gd name="T4" fmla="*/ 8 w 85"/>
                  <a:gd name="T5" fmla="*/ 149 h 186"/>
                  <a:gd name="T6" fmla="*/ 7 w 85"/>
                  <a:gd name="T7" fmla="*/ 147 h 186"/>
                  <a:gd name="T8" fmla="*/ 8 w 85"/>
                  <a:gd name="T9" fmla="*/ 146 h 186"/>
                  <a:gd name="T10" fmla="*/ 15 w 85"/>
                  <a:gd name="T11" fmla="*/ 142 h 186"/>
                  <a:gd name="T12" fmla="*/ 1 w 85"/>
                  <a:gd name="T13" fmla="*/ 134 h 186"/>
                  <a:gd name="T14" fmla="*/ 0 w 85"/>
                  <a:gd name="T15" fmla="*/ 132 h 186"/>
                  <a:gd name="T16" fmla="*/ 1 w 85"/>
                  <a:gd name="T17" fmla="*/ 130 h 186"/>
                  <a:gd name="T18" fmla="*/ 5 w 85"/>
                  <a:gd name="T19" fmla="*/ 128 h 186"/>
                  <a:gd name="T20" fmla="*/ 5 w 85"/>
                  <a:gd name="T21" fmla="*/ 2 h 186"/>
                  <a:gd name="T22" fmla="*/ 6 w 85"/>
                  <a:gd name="T23" fmla="*/ 0 h 186"/>
                  <a:gd name="T24" fmla="*/ 8 w 85"/>
                  <a:gd name="T25" fmla="*/ 0 h 186"/>
                  <a:gd name="T26" fmla="*/ 84 w 85"/>
                  <a:gd name="T27" fmla="*/ 44 h 186"/>
                  <a:gd name="T28" fmla="*/ 85 w 85"/>
                  <a:gd name="T29" fmla="*/ 46 h 186"/>
                  <a:gd name="T30" fmla="*/ 85 w 85"/>
                  <a:gd name="T31" fmla="*/ 179 h 186"/>
                  <a:gd name="T32" fmla="*/ 84 w 85"/>
                  <a:gd name="T33" fmla="*/ 181 h 186"/>
                  <a:gd name="T34" fmla="*/ 82 w 85"/>
                  <a:gd name="T35" fmla="*/ 181 h 186"/>
                  <a:gd name="T36" fmla="*/ 81 w 85"/>
                  <a:gd name="T37" fmla="*/ 180 h 186"/>
                  <a:gd name="T38" fmla="*/ 72 w 85"/>
                  <a:gd name="T39" fmla="*/ 185 h 186"/>
                  <a:gd name="T40" fmla="*/ 71 w 85"/>
                  <a:gd name="T41" fmla="*/ 186 h 186"/>
                  <a:gd name="T42" fmla="*/ 13 w 85"/>
                  <a:gd name="T43" fmla="*/ 147 h 186"/>
                  <a:gd name="T44" fmla="*/ 71 w 85"/>
                  <a:gd name="T45" fmla="*/ 181 h 186"/>
                  <a:gd name="T46" fmla="*/ 80 w 85"/>
                  <a:gd name="T47" fmla="*/ 176 h 186"/>
                  <a:gd name="T48" fmla="*/ 81 w 85"/>
                  <a:gd name="T49" fmla="*/ 176 h 186"/>
                  <a:gd name="T50" fmla="*/ 81 w 85"/>
                  <a:gd name="T51" fmla="*/ 47 h 186"/>
                  <a:gd name="T52" fmla="*/ 9 w 85"/>
                  <a:gd name="T53" fmla="*/ 5 h 186"/>
                  <a:gd name="T54" fmla="*/ 9 w 85"/>
                  <a:gd name="T55" fmla="*/ 129 h 186"/>
                  <a:gd name="T56" fmla="*/ 8 w 85"/>
                  <a:gd name="T57" fmla="*/ 131 h 186"/>
                  <a:gd name="T58" fmla="*/ 6 w 85"/>
                  <a:gd name="T59" fmla="*/ 132 h 186"/>
                  <a:gd name="T60" fmla="*/ 20 w 85"/>
                  <a:gd name="T61" fmla="*/ 140 h 186"/>
                  <a:gd name="T62" fmla="*/ 21 w 85"/>
                  <a:gd name="T63" fmla="*/ 142 h 186"/>
                  <a:gd name="T64" fmla="*/ 20 w 85"/>
                  <a:gd name="T65" fmla="*/ 143 h 186"/>
                  <a:gd name="T66" fmla="*/ 13 w 85"/>
                  <a:gd name="T67" fmla="*/ 147 h 186"/>
                  <a:gd name="T68" fmla="*/ 7 w 85"/>
                  <a:gd name="T69" fmla="*/ 129 h 186"/>
                  <a:gd name="T70" fmla="*/ 7 w 85"/>
                  <a:gd name="T7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86">
                    <a:moveTo>
                      <a:pt x="71" y="186"/>
                    </a:moveTo>
                    <a:cubicBezTo>
                      <a:pt x="71" y="186"/>
                      <a:pt x="71" y="186"/>
                      <a:pt x="70" y="185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7" y="149"/>
                      <a:pt x="7" y="148"/>
                      <a:pt x="7" y="147"/>
                    </a:cubicBezTo>
                    <a:cubicBezTo>
                      <a:pt x="7" y="147"/>
                      <a:pt x="7" y="146"/>
                      <a:pt x="8" y="146"/>
                    </a:cubicBezTo>
                    <a:cubicBezTo>
                      <a:pt x="15" y="142"/>
                      <a:pt x="15" y="142"/>
                      <a:pt x="15" y="14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0" y="133"/>
                      <a:pt x="0" y="133"/>
                      <a:pt x="0" y="132"/>
                    </a:cubicBezTo>
                    <a:cubicBezTo>
                      <a:pt x="0" y="131"/>
                      <a:pt x="0" y="131"/>
                      <a:pt x="1" y="130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85" y="44"/>
                      <a:pt x="85" y="45"/>
                      <a:pt x="85" y="46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5" y="180"/>
                      <a:pt x="85" y="180"/>
                      <a:pt x="84" y="181"/>
                    </a:cubicBezTo>
                    <a:cubicBezTo>
                      <a:pt x="84" y="181"/>
                      <a:pt x="83" y="181"/>
                      <a:pt x="82" y="181"/>
                    </a:cubicBezTo>
                    <a:cubicBezTo>
                      <a:pt x="81" y="180"/>
                      <a:pt x="81" y="180"/>
                      <a:pt x="81" y="180"/>
                    </a:cubicBezTo>
                    <a:cubicBezTo>
                      <a:pt x="72" y="185"/>
                      <a:pt x="72" y="185"/>
                      <a:pt x="72" y="185"/>
                    </a:cubicBezTo>
                    <a:cubicBezTo>
                      <a:pt x="72" y="186"/>
                      <a:pt x="72" y="186"/>
                      <a:pt x="71" y="186"/>
                    </a:cubicBezTo>
                    <a:close/>
                    <a:moveTo>
                      <a:pt x="13" y="147"/>
                    </a:moveTo>
                    <a:cubicBezTo>
                      <a:pt x="71" y="181"/>
                      <a:pt x="71" y="181"/>
                      <a:pt x="71" y="181"/>
                    </a:cubicBezTo>
                    <a:cubicBezTo>
                      <a:pt x="80" y="176"/>
                      <a:pt x="80" y="176"/>
                      <a:pt x="80" y="176"/>
                    </a:cubicBezTo>
                    <a:cubicBezTo>
                      <a:pt x="81" y="176"/>
                      <a:pt x="81" y="176"/>
                      <a:pt x="81" y="176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129"/>
                      <a:pt x="9" y="129"/>
                      <a:pt x="9" y="129"/>
                    </a:cubicBezTo>
                    <a:cubicBezTo>
                      <a:pt x="9" y="130"/>
                      <a:pt x="8" y="131"/>
                      <a:pt x="8" y="131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0" y="140"/>
                      <a:pt x="21" y="141"/>
                      <a:pt x="21" y="142"/>
                    </a:cubicBezTo>
                    <a:cubicBezTo>
                      <a:pt x="21" y="142"/>
                      <a:pt x="20" y="143"/>
                      <a:pt x="20" y="143"/>
                    </a:cubicBezTo>
                    <a:lnTo>
                      <a:pt x="13" y="147"/>
                    </a:lnTo>
                    <a:close/>
                    <a:moveTo>
                      <a:pt x="7" y="129"/>
                    </a:moveTo>
                    <a:cubicBezTo>
                      <a:pt x="7" y="129"/>
                      <a:pt x="7" y="129"/>
                      <a:pt x="7" y="12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0" name="Freeform 1040">
                <a:extLst>
                  <a:ext uri="{FF2B5EF4-FFF2-40B4-BE49-F238E27FC236}">
                    <a16:creationId xmlns:a16="http://schemas.microsoft.com/office/drawing/2014/main" id="{3770910F-FC73-4C9B-8163-54774E057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362572" y="5470403"/>
                <a:ext cx="301925" cy="357951"/>
              </a:xfrm>
              <a:custGeom>
                <a:avLst/>
                <a:gdLst>
                  <a:gd name="T0" fmla="*/ 3 w 123"/>
                  <a:gd name="T1" fmla="*/ 146 h 146"/>
                  <a:gd name="T2" fmla="*/ 2 w 123"/>
                  <a:gd name="T3" fmla="*/ 146 h 146"/>
                  <a:gd name="T4" fmla="*/ 1 w 123"/>
                  <a:gd name="T5" fmla="*/ 145 h 146"/>
                  <a:gd name="T6" fmla="*/ 0 w 123"/>
                  <a:gd name="T7" fmla="*/ 143 h 146"/>
                  <a:gd name="T8" fmla="*/ 0 w 123"/>
                  <a:gd name="T9" fmla="*/ 8 h 146"/>
                  <a:gd name="T10" fmla="*/ 1 w 123"/>
                  <a:gd name="T11" fmla="*/ 6 h 146"/>
                  <a:gd name="T12" fmla="*/ 11 w 123"/>
                  <a:gd name="T13" fmla="*/ 0 h 146"/>
                  <a:gd name="T14" fmla="*/ 13 w 123"/>
                  <a:gd name="T15" fmla="*/ 0 h 146"/>
                  <a:gd name="T16" fmla="*/ 122 w 123"/>
                  <a:gd name="T17" fmla="*/ 63 h 146"/>
                  <a:gd name="T18" fmla="*/ 123 w 123"/>
                  <a:gd name="T19" fmla="*/ 65 h 146"/>
                  <a:gd name="T20" fmla="*/ 123 w 123"/>
                  <a:gd name="T21" fmla="*/ 75 h 146"/>
                  <a:gd name="T22" fmla="*/ 122 w 123"/>
                  <a:gd name="T23" fmla="*/ 77 h 146"/>
                  <a:gd name="T24" fmla="*/ 4 w 123"/>
                  <a:gd name="T25" fmla="*/ 146 h 146"/>
                  <a:gd name="T26" fmla="*/ 3 w 123"/>
                  <a:gd name="T27" fmla="*/ 146 h 146"/>
                  <a:gd name="T28" fmla="*/ 4 w 123"/>
                  <a:gd name="T29" fmla="*/ 9 h 146"/>
                  <a:gd name="T30" fmla="*/ 4 w 123"/>
                  <a:gd name="T31" fmla="*/ 141 h 146"/>
                  <a:gd name="T32" fmla="*/ 119 w 123"/>
                  <a:gd name="T33" fmla="*/ 74 h 146"/>
                  <a:gd name="T34" fmla="*/ 119 w 123"/>
                  <a:gd name="T35" fmla="*/ 66 h 146"/>
                  <a:gd name="T36" fmla="*/ 12 w 123"/>
                  <a:gd name="T37" fmla="*/ 4 h 146"/>
                  <a:gd name="T38" fmla="*/ 4 w 123"/>
                  <a:gd name="T39" fmla="*/ 9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3" h="146">
                    <a:moveTo>
                      <a:pt x="3" y="146"/>
                    </a:moveTo>
                    <a:cubicBezTo>
                      <a:pt x="3" y="146"/>
                      <a:pt x="2" y="146"/>
                      <a:pt x="2" y="146"/>
                    </a:cubicBezTo>
                    <a:cubicBezTo>
                      <a:pt x="1" y="145"/>
                      <a:pt x="1" y="145"/>
                      <a:pt x="1" y="145"/>
                    </a:cubicBezTo>
                    <a:cubicBezTo>
                      <a:pt x="0" y="144"/>
                      <a:pt x="0" y="144"/>
                      <a:pt x="0" y="14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4"/>
                      <a:pt x="123" y="64"/>
                      <a:pt x="123" y="65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23" y="76"/>
                      <a:pt x="123" y="77"/>
                      <a:pt x="122" y="77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4" y="146"/>
                      <a:pt x="3" y="146"/>
                      <a:pt x="3" y="146"/>
                    </a:cubicBezTo>
                    <a:close/>
                    <a:moveTo>
                      <a:pt x="4" y="9"/>
                    </a:moveTo>
                    <a:cubicBezTo>
                      <a:pt x="4" y="141"/>
                      <a:pt x="4" y="141"/>
                      <a:pt x="4" y="141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2" y="4"/>
                      <a:pt x="12" y="4"/>
                      <a:pt x="12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1" name="Freeform 1041">
                <a:extLst>
                  <a:ext uri="{FF2B5EF4-FFF2-40B4-BE49-F238E27FC236}">
                    <a16:creationId xmlns:a16="http://schemas.microsoft.com/office/drawing/2014/main" id="{DE506D58-AA6D-447C-8404-0EBE81278D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09" y="5754689"/>
                <a:ext cx="118280" cy="90266"/>
              </a:xfrm>
              <a:custGeom>
                <a:avLst/>
                <a:gdLst>
                  <a:gd name="T0" fmla="*/ 37 w 48"/>
                  <a:gd name="T1" fmla="*/ 37 h 37"/>
                  <a:gd name="T2" fmla="*/ 36 w 48"/>
                  <a:gd name="T3" fmla="*/ 36 h 37"/>
                  <a:gd name="T4" fmla="*/ 1 w 48"/>
                  <a:gd name="T5" fmla="*/ 16 h 37"/>
                  <a:gd name="T6" fmla="*/ 0 w 48"/>
                  <a:gd name="T7" fmla="*/ 14 h 37"/>
                  <a:gd name="T8" fmla="*/ 0 w 48"/>
                  <a:gd name="T9" fmla="*/ 3 h 37"/>
                  <a:gd name="T10" fmla="*/ 1 w 48"/>
                  <a:gd name="T11" fmla="*/ 1 h 37"/>
                  <a:gd name="T12" fmla="*/ 3 w 48"/>
                  <a:gd name="T13" fmla="*/ 1 h 37"/>
                  <a:gd name="T14" fmla="*/ 47 w 48"/>
                  <a:gd name="T15" fmla="*/ 26 h 37"/>
                  <a:gd name="T16" fmla="*/ 48 w 48"/>
                  <a:gd name="T17" fmla="*/ 28 h 37"/>
                  <a:gd name="T18" fmla="*/ 48 w 48"/>
                  <a:gd name="T19" fmla="*/ 29 h 37"/>
                  <a:gd name="T20" fmla="*/ 47 w 48"/>
                  <a:gd name="T21" fmla="*/ 31 h 37"/>
                  <a:gd name="T22" fmla="*/ 38 w 48"/>
                  <a:gd name="T23" fmla="*/ 36 h 37"/>
                  <a:gd name="T24" fmla="*/ 37 w 48"/>
                  <a:gd name="T25" fmla="*/ 37 h 37"/>
                  <a:gd name="T26" fmla="*/ 4 w 48"/>
                  <a:gd name="T27" fmla="*/ 13 h 37"/>
                  <a:gd name="T28" fmla="*/ 37 w 48"/>
                  <a:gd name="T29" fmla="*/ 32 h 37"/>
                  <a:gd name="T30" fmla="*/ 43 w 48"/>
                  <a:gd name="T31" fmla="*/ 29 h 37"/>
                  <a:gd name="T32" fmla="*/ 4 w 48"/>
                  <a:gd name="T33" fmla="*/ 6 h 37"/>
                  <a:gd name="T34" fmla="*/ 4 w 48"/>
                  <a:gd name="T35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7">
                    <a:moveTo>
                      <a:pt x="37" y="37"/>
                    </a:moveTo>
                    <a:cubicBezTo>
                      <a:pt x="37" y="37"/>
                      <a:pt x="36" y="37"/>
                      <a:pt x="36" y="3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7"/>
                      <a:pt x="48" y="27"/>
                      <a:pt x="48" y="28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30"/>
                      <a:pt x="48" y="31"/>
                      <a:pt x="47" y="31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7" y="37"/>
                      <a:pt x="37" y="37"/>
                    </a:cubicBezTo>
                    <a:close/>
                    <a:moveTo>
                      <a:pt x="4" y="13"/>
                    </a:moveTo>
                    <a:cubicBezTo>
                      <a:pt x="37" y="32"/>
                      <a:pt x="37" y="32"/>
                      <a:pt x="37" y="32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2" name="Freeform 1042">
                <a:extLst>
                  <a:ext uri="{FF2B5EF4-FFF2-40B4-BE49-F238E27FC236}">
                    <a16:creationId xmlns:a16="http://schemas.microsoft.com/office/drawing/2014/main" id="{BB657934-7A3D-4039-A983-86CA16C399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772401" y="5249407"/>
                <a:ext cx="316450" cy="397378"/>
              </a:xfrm>
              <a:custGeom>
                <a:avLst/>
                <a:gdLst>
                  <a:gd name="T0" fmla="*/ 63 w 129"/>
                  <a:gd name="T1" fmla="*/ 162 h 162"/>
                  <a:gd name="T2" fmla="*/ 62 w 129"/>
                  <a:gd name="T3" fmla="*/ 162 h 162"/>
                  <a:gd name="T4" fmla="*/ 1 w 129"/>
                  <a:gd name="T5" fmla="*/ 127 h 162"/>
                  <a:gd name="T6" fmla="*/ 0 w 129"/>
                  <a:gd name="T7" fmla="*/ 125 h 162"/>
                  <a:gd name="T8" fmla="*/ 0 w 129"/>
                  <a:gd name="T9" fmla="*/ 2 h 162"/>
                  <a:gd name="T10" fmla="*/ 1 w 129"/>
                  <a:gd name="T11" fmla="*/ 0 h 162"/>
                  <a:gd name="T12" fmla="*/ 3 w 129"/>
                  <a:gd name="T13" fmla="*/ 0 h 162"/>
                  <a:gd name="T14" fmla="*/ 128 w 129"/>
                  <a:gd name="T15" fmla="*/ 73 h 162"/>
                  <a:gd name="T16" fmla="*/ 129 w 129"/>
                  <a:gd name="T17" fmla="*/ 75 h 162"/>
                  <a:gd name="T18" fmla="*/ 129 w 129"/>
                  <a:gd name="T19" fmla="*/ 123 h 162"/>
                  <a:gd name="T20" fmla="*/ 128 w 129"/>
                  <a:gd name="T21" fmla="*/ 125 h 162"/>
                  <a:gd name="T22" fmla="*/ 64 w 129"/>
                  <a:gd name="T23" fmla="*/ 162 h 162"/>
                  <a:gd name="T24" fmla="*/ 63 w 129"/>
                  <a:gd name="T25" fmla="*/ 162 h 162"/>
                  <a:gd name="T26" fmla="*/ 4 w 129"/>
                  <a:gd name="T27" fmla="*/ 124 h 162"/>
                  <a:gd name="T28" fmla="*/ 63 w 129"/>
                  <a:gd name="T29" fmla="*/ 158 h 162"/>
                  <a:gd name="T30" fmla="*/ 125 w 129"/>
                  <a:gd name="T31" fmla="*/ 122 h 162"/>
                  <a:gd name="T32" fmla="*/ 125 w 129"/>
                  <a:gd name="T33" fmla="*/ 76 h 162"/>
                  <a:gd name="T34" fmla="*/ 4 w 129"/>
                  <a:gd name="T35" fmla="*/ 6 h 162"/>
                  <a:gd name="T36" fmla="*/ 4 w 129"/>
                  <a:gd name="T37" fmla="*/ 12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9" h="162">
                    <a:moveTo>
                      <a:pt x="63" y="162"/>
                    </a:moveTo>
                    <a:cubicBezTo>
                      <a:pt x="63" y="162"/>
                      <a:pt x="63" y="162"/>
                      <a:pt x="62" y="16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0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4"/>
                      <a:pt x="129" y="125"/>
                      <a:pt x="128" y="125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4" y="162"/>
                      <a:pt x="64" y="162"/>
                      <a:pt x="63" y="162"/>
                    </a:cubicBezTo>
                    <a:close/>
                    <a:moveTo>
                      <a:pt x="4" y="124"/>
                    </a:moveTo>
                    <a:cubicBezTo>
                      <a:pt x="63" y="158"/>
                      <a:pt x="63" y="158"/>
                      <a:pt x="63" y="158"/>
                    </a:cubicBezTo>
                    <a:cubicBezTo>
                      <a:pt x="125" y="122"/>
                      <a:pt x="125" y="122"/>
                      <a:pt x="125" y="122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3" name="Freeform 1043">
                <a:extLst>
                  <a:ext uri="{FF2B5EF4-FFF2-40B4-BE49-F238E27FC236}">
                    <a16:creationId xmlns:a16="http://schemas.microsoft.com/office/drawing/2014/main" id="{59D9591B-A277-428E-A982-41A305862B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98736" y="6016149"/>
                <a:ext cx="262498" cy="328900"/>
              </a:xfrm>
              <a:custGeom>
                <a:avLst/>
                <a:gdLst>
                  <a:gd name="T0" fmla="*/ 2 w 107"/>
                  <a:gd name="T1" fmla="*/ 134 h 134"/>
                  <a:gd name="T2" fmla="*/ 1 w 107"/>
                  <a:gd name="T3" fmla="*/ 133 h 134"/>
                  <a:gd name="T4" fmla="*/ 0 w 107"/>
                  <a:gd name="T5" fmla="*/ 132 h 134"/>
                  <a:gd name="T6" fmla="*/ 0 w 107"/>
                  <a:gd name="T7" fmla="*/ 4 h 134"/>
                  <a:gd name="T8" fmla="*/ 1 w 107"/>
                  <a:gd name="T9" fmla="*/ 2 h 134"/>
                  <a:gd name="T10" fmla="*/ 3 w 107"/>
                  <a:gd name="T11" fmla="*/ 0 h 134"/>
                  <a:gd name="T12" fmla="*/ 5 w 107"/>
                  <a:gd name="T13" fmla="*/ 0 h 134"/>
                  <a:gd name="T14" fmla="*/ 76 w 107"/>
                  <a:gd name="T15" fmla="*/ 42 h 134"/>
                  <a:gd name="T16" fmla="*/ 77 w 107"/>
                  <a:gd name="T17" fmla="*/ 43 h 134"/>
                  <a:gd name="T18" fmla="*/ 77 w 107"/>
                  <a:gd name="T19" fmla="*/ 54 h 134"/>
                  <a:gd name="T20" fmla="*/ 106 w 107"/>
                  <a:gd name="T21" fmla="*/ 70 h 134"/>
                  <a:gd name="T22" fmla="*/ 107 w 107"/>
                  <a:gd name="T23" fmla="*/ 72 h 134"/>
                  <a:gd name="T24" fmla="*/ 106 w 107"/>
                  <a:gd name="T25" fmla="*/ 74 h 134"/>
                  <a:gd name="T26" fmla="*/ 3 w 107"/>
                  <a:gd name="T27" fmla="*/ 133 h 134"/>
                  <a:gd name="T28" fmla="*/ 2 w 107"/>
                  <a:gd name="T29" fmla="*/ 134 h 134"/>
                  <a:gd name="T30" fmla="*/ 4 w 107"/>
                  <a:gd name="T31" fmla="*/ 5 h 134"/>
                  <a:gd name="T32" fmla="*/ 4 w 107"/>
                  <a:gd name="T33" fmla="*/ 128 h 134"/>
                  <a:gd name="T34" fmla="*/ 101 w 107"/>
                  <a:gd name="T35" fmla="*/ 72 h 134"/>
                  <a:gd name="T36" fmla="*/ 74 w 107"/>
                  <a:gd name="T37" fmla="*/ 57 h 134"/>
                  <a:gd name="T38" fmla="*/ 73 w 107"/>
                  <a:gd name="T39" fmla="*/ 55 h 134"/>
                  <a:gd name="T40" fmla="*/ 73 w 107"/>
                  <a:gd name="T41" fmla="*/ 45 h 134"/>
                  <a:gd name="T42" fmla="*/ 4 w 107"/>
                  <a:gd name="T43" fmla="*/ 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34">
                    <a:moveTo>
                      <a:pt x="2" y="134"/>
                    </a:moveTo>
                    <a:cubicBezTo>
                      <a:pt x="1" y="134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7" y="42"/>
                      <a:pt x="77" y="43"/>
                      <a:pt x="77" y="43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1"/>
                      <a:pt x="107" y="71"/>
                      <a:pt x="107" y="72"/>
                    </a:cubicBezTo>
                    <a:cubicBezTo>
                      <a:pt x="107" y="73"/>
                      <a:pt x="106" y="73"/>
                      <a:pt x="106" y="74"/>
                    </a:cubicBezTo>
                    <a:cubicBezTo>
                      <a:pt x="3" y="133"/>
                      <a:pt x="3" y="133"/>
                      <a:pt x="3" y="133"/>
                    </a:cubicBezTo>
                    <a:cubicBezTo>
                      <a:pt x="2" y="133"/>
                      <a:pt x="2" y="134"/>
                      <a:pt x="2" y="134"/>
                    </a:cubicBezTo>
                    <a:close/>
                    <a:moveTo>
                      <a:pt x="4" y="5"/>
                    </a:moveTo>
                    <a:cubicBezTo>
                      <a:pt x="4" y="128"/>
                      <a:pt x="4" y="128"/>
                      <a:pt x="4" y="128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74" y="57"/>
                      <a:pt x="74" y="57"/>
                      <a:pt x="74" y="57"/>
                    </a:cubicBezTo>
                    <a:cubicBezTo>
                      <a:pt x="74" y="56"/>
                      <a:pt x="73" y="56"/>
                      <a:pt x="73" y="55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4" name="Freeform 1044">
                <a:extLst>
                  <a:ext uri="{FF2B5EF4-FFF2-40B4-BE49-F238E27FC236}">
                    <a16:creationId xmlns:a16="http://schemas.microsoft.com/office/drawing/2014/main" id="{5B22226B-FEB6-4F9B-A30B-87DB17DC2C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659309" y="5487004"/>
                <a:ext cx="118280" cy="336163"/>
              </a:xfrm>
              <a:custGeom>
                <a:avLst/>
                <a:gdLst>
                  <a:gd name="T0" fmla="*/ 46 w 48"/>
                  <a:gd name="T1" fmla="*/ 137 h 137"/>
                  <a:gd name="T2" fmla="*/ 45 w 48"/>
                  <a:gd name="T3" fmla="*/ 137 h 137"/>
                  <a:gd name="T4" fmla="*/ 1 w 48"/>
                  <a:gd name="T5" fmla="*/ 111 h 137"/>
                  <a:gd name="T6" fmla="*/ 0 w 48"/>
                  <a:gd name="T7" fmla="*/ 110 h 137"/>
                  <a:gd name="T8" fmla="*/ 0 w 48"/>
                  <a:gd name="T9" fmla="*/ 27 h 137"/>
                  <a:gd name="T10" fmla="*/ 1 w 48"/>
                  <a:gd name="T11" fmla="*/ 26 h 137"/>
                  <a:gd name="T12" fmla="*/ 45 w 48"/>
                  <a:gd name="T13" fmla="*/ 0 h 137"/>
                  <a:gd name="T14" fmla="*/ 47 w 48"/>
                  <a:gd name="T15" fmla="*/ 0 h 137"/>
                  <a:gd name="T16" fmla="*/ 48 w 48"/>
                  <a:gd name="T17" fmla="*/ 2 h 137"/>
                  <a:gd name="T18" fmla="*/ 48 w 48"/>
                  <a:gd name="T19" fmla="*/ 135 h 137"/>
                  <a:gd name="T20" fmla="*/ 47 w 48"/>
                  <a:gd name="T21" fmla="*/ 137 h 137"/>
                  <a:gd name="T22" fmla="*/ 46 w 48"/>
                  <a:gd name="T23" fmla="*/ 137 h 137"/>
                  <a:gd name="T24" fmla="*/ 4 w 48"/>
                  <a:gd name="T25" fmla="*/ 109 h 137"/>
                  <a:gd name="T26" fmla="*/ 44 w 48"/>
                  <a:gd name="T27" fmla="*/ 132 h 137"/>
                  <a:gd name="T28" fmla="*/ 44 w 48"/>
                  <a:gd name="T29" fmla="*/ 5 h 137"/>
                  <a:gd name="T30" fmla="*/ 4 w 48"/>
                  <a:gd name="T31" fmla="*/ 28 h 137"/>
                  <a:gd name="T32" fmla="*/ 4 w 48"/>
                  <a:gd name="T33" fmla="*/ 10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137">
                    <a:moveTo>
                      <a:pt x="46" y="137"/>
                    </a:moveTo>
                    <a:cubicBezTo>
                      <a:pt x="46" y="137"/>
                      <a:pt x="45" y="137"/>
                      <a:pt x="45" y="137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6"/>
                      <a:pt x="1" y="2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6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6"/>
                      <a:pt x="47" y="137"/>
                    </a:cubicBezTo>
                    <a:cubicBezTo>
                      <a:pt x="47" y="137"/>
                      <a:pt x="46" y="137"/>
                      <a:pt x="46" y="137"/>
                    </a:cubicBezTo>
                    <a:close/>
                    <a:moveTo>
                      <a:pt x="4" y="109"/>
                    </a:moveTo>
                    <a:cubicBezTo>
                      <a:pt x="44" y="132"/>
                      <a:pt x="44" y="132"/>
                      <a:pt x="44" y="132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10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5" name="Freeform 1045">
                <a:extLst>
                  <a:ext uri="{FF2B5EF4-FFF2-40B4-BE49-F238E27FC236}">
                    <a16:creationId xmlns:a16="http://schemas.microsoft.com/office/drawing/2014/main" id="{BCD4908A-C958-416E-8E13-4056B28097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159214" y="5650935"/>
                <a:ext cx="505283" cy="316450"/>
              </a:xfrm>
              <a:custGeom>
                <a:avLst/>
                <a:gdLst>
                  <a:gd name="T0" fmla="*/ 78 w 206"/>
                  <a:gd name="T1" fmla="*/ 129 h 129"/>
                  <a:gd name="T2" fmla="*/ 77 w 206"/>
                  <a:gd name="T3" fmla="*/ 129 h 129"/>
                  <a:gd name="T4" fmla="*/ 1 w 206"/>
                  <a:gd name="T5" fmla="*/ 84 h 129"/>
                  <a:gd name="T6" fmla="*/ 0 w 206"/>
                  <a:gd name="T7" fmla="*/ 83 h 129"/>
                  <a:gd name="T8" fmla="*/ 0 w 206"/>
                  <a:gd name="T9" fmla="*/ 72 h 129"/>
                  <a:gd name="T10" fmla="*/ 1 w 206"/>
                  <a:gd name="T11" fmla="*/ 71 h 129"/>
                  <a:gd name="T12" fmla="*/ 2 w 206"/>
                  <a:gd name="T13" fmla="*/ 70 h 129"/>
                  <a:gd name="T14" fmla="*/ 4 w 206"/>
                  <a:gd name="T15" fmla="*/ 70 h 129"/>
                  <a:gd name="T16" fmla="*/ 12 w 206"/>
                  <a:gd name="T17" fmla="*/ 75 h 129"/>
                  <a:gd name="T18" fmla="*/ 140 w 206"/>
                  <a:gd name="T19" fmla="*/ 1 h 129"/>
                  <a:gd name="T20" fmla="*/ 142 w 206"/>
                  <a:gd name="T21" fmla="*/ 1 h 129"/>
                  <a:gd name="T22" fmla="*/ 205 w 206"/>
                  <a:gd name="T23" fmla="*/ 37 h 129"/>
                  <a:gd name="T24" fmla="*/ 206 w 206"/>
                  <a:gd name="T25" fmla="*/ 39 h 129"/>
                  <a:gd name="T26" fmla="*/ 205 w 206"/>
                  <a:gd name="T27" fmla="*/ 41 h 129"/>
                  <a:gd name="T28" fmla="*/ 80 w 206"/>
                  <a:gd name="T29" fmla="*/ 113 h 129"/>
                  <a:gd name="T30" fmla="*/ 80 w 206"/>
                  <a:gd name="T31" fmla="*/ 127 h 129"/>
                  <a:gd name="T32" fmla="*/ 79 w 206"/>
                  <a:gd name="T33" fmla="*/ 129 h 129"/>
                  <a:gd name="T34" fmla="*/ 78 w 206"/>
                  <a:gd name="T35" fmla="*/ 129 h 129"/>
                  <a:gd name="T36" fmla="*/ 4 w 206"/>
                  <a:gd name="T37" fmla="*/ 82 h 129"/>
                  <a:gd name="T38" fmla="*/ 76 w 206"/>
                  <a:gd name="T39" fmla="*/ 123 h 129"/>
                  <a:gd name="T40" fmla="*/ 76 w 206"/>
                  <a:gd name="T41" fmla="*/ 112 h 129"/>
                  <a:gd name="T42" fmla="*/ 77 w 206"/>
                  <a:gd name="T43" fmla="*/ 110 h 129"/>
                  <a:gd name="T44" fmla="*/ 200 w 206"/>
                  <a:gd name="T45" fmla="*/ 39 h 129"/>
                  <a:gd name="T46" fmla="*/ 141 w 206"/>
                  <a:gd name="T47" fmla="*/ 5 h 129"/>
                  <a:gd name="T48" fmla="*/ 13 w 206"/>
                  <a:gd name="T49" fmla="*/ 79 h 129"/>
                  <a:gd name="T50" fmla="*/ 11 w 206"/>
                  <a:gd name="T51" fmla="*/ 79 h 129"/>
                  <a:gd name="T52" fmla="*/ 4 w 206"/>
                  <a:gd name="T53" fmla="*/ 74 h 129"/>
                  <a:gd name="T54" fmla="*/ 4 w 206"/>
                  <a:gd name="T55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6" h="129">
                    <a:moveTo>
                      <a:pt x="78" y="129"/>
                    </a:moveTo>
                    <a:cubicBezTo>
                      <a:pt x="78" y="129"/>
                      <a:pt x="77" y="129"/>
                      <a:pt x="77" y="129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0" y="84"/>
                      <a:pt x="0" y="83"/>
                      <a:pt x="0" y="83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3" y="70"/>
                      <a:pt x="3" y="70"/>
                      <a:pt x="4" y="70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40" y="0"/>
                      <a:pt x="141" y="0"/>
                      <a:pt x="142" y="1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6" y="38"/>
                      <a:pt x="206" y="38"/>
                      <a:pt x="206" y="39"/>
                    </a:cubicBezTo>
                    <a:cubicBezTo>
                      <a:pt x="206" y="40"/>
                      <a:pt x="206" y="41"/>
                      <a:pt x="205" y="41"/>
                    </a:cubicBezTo>
                    <a:cubicBezTo>
                      <a:pt x="80" y="113"/>
                      <a:pt x="80" y="113"/>
                      <a:pt x="80" y="113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8"/>
                      <a:pt x="80" y="128"/>
                      <a:pt x="79" y="129"/>
                    </a:cubicBezTo>
                    <a:cubicBezTo>
                      <a:pt x="79" y="129"/>
                      <a:pt x="78" y="129"/>
                      <a:pt x="78" y="129"/>
                    </a:cubicBezTo>
                    <a:close/>
                    <a:moveTo>
                      <a:pt x="4" y="82"/>
                    </a:moveTo>
                    <a:cubicBezTo>
                      <a:pt x="76" y="123"/>
                      <a:pt x="76" y="123"/>
                      <a:pt x="76" y="123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1"/>
                      <a:pt x="77" y="111"/>
                      <a:pt x="77" y="110"/>
                    </a:cubicBezTo>
                    <a:cubicBezTo>
                      <a:pt x="200" y="39"/>
                      <a:pt x="200" y="39"/>
                      <a:pt x="200" y="39"/>
                    </a:cubicBezTo>
                    <a:cubicBezTo>
                      <a:pt x="141" y="5"/>
                      <a:pt x="141" y="5"/>
                      <a:pt x="141" y="5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12" y="79"/>
                      <a:pt x="12" y="79"/>
                      <a:pt x="11" y="79"/>
                    </a:cubicBezTo>
                    <a:cubicBezTo>
                      <a:pt x="4" y="74"/>
                      <a:pt x="4" y="74"/>
                      <a:pt x="4" y="74"/>
                    </a:cubicBezTo>
                    <a:lnTo>
                      <a:pt x="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6" name="Freeform 1046">
                <a:extLst>
                  <a:ext uri="{FF2B5EF4-FFF2-40B4-BE49-F238E27FC236}">
                    <a16:creationId xmlns:a16="http://schemas.microsoft.com/office/drawing/2014/main" id="{1E3BEF46-D33B-4C57-ACE7-49C3F8315C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815978" y="5555481"/>
                <a:ext cx="272873" cy="196095"/>
              </a:xfrm>
              <a:custGeom>
                <a:avLst/>
                <a:gdLst>
                  <a:gd name="T0" fmla="*/ 99 w 111"/>
                  <a:gd name="T1" fmla="*/ 80 h 80"/>
                  <a:gd name="T2" fmla="*/ 98 w 111"/>
                  <a:gd name="T3" fmla="*/ 80 h 80"/>
                  <a:gd name="T4" fmla="*/ 1 w 111"/>
                  <a:gd name="T5" fmla="*/ 24 h 80"/>
                  <a:gd name="T6" fmla="*/ 0 w 111"/>
                  <a:gd name="T7" fmla="*/ 22 h 80"/>
                  <a:gd name="T8" fmla="*/ 0 w 111"/>
                  <a:gd name="T9" fmla="*/ 2 h 80"/>
                  <a:gd name="T10" fmla="*/ 1 w 111"/>
                  <a:gd name="T11" fmla="*/ 0 h 80"/>
                  <a:gd name="T12" fmla="*/ 3 w 111"/>
                  <a:gd name="T13" fmla="*/ 0 h 80"/>
                  <a:gd name="T14" fmla="*/ 63 w 111"/>
                  <a:gd name="T15" fmla="*/ 35 h 80"/>
                  <a:gd name="T16" fmla="*/ 64 w 111"/>
                  <a:gd name="T17" fmla="*/ 36 h 80"/>
                  <a:gd name="T18" fmla="*/ 63 w 111"/>
                  <a:gd name="T19" fmla="*/ 38 h 80"/>
                  <a:gd name="T20" fmla="*/ 58 w 111"/>
                  <a:gd name="T21" fmla="*/ 40 h 80"/>
                  <a:gd name="T22" fmla="*/ 110 w 111"/>
                  <a:gd name="T23" fmla="*/ 71 h 80"/>
                  <a:gd name="T24" fmla="*/ 111 w 111"/>
                  <a:gd name="T25" fmla="*/ 72 h 80"/>
                  <a:gd name="T26" fmla="*/ 110 w 111"/>
                  <a:gd name="T27" fmla="*/ 74 h 80"/>
                  <a:gd name="T28" fmla="*/ 100 w 111"/>
                  <a:gd name="T29" fmla="*/ 80 h 80"/>
                  <a:gd name="T30" fmla="*/ 99 w 111"/>
                  <a:gd name="T31" fmla="*/ 80 h 80"/>
                  <a:gd name="T32" fmla="*/ 4 w 111"/>
                  <a:gd name="T33" fmla="*/ 21 h 80"/>
                  <a:gd name="T34" fmla="*/ 99 w 111"/>
                  <a:gd name="T35" fmla="*/ 76 h 80"/>
                  <a:gd name="T36" fmla="*/ 105 w 111"/>
                  <a:gd name="T37" fmla="*/ 72 h 80"/>
                  <a:gd name="T38" fmla="*/ 53 w 111"/>
                  <a:gd name="T39" fmla="*/ 42 h 80"/>
                  <a:gd name="T40" fmla="*/ 52 w 111"/>
                  <a:gd name="T41" fmla="*/ 40 h 80"/>
                  <a:gd name="T42" fmla="*/ 53 w 111"/>
                  <a:gd name="T43" fmla="*/ 39 h 80"/>
                  <a:gd name="T44" fmla="*/ 58 w 111"/>
                  <a:gd name="T45" fmla="*/ 36 h 80"/>
                  <a:gd name="T46" fmla="*/ 4 w 111"/>
                  <a:gd name="T47" fmla="*/ 5 h 80"/>
                  <a:gd name="T48" fmla="*/ 4 w 111"/>
                  <a:gd name="T49" fmla="*/ 2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1" h="80">
                    <a:moveTo>
                      <a:pt x="99" y="80"/>
                    </a:moveTo>
                    <a:cubicBezTo>
                      <a:pt x="99" y="80"/>
                      <a:pt x="99" y="80"/>
                      <a:pt x="98" y="80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4" y="36"/>
                      <a:pt x="64" y="36"/>
                    </a:cubicBezTo>
                    <a:cubicBezTo>
                      <a:pt x="64" y="37"/>
                      <a:pt x="63" y="38"/>
                      <a:pt x="63" y="38"/>
                    </a:cubicBezTo>
                    <a:cubicBezTo>
                      <a:pt x="58" y="40"/>
                      <a:pt x="58" y="40"/>
                      <a:pt x="58" y="40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1" y="71"/>
                      <a:pt x="111" y="72"/>
                      <a:pt x="111" y="72"/>
                    </a:cubicBezTo>
                    <a:cubicBezTo>
                      <a:pt x="111" y="73"/>
                      <a:pt x="111" y="74"/>
                      <a:pt x="110" y="74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80"/>
                      <a:pt x="100" y="80"/>
                      <a:pt x="99" y="80"/>
                    </a:cubicBezTo>
                    <a:close/>
                    <a:moveTo>
                      <a:pt x="4" y="21"/>
                    </a:moveTo>
                    <a:cubicBezTo>
                      <a:pt x="99" y="76"/>
                      <a:pt x="99" y="76"/>
                      <a:pt x="99" y="76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3" y="42"/>
                      <a:pt x="52" y="41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7" name="Freeform 1051">
                <a:extLst>
                  <a:ext uri="{FF2B5EF4-FFF2-40B4-BE49-F238E27FC236}">
                    <a16:creationId xmlns:a16="http://schemas.microsoft.com/office/drawing/2014/main" id="{944F4939-4C82-4E2F-B5DC-5BACF007B0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91489" y="6347124"/>
                <a:ext cx="237597" cy="480381"/>
              </a:xfrm>
              <a:custGeom>
                <a:avLst/>
                <a:gdLst>
                  <a:gd name="T0" fmla="*/ 2 w 97"/>
                  <a:gd name="T1" fmla="*/ 196 h 196"/>
                  <a:gd name="T2" fmla="*/ 1 w 97"/>
                  <a:gd name="T3" fmla="*/ 196 h 196"/>
                  <a:gd name="T4" fmla="*/ 0 w 97"/>
                  <a:gd name="T5" fmla="*/ 194 h 196"/>
                  <a:gd name="T6" fmla="*/ 0 w 97"/>
                  <a:gd name="T7" fmla="*/ 56 h 196"/>
                  <a:gd name="T8" fmla="*/ 1 w 97"/>
                  <a:gd name="T9" fmla="*/ 54 h 196"/>
                  <a:gd name="T10" fmla="*/ 94 w 97"/>
                  <a:gd name="T11" fmla="*/ 0 h 196"/>
                  <a:gd name="T12" fmla="*/ 96 w 97"/>
                  <a:gd name="T13" fmla="*/ 0 h 196"/>
                  <a:gd name="T14" fmla="*/ 97 w 97"/>
                  <a:gd name="T15" fmla="*/ 2 h 196"/>
                  <a:gd name="T16" fmla="*/ 97 w 97"/>
                  <a:gd name="T17" fmla="*/ 140 h 196"/>
                  <a:gd name="T18" fmla="*/ 97 w 97"/>
                  <a:gd name="T19" fmla="*/ 140 h 196"/>
                  <a:gd name="T20" fmla="*/ 96 w 97"/>
                  <a:gd name="T21" fmla="*/ 142 h 196"/>
                  <a:gd name="T22" fmla="*/ 3 w 97"/>
                  <a:gd name="T23" fmla="*/ 196 h 196"/>
                  <a:gd name="T24" fmla="*/ 2 w 97"/>
                  <a:gd name="T25" fmla="*/ 196 h 196"/>
                  <a:gd name="T26" fmla="*/ 4 w 97"/>
                  <a:gd name="T27" fmla="*/ 57 h 196"/>
                  <a:gd name="T28" fmla="*/ 4 w 97"/>
                  <a:gd name="T29" fmla="*/ 191 h 196"/>
                  <a:gd name="T30" fmla="*/ 93 w 97"/>
                  <a:gd name="T31" fmla="*/ 139 h 196"/>
                  <a:gd name="T32" fmla="*/ 93 w 97"/>
                  <a:gd name="T33" fmla="*/ 6 h 196"/>
                  <a:gd name="T34" fmla="*/ 4 w 97"/>
                  <a:gd name="T35" fmla="*/ 57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196">
                    <a:moveTo>
                      <a:pt x="2" y="196"/>
                    </a:moveTo>
                    <a:cubicBezTo>
                      <a:pt x="1" y="196"/>
                      <a:pt x="1" y="196"/>
                      <a:pt x="1" y="196"/>
                    </a:cubicBezTo>
                    <a:cubicBezTo>
                      <a:pt x="0" y="196"/>
                      <a:pt x="0" y="195"/>
                      <a:pt x="0" y="19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5"/>
                      <a:pt x="0" y="55"/>
                      <a:pt x="1" y="54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95" y="0"/>
                      <a:pt x="96" y="0"/>
                    </a:cubicBezTo>
                    <a:cubicBezTo>
                      <a:pt x="96" y="1"/>
                      <a:pt x="97" y="2"/>
                      <a:pt x="97" y="2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1"/>
                      <a:pt x="97" y="142"/>
                      <a:pt x="96" y="142"/>
                    </a:cubicBezTo>
                    <a:cubicBezTo>
                      <a:pt x="3" y="196"/>
                      <a:pt x="3" y="196"/>
                      <a:pt x="3" y="196"/>
                    </a:cubicBezTo>
                    <a:cubicBezTo>
                      <a:pt x="2" y="196"/>
                      <a:pt x="2" y="196"/>
                      <a:pt x="2" y="196"/>
                    </a:cubicBezTo>
                    <a:close/>
                    <a:moveTo>
                      <a:pt x="4" y="57"/>
                    </a:moveTo>
                    <a:cubicBezTo>
                      <a:pt x="4" y="191"/>
                      <a:pt x="4" y="191"/>
                      <a:pt x="4" y="191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93" y="6"/>
                      <a:pt x="93" y="6"/>
                      <a:pt x="93" y="6"/>
                    </a:cubicBezTo>
                    <a:lnTo>
                      <a:pt x="4" y="5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8" name="Freeform 1052">
                <a:extLst>
                  <a:ext uri="{FF2B5EF4-FFF2-40B4-BE49-F238E27FC236}">
                    <a16:creationId xmlns:a16="http://schemas.microsoft.com/office/drawing/2014/main" id="{17DBE779-6D3D-4E4E-9D74-2CD73D4E9D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963966" y="6729976"/>
                <a:ext cx="496982" cy="306074"/>
              </a:xfrm>
              <a:custGeom>
                <a:avLst/>
                <a:gdLst>
                  <a:gd name="T0" fmla="*/ 113 w 203"/>
                  <a:gd name="T1" fmla="*/ 125 h 125"/>
                  <a:gd name="T2" fmla="*/ 112 w 203"/>
                  <a:gd name="T3" fmla="*/ 124 h 125"/>
                  <a:gd name="T4" fmla="*/ 1 w 203"/>
                  <a:gd name="T5" fmla="*/ 60 h 125"/>
                  <a:gd name="T6" fmla="*/ 0 w 203"/>
                  <a:gd name="T7" fmla="*/ 59 h 125"/>
                  <a:gd name="T8" fmla="*/ 1 w 203"/>
                  <a:gd name="T9" fmla="*/ 57 h 125"/>
                  <a:gd name="T10" fmla="*/ 98 w 203"/>
                  <a:gd name="T11" fmla="*/ 0 h 125"/>
                  <a:gd name="T12" fmla="*/ 100 w 203"/>
                  <a:gd name="T13" fmla="*/ 0 h 125"/>
                  <a:gd name="T14" fmla="*/ 202 w 203"/>
                  <a:gd name="T15" fmla="*/ 59 h 125"/>
                  <a:gd name="T16" fmla="*/ 203 w 203"/>
                  <a:gd name="T17" fmla="*/ 61 h 125"/>
                  <a:gd name="T18" fmla="*/ 202 w 203"/>
                  <a:gd name="T19" fmla="*/ 62 h 125"/>
                  <a:gd name="T20" fmla="*/ 168 w 203"/>
                  <a:gd name="T21" fmla="*/ 82 h 125"/>
                  <a:gd name="T22" fmla="*/ 174 w 203"/>
                  <a:gd name="T23" fmla="*/ 86 h 125"/>
                  <a:gd name="T24" fmla="*/ 175 w 203"/>
                  <a:gd name="T25" fmla="*/ 88 h 125"/>
                  <a:gd name="T26" fmla="*/ 174 w 203"/>
                  <a:gd name="T27" fmla="*/ 90 h 125"/>
                  <a:gd name="T28" fmla="*/ 117 w 203"/>
                  <a:gd name="T29" fmla="*/ 123 h 125"/>
                  <a:gd name="T30" fmla="*/ 117 w 203"/>
                  <a:gd name="T31" fmla="*/ 123 h 125"/>
                  <a:gd name="T32" fmla="*/ 114 w 203"/>
                  <a:gd name="T33" fmla="*/ 124 h 125"/>
                  <a:gd name="T34" fmla="*/ 113 w 203"/>
                  <a:gd name="T35" fmla="*/ 125 h 125"/>
                  <a:gd name="T36" fmla="*/ 116 w 203"/>
                  <a:gd name="T37" fmla="*/ 121 h 125"/>
                  <a:gd name="T38" fmla="*/ 116 w 203"/>
                  <a:gd name="T39" fmla="*/ 121 h 125"/>
                  <a:gd name="T40" fmla="*/ 6 w 203"/>
                  <a:gd name="T41" fmla="*/ 59 h 125"/>
                  <a:gd name="T42" fmla="*/ 113 w 203"/>
                  <a:gd name="T43" fmla="*/ 120 h 125"/>
                  <a:gd name="T44" fmla="*/ 169 w 203"/>
                  <a:gd name="T45" fmla="*/ 88 h 125"/>
                  <a:gd name="T46" fmla="*/ 163 w 203"/>
                  <a:gd name="T47" fmla="*/ 84 h 125"/>
                  <a:gd name="T48" fmla="*/ 162 w 203"/>
                  <a:gd name="T49" fmla="*/ 82 h 125"/>
                  <a:gd name="T50" fmla="*/ 163 w 203"/>
                  <a:gd name="T51" fmla="*/ 81 h 125"/>
                  <a:gd name="T52" fmla="*/ 197 w 203"/>
                  <a:gd name="T53" fmla="*/ 61 h 125"/>
                  <a:gd name="T54" fmla="*/ 99 w 203"/>
                  <a:gd name="T55" fmla="*/ 4 h 125"/>
                  <a:gd name="T56" fmla="*/ 6 w 203"/>
                  <a:gd name="T57" fmla="*/ 5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3" h="125">
                    <a:moveTo>
                      <a:pt x="113" y="125"/>
                    </a:moveTo>
                    <a:cubicBezTo>
                      <a:pt x="113" y="125"/>
                      <a:pt x="112" y="125"/>
                      <a:pt x="112" y="124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0"/>
                      <a:pt x="0" y="59"/>
                      <a:pt x="0" y="59"/>
                    </a:cubicBezTo>
                    <a:cubicBezTo>
                      <a:pt x="0" y="58"/>
                      <a:pt x="0" y="57"/>
                      <a:pt x="1" y="57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9" y="0"/>
                      <a:pt x="100" y="0"/>
                      <a:pt x="100" y="0"/>
                    </a:cubicBezTo>
                    <a:cubicBezTo>
                      <a:pt x="202" y="59"/>
                      <a:pt x="202" y="59"/>
                      <a:pt x="202" y="59"/>
                    </a:cubicBezTo>
                    <a:cubicBezTo>
                      <a:pt x="202" y="59"/>
                      <a:pt x="203" y="60"/>
                      <a:pt x="203" y="61"/>
                    </a:cubicBezTo>
                    <a:cubicBezTo>
                      <a:pt x="203" y="61"/>
                      <a:pt x="202" y="62"/>
                      <a:pt x="202" y="62"/>
                    </a:cubicBezTo>
                    <a:cubicBezTo>
                      <a:pt x="168" y="82"/>
                      <a:pt x="168" y="82"/>
                      <a:pt x="168" y="82"/>
                    </a:cubicBezTo>
                    <a:cubicBezTo>
                      <a:pt x="174" y="86"/>
                      <a:pt x="174" y="86"/>
                      <a:pt x="174" y="86"/>
                    </a:cubicBezTo>
                    <a:cubicBezTo>
                      <a:pt x="175" y="87"/>
                      <a:pt x="175" y="87"/>
                      <a:pt x="175" y="88"/>
                    </a:cubicBezTo>
                    <a:cubicBezTo>
                      <a:pt x="175" y="89"/>
                      <a:pt x="175" y="89"/>
                      <a:pt x="174" y="90"/>
                    </a:cubicBezTo>
                    <a:cubicBezTo>
                      <a:pt x="117" y="123"/>
                      <a:pt x="117" y="123"/>
                      <a:pt x="117" y="123"/>
                    </a:cubicBezTo>
                    <a:cubicBezTo>
                      <a:pt x="117" y="123"/>
                      <a:pt x="117" y="123"/>
                      <a:pt x="117" y="123"/>
                    </a:cubicBezTo>
                    <a:cubicBezTo>
                      <a:pt x="114" y="124"/>
                      <a:pt x="114" y="124"/>
                      <a:pt x="114" y="124"/>
                    </a:cubicBezTo>
                    <a:cubicBezTo>
                      <a:pt x="114" y="125"/>
                      <a:pt x="113" y="125"/>
                      <a:pt x="113" y="125"/>
                    </a:cubicBezTo>
                    <a:close/>
                    <a:moveTo>
                      <a:pt x="116" y="121"/>
                    </a:moveTo>
                    <a:cubicBezTo>
                      <a:pt x="116" y="121"/>
                      <a:pt x="116" y="121"/>
                      <a:pt x="116" y="121"/>
                    </a:cubicBezTo>
                    <a:close/>
                    <a:moveTo>
                      <a:pt x="6" y="59"/>
                    </a:move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63" y="84"/>
                      <a:pt x="163" y="84"/>
                      <a:pt x="163" y="84"/>
                    </a:cubicBezTo>
                    <a:cubicBezTo>
                      <a:pt x="162" y="84"/>
                      <a:pt x="162" y="83"/>
                      <a:pt x="162" y="82"/>
                    </a:cubicBezTo>
                    <a:cubicBezTo>
                      <a:pt x="162" y="82"/>
                      <a:pt x="162" y="81"/>
                      <a:pt x="163" y="81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99" y="4"/>
                      <a:pt x="99" y="4"/>
                      <a:pt x="99" y="4"/>
                    </a:cubicBezTo>
                    <a:lnTo>
                      <a:pt x="6" y="5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9" name="Freeform 1053">
                <a:extLst>
                  <a:ext uri="{FF2B5EF4-FFF2-40B4-BE49-F238E27FC236}">
                    <a16:creationId xmlns:a16="http://schemas.microsoft.com/office/drawing/2014/main" id="{DF4E5B41-4096-4E08-9FFA-ACC5215411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79039" y="5837692"/>
                <a:ext cx="298812" cy="500094"/>
              </a:xfrm>
              <a:custGeom>
                <a:avLst/>
                <a:gdLst>
                  <a:gd name="T0" fmla="*/ 120 w 122"/>
                  <a:gd name="T1" fmla="*/ 204 h 204"/>
                  <a:gd name="T2" fmla="*/ 119 w 122"/>
                  <a:gd name="T3" fmla="*/ 204 h 204"/>
                  <a:gd name="T4" fmla="*/ 116 w 122"/>
                  <a:gd name="T5" fmla="*/ 203 h 204"/>
                  <a:gd name="T6" fmla="*/ 116 w 122"/>
                  <a:gd name="T7" fmla="*/ 203 h 204"/>
                  <a:gd name="T8" fmla="*/ 114 w 122"/>
                  <a:gd name="T9" fmla="*/ 203 h 204"/>
                  <a:gd name="T10" fmla="*/ 39 w 122"/>
                  <a:gd name="T11" fmla="*/ 160 h 204"/>
                  <a:gd name="T12" fmla="*/ 38 w 122"/>
                  <a:gd name="T13" fmla="*/ 159 h 204"/>
                  <a:gd name="T14" fmla="*/ 39 w 122"/>
                  <a:gd name="T15" fmla="*/ 157 h 204"/>
                  <a:gd name="T16" fmla="*/ 54 w 122"/>
                  <a:gd name="T17" fmla="*/ 149 h 204"/>
                  <a:gd name="T18" fmla="*/ 1 w 122"/>
                  <a:gd name="T19" fmla="*/ 118 h 204"/>
                  <a:gd name="T20" fmla="*/ 0 w 122"/>
                  <a:gd name="T21" fmla="*/ 116 h 204"/>
                  <a:gd name="T22" fmla="*/ 1 w 122"/>
                  <a:gd name="T23" fmla="*/ 115 h 204"/>
                  <a:gd name="T24" fmla="*/ 6 w 122"/>
                  <a:gd name="T25" fmla="*/ 112 h 204"/>
                  <a:gd name="T26" fmla="*/ 6 w 122"/>
                  <a:gd name="T27" fmla="*/ 2 h 204"/>
                  <a:gd name="T28" fmla="*/ 7 w 122"/>
                  <a:gd name="T29" fmla="*/ 0 h 204"/>
                  <a:gd name="T30" fmla="*/ 9 w 122"/>
                  <a:gd name="T31" fmla="*/ 0 h 204"/>
                  <a:gd name="T32" fmla="*/ 121 w 122"/>
                  <a:gd name="T33" fmla="*/ 65 h 204"/>
                  <a:gd name="T34" fmla="*/ 122 w 122"/>
                  <a:gd name="T35" fmla="*/ 66 h 204"/>
                  <a:gd name="T36" fmla="*/ 122 w 122"/>
                  <a:gd name="T37" fmla="*/ 202 h 204"/>
                  <a:gd name="T38" fmla="*/ 121 w 122"/>
                  <a:gd name="T39" fmla="*/ 204 h 204"/>
                  <a:gd name="T40" fmla="*/ 120 w 122"/>
                  <a:gd name="T41" fmla="*/ 204 h 204"/>
                  <a:gd name="T42" fmla="*/ 115 w 122"/>
                  <a:gd name="T43" fmla="*/ 197 h 204"/>
                  <a:gd name="T44" fmla="*/ 116 w 122"/>
                  <a:gd name="T45" fmla="*/ 198 h 204"/>
                  <a:gd name="T46" fmla="*/ 118 w 122"/>
                  <a:gd name="T47" fmla="*/ 199 h 204"/>
                  <a:gd name="T48" fmla="*/ 118 w 122"/>
                  <a:gd name="T49" fmla="*/ 68 h 204"/>
                  <a:gd name="T50" fmla="*/ 10 w 122"/>
                  <a:gd name="T51" fmla="*/ 5 h 204"/>
                  <a:gd name="T52" fmla="*/ 10 w 122"/>
                  <a:gd name="T53" fmla="*/ 113 h 204"/>
                  <a:gd name="T54" fmla="*/ 9 w 122"/>
                  <a:gd name="T55" fmla="*/ 115 h 204"/>
                  <a:gd name="T56" fmla="*/ 6 w 122"/>
                  <a:gd name="T57" fmla="*/ 116 h 204"/>
                  <a:gd name="T58" fmla="*/ 59 w 122"/>
                  <a:gd name="T59" fmla="*/ 147 h 204"/>
                  <a:gd name="T60" fmla="*/ 60 w 122"/>
                  <a:gd name="T61" fmla="*/ 149 h 204"/>
                  <a:gd name="T62" fmla="*/ 59 w 122"/>
                  <a:gd name="T63" fmla="*/ 150 h 204"/>
                  <a:gd name="T64" fmla="*/ 44 w 122"/>
                  <a:gd name="T65" fmla="*/ 159 h 204"/>
                  <a:gd name="T66" fmla="*/ 113 w 122"/>
                  <a:gd name="T67" fmla="*/ 198 h 204"/>
                  <a:gd name="T68" fmla="*/ 114 w 122"/>
                  <a:gd name="T69" fmla="*/ 198 h 204"/>
                  <a:gd name="T70" fmla="*/ 115 w 122"/>
                  <a:gd name="T71" fmla="*/ 19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2" h="204">
                    <a:moveTo>
                      <a:pt x="120" y="204"/>
                    </a:moveTo>
                    <a:cubicBezTo>
                      <a:pt x="119" y="204"/>
                      <a:pt x="119" y="204"/>
                      <a:pt x="119" y="204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5" y="204"/>
                      <a:pt x="114" y="204"/>
                      <a:pt x="114" y="203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60"/>
                      <a:pt x="38" y="159"/>
                      <a:pt x="38" y="159"/>
                    </a:cubicBezTo>
                    <a:cubicBezTo>
                      <a:pt x="38" y="158"/>
                      <a:pt x="39" y="157"/>
                      <a:pt x="39" y="157"/>
                    </a:cubicBezTo>
                    <a:cubicBezTo>
                      <a:pt x="54" y="149"/>
                      <a:pt x="54" y="149"/>
                      <a:pt x="54" y="149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8"/>
                      <a:pt x="0" y="117"/>
                      <a:pt x="0" y="116"/>
                    </a:cubicBezTo>
                    <a:cubicBezTo>
                      <a:pt x="0" y="116"/>
                      <a:pt x="0" y="115"/>
                      <a:pt x="1" y="115"/>
                    </a:cubicBezTo>
                    <a:cubicBezTo>
                      <a:pt x="6" y="112"/>
                      <a:pt x="6" y="112"/>
                      <a:pt x="6" y="11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6" y="0"/>
                      <a:pt x="7" y="0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121" y="65"/>
                      <a:pt x="121" y="65"/>
                      <a:pt x="121" y="65"/>
                    </a:cubicBezTo>
                    <a:cubicBezTo>
                      <a:pt x="121" y="65"/>
                      <a:pt x="122" y="66"/>
                      <a:pt x="122" y="66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2" y="203"/>
                      <a:pt x="121" y="204"/>
                      <a:pt x="121" y="204"/>
                    </a:cubicBezTo>
                    <a:cubicBezTo>
                      <a:pt x="120" y="204"/>
                      <a:pt x="120" y="204"/>
                      <a:pt x="120" y="204"/>
                    </a:cubicBezTo>
                    <a:close/>
                    <a:moveTo>
                      <a:pt x="115" y="197"/>
                    </a:moveTo>
                    <a:cubicBezTo>
                      <a:pt x="115" y="197"/>
                      <a:pt x="115" y="198"/>
                      <a:pt x="116" y="198"/>
                    </a:cubicBezTo>
                    <a:cubicBezTo>
                      <a:pt x="118" y="199"/>
                      <a:pt x="118" y="199"/>
                      <a:pt x="118" y="199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4"/>
                      <a:pt x="9" y="114"/>
                      <a:pt x="9" y="11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59" y="147"/>
                      <a:pt x="60" y="148"/>
                      <a:pt x="60" y="149"/>
                    </a:cubicBezTo>
                    <a:cubicBezTo>
                      <a:pt x="60" y="149"/>
                      <a:pt x="59" y="150"/>
                      <a:pt x="59" y="150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113" y="198"/>
                      <a:pt x="113" y="198"/>
                      <a:pt x="113" y="198"/>
                    </a:cubicBezTo>
                    <a:cubicBezTo>
                      <a:pt x="113" y="198"/>
                      <a:pt x="114" y="198"/>
                      <a:pt x="114" y="198"/>
                    </a:cubicBezTo>
                    <a:cubicBezTo>
                      <a:pt x="114" y="198"/>
                      <a:pt x="114" y="197"/>
                      <a:pt x="115" y="19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0" name="Freeform 1055">
                <a:extLst>
                  <a:ext uri="{FF2B5EF4-FFF2-40B4-BE49-F238E27FC236}">
                    <a16:creationId xmlns:a16="http://schemas.microsoft.com/office/drawing/2014/main" id="{A79AD705-33B7-401D-8A41-416AB0E78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6852406"/>
                <a:ext cx="24901" cy="88191"/>
              </a:xfrm>
              <a:custGeom>
                <a:avLst/>
                <a:gdLst>
                  <a:gd name="T0" fmla="*/ 8 w 10"/>
                  <a:gd name="T1" fmla="*/ 36 h 36"/>
                  <a:gd name="T2" fmla="*/ 7 w 10"/>
                  <a:gd name="T3" fmla="*/ 36 h 36"/>
                  <a:gd name="T4" fmla="*/ 1 w 10"/>
                  <a:gd name="T5" fmla="*/ 32 h 36"/>
                  <a:gd name="T6" fmla="*/ 0 w 10"/>
                  <a:gd name="T7" fmla="*/ 30 h 36"/>
                  <a:gd name="T8" fmla="*/ 0 w 10"/>
                  <a:gd name="T9" fmla="*/ 2 h 36"/>
                  <a:gd name="T10" fmla="*/ 1 w 10"/>
                  <a:gd name="T11" fmla="*/ 1 h 36"/>
                  <a:gd name="T12" fmla="*/ 2 w 10"/>
                  <a:gd name="T13" fmla="*/ 0 h 36"/>
                  <a:gd name="T14" fmla="*/ 4 w 10"/>
                  <a:gd name="T15" fmla="*/ 0 h 36"/>
                  <a:gd name="T16" fmla="*/ 9 w 10"/>
                  <a:gd name="T17" fmla="*/ 3 h 36"/>
                  <a:gd name="T18" fmla="*/ 10 w 10"/>
                  <a:gd name="T19" fmla="*/ 4 h 36"/>
                  <a:gd name="T20" fmla="*/ 10 w 10"/>
                  <a:gd name="T21" fmla="*/ 34 h 36"/>
                  <a:gd name="T22" fmla="*/ 9 w 10"/>
                  <a:gd name="T23" fmla="*/ 36 h 36"/>
                  <a:gd name="T24" fmla="*/ 8 w 10"/>
                  <a:gd name="T25" fmla="*/ 36 h 36"/>
                  <a:gd name="T26" fmla="*/ 4 w 10"/>
                  <a:gd name="T27" fmla="*/ 29 h 36"/>
                  <a:gd name="T28" fmla="*/ 6 w 10"/>
                  <a:gd name="T29" fmla="*/ 30 h 36"/>
                  <a:gd name="T30" fmla="*/ 6 w 10"/>
                  <a:gd name="T31" fmla="*/ 6 h 36"/>
                  <a:gd name="T32" fmla="*/ 4 w 10"/>
                  <a:gd name="T33" fmla="*/ 4 h 36"/>
                  <a:gd name="T34" fmla="*/ 4 w 10"/>
                  <a:gd name="T35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36">
                    <a:moveTo>
                      <a:pt x="8" y="36"/>
                    </a:moveTo>
                    <a:cubicBezTo>
                      <a:pt x="8" y="36"/>
                      <a:pt x="7" y="36"/>
                      <a:pt x="7" y="36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3"/>
                      <a:pt x="10" y="4"/>
                      <a:pt x="10" y="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0" y="35"/>
                      <a:pt x="10" y="35"/>
                      <a:pt x="9" y="36"/>
                    </a:cubicBezTo>
                    <a:cubicBezTo>
                      <a:pt x="9" y="36"/>
                      <a:pt x="9" y="36"/>
                      <a:pt x="8" y="36"/>
                    </a:cubicBezTo>
                    <a:close/>
                    <a:moveTo>
                      <a:pt x="4" y="29"/>
                    </a:moveTo>
                    <a:cubicBezTo>
                      <a:pt x="6" y="30"/>
                      <a:pt x="6" y="30"/>
                      <a:pt x="6" y="3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2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1" name="Freeform 1057">
                <a:extLst>
                  <a:ext uri="{FF2B5EF4-FFF2-40B4-BE49-F238E27FC236}">
                    <a16:creationId xmlns:a16="http://schemas.microsoft.com/office/drawing/2014/main" id="{9AE43B09-D704-4085-BE8B-A38878D1EF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591489" y="6224694"/>
                <a:ext cx="421242" cy="260422"/>
              </a:xfrm>
              <a:custGeom>
                <a:avLst/>
                <a:gdLst>
                  <a:gd name="T0" fmla="*/ 77 w 172"/>
                  <a:gd name="T1" fmla="*/ 106 h 106"/>
                  <a:gd name="T2" fmla="*/ 76 w 172"/>
                  <a:gd name="T3" fmla="*/ 106 h 106"/>
                  <a:gd name="T4" fmla="*/ 75 w 172"/>
                  <a:gd name="T5" fmla="*/ 104 h 106"/>
                  <a:gd name="T6" fmla="*/ 75 w 172"/>
                  <a:gd name="T7" fmla="*/ 99 h 106"/>
                  <a:gd name="T8" fmla="*/ 1 w 172"/>
                  <a:gd name="T9" fmla="*/ 56 h 106"/>
                  <a:gd name="T10" fmla="*/ 0 w 172"/>
                  <a:gd name="T11" fmla="*/ 55 h 106"/>
                  <a:gd name="T12" fmla="*/ 1 w 172"/>
                  <a:gd name="T13" fmla="*/ 53 h 106"/>
                  <a:gd name="T14" fmla="*/ 93 w 172"/>
                  <a:gd name="T15" fmla="*/ 0 h 106"/>
                  <a:gd name="T16" fmla="*/ 95 w 172"/>
                  <a:gd name="T17" fmla="*/ 0 h 106"/>
                  <a:gd name="T18" fmla="*/ 171 w 172"/>
                  <a:gd name="T19" fmla="*/ 44 h 106"/>
                  <a:gd name="T20" fmla="*/ 172 w 172"/>
                  <a:gd name="T21" fmla="*/ 45 h 106"/>
                  <a:gd name="T22" fmla="*/ 172 w 172"/>
                  <a:gd name="T23" fmla="*/ 50 h 106"/>
                  <a:gd name="T24" fmla="*/ 171 w 172"/>
                  <a:gd name="T25" fmla="*/ 52 h 106"/>
                  <a:gd name="T26" fmla="*/ 78 w 172"/>
                  <a:gd name="T27" fmla="*/ 106 h 106"/>
                  <a:gd name="T28" fmla="*/ 77 w 172"/>
                  <a:gd name="T29" fmla="*/ 106 h 106"/>
                  <a:gd name="T30" fmla="*/ 6 w 172"/>
                  <a:gd name="T31" fmla="*/ 55 h 106"/>
                  <a:gd name="T32" fmla="*/ 78 w 172"/>
                  <a:gd name="T33" fmla="*/ 96 h 106"/>
                  <a:gd name="T34" fmla="*/ 79 w 172"/>
                  <a:gd name="T35" fmla="*/ 97 h 106"/>
                  <a:gd name="T36" fmla="*/ 79 w 172"/>
                  <a:gd name="T37" fmla="*/ 101 h 106"/>
                  <a:gd name="T38" fmla="*/ 168 w 172"/>
                  <a:gd name="T39" fmla="*/ 49 h 106"/>
                  <a:gd name="T40" fmla="*/ 168 w 172"/>
                  <a:gd name="T41" fmla="*/ 47 h 106"/>
                  <a:gd name="T42" fmla="*/ 94 w 172"/>
                  <a:gd name="T43" fmla="*/ 4 h 106"/>
                  <a:gd name="T44" fmla="*/ 6 w 172"/>
                  <a:gd name="T45" fmla="*/ 5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2" h="106">
                    <a:moveTo>
                      <a:pt x="77" y="106"/>
                    </a:moveTo>
                    <a:cubicBezTo>
                      <a:pt x="76" y="106"/>
                      <a:pt x="76" y="106"/>
                      <a:pt x="76" y="106"/>
                    </a:cubicBezTo>
                    <a:cubicBezTo>
                      <a:pt x="75" y="106"/>
                      <a:pt x="75" y="105"/>
                      <a:pt x="75" y="104"/>
                    </a:cubicBezTo>
                    <a:cubicBezTo>
                      <a:pt x="75" y="99"/>
                      <a:pt x="75" y="99"/>
                      <a:pt x="75" y="99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" y="56"/>
                      <a:pt x="0" y="55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4" y="0"/>
                      <a:pt x="95" y="0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1" y="44"/>
                      <a:pt x="172" y="45"/>
                      <a:pt x="172" y="45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1"/>
                      <a:pt x="171" y="52"/>
                      <a:pt x="171" y="52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7" y="106"/>
                      <a:pt x="77" y="106"/>
                      <a:pt x="77" y="106"/>
                    </a:cubicBezTo>
                    <a:close/>
                    <a:moveTo>
                      <a:pt x="6" y="55"/>
                    </a:move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6"/>
                      <a:pt x="79" y="97"/>
                      <a:pt x="79" y="97"/>
                    </a:cubicBezTo>
                    <a:cubicBezTo>
                      <a:pt x="79" y="101"/>
                      <a:pt x="79" y="101"/>
                      <a:pt x="79" y="101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94" y="4"/>
                      <a:pt x="94" y="4"/>
                      <a:pt x="94" y="4"/>
                    </a:cubicBezTo>
                    <a:lnTo>
                      <a:pt x="6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2" name="Freeform 1058">
                <a:extLst>
                  <a:ext uri="{FF2B5EF4-FFF2-40B4-BE49-F238E27FC236}">
                    <a16:creationId xmlns:a16="http://schemas.microsoft.com/office/drawing/2014/main" id="{D1F899DB-3DE6-4F90-B7CD-503255D293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6962385"/>
                <a:ext cx="24901" cy="51877"/>
              </a:xfrm>
              <a:custGeom>
                <a:avLst/>
                <a:gdLst>
                  <a:gd name="T0" fmla="*/ 2 w 10"/>
                  <a:gd name="T1" fmla="*/ 21 h 21"/>
                  <a:gd name="T2" fmla="*/ 1 w 10"/>
                  <a:gd name="T3" fmla="*/ 20 h 21"/>
                  <a:gd name="T4" fmla="*/ 0 w 10"/>
                  <a:gd name="T5" fmla="*/ 19 h 21"/>
                  <a:gd name="T6" fmla="*/ 0 w 10"/>
                  <a:gd name="T7" fmla="*/ 6 h 21"/>
                  <a:gd name="T8" fmla="*/ 1 w 10"/>
                  <a:gd name="T9" fmla="*/ 4 h 21"/>
                  <a:gd name="T10" fmla="*/ 7 w 10"/>
                  <a:gd name="T11" fmla="*/ 1 h 21"/>
                  <a:gd name="T12" fmla="*/ 9 w 10"/>
                  <a:gd name="T13" fmla="*/ 1 h 21"/>
                  <a:gd name="T14" fmla="*/ 10 w 10"/>
                  <a:gd name="T15" fmla="*/ 2 h 21"/>
                  <a:gd name="T16" fmla="*/ 10 w 10"/>
                  <a:gd name="T17" fmla="*/ 15 h 21"/>
                  <a:gd name="T18" fmla="*/ 9 w 10"/>
                  <a:gd name="T19" fmla="*/ 17 h 21"/>
                  <a:gd name="T20" fmla="*/ 3 w 10"/>
                  <a:gd name="T21" fmla="*/ 20 h 21"/>
                  <a:gd name="T22" fmla="*/ 2 w 10"/>
                  <a:gd name="T23" fmla="*/ 21 h 21"/>
                  <a:gd name="T24" fmla="*/ 4 w 10"/>
                  <a:gd name="T25" fmla="*/ 7 h 21"/>
                  <a:gd name="T26" fmla="*/ 4 w 10"/>
                  <a:gd name="T27" fmla="*/ 15 h 21"/>
                  <a:gd name="T28" fmla="*/ 6 w 10"/>
                  <a:gd name="T29" fmla="*/ 14 h 21"/>
                  <a:gd name="T30" fmla="*/ 6 w 10"/>
                  <a:gd name="T31" fmla="*/ 6 h 21"/>
                  <a:gd name="T32" fmla="*/ 4 w 10"/>
                  <a:gd name="T33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21">
                    <a:moveTo>
                      <a:pt x="2" y="21"/>
                    </a:moveTo>
                    <a:cubicBezTo>
                      <a:pt x="2" y="21"/>
                      <a:pt x="1" y="21"/>
                      <a:pt x="1" y="20"/>
                    </a:cubicBezTo>
                    <a:cubicBezTo>
                      <a:pt x="1" y="20"/>
                      <a:pt x="0" y="19"/>
                      <a:pt x="0" y="19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0"/>
                      <a:pt x="9" y="0"/>
                      <a:pt x="9" y="1"/>
                    </a:cubicBezTo>
                    <a:cubicBezTo>
                      <a:pt x="10" y="1"/>
                      <a:pt x="10" y="2"/>
                      <a:pt x="10" y="2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0" y="17"/>
                      <a:pt x="9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3" y="21"/>
                      <a:pt x="2" y="21"/>
                    </a:cubicBezTo>
                    <a:close/>
                    <a:moveTo>
                      <a:pt x="4" y="7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6"/>
                      <a:pt x="6" y="6"/>
                      <a:pt x="6" y="6"/>
                    </a:cubicBez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3" name="Freeform 1059">
                <a:extLst>
                  <a:ext uri="{FF2B5EF4-FFF2-40B4-BE49-F238E27FC236}">
                    <a16:creationId xmlns:a16="http://schemas.microsoft.com/office/drawing/2014/main" id="{EC4650B8-63FE-48D4-A6B8-6DF645AC9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58137" y="6926071"/>
                <a:ext cx="24901" cy="51877"/>
              </a:xfrm>
              <a:custGeom>
                <a:avLst/>
                <a:gdLst>
                  <a:gd name="T0" fmla="*/ 2 w 10"/>
                  <a:gd name="T1" fmla="*/ 21 h 21"/>
                  <a:gd name="T2" fmla="*/ 1 w 10"/>
                  <a:gd name="T3" fmla="*/ 21 h 21"/>
                  <a:gd name="T4" fmla="*/ 0 w 10"/>
                  <a:gd name="T5" fmla="*/ 19 h 21"/>
                  <a:gd name="T6" fmla="*/ 0 w 10"/>
                  <a:gd name="T7" fmla="*/ 2 h 21"/>
                  <a:gd name="T8" fmla="*/ 1 w 10"/>
                  <a:gd name="T9" fmla="*/ 1 h 21"/>
                  <a:gd name="T10" fmla="*/ 3 w 10"/>
                  <a:gd name="T11" fmla="*/ 1 h 21"/>
                  <a:gd name="T12" fmla="*/ 9 w 10"/>
                  <a:gd name="T13" fmla="*/ 4 h 21"/>
                  <a:gd name="T14" fmla="*/ 10 w 10"/>
                  <a:gd name="T15" fmla="*/ 6 h 21"/>
                  <a:gd name="T16" fmla="*/ 10 w 10"/>
                  <a:gd name="T17" fmla="*/ 15 h 21"/>
                  <a:gd name="T18" fmla="*/ 9 w 10"/>
                  <a:gd name="T19" fmla="*/ 17 h 21"/>
                  <a:gd name="T20" fmla="*/ 3 w 10"/>
                  <a:gd name="T21" fmla="*/ 21 h 21"/>
                  <a:gd name="T22" fmla="*/ 2 w 10"/>
                  <a:gd name="T23" fmla="*/ 21 h 21"/>
                  <a:gd name="T24" fmla="*/ 4 w 10"/>
                  <a:gd name="T25" fmla="*/ 6 h 21"/>
                  <a:gd name="T26" fmla="*/ 4 w 10"/>
                  <a:gd name="T27" fmla="*/ 15 h 21"/>
                  <a:gd name="T28" fmla="*/ 6 w 10"/>
                  <a:gd name="T29" fmla="*/ 14 h 21"/>
                  <a:gd name="T30" fmla="*/ 6 w 10"/>
                  <a:gd name="T31" fmla="*/ 7 h 21"/>
                  <a:gd name="T32" fmla="*/ 4 w 10"/>
                  <a:gd name="T33" fmla="*/ 6 h 21"/>
                  <a:gd name="T34" fmla="*/ 8 w 10"/>
                  <a:gd name="T35" fmla="*/ 15 h 21"/>
                  <a:gd name="T36" fmla="*/ 8 w 10"/>
                  <a:gd name="T37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21">
                    <a:moveTo>
                      <a:pt x="2" y="21"/>
                    </a:moveTo>
                    <a:cubicBezTo>
                      <a:pt x="2" y="21"/>
                      <a:pt x="1" y="21"/>
                      <a:pt x="1" y="21"/>
                    </a:cubicBezTo>
                    <a:cubicBezTo>
                      <a:pt x="1" y="20"/>
                      <a:pt x="0" y="20"/>
                      <a:pt x="0" y="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0" y="17"/>
                      <a:pt x="9" y="17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1"/>
                      <a:pt x="2" y="21"/>
                    </a:cubicBezTo>
                    <a:close/>
                    <a:moveTo>
                      <a:pt x="4" y="6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  <a:moveTo>
                      <a:pt x="8" y="15"/>
                    </a:moveTo>
                    <a:cubicBezTo>
                      <a:pt x="8" y="15"/>
                      <a:pt x="8" y="15"/>
                      <a:pt x="8" y="1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4" name="Freeform 1060">
                <a:extLst>
                  <a:ext uri="{FF2B5EF4-FFF2-40B4-BE49-F238E27FC236}">
                    <a16:creationId xmlns:a16="http://schemas.microsoft.com/office/drawing/2014/main" id="{662715ED-7B3F-4F0D-84DB-EFAE46EE68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61139" y="6933334"/>
                <a:ext cx="282211" cy="478306"/>
              </a:xfrm>
              <a:custGeom>
                <a:avLst/>
                <a:gdLst>
                  <a:gd name="T0" fmla="*/ 113 w 115"/>
                  <a:gd name="T1" fmla="*/ 195 h 195"/>
                  <a:gd name="T2" fmla="*/ 112 w 115"/>
                  <a:gd name="T3" fmla="*/ 194 h 195"/>
                  <a:gd name="T4" fmla="*/ 1 w 115"/>
                  <a:gd name="T5" fmla="*/ 130 h 195"/>
                  <a:gd name="T6" fmla="*/ 0 w 115"/>
                  <a:gd name="T7" fmla="*/ 128 h 195"/>
                  <a:gd name="T8" fmla="*/ 1 w 115"/>
                  <a:gd name="T9" fmla="*/ 126 h 195"/>
                  <a:gd name="T10" fmla="*/ 32 w 115"/>
                  <a:gd name="T11" fmla="*/ 108 h 195"/>
                  <a:gd name="T12" fmla="*/ 32 w 115"/>
                  <a:gd name="T13" fmla="*/ 2 h 195"/>
                  <a:gd name="T14" fmla="*/ 33 w 115"/>
                  <a:gd name="T15" fmla="*/ 0 h 195"/>
                  <a:gd name="T16" fmla="*/ 35 w 115"/>
                  <a:gd name="T17" fmla="*/ 0 h 195"/>
                  <a:gd name="T18" fmla="*/ 111 w 115"/>
                  <a:gd name="T19" fmla="*/ 44 h 195"/>
                  <a:gd name="T20" fmla="*/ 112 w 115"/>
                  <a:gd name="T21" fmla="*/ 45 h 195"/>
                  <a:gd name="T22" fmla="*/ 114 w 115"/>
                  <a:gd name="T23" fmla="*/ 47 h 195"/>
                  <a:gd name="T24" fmla="*/ 115 w 115"/>
                  <a:gd name="T25" fmla="*/ 48 h 195"/>
                  <a:gd name="T26" fmla="*/ 115 w 115"/>
                  <a:gd name="T27" fmla="*/ 193 h 195"/>
                  <a:gd name="T28" fmla="*/ 114 w 115"/>
                  <a:gd name="T29" fmla="*/ 194 h 195"/>
                  <a:gd name="T30" fmla="*/ 113 w 115"/>
                  <a:gd name="T31" fmla="*/ 195 h 195"/>
                  <a:gd name="T32" fmla="*/ 6 w 115"/>
                  <a:gd name="T33" fmla="*/ 128 h 195"/>
                  <a:gd name="T34" fmla="*/ 111 w 115"/>
                  <a:gd name="T35" fmla="*/ 189 h 195"/>
                  <a:gd name="T36" fmla="*/ 111 w 115"/>
                  <a:gd name="T37" fmla="*/ 50 h 195"/>
                  <a:gd name="T38" fmla="*/ 108 w 115"/>
                  <a:gd name="T39" fmla="*/ 48 h 195"/>
                  <a:gd name="T40" fmla="*/ 107 w 115"/>
                  <a:gd name="T41" fmla="*/ 47 h 195"/>
                  <a:gd name="T42" fmla="*/ 36 w 115"/>
                  <a:gd name="T43" fmla="*/ 5 h 195"/>
                  <a:gd name="T44" fmla="*/ 36 w 115"/>
                  <a:gd name="T45" fmla="*/ 109 h 195"/>
                  <a:gd name="T46" fmla="*/ 35 w 115"/>
                  <a:gd name="T47" fmla="*/ 111 h 195"/>
                  <a:gd name="T48" fmla="*/ 6 w 115"/>
                  <a:gd name="T49" fmla="*/ 12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5" h="195">
                    <a:moveTo>
                      <a:pt x="113" y="195"/>
                    </a:moveTo>
                    <a:cubicBezTo>
                      <a:pt x="113" y="195"/>
                      <a:pt x="113" y="195"/>
                      <a:pt x="112" y="194"/>
                    </a:cubicBezTo>
                    <a:cubicBezTo>
                      <a:pt x="1" y="130"/>
                      <a:pt x="1" y="130"/>
                      <a:pt x="1" y="130"/>
                    </a:cubicBezTo>
                    <a:cubicBezTo>
                      <a:pt x="0" y="129"/>
                      <a:pt x="0" y="129"/>
                      <a:pt x="0" y="128"/>
                    </a:cubicBezTo>
                    <a:cubicBezTo>
                      <a:pt x="0" y="127"/>
                      <a:pt x="0" y="127"/>
                      <a:pt x="1" y="126"/>
                    </a:cubicBezTo>
                    <a:cubicBezTo>
                      <a:pt x="32" y="108"/>
                      <a:pt x="32" y="108"/>
                      <a:pt x="32" y="108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1"/>
                      <a:pt x="32" y="0"/>
                      <a:pt x="33" y="0"/>
                    </a:cubicBezTo>
                    <a:cubicBezTo>
                      <a:pt x="33" y="0"/>
                      <a:pt x="34" y="0"/>
                      <a:pt x="35" y="0"/>
                    </a:cubicBezTo>
                    <a:cubicBezTo>
                      <a:pt x="111" y="44"/>
                      <a:pt x="111" y="44"/>
                      <a:pt x="111" y="44"/>
                    </a:cubicBezTo>
                    <a:cubicBezTo>
                      <a:pt x="111" y="44"/>
                      <a:pt x="112" y="45"/>
                      <a:pt x="112" y="45"/>
                    </a:cubicBezTo>
                    <a:cubicBezTo>
                      <a:pt x="114" y="47"/>
                      <a:pt x="114" y="47"/>
                      <a:pt x="114" y="47"/>
                    </a:cubicBezTo>
                    <a:cubicBezTo>
                      <a:pt x="115" y="47"/>
                      <a:pt x="115" y="48"/>
                      <a:pt x="115" y="48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5" y="194"/>
                      <a:pt x="114" y="194"/>
                    </a:cubicBezTo>
                    <a:cubicBezTo>
                      <a:pt x="114" y="195"/>
                      <a:pt x="114" y="195"/>
                      <a:pt x="113" y="195"/>
                    </a:cubicBezTo>
                    <a:close/>
                    <a:moveTo>
                      <a:pt x="6" y="128"/>
                    </a:move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50"/>
                      <a:pt x="111" y="50"/>
                      <a:pt x="111" y="50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8" y="48"/>
                      <a:pt x="107" y="47"/>
                      <a:pt x="107" y="47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6" y="110"/>
                      <a:pt x="35" y="111"/>
                      <a:pt x="35" y="111"/>
                    </a:cubicBezTo>
                    <a:lnTo>
                      <a:pt x="6" y="12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5" name="Freeform 1061">
                <a:extLst>
                  <a:ext uri="{FF2B5EF4-FFF2-40B4-BE49-F238E27FC236}">
                    <a16:creationId xmlns:a16="http://schemas.microsoft.com/office/drawing/2014/main" id="{12A103BF-063A-495A-9734-7C77D58D27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696281" y="6762140"/>
                <a:ext cx="167044" cy="281173"/>
              </a:xfrm>
              <a:custGeom>
                <a:avLst/>
                <a:gdLst>
                  <a:gd name="T0" fmla="*/ 2 w 68"/>
                  <a:gd name="T1" fmla="*/ 115 h 115"/>
                  <a:gd name="T2" fmla="*/ 1 w 68"/>
                  <a:gd name="T3" fmla="*/ 115 h 115"/>
                  <a:gd name="T4" fmla="*/ 0 w 68"/>
                  <a:gd name="T5" fmla="*/ 113 h 115"/>
                  <a:gd name="T6" fmla="*/ 0 w 68"/>
                  <a:gd name="T7" fmla="*/ 98 h 115"/>
                  <a:gd name="T8" fmla="*/ 1 w 68"/>
                  <a:gd name="T9" fmla="*/ 96 h 115"/>
                  <a:gd name="T10" fmla="*/ 48 w 68"/>
                  <a:gd name="T11" fmla="*/ 69 h 115"/>
                  <a:gd name="T12" fmla="*/ 1 w 68"/>
                  <a:gd name="T13" fmla="*/ 42 h 115"/>
                  <a:gd name="T14" fmla="*/ 0 w 68"/>
                  <a:gd name="T15" fmla="*/ 40 h 115"/>
                  <a:gd name="T16" fmla="*/ 0 w 68"/>
                  <a:gd name="T17" fmla="*/ 39 h 115"/>
                  <a:gd name="T18" fmla="*/ 1 w 68"/>
                  <a:gd name="T19" fmla="*/ 38 h 115"/>
                  <a:gd name="T20" fmla="*/ 13 w 68"/>
                  <a:gd name="T21" fmla="*/ 30 h 115"/>
                  <a:gd name="T22" fmla="*/ 14 w 68"/>
                  <a:gd name="T23" fmla="*/ 30 h 115"/>
                  <a:gd name="T24" fmla="*/ 15 w 68"/>
                  <a:gd name="T25" fmla="*/ 30 h 115"/>
                  <a:gd name="T26" fmla="*/ 65 w 68"/>
                  <a:gd name="T27" fmla="*/ 1 h 115"/>
                  <a:gd name="T28" fmla="*/ 67 w 68"/>
                  <a:gd name="T29" fmla="*/ 1 h 115"/>
                  <a:gd name="T30" fmla="*/ 68 w 68"/>
                  <a:gd name="T31" fmla="*/ 2 h 115"/>
                  <a:gd name="T32" fmla="*/ 68 w 68"/>
                  <a:gd name="T33" fmla="*/ 76 h 115"/>
                  <a:gd name="T34" fmla="*/ 67 w 68"/>
                  <a:gd name="T35" fmla="*/ 78 h 115"/>
                  <a:gd name="T36" fmla="*/ 3 w 68"/>
                  <a:gd name="T37" fmla="*/ 115 h 115"/>
                  <a:gd name="T38" fmla="*/ 2 w 68"/>
                  <a:gd name="T39" fmla="*/ 115 h 115"/>
                  <a:gd name="T40" fmla="*/ 4 w 68"/>
                  <a:gd name="T41" fmla="*/ 99 h 115"/>
                  <a:gd name="T42" fmla="*/ 4 w 68"/>
                  <a:gd name="T43" fmla="*/ 110 h 115"/>
                  <a:gd name="T44" fmla="*/ 64 w 68"/>
                  <a:gd name="T45" fmla="*/ 75 h 115"/>
                  <a:gd name="T46" fmla="*/ 64 w 68"/>
                  <a:gd name="T47" fmla="*/ 6 h 115"/>
                  <a:gd name="T48" fmla="*/ 18 w 68"/>
                  <a:gd name="T49" fmla="*/ 33 h 115"/>
                  <a:gd name="T50" fmla="*/ 17 w 68"/>
                  <a:gd name="T51" fmla="*/ 34 h 115"/>
                  <a:gd name="T52" fmla="*/ 15 w 68"/>
                  <a:gd name="T53" fmla="*/ 34 h 115"/>
                  <a:gd name="T54" fmla="*/ 15 w 68"/>
                  <a:gd name="T55" fmla="*/ 34 h 115"/>
                  <a:gd name="T56" fmla="*/ 5 w 68"/>
                  <a:gd name="T57" fmla="*/ 40 h 115"/>
                  <a:gd name="T58" fmla="*/ 53 w 68"/>
                  <a:gd name="T59" fmla="*/ 68 h 115"/>
                  <a:gd name="T60" fmla="*/ 54 w 68"/>
                  <a:gd name="T61" fmla="*/ 69 h 115"/>
                  <a:gd name="T62" fmla="*/ 53 w 68"/>
                  <a:gd name="T63" fmla="*/ 71 h 115"/>
                  <a:gd name="T64" fmla="*/ 4 w 68"/>
                  <a:gd name="T65" fmla="*/ 9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8" h="115">
                    <a:moveTo>
                      <a:pt x="2" y="115"/>
                    </a:moveTo>
                    <a:cubicBezTo>
                      <a:pt x="1" y="115"/>
                      <a:pt x="1" y="115"/>
                      <a:pt x="1" y="115"/>
                    </a:cubicBezTo>
                    <a:cubicBezTo>
                      <a:pt x="0" y="115"/>
                      <a:pt x="0" y="114"/>
                      <a:pt x="0" y="113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97"/>
                      <a:pt x="0" y="97"/>
                      <a:pt x="1" y="96"/>
                    </a:cubicBezTo>
                    <a:cubicBezTo>
                      <a:pt x="48" y="69"/>
                      <a:pt x="48" y="69"/>
                      <a:pt x="48" y="69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1"/>
                      <a:pt x="0" y="4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8"/>
                      <a:pt x="1" y="3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30"/>
                      <a:pt x="15" y="30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6" y="0"/>
                      <a:pt x="67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68" y="77"/>
                      <a:pt x="68" y="78"/>
                      <a:pt x="67" y="78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2" y="115"/>
                      <a:pt x="2" y="115"/>
                      <a:pt x="2" y="115"/>
                    </a:cubicBezTo>
                    <a:close/>
                    <a:moveTo>
                      <a:pt x="4" y="99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64" y="75"/>
                      <a:pt x="64" y="75"/>
                      <a:pt x="64" y="75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8" y="33"/>
                      <a:pt x="17" y="34"/>
                      <a:pt x="17" y="34"/>
                    </a:cubicBezTo>
                    <a:cubicBezTo>
                      <a:pt x="16" y="35"/>
                      <a:pt x="15" y="35"/>
                      <a:pt x="15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3" y="68"/>
                      <a:pt x="54" y="69"/>
                      <a:pt x="54" y="69"/>
                    </a:cubicBezTo>
                    <a:cubicBezTo>
                      <a:pt x="54" y="70"/>
                      <a:pt x="53" y="71"/>
                      <a:pt x="53" y="71"/>
                    </a:cubicBezTo>
                    <a:lnTo>
                      <a:pt x="4" y="9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6" name="Freeform 1062">
                <a:extLst>
                  <a:ext uri="{FF2B5EF4-FFF2-40B4-BE49-F238E27FC236}">
                    <a16:creationId xmlns:a16="http://schemas.microsoft.com/office/drawing/2014/main" id="{091BEFD6-EEBA-4D63-AC88-821057EE83A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825973" y="6830617"/>
                <a:ext cx="49802" cy="31126"/>
              </a:xfrm>
              <a:custGeom>
                <a:avLst/>
                <a:gdLst>
                  <a:gd name="T0" fmla="*/ 5 w 20"/>
                  <a:gd name="T1" fmla="*/ 13 h 13"/>
                  <a:gd name="T2" fmla="*/ 4 w 20"/>
                  <a:gd name="T3" fmla="*/ 13 h 13"/>
                  <a:gd name="T4" fmla="*/ 1 w 20"/>
                  <a:gd name="T5" fmla="*/ 11 h 13"/>
                  <a:gd name="T6" fmla="*/ 0 w 20"/>
                  <a:gd name="T7" fmla="*/ 10 h 13"/>
                  <a:gd name="T8" fmla="*/ 1 w 20"/>
                  <a:gd name="T9" fmla="*/ 8 h 13"/>
                  <a:gd name="T10" fmla="*/ 15 w 20"/>
                  <a:gd name="T11" fmla="*/ 0 h 13"/>
                  <a:gd name="T12" fmla="*/ 17 w 20"/>
                  <a:gd name="T13" fmla="*/ 0 h 13"/>
                  <a:gd name="T14" fmla="*/ 19 w 20"/>
                  <a:gd name="T15" fmla="*/ 1 h 13"/>
                  <a:gd name="T16" fmla="*/ 20 w 20"/>
                  <a:gd name="T17" fmla="*/ 3 h 13"/>
                  <a:gd name="T18" fmla="*/ 19 w 20"/>
                  <a:gd name="T19" fmla="*/ 5 h 13"/>
                  <a:gd name="T20" fmla="*/ 7 w 20"/>
                  <a:gd name="T21" fmla="*/ 12 h 13"/>
                  <a:gd name="T22" fmla="*/ 6 w 20"/>
                  <a:gd name="T23" fmla="*/ 13 h 13"/>
                  <a:gd name="T24" fmla="*/ 5 w 20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3">
                    <a:moveTo>
                      <a:pt x="5" y="13"/>
                    </a:moveTo>
                    <a:cubicBezTo>
                      <a:pt x="5" y="13"/>
                      <a:pt x="4" y="13"/>
                      <a:pt x="4" y="13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0"/>
                      <a:pt x="0" y="10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2"/>
                      <a:pt x="20" y="2"/>
                      <a:pt x="20" y="3"/>
                    </a:cubicBezTo>
                    <a:cubicBezTo>
                      <a:pt x="20" y="4"/>
                      <a:pt x="19" y="4"/>
                      <a:pt x="19" y="5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3"/>
                      <a:pt x="6" y="13"/>
                    </a:cubicBezTo>
                    <a:cubicBezTo>
                      <a:pt x="6" y="13"/>
                      <a:pt x="6" y="13"/>
                      <a:pt x="5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7" name="Freeform 1063">
                <a:extLst>
                  <a:ext uri="{FF2B5EF4-FFF2-40B4-BE49-F238E27FC236}">
                    <a16:creationId xmlns:a16="http://schemas.microsoft.com/office/drawing/2014/main" id="{FAFE5E56-37CF-468B-837C-6BDA1B1904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823898" y="6327411"/>
                <a:ext cx="328901" cy="481418"/>
              </a:xfrm>
              <a:custGeom>
                <a:avLst/>
                <a:gdLst>
                  <a:gd name="T0" fmla="*/ 111 w 134"/>
                  <a:gd name="T1" fmla="*/ 196 h 196"/>
                  <a:gd name="T2" fmla="*/ 110 w 134"/>
                  <a:gd name="T3" fmla="*/ 196 h 196"/>
                  <a:gd name="T4" fmla="*/ 1 w 134"/>
                  <a:gd name="T5" fmla="*/ 133 h 196"/>
                  <a:gd name="T6" fmla="*/ 0 w 134"/>
                  <a:gd name="T7" fmla="*/ 132 h 196"/>
                  <a:gd name="T8" fmla="*/ 0 w 134"/>
                  <a:gd name="T9" fmla="*/ 2 h 196"/>
                  <a:gd name="T10" fmla="*/ 1 w 134"/>
                  <a:gd name="T11" fmla="*/ 1 h 196"/>
                  <a:gd name="T12" fmla="*/ 3 w 134"/>
                  <a:gd name="T13" fmla="*/ 1 h 196"/>
                  <a:gd name="T14" fmla="*/ 39 w 134"/>
                  <a:gd name="T15" fmla="*/ 22 h 196"/>
                  <a:gd name="T16" fmla="*/ 57 w 134"/>
                  <a:gd name="T17" fmla="*/ 12 h 196"/>
                  <a:gd name="T18" fmla="*/ 59 w 134"/>
                  <a:gd name="T19" fmla="*/ 12 h 196"/>
                  <a:gd name="T20" fmla="*/ 133 w 134"/>
                  <a:gd name="T21" fmla="*/ 55 h 196"/>
                  <a:gd name="T22" fmla="*/ 134 w 134"/>
                  <a:gd name="T23" fmla="*/ 56 h 196"/>
                  <a:gd name="T24" fmla="*/ 134 w 134"/>
                  <a:gd name="T25" fmla="*/ 63 h 196"/>
                  <a:gd name="T26" fmla="*/ 133 w 134"/>
                  <a:gd name="T27" fmla="*/ 65 h 196"/>
                  <a:gd name="T28" fmla="*/ 113 w 134"/>
                  <a:gd name="T29" fmla="*/ 77 h 196"/>
                  <a:gd name="T30" fmla="*/ 113 w 134"/>
                  <a:gd name="T31" fmla="*/ 194 h 196"/>
                  <a:gd name="T32" fmla="*/ 112 w 134"/>
                  <a:gd name="T33" fmla="*/ 196 h 196"/>
                  <a:gd name="T34" fmla="*/ 111 w 134"/>
                  <a:gd name="T35" fmla="*/ 196 h 196"/>
                  <a:gd name="T36" fmla="*/ 4 w 134"/>
                  <a:gd name="T37" fmla="*/ 130 h 196"/>
                  <a:gd name="T38" fmla="*/ 109 w 134"/>
                  <a:gd name="T39" fmla="*/ 191 h 196"/>
                  <a:gd name="T40" fmla="*/ 109 w 134"/>
                  <a:gd name="T41" fmla="*/ 75 h 196"/>
                  <a:gd name="T42" fmla="*/ 110 w 134"/>
                  <a:gd name="T43" fmla="*/ 74 h 196"/>
                  <a:gd name="T44" fmla="*/ 130 w 134"/>
                  <a:gd name="T45" fmla="*/ 62 h 196"/>
                  <a:gd name="T46" fmla="*/ 130 w 134"/>
                  <a:gd name="T47" fmla="*/ 58 h 196"/>
                  <a:gd name="T48" fmla="*/ 58 w 134"/>
                  <a:gd name="T49" fmla="*/ 16 h 196"/>
                  <a:gd name="T50" fmla="*/ 40 w 134"/>
                  <a:gd name="T51" fmla="*/ 26 h 196"/>
                  <a:gd name="T52" fmla="*/ 38 w 134"/>
                  <a:gd name="T53" fmla="*/ 26 h 196"/>
                  <a:gd name="T54" fmla="*/ 4 w 134"/>
                  <a:gd name="T55" fmla="*/ 6 h 196"/>
                  <a:gd name="T56" fmla="*/ 4 w 134"/>
                  <a:gd name="T57" fmla="*/ 130 h 196"/>
                  <a:gd name="T58" fmla="*/ 132 w 134"/>
                  <a:gd name="T59" fmla="*/ 63 h 196"/>
                  <a:gd name="T60" fmla="*/ 132 w 134"/>
                  <a:gd name="T61" fmla="*/ 63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4" h="196">
                    <a:moveTo>
                      <a:pt x="111" y="196"/>
                    </a:moveTo>
                    <a:cubicBezTo>
                      <a:pt x="110" y="196"/>
                      <a:pt x="110" y="196"/>
                      <a:pt x="110" y="196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57" y="12"/>
                      <a:pt x="57" y="12"/>
                      <a:pt x="57" y="12"/>
                    </a:cubicBezTo>
                    <a:cubicBezTo>
                      <a:pt x="57" y="11"/>
                      <a:pt x="58" y="11"/>
                      <a:pt x="59" y="12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4" y="56"/>
                      <a:pt x="134" y="56"/>
                    </a:cubicBezTo>
                    <a:cubicBezTo>
                      <a:pt x="134" y="63"/>
                      <a:pt x="134" y="63"/>
                      <a:pt x="134" y="63"/>
                    </a:cubicBezTo>
                    <a:cubicBezTo>
                      <a:pt x="134" y="64"/>
                      <a:pt x="133" y="64"/>
                      <a:pt x="133" y="65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3" y="194"/>
                      <a:pt x="113" y="194"/>
                      <a:pt x="113" y="194"/>
                    </a:cubicBezTo>
                    <a:cubicBezTo>
                      <a:pt x="113" y="195"/>
                      <a:pt x="112" y="196"/>
                      <a:pt x="112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lose/>
                    <a:moveTo>
                      <a:pt x="4" y="130"/>
                    </a:moveTo>
                    <a:cubicBezTo>
                      <a:pt x="109" y="191"/>
                      <a:pt x="109" y="191"/>
                      <a:pt x="109" y="191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09" y="75"/>
                      <a:pt x="109" y="74"/>
                      <a:pt x="110" y="74"/>
                    </a:cubicBezTo>
                    <a:cubicBezTo>
                      <a:pt x="130" y="62"/>
                      <a:pt x="130" y="62"/>
                      <a:pt x="130" y="62"/>
                    </a:cubicBezTo>
                    <a:cubicBezTo>
                      <a:pt x="130" y="58"/>
                      <a:pt x="130" y="58"/>
                      <a:pt x="130" y="58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39" y="26"/>
                      <a:pt x="38" y="2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0"/>
                    </a:lnTo>
                    <a:close/>
                    <a:moveTo>
                      <a:pt x="132" y="63"/>
                    </a:moveTo>
                    <a:cubicBezTo>
                      <a:pt x="132" y="63"/>
                      <a:pt x="132" y="63"/>
                      <a:pt x="132" y="6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8" name="Freeform 1065">
                <a:extLst>
                  <a:ext uri="{FF2B5EF4-FFF2-40B4-BE49-F238E27FC236}">
                    <a16:creationId xmlns:a16="http://schemas.microsoft.com/office/drawing/2014/main" id="{B0DBC8D7-2328-4ECD-A6B0-7D2AD305B9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56949" y="5231769"/>
                <a:ext cx="802020" cy="1052065"/>
              </a:xfrm>
              <a:custGeom>
                <a:avLst/>
                <a:gdLst>
                  <a:gd name="T0" fmla="*/ 66 w 327"/>
                  <a:gd name="T1" fmla="*/ 429 h 429"/>
                  <a:gd name="T2" fmla="*/ 65 w 327"/>
                  <a:gd name="T3" fmla="*/ 275 h 429"/>
                  <a:gd name="T4" fmla="*/ 0 w 327"/>
                  <a:gd name="T5" fmla="*/ 236 h 429"/>
                  <a:gd name="T6" fmla="*/ 94 w 327"/>
                  <a:gd name="T7" fmla="*/ 181 h 429"/>
                  <a:gd name="T8" fmla="*/ 111 w 327"/>
                  <a:gd name="T9" fmla="*/ 189 h 429"/>
                  <a:gd name="T10" fmla="*/ 76 w 327"/>
                  <a:gd name="T11" fmla="*/ 99 h 429"/>
                  <a:gd name="T12" fmla="*/ 75 w 327"/>
                  <a:gd name="T13" fmla="*/ 44 h 429"/>
                  <a:gd name="T14" fmla="*/ 110 w 327"/>
                  <a:gd name="T15" fmla="*/ 23 h 429"/>
                  <a:gd name="T16" fmla="*/ 118 w 327"/>
                  <a:gd name="T17" fmla="*/ 17 h 429"/>
                  <a:gd name="T18" fmla="*/ 119 w 327"/>
                  <a:gd name="T19" fmla="*/ 7 h 429"/>
                  <a:gd name="T20" fmla="*/ 132 w 327"/>
                  <a:gd name="T21" fmla="*/ 1 h 429"/>
                  <a:gd name="T22" fmla="*/ 133 w 327"/>
                  <a:gd name="T23" fmla="*/ 7 h 429"/>
                  <a:gd name="T24" fmla="*/ 186 w 327"/>
                  <a:gd name="T25" fmla="*/ 39 h 429"/>
                  <a:gd name="T26" fmla="*/ 185 w 327"/>
                  <a:gd name="T27" fmla="*/ 57 h 429"/>
                  <a:gd name="T28" fmla="*/ 121 w 327"/>
                  <a:gd name="T29" fmla="*/ 168 h 429"/>
                  <a:gd name="T30" fmla="*/ 130 w 327"/>
                  <a:gd name="T31" fmla="*/ 163 h 429"/>
                  <a:gd name="T32" fmla="*/ 327 w 327"/>
                  <a:gd name="T33" fmla="*/ 278 h 429"/>
                  <a:gd name="T34" fmla="*/ 318 w 327"/>
                  <a:gd name="T35" fmla="*/ 284 h 429"/>
                  <a:gd name="T36" fmla="*/ 317 w 327"/>
                  <a:gd name="T37" fmla="*/ 352 h 429"/>
                  <a:gd name="T38" fmla="*/ 302 w 327"/>
                  <a:gd name="T39" fmla="*/ 360 h 429"/>
                  <a:gd name="T40" fmla="*/ 301 w 327"/>
                  <a:gd name="T41" fmla="*/ 302 h 429"/>
                  <a:gd name="T42" fmla="*/ 177 w 327"/>
                  <a:gd name="T43" fmla="*/ 255 h 429"/>
                  <a:gd name="T44" fmla="*/ 78 w 327"/>
                  <a:gd name="T45" fmla="*/ 314 h 429"/>
                  <a:gd name="T46" fmla="*/ 77 w 327"/>
                  <a:gd name="T47" fmla="*/ 387 h 429"/>
                  <a:gd name="T48" fmla="*/ 77 w 327"/>
                  <a:gd name="T49" fmla="*/ 391 h 429"/>
                  <a:gd name="T50" fmla="*/ 78 w 327"/>
                  <a:gd name="T51" fmla="*/ 422 h 429"/>
                  <a:gd name="T52" fmla="*/ 68 w 327"/>
                  <a:gd name="T53" fmla="*/ 429 h 429"/>
                  <a:gd name="T54" fmla="*/ 69 w 327"/>
                  <a:gd name="T55" fmla="*/ 391 h 429"/>
                  <a:gd name="T56" fmla="*/ 74 w 327"/>
                  <a:gd name="T57" fmla="*/ 420 h 429"/>
                  <a:gd name="T58" fmla="*/ 69 w 327"/>
                  <a:gd name="T59" fmla="*/ 391 h 429"/>
                  <a:gd name="T60" fmla="*/ 68 w 327"/>
                  <a:gd name="T61" fmla="*/ 272 h 429"/>
                  <a:gd name="T62" fmla="*/ 69 w 327"/>
                  <a:gd name="T63" fmla="*/ 387 h 429"/>
                  <a:gd name="T64" fmla="*/ 74 w 327"/>
                  <a:gd name="T65" fmla="*/ 312 h 429"/>
                  <a:gd name="T66" fmla="*/ 173 w 327"/>
                  <a:gd name="T67" fmla="*/ 254 h 429"/>
                  <a:gd name="T68" fmla="*/ 174 w 327"/>
                  <a:gd name="T69" fmla="*/ 225 h 429"/>
                  <a:gd name="T70" fmla="*/ 304 w 327"/>
                  <a:gd name="T71" fmla="*/ 299 h 429"/>
                  <a:gd name="T72" fmla="*/ 305 w 327"/>
                  <a:gd name="T73" fmla="*/ 354 h 429"/>
                  <a:gd name="T74" fmla="*/ 314 w 327"/>
                  <a:gd name="T75" fmla="*/ 283 h 429"/>
                  <a:gd name="T76" fmla="*/ 321 w 327"/>
                  <a:gd name="T77" fmla="*/ 278 h 429"/>
                  <a:gd name="T78" fmla="*/ 120 w 327"/>
                  <a:gd name="T79" fmla="*/ 173 h 429"/>
                  <a:gd name="T80" fmla="*/ 117 w 327"/>
                  <a:gd name="T81" fmla="*/ 171 h 429"/>
                  <a:gd name="T82" fmla="*/ 118 w 327"/>
                  <a:gd name="T83" fmla="*/ 92 h 429"/>
                  <a:gd name="T84" fmla="*/ 182 w 327"/>
                  <a:gd name="T85" fmla="*/ 40 h 429"/>
                  <a:gd name="T86" fmla="*/ 129 w 327"/>
                  <a:gd name="T87" fmla="*/ 8 h 429"/>
                  <a:gd name="T88" fmla="*/ 122 w 327"/>
                  <a:gd name="T89" fmla="*/ 10 h 429"/>
                  <a:gd name="T90" fmla="*/ 121 w 327"/>
                  <a:gd name="T91" fmla="*/ 20 h 429"/>
                  <a:gd name="T92" fmla="*/ 113 w 327"/>
                  <a:gd name="T93" fmla="*/ 25 h 429"/>
                  <a:gd name="T94" fmla="*/ 79 w 327"/>
                  <a:gd name="T95" fmla="*/ 96 h 429"/>
                  <a:gd name="T96" fmla="*/ 115 w 327"/>
                  <a:gd name="T97" fmla="*/ 117 h 429"/>
                  <a:gd name="T98" fmla="*/ 114 w 327"/>
                  <a:gd name="T99" fmla="*/ 194 h 429"/>
                  <a:gd name="T100" fmla="*/ 95 w 327"/>
                  <a:gd name="T101" fmla="*/ 185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7" h="429">
                    <a:moveTo>
                      <a:pt x="67" y="429"/>
                    </a:move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8"/>
                      <a:pt x="65" y="428"/>
                      <a:pt x="65" y="427"/>
                    </a:cubicBezTo>
                    <a:cubicBezTo>
                      <a:pt x="65" y="275"/>
                      <a:pt x="65" y="275"/>
                      <a:pt x="65" y="275"/>
                    </a:cubicBezTo>
                    <a:cubicBezTo>
                      <a:pt x="1" y="238"/>
                      <a:pt x="1" y="238"/>
                      <a:pt x="1" y="238"/>
                    </a:cubicBezTo>
                    <a:cubicBezTo>
                      <a:pt x="0" y="238"/>
                      <a:pt x="0" y="237"/>
                      <a:pt x="0" y="236"/>
                    </a:cubicBezTo>
                    <a:cubicBezTo>
                      <a:pt x="0" y="236"/>
                      <a:pt x="0" y="235"/>
                      <a:pt x="1" y="235"/>
                    </a:cubicBezTo>
                    <a:cubicBezTo>
                      <a:pt x="94" y="181"/>
                      <a:pt x="94" y="181"/>
                      <a:pt x="94" y="181"/>
                    </a:cubicBezTo>
                    <a:cubicBezTo>
                      <a:pt x="95" y="180"/>
                      <a:pt x="95" y="180"/>
                      <a:pt x="96" y="181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118"/>
                      <a:pt x="111" y="118"/>
                      <a:pt x="111" y="118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98"/>
                      <a:pt x="75" y="98"/>
                      <a:pt x="75" y="97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5" y="43"/>
                      <a:pt x="76" y="42"/>
                      <a:pt x="76" y="42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0" y="22"/>
                      <a:pt x="110" y="22"/>
                      <a:pt x="111" y="22"/>
                    </a:cubicBezTo>
                    <a:cubicBezTo>
                      <a:pt x="118" y="17"/>
                      <a:pt x="118" y="17"/>
                      <a:pt x="118" y="17"/>
                    </a:cubicBezTo>
                    <a:cubicBezTo>
                      <a:pt x="118" y="9"/>
                      <a:pt x="118" y="9"/>
                      <a:pt x="118" y="9"/>
                    </a:cubicBezTo>
                    <a:cubicBezTo>
                      <a:pt x="118" y="8"/>
                      <a:pt x="119" y="7"/>
                      <a:pt x="119" y="7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1" y="0"/>
                      <a:pt x="132" y="1"/>
                    </a:cubicBezTo>
                    <a:cubicBezTo>
                      <a:pt x="133" y="1"/>
                      <a:pt x="133" y="2"/>
                      <a:pt x="133" y="2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6" y="38"/>
                      <a:pt x="186" y="38"/>
                      <a:pt x="186" y="39"/>
                    </a:cubicBezTo>
                    <a:cubicBezTo>
                      <a:pt x="186" y="55"/>
                      <a:pt x="186" y="55"/>
                      <a:pt x="186" y="55"/>
                    </a:cubicBezTo>
                    <a:cubicBezTo>
                      <a:pt x="186" y="56"/>
                      <a:pt x="186" y="57"/>
                      <a:pt x="185" y="57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68"/>
                      <a:pt x="121" y="168"/>
                      <a:pt x="121" y="168"/>
                    </a:cubicBezTo>
                    <a:cubicBezTo>
                      <a:pt x="128" y="163"/>
                      <a:pt x="128" y="163"/>
                      <a:pt x="128" y="163"/>
                    </a:cubicBezTo>
                    <a:cubicBezTo>
                      <a:pt x="129" y="163"/>
                      <a:pt x="130" y="163"/>
                      <a:pt x="130" y="163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7"/>
                      <a:pt x="327" y="277"/>
                      <a:pt x="327" y="278"/>
                    </a:cubicBezTo>
                    <a:cubicBezTo>
                      <a:pt x="327" y="279"/>
                      <a:pt x="326" y="279"/>
                      <a:pt x="326" y="280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8" y="351"/>
                      <a:pt x="318" y="351"/>
                      <a:pt x="318" y="351"/>
                    </a:cubicBezTo>
                    <a:cubicBezTo>
                      <a:pt x="318" y="351"/>
                      <a:pt x="317" y="352"/>
                      <a:pt x="317" y="352"/>
                    </a:cubicBezTo>
                    <a:cubicBezTo>
                      <a:pt x="304" y="360"/>
                      <a:pt x="304" y="360"/>
                      <a:pt x="304" y="360"/>
                    </a:cubicBezTo>
                    <a:cubicBezTo>
                      <a:pt x="304" y="360"/>
                      <a:pt x="303" y="360"/>
                      <a:pt x="302" y="360"/>
                    </a:cubicBezTo>
                    <a:cubicBezTo>
                      <a:pt x="302" y="359"/>
                      <a:pt x="301" y="359"/>
                      <a:pt x="301" y="358"/>
                    </a:cubicBezTo>
                    <a:cubicBezTo>
                      <a:pt x="301" y="302"/>
                      <a:pt x="301" y="302"/>
                      <a:pt x="301" y="302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177" y="255"/>
                      <a:pt x="177" y="255"/>
                      <a:pt x="177" y="255"/>
                    </a:cubicBezTo>
                    <a:cubicBezTo>
                      <a:pt x="177" y="256"/>
                      <a:pt x="176" y="257"/>
                      <a:pt x="176" y="257"/>
                    </a:cubicBezTo>
                    <a:cubicBezTo>
                      <a:pt x="78" y="314"/>
                      <a:pt x="78" y="314"/>
                      <a:pt x="78" y="314"/>
                    </a:cubicBezTo>
                    <a:cubicBezTo>
                      <a:pt x="78" y="385"/>
                      <a:pt x="78" y="385"/>
                      <a:pt x="78" y="385"/>
                    </a:cubicBezTo>
                    <a:cubicBezTo>
                      <a:pt x="78" y="386"/>
                      <a:pt x="77" y="386"/>
                      <a:pt x="77" y="387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7" y="391"/>
                      <a:pt x="77" y="391"/>
                      <a:pt x="77" y="391"/>
                    </a:cubicBezTo>
                    <a:cubicBezTo>
                      <a:pt x="77" y="392"/>
                      <a:pt x="78" y="392"/>
                      <a:pt x="78" y="393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8" y="422"/>
                      <a:pt x="77" y="423"/>
                      <a:pt x="77" y="423"/>
                    </a:cubicBezTo>
                    <a:cubicBezTo>
                      <a:pt x="68" y="429"/>
                      <a:pt x="68" y="429"/>
                      <a:pt x="68" y="429"/>
                    </a:cubicBezTo>
                    <a:cubicBezTo>
                      <a:pt x="67" y="429"/>
                      <a:pt x="67" y="429"/>
                      <a:pt x="67" y="429"/>
                    </a:cubicBezTo>
                    <a:close/>
                    <a:moveTo>
                      <a:pt x="69" y="391"/>
                    </a:moveTo>
                    <a:cubicBezTo>
                      <a:pt x="69" y="423"/>
                      <a:pt x="69" y="423"/>
                      <a:pt x="69" y="423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4" y="394"/>
                      <a:pt x="74" y="394"/>
                      <a:pt x="74" y="394"/>
                    </a:cubicBezTo>
                    <a:lnTo>
                      <a:pt x="69" y="391"/>
                    </a:lnTo>
                    <a:close/>
                    <a:moveTo>
                      <a:pt x="6" y="236"/>
                    </a:moveTo>
                    <a:cubicBezTo>
                      <a:pt x="68" y="272"/>
                      <a:pt x="68" y="272"/>
                      <a:pt x="68" y="272"/>
                    </a:cubicBezTo>
                    <a:cubicBezTo>
                      <a:pt x="68" y="273"/>
                      <a:pt x="69" y="273"/>
                      <a:pt x="69" y="274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4" y="312"/>
                      <a:pt x="74" y="311"/>
                      <a:pt x="75" y="311"/>
                    </a:cubicBezTo>
                    <a:cubicBezTo>
                      <a:pt x="173" y="254"/>
                      <a:pt x="173" y="254"/>
                      <a:pt x="173" y="254"/>
                    </a:cubicBezTo>
                    <a:cubicBezTo>
                      <a:pt x="173" y="226"/>
                      <a:pt x="173" y="226"/>
                      <a:pt x="173" y="226"/>
                    </a:cubicBezTo>
                    <a:cubicBezTo>
                      <a:pt x="173" y="226"/>
                      <a:pt x="173" y="225"/>
                      <a:pt x="174" y="225"/>
                    </a:cubicBezTo>
                    <a:cubicBezTo>
                      <a:pt x="174" y="224"/>
                      <a:pt x="175" y="224"/>
                      <a:pt x="176" y="225"/>
                    </a:cubicBezTo>
                    <a:cubicBezTo>
                      <a:pt x="304" y="299"/>
                      <a:pt x="304" y="299"/>
                      <a:pt x="304" y="299"/>
                    </a:cubicBezTo>
                    <a:cubicBezTo>
                      <a:pt x="305" y="299"/>
                      <a:pt x="305" y="300"/>
                      <a:pt x="305" y="301"/>
                    </a:cubicBezTo>
                    <a:cubicBezTo>
                      <a:pt x="305" y="354"/>
                      <a:pt x="305" y="354"/>
                      <a:pt x="305" y="354"/>
                    </a:cubicBezTo>
                    <a:cubicBezTo>
                      <a:pt x="314" y="349"/>
                      <a:pt x="314" y="349"/>
                      <a:pt x="314" y="349"/>
                    </a:cubicBezTo>
                    <a:cubicBezTo>
                      <a:pt x="314" y="283"/>
                      <a:pt x="314" y="283"/>
                      <a:pt x="314" y="283"/>
                    </a:cubicBezTo>
                    <a:cubicBezTo>
                      <a:pt x="314" y="282"/>
                      <a:pt x="314" y="282"/>
                      <a:pt x="315" y="281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129" y="167"/>
                      <a:pt x="129" y="167"/>
                      <a:pt x="129" y="167"/>
                    </a:cubicBezTo>
                    <a:cubicBezTo>
                      <a:pt x="120" y="173"/>
                      <a:pt x="120" y="173"/>
                      <a:pt x="120" y="173"/>
                    </a:cubicBezTo>
                    <a:cubicBezTo>
                      <a:pt x="119" y="173"/>
                      <a:pt x="118" y="173"/>
                      <a:pt x="118" y="173"/>
                    </a:cubicBezTo>
                    <a:cubicBezTo>
                      <a:pt x="117" y="173"/>
                      <a:pt x="117" y="172"/>
                      <a:pt x="117" y="171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7" y="93"/>
                      <a:pt x="117" y="92"/>
                      <a:pt x="118" y="92"/>
                    </a:cubicBezTo>
                    <a:cubicBezTo>
                      <a:pt x="182" y="54"/>
                      <a:pt x="182" y="54"/>
                      <a:pt x="182" y="54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9"/>
                      <a:pt x="129" y="8"/>
                    </a:cubicBezTo>
                    <a:cubicBezTo>
                      <a:pt x="129" y="6"/>
                      <a:pt x="129" y="6"/>
                      <a:pt x="129" y="6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2" y="19"/>
                      <a:pt x="122" y="20"/>
                      <a:pt x="121" y="20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4" y="25"/>
                      <a:pt x="114" y="25"/>
                      <a:pt x="113" y="25"/>
                    </a:cubicBezTo>
                    <a:cubicBezTo>
                      <a:pt x="79" y="45"/>
                      <a:pt x="79" y="45"/>
                      <a:pt x="79" y="45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114" y="116"/>
                      <a:pt x="114" y="116"/>
                      <a:pt x="114" y="116"/>
                    </a:cubicBezTo>
                    <a:cubicBezTo>
                      <a:pt x="114" y="116"/>
                      <a:pt x="115" y="117"/>
                      <a:pt x="115" y="117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4" y="194"/>
                      <a:pt x="114" y="194"/>
                    </a:cubicBezTo>
                    <a:cubicBezTo>
                      <a:pt x="113" y="195"/>
                      <a:pt x="112" y="195"/>
                      <a:pt x="112" y="194"/>
                    </a:cubicBezTo>
                    <a:cubicBezTo>
                      <a:pt x="95" y="185"/>
                      <a:pt x="95" y="185"/>
                      <a:pt x="95" y="185"/>
                    </a:cubicBezTo>
                    <a:lnTo>
                      <a:pt x="6" y="23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9" name="Freeform 1070">
                <a:extLst>
                  <a:ext uri="{FF2B5EF4-FFF2-40B4-BE49-F238E27FC236}">
                    <a16:creationId xmlns:a16="http://schemas.microsoft.com/office/drawing/2014/main" id="{9D07BEE9-E0E3-4101-95DC-B292D24A72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318806" y="6705075"/>
                <a:ext cx="1151671" cy="721090"/>
              </a:xfrm>
              <a:custGeom>
                <a:avLst/>
                <a:gdLst>
                  <a:gd name="T0" fmla="*/ 267 w 470"/>
                  <a:gd name="T1" fmla="*/ 294 h 294"/>
                  <a:gd name="T2" fmla="*/ 266 w 470"/>
                  <a:gd name="T3" fmla="*/ 294 h 294"/>
                  <a:gd name="T4" fmla="*/ 257 w 470"/>
                  <a:gd name="T5" fmla="*/ 289 h 294"/>
                  <a:gd name="T6" fmla="*/ 256 w 470"/>
                  <a:gd name="T7" fmla="*/ 288 h 294"/>
                  <a:gd name="T8" fmla="*/ 1 w 470"/>
                  <a:gd name="T9" fmla="*/ 141 h 294"/>
                  <a:gd name="T10" fmla="*/ 0 w 470"/>
                  <a:gd name="T11" fmla="*/ 139 h 294"/>
                  <a:gd name="T12" fmla="*/ 1 w 470"/>
                  <a:gd name="T13" fmla="*/ 137 h 294"/>
                  <a:gd name="T14" fmla="*/ 223 w 470"/>
                  <a:gd name="T15" fmla="*/ 9 h 294"/>
                  <a:gd name="T16" fmla="*/ 225 w 470"/>
                  <a:gd name="T17" fmla="*/ 9 h 294"/>
                  <a:gd name="T18" fmla="*/ 226 w 470"/>
                  <a:gd name="T19" fmla="*/ 10 h 294"/>
                  <a:gd name="T20" fmla="*/ 226 w 470"/>
                  <a:gd name="T21" fmla="*/ 25 h 294"/>
                  <a:gd name="T22" fmla="*/ 269 w 470"/>
                  <a:gd name="T23" fmla="*/ 0 h 294"/>
                  <a:gd name="T24" fmla="*/ 271 w 470"/>
                  <a:gd name="T25" fmla="*/ 0 h 294"/>
                  <a:gd name="T26" fmla="*/ 320 w 470"/>
                  <a:gd name="T27" fmla="*/ 28 h 294"/>
                  <a:gd name="T28" fmla="*/ 320 w 470"/>
                  <a:gd name="T29" fmla="*/ 17 h 294"/>
                  <a:gd name="T30" fmla="*/ 321 w 470"/>
                  <a:gd name="T31" fmla="*/ 16 h 294"/>
                  <a:gd name="T32" fmla="*/ 323 w 470"/>
                  <a:gd name="T33" fmla="*/ 16 h 294"/>
                  <a:gd name="T34" fmla="*/ 329 w 470"/>
                  <a:gd name="T35" fmla="*/ 19 h 294"/>
                  <a:gd name="T36" fmla="*/ 330 w 470"/>
                  <a:gd name="T37" fmla="*/ 21 h 294"/>
                  <a:gd name="T38" fmla="*/ 330 w 470"/>
                  <a:gd name="T39" fmla="*/ 22 h 294"/>
                  <a:gd name="T40" fmla="*/ 331 w 470"/>
                  <a:gd name="T41" fmla="*/ 21 h 294"/>
                  <a:gd name="T42" fmla="*/ 333 w 470"/>
                  <a:gd name="T43" fmla="*/ 21 h 294"/>
                  <a:gd name="T44" fmla="*/ 412 w 470"/>
                  <a:gd name="T45" fmla="*/ 67 h 294"/>
                  <a:gd name="T46" fmla="*/ 413 w 470"/>
                  <a:gd name="T47" fmla="*/ 69 h 294"/>
                  <a:gd name="T48" fmla="*/ 412 w 470"/>
                  <a:gd name="T49" fmla="*/ 70 h 294"/>
                  <a:gd name="T50" fmla="*/ 359 w 470"/>
                  <a:gd name="T51" fmla="*/ 101 h 294"/>
                  <a:gd name="T52" fmla="*/ 469 w 470"/>
                  <a:gd name="T53" fmla="*/ 164 h 294"/>
                  <a:gd name="T54" fmla="*/ 470 w 470"/>
                  <a:gd name="T55" fmla="*/ 166 h 294"/>
                  <a:gd name="T56" fmla="*/ 469 w 470"/>
                  <a:gd name="T57" fmla="*/ 167 h 294"/>
                  <a:gd name="T58" fmla="*/ 287 w 470"/>
                  <a:gd name="T59" fmla="*/ 273 h 294"/>
                  <a:gd name="T60" fmla="*/ 287 w 470"/>
                  <a:gd name="T61" fmla="*/ 282 h 294"/>
                  <a:gd name="T62" fmla="*/ 286 w 470"/>
                  <a:gd name="T63" fmla="*/ 284 h 294"/>
                  <a:gd name="T64" fmla="*/ 268 w 470"/>
                  <a:gd name="T65" fmla="*/ 294 h 294"/>
                  <a:gd name="T66" fmla="*/ 267 w 470"/>
                  <a:gd name="T67" fmla="*/ 294 h 294"/>
                  <a:gd name="T68" fmla="*/ 260 w 470"/>
                  <a:gd name="T69" fmla="*/ 286 h 294"/>
                  <a:gd name="T70" fmla="*/ 267 w 470"/>
                  <a:gd name="T71" fmla="*/ 290 h 294"/>
                  <a:gd name="T72" fmla="*/ 283 w 470"/>
                  <a:gd name="T73" fmla="*/ 281 h 294"/>
                  <a:gd name="T74" fmla="*/ 283 w 470"/>
                  <a:gd name="T75" fmla="*/ 271 h 294"/>
                  <a:gd name="T76" fmla="*/ 284 w 470"/>
                  <a:gd name="T77" fmla="*/ 270 h 294"/>
                  <a:gd name="T78" fmla="*/ 464 w 470"/>
                  <a:gd name="T79" fmla="*/ 166 h 294"/>
                  <a:gd name="T80" fmla="*/ 354 w 470"/>
                  <a:gd name="T81" fmla="*/ 102 h 294"/>
                  <a:gd name="T82" fmla="*/ 353 w 470"/>
                  <a:gd name="T83" fmla="*/ 101 h 294"/>
                  <a:gd name="T84" fmla="*/ 354 w 470"/>
                  <a:gd name="T85" fmla="*/ 99 h 294"/>
                  <a:gd name="T86" fmla="*/ 407 w 470"/>
                  <a:gd name="T87" fmla="*/ 69 h 294"/>
                  <a:gd name="T88" fmla="*/ 332 w 470"/>
                  <a:gd name="T89" fmla="*/ 25 h 294"/>
                  <a:gd name="T90" fmla="*/ 329 w 470"/>
                  <a:gd name="T91" fmla="*/ 27 h 294"/>
                  <a:gd name="T92" fmla="*/ 327 w 470"/>
                  <a:gd name="T93" fmla="*/ 27 h 294"/>
                  <a:gd name="T94" fmla="*/ 326 w 470"/>
                  <a:gd name="T95" fmla="*/ 25 h 294"/>
                  <a:gd name="T96" fmla="*/ 326 w 470"/>
                  <a:gd name="T97" fmla="*/ 22 h 294"/>
                  <a:gd name="T98" fmla="*/ 324 w 470"/>
                  <a:gd name="T99" fmla="*/ 21 h 294"/>
                  <a:gd name="T100" fmla="*/ 324 w 470"/>
                  <a:gd name="T101" fmla="*/ 32 h 294"/>
                  <a:gd name="T102" fmla="*/ 323 w 470"/>
                  <a:gd name="T103" fmla="*/ 33 h 294"/>
                  <a:gd name="T104" fmla="*/ 321 w 470"/>
                  <a:gd name="T105" fmla="*/ 33 h 294"/>
                  <a:gd name="T106" fmla="*/ 270 w 470"/>
                  <a:gd name="T107" fmla="*/ 4 h 294"/>
                  <a:gd name="T108" fmla="*/ 225 w 470"/>
                  <a:gd name="T109" fmla="*/ 30 h 294"/>
                  <a:gd name="T110" fmla="*/ 223 w 470"/>
                  <a:gd name="T111" fmla="*/ 30 h 294"/>
                  <a:gd name="T112" fmla="*/ 222 w 470"/>
                  <a:gd name="T113" fmla="*/ 28 h 294"/>
                  <a:gd name="T114" fmla="*/ 222 w 470"/>
                  <a:gd name="T115" fmla="*/ 14 h 294"/>
                  <a:gd name="T116" fmla="*/ 6 w 470"/>
                  <a:gd name="T117" fmla="*/ 139 h 294"/>
                  <a:gd name="T118" fmla="*/ 259 w 470"/>
                  <a:gd name="T119" fmla="*/ 285 h 294"/>
                  <a:gd name="T120" fmla="*/ 260 w 470"/>
                  <a:gd name="T121" fmla="*/ 286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0" h="294">
                    <a:moveTo>
                      <a:pt x="267" y="294"/>
                    </a:moveTo>
                    <a:cubicBezTo>
                      <a:pt x="267" y="294"/>
                      <a:pt x="266" y="294"/>
                      <a:pt x="266" y="294"/>
                    </a:cubicBezTo>
                    <a:cubicBezTo>
                      <a:pt x="257" y="289"/>
                      <a:pt x="257" y="289"/>
                      <a:pt x="257" y="289"/>
                    </a:cubicBezTo>
                    <a:cubicBezTo>
                      <a:pt x="257" y="289"/>
                      <a:pt x="256" y="288"/>
                      <a:pt x="256" y="288"/>
                    </a:cubicBezTo>
                    <a:cubicBezTo>
                      <a:pt x="1" y="141"/>
                      <a:pt x="1" y="141"/>
                      <a:pt x="1" y="141"/>
                    </a:cubicBezTo>
                    <a:cubicBezTo>
                      <a:pt x="1" y="140"/>
                      <a:pt x="0" y="140"/>
                      <a:pt x="0" y="139"/>
                    </a:cubicBezTo>
                    <a:cubicBezTo>
                      <a:pt x="0" y="138"/>
                      <a:pt x="1" y="137"/>
                      <a:pt x="1" y="137"/>
                    </a:cubicBezTo>
                    <a:cubicBezTo>
                      <a:pt x="223" y="9"/>
                      <a:pt x="223" y="9"/>
                      <a:pt x="223" y="9"/>
                    </a:cubicBezTo>
                    <a:cubicBezTo>
                      <a:pt x="224" y="8"/>
                      <a:pt x="225" y="8"/>
                      <a:pt x="225" y="9"/>
                    </a:cubicBezTo>
                    <a:cubicBezTo>
                      <a:pt x="226" y="9"/>
                      <a:pt x="226" y="10"/>
                      <a:pt x="226" y="10"/>
                    </a:cubicBezTo>
                    <a:cubicBezTo>
                      <a:pt x="226" y="25"/>
                      <a:pt x="226" y="25"/>
                      <a:pt x="226" y="25"/>
                    </a:cubicBezTo>
                    <a:cubicBezTo>
                      <a:pt x="269" y="0"/>
                      <a:pt x="269" y="0"/>
                      <a:pt x="269" y="0"/>
                    </a:cubicBezTo>
                    <a:cubicBezTo>
                      <a:pt x="270" y="0"/>
                      <a:pt x="270" y="0"/>
                      <a:pt x="271" y="0"/>
                    </a:cubicBezTo>
                    <a:cubicBezTo>
                      <a:pt x="320" y="28"/>
                      <a:pt x="320" y="28"/>
                      <a:pt x="320" y="28"/>
                    </a:cubicBezTo>
                    <a:cubicBezTo>
                      <a:pt x="320" y="17"/>
                      <a:pt x="320" y="17"/>
                      <a:pt x="320" y="17"/>
                    </a:cubicBezTo>
                    <a:cubicBezTo>
                      <a:pt x="320" y="17"/>
                      <a:pt x="320" y="16"/>
                      <a:pt x="321" y="16"/>
                    </a:cubicBezTo>
                    <a:cubicBezTo>
                      <a:pt x="321" y="15"/>
                      <a:pt x="322" y="15"/>
                      <a:pt x="323" y="16"/>
                    </a:cubicBezTo>
                    <a:cubicBezTo>
                      <a:pt x="329" y="19"/>
                      <a:pt x="329" y="19"/>
                      <a:pt x="329" y="19"/>
                    </a:cubicBezTo>
                    <a:cubicBezTo>
                      <a:pt x="329" y="19"/>
                      <a:pt x="330" y="20"/>
                      <a:pt x="330" y="21"/>
                    </a:cubicBezTo>
                    <a:cubicBezTo>
                      <a:pt x="330" y="22"/>
                      <a:pt x="330" y="22"/>
                      <a:pt x="330" y="22"/>
                    </a:cubicBezTo>
                    <a:cubicBezTo>
                      <a:pt x="331" y="21"/>
                      <a:pt x="331" y="21"/>
                      <a:pt x="331" y="21"/>
                    </a:cubicBezTo>
                    <a:cubicBezTo>
                      <a:pt x="331" y="21"/>
                      <a:pt x="332" y="21"/>
                      <a:pt x="333" y="21"/>
                    </a:cubicBezTo>
                    <a:cubicBezTo>
                      <a:pt x="412" y="67"/>
                      <a:pt x="412" y="67"/>
                      <a:pt x="412" y="67"/>
                    </a:cubicBezTo>
                    <a:cubicBezTo>
                      <a:pt x="412" y="67"/>
                      <a:pt x="413" y="68"/>
                      <a:pt x="413" y="69"/>
                    </a:cubicBezTo>
                    <a:cubicBezTo>
                      <a:pt x="413" y="69"/>
                      <a:pt x="412" y="70"/>
                      <a:pt x="412" y="70"/>
                    </a:cubicBezTo>
                    <a:cubicBezTo>
                      <a:pt x="359" y="101"/>
                      <a:pt x="359" y="101"/>
                      <a:pt x="359" y="101"/>
                    </a:cubicBezTo>
                    <a:cubicBezTo>
                      <a:pt x="469" y="164"/>
                      <a:pt x="469" y="164"/>
                      <a:pt x="469" y="164"/>
                    </a:cubicBezTo>
                    <a:cubicBezTo>
                      <a:pt x="470" y="164"/>
                      <a:pt x="470" y="165"/>
                      <a:pt x="470" y="166"/>
                    </a:cubicBezTo>
                    <a:cubicBezTo>
                      <a:pt x="470" y="166"/>
                      <a:pt x="470" y="167"/>
                      <a:pt x="469" y="167"/>
                    </a:cubicBezTo>
                    <a:cubicBezTo>
                      <a:pt x="287" y="273"/>
                      <a:pt x="287" y="273"/>
                      <a:pt x="287" y="273"/>
                    </a:cubicBezTo>
                    <a:cubicBezTo>
                      <a:pt x="287" y="282"/>
                      <a:pt x="287" y="282"/>
                      <a:pt x="287" y="282"/>
                    </a:cubicBezTo>
                    <a:cubicBezTo>
                      <a:pt x="287" y="283"/>
                      <a:pt x="286" y="284"/>
                      <a:pt x="286" y="284"/>
                    </a:cubicBezTo>
                    <a:cubicBezTo>
                      <a:pt x="268" y="294"/>
                      <a:pt x="268" y="294"/>
                      <a:pt x="268" y="294"/>
                    </a:cubicBezTo>
                    <a:cubicBezTo>
                      <a:pt x="268" y="294"/>
                      <a:pt x="267" y="294"/>
                      <a:pt x="267" y="294"/>
                    </a:cubicBezTo>
                    <a:close/>
                    <a:moveTo>
                      <a:pt x="260" y="286"/>
                    </a:moveTo>
                    <a:cubicBezTo>
                      <a:pt x="267" y="290"/>
                      <a:pt x="267" y="290"/>
                      <a:pt x="267" y="290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3" y="271"/>
                      <a:pt x="283" y="271"/>
                      <a:pt x="283" y="271"/>
                    </a:cubicBezTo>
                    <a:cubicBezTo>
                      <a:pt x="283" y="271"/>
                      <a:pt x="283" y="270"/>
                      <a:pt x="284" y="270"/>
                    </a:cubicBezTo>
                    <a:cubicBezTo>
                      <a:pt x="464" y="166"/>
                      <a:pt x="464" y="166"/>
                      <a:pt x="464" y="166"/>
                    </a:cubicBezTo>
                    <a:cubicBezTo>
                      <a:pt x="354" y="102"/>
                      <a:pt x="354" y="102"/>
                      <a:pt x="354" y="102"/>
                    </a:cubicBezTo>
                    <a:cubicBezTo>
                      <a:pt x="353" y="102"/>
                      <a:pt x="353" y="101"/>
                      <a:pt x="353" y="101"/>
                    </a:cubicBezTo>
                    <a:cubicBezTo>
                      <a:pt x="353" y="100"/>
                      <a:pt x="353" y="99"/>
                      <a:pt x="354" y="99"/>
                    </a:cubicBezTo>
                    <a:cubicBezTo>
                      <a:pt x="407" y="69"/>
                      <a:pt x="407" y="69"/>
                      <a:pt x="407" y="69"/>
                    </a:cubicBezTo>
                    <a:cubicBezTo>
                      <a:pt x="332" y="25"/>
                      <a:pt x="332" y="25"/>
                      <a:pt x="332" y="25"/>
                    </a:cubicBezTo>
                    <a:cubicBezTo>
                      <a:pt x="329" y="27"/>
                      <a:pt x="329" y="27"/>
                      <a:pt x="329" y="27"/>
                    </a:cubicBezTo>
                    <a:cubicBezTo>
                      <a:pt x="328" y="27"/>
                      <a:pt x="327" y="27"/>
                      <a:pt x="327" y="27"/>
                    </a:cubicBezTo>
                    <a:cubicBezTo>
                      <a:pt x="326" y="27"/>
                      <a:pt x="326" y="26"/>
                      <a:pt x="326" y="25"/>
                    </a:cubicBezTo>
                    <a:cubicBezTo>
                      <a:pt x="326" y="22"/>
                      <a:pt x="326" y="22"/>
                      <a:pt x="326" y="22"/>
                    </a:cubicBezTo>
                    <a:cubicBezTo>
                      <a:pt x="324" y="21"/>
                      <a:pt x="324" y="21"/>
                      <a:pt x="324" y="21"/>
                    </a:cubicBezTo>
                    <a:cubicBezTo>
                      <a:pt x="324" y="32"/>
                      <a:pt x="324" y="32"/>
                      <a:pt x="324" y="32"/>
                    </a:cubicBezTo>
                    <a:cubicBezTo>
                      <a:pt x="324" y="32"/>
                      <a:pt x="323" y="33"/>
                      <a:pt x="323" y="33"/>
                    </a:cubicBezTo>
                    <a:cubicBezTo>
                      <a:pt x="322" y="34"/>
                      <a:pt x="321" y="34"/>
                      <a:pt x="321" y="33"/>
                    </a:cubicBezTo>
                    <a:cubicBezTo>
                      <a:pt x="270" y="4"/>
                      <a:pt x="270" y="4"/>
                      <a:pt x="270" y="4"/>
                    </a:cubicBezTo>
                    <a:cubicBezTo>
                      <a:pt x="225" y="30"/>
                      <a:pt x="225" y="30"/>
                      <a:pt x="225" y="30"/>
                    </a:cubicBezTo>
                    <a:cubicBezTo>
                      <a:pt x="225" y="30"/>
                      <a:pt x="224" y="30"/>
                      <a:pt x="223" y="30"/>
                    </a:cubicBezTo>
                    <a:cubicBezTo>
                      <a:pt x="223" y="30"/>
                      <a:pt x="222" y="29"/>
                      <a:pt x="222" y="28"/>
                    </a:cubicBezTo>
                    <a:cubicBezTo>
                      <a:pt x="222" y="14"/>
                      <a:pt x="222" y="14"/>
                      <a:pt x="222" y="14"/>
                    </a:cubicBezTo>
                    <a:cubicBezTo>
                      <a:pt x="6" y="139"/>
                      <a:pt x="6" y="139"/>
                      <a:pt x="6" y="139"/>
                    </a:cubicBezTo>
                    <a:cubicBezTo>
                      <a:pt x="259" y="285"/>
                      <a:pt x="259" y="285"/>
                      <a:pt x="259" y="285"/>
                    </a:cubicBezTo>
                    <a:cubicBezTo>
                      <a:pt x="260" y="285"/>
                      <a:pt x="260" y="286"/>
                      <a:pt x="260" y="28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0" name="Freeform 1103">
                <a:extLst>
                  <a:ext uri="{FF2B5EF4-FFF2-40B4-BE49-F238E27FC236}">
                    <a16:creationId xmlns:a16="http://schemas.microsoft.com/office/drawing/2014/main" id="{20AB3D1F-124D-4D30-9F93-275BB368C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186658" y="6859668"/>
                <a:ext cx="554047" cy="1029239"/>
              </a:xfrm>
              <a:custGeom>
                <a:avLst/>
                <a:gdLst>
                  <a:gd name="T0" fmla="*/ 134 w 226"/>
                  <a:gd name="T1" fmla="*/ 419 h 420"/>
                  <a:gd name="T2" fmla="*/ 19 w 226"/>
                  <a:gd name="T3" fmla="*/ 413 h 420"/>
                  <a:gd name="T4" fmla="*/ 16 w 226"/>
                  <a:gd name="T5" fmla="*/ 411 h 420"/>
                  <a:gd name="T6" fmla="*/ 17 w 226"/>
                  <a:gd name="T7" fmla="*/ 332 h 420"/>
                  <a:gd name="T8" fmla="*/ 46 w 226"/>
                  <a:gd name="T9" fmla="*/ 293 h 420"/>
                  <a:gd name="T10" fmla="*/ 31 w 226"/>
                  <a:gd name="T11" fmla="*/ 301 h 420"/>
                  <a:gd name="T12" fmla="*/ 30 w 226"/>
                  <a:gd name="T13" fmla="*/ 283 h 420"/>
                  <a:gd name="T14" fmla="*/ 0 w 226"/>
                  <a:gd name="T15" fmla="*/ 265 h 420"/>
                  <a:gd name="T16" fmla="*/ 1 w 226"/>
                  <a:gd name="T17" fmla="*/ 185 h 420"/>
                  <a:gd name="T18" fmla="*/ 49 w 226"/>
                  <a:gd name="T19" fmla="*/ 212 h 420"/>
                  <a:gd name="T20" fmla="*/ 19 w 226"/>
                  <a:gd name="T21" fmla="*/ 193 h 420"/>
                  <a:gd name="T22" fmla="*/ 19 w 226"/>
                  <a:gd name="T23" fmla="*/ 190 h 420"/>
                  <a:gd name="T24" fmla="*/ 31 w 226"/>
                  <a:gd name="T25" fmla="*/ 153 h 420"/>
                  <a:gd name="T26" fmla="*/ 30 w 226"/>
                  <a:gd name="T27" fmla="*/ 3 h 420"/>
                  <a:gd name="T28" fmla="*/ 33 w 226"/>
                  <a:gd name="T29" fmla="*/ 1 h 420"/>
                  <a:gd name="T30" fmla="*/ 163 w 226"/>
                  <a:gd name="T31" fmla="*/ 77 h 420"/>
                  <a:gd name="T32" fmla="*/ 162 w 226"/>
                  <a:gd name="T33" fmla="*/ 227 h 420"/>
                  <a:gd name="T34" fmla="*/ 144 w 226"/>
                  <a:gd name="T35" fmla="*/ 218 h 420"/>
                  <a:gd name="T36" fmla="*/ 154 w 226"/>
                  <a:gd name="T37" fmla="*/ 266 h 420"/>
                  <a:gd name="T38" fmla="*/ 225 w 226"/>
                  <a:gd name="T39" fmla="*/ 306 h 420"/>
                  <a:gd name="T40" fmla="*/ 225 w 226"/>
                  <a:gd name="T41" fmla="*/ 309 h 420"/>
                  <a:gd name="T42" fmla="*/ 154 w 226"/>
                  <a:gd name="T43" fmla="*/ 349 h 420"/>
                  <a:gd name="T44" fmla="*/ 144 w 226"/>
                  <a:gd name="T45" fmla="*/ 349 h 420"/>
                  <a:gd name="T46" fmla="*/ 137 w 226"/>
                  <a:gd name="T47" fmla="*/ 355 h 420"/>
                  <a:gd name="T48" fmla="*/ 136 w 226"/>
                  <a:gd name="T49" fmla="*/ 419 h 420"/>
                  <a:gd name="T50" fmla="*/ 71 w 226"/>
                  <a:gd name="T51" fmla="*/ 379 h 420"/>
                  <a:gd name="T52" fmla="*/ 133 w 226"/>
                  <a:gd name="T53" fmla="*/ 414 h 420"/>
                  <a:gd name="T54" fmla="*/ 134 w 226"/>
                  <a:gd name="T55" fmla="*/ 352 h 420"/>
                  <a:gd name="T56" fmla="*/ 140 w 226"/>
                  <a:gd name="T57" fmla="*/ 340 h 420"/>
                  <a:gd name="T58" fmla="*/ 143 w 226"/>
                  <a:gd name="T59" fmla="*/ 338 h 420"/>
                  <a:gd name="T60" fmla="*/ 220 w 226"/>
                  <a:gd name="T61" fmla="*/ 307 h 420"/>
                  <a:gd name="T62" fmla="*/ 143 w 226"/>
                  <a:gd name="T63" fmla="*/ 277 h 420"/>
                  <a:gd name="T64" fmla="*/ 140 w 226"/>
                  <a:gd name="T65" fmla="*/ 275 h 420"/>
                  <a:gd name="T66" fmla="*/ 141 w 226"/>
                  <a:gd name="T67" fmla="*/ 213 h 420"/>
                  <a:gd name="T68" fmla="*/ 159 w 226"/>
                  <a:gd name="T69" fmla="*/ 222 h 420"/>
                  <a:gd name="T70" fmla="*/ 34 w 226"/>
                  <a:gd name="T71" fmla="*/ 6 h 420"/>
                  <a:gd name="T72" fmla="*/ 62 w 226"/>
                  <a:gd name="T73" fmla="*/ 166 h 420"/>
                  <a:gd name="T74" fmla="*/ 62 w 226"/>
                  <a:gd name="T75" fmla="*/ 170 h 420"/>
                  <a:gd name="T76" fmla="*/ 54 w 226"/>
                  <a:gd name="T77" fmla="*/ 209 h 420"/>
                  <a:gd name="T78" fmla="*/ 54 w 226"/>
                  <a:gd name="T79" fmla="*/ 213 h 420"/>
                  <a:gd name="T80" fmla="*/ 48 w 226"/>
                  <a:gd name="T81" fmla="*/ 216 h 420"/>
                  <a:gd name="T82" fmla="*/ 4 w 226"/>
                  <a:gd name="T83" fmla="*/ 264 h 420"/>
                  <a:gd name="T84" fmla="*/ 34 w 226"/>
                  <a:gd name="T85" fmla="*/ 282 h 420"/>
                  <a:gd name="T86" fmla="*/ 45 w 226"/>
                  <a:gd name="T87" fmla="*/ 289 h 420"/>
                  <a:gd name="T88" fmla="*/ 69 w 226"/>
                  <a:gd name="T89" fmla="*/ 301 h 420"/>
                  <a:gd name="T90" fmla="*/ 70 w 226"/>
                  <a:gd name="T91" fmla="*/ 304 h 420"/>
                  <a:gd name="T92" fmla="*/ 20 w 226"/>
                  <a:gd name="T93" fmla="*/ 335 h 420"/>
                  <a:gd name="T94" fmla="*/ 70 w 226"/>
                  <a:gd name="T95" fmla="*/ 379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420">
                    <a:moveTo>
                      <a:pt x="135" y="420"/>
                    </a:moveTo>
                    <a:cubicBezTo>
                      <a:pt x="135" y="420"/>
                      <a:pt x="134" y="420"/>
                      <a:pt x="134" y="419"/>
                    </a:cubicBezTo>
                    <a:cubicBezTo>
                      <a:pt x="71" y="383"/>
                      <a:pt x="71" y="383"/>
                      <a:pt x="71" y="383"/>
                    </a:cubicBezTo>
                    <a:cubicBezTo>
                      <a:pt x="19" y="413"/>
                      <a:pt x="19" y="413"/>
                      <a:pt x="19" y="413"/>
                    </a:cubicBezTo>
                    <a:cubicBezTo>
                      <a:pt x="18" y="414"/>
                      <a:pt x="17" y="414"/>
                      <a:pt x="17" y="413"/>
                    </a:cubicBezTo>
                    <a:cubicBezTo>
                      <a:pt x="16" y="413"/>
                      <a:pt x="16" y="412"/>
                      <a:pt x="16" y="411"/>
                    </a:cubicBezTo>
                    <a:cubicBezTo>
                      <a:pt x="16" y="333"/>
                      <a:pt x="16" y="333"/>
                      <a:pt x="16" y="333"/>
                    </a:cubicBezTo>
                    <a:cubicBezTo>
                      <a:pt x="16" y="333"/>
                      <a:pt x="16" y="332"/>
                      <a:pt x="17" y="332"/>
                    </a:cubicBezTo>
                    <a:cubicBezTo>
                      <a:pt x="65" y="304"/>
                      <a:pt x="65" y="304"/>
                      <a:pt x="65" y="304"/>
                    </a:cubicBezTo>
                    <a:cubicBezTo>
                      <a:pt x="46" y="293"/>
                      <a:pt x="46" y="293"/>
                      <a:pt x="46" y="293"/>
                    </a:cubicBezTo>
                    <a:cubicBezTo>
                      <a:pt x="33" y="301"/>
                      <a:pt x="33" y="301"/>
                      <a:pt x="33" y="301"/>
                    </a:cubicBezTo>
                    <a:cubicBezTo>
                      <a:pt x="32" y="301"/>
                      <a:pt x="32" y="301"/>
                      <a:pt x="31" y="301"/>
                    </a:cubicBezTo>
                    <a:cubicBezTo>
                      <a:pt x="30" y="300"/>
                      <a:pt x="30" y="299"/>
                      <a:pt x="30" y="299"/>
                    </a:cubicBezTo>
                    <a:cubicBezTo>
                      <a:pt x="30" y="283"/>
                      <a:pt x="30" y="283"/>
                      <a:pt x="30" y="283"/>
                    </a:cubicBezTo>
                    <a:cubicBezTo>
                      <a:pt x="1" y="267"/>
                      <a:pt x="1" y="267"/>
                      <a:pt x="1" y="267"/>
                    </a:cubicBezTo>
                    <a:cubicBezTo>
                      <a:pt x="0" y="266"/>
                      <a:pt x="0" y="266"/>
                      <a:pt x="0" y="265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86"/>
                      <a:pt x="0" y="186"/>
                      <a:pt x="1" y="185"/>
                    </a:cubicBezTo>
                    <a:cubicBezTo>
                      <a:pt x="2" y="185"/>
                      <a:pt x="2" y="185"/>
                      <a:pt x="3" y="185"/>
                    </a:cubicBezTo>
                    <a:cubicBezTo>
                      <a:pt x="49" y="212"/>
                      <a:pt x="49" y="212"/>
                      <a:pt x="49" y="212"/>
                    </a:cubicBezTo>
                    <a:cubicBezTo>
                      <a:pt x="49" y="211"/>
                      <a:pt x="49" y="211"/>
                      <a:pt x="49" y="211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18" y="193"/>
                      <a:pt x="18" y="192"/>
                      <a:pt x="18" y="192"/>
                    </a:cubicBezTo>
                    <a:cubicBezTo>
                      <a:pt x="18" y="191"/>
                      <a:pt x="18" y="190"/>
                      <a:pt x="19" y="190"/>
                    </a:cubicBezTo>
                    <a:cubicBezTo>
                      <a:pt x="57" y="168"/>
                      <a:pt x="57" y="168"/>
                      <a:pt x="57" y="168"/>
                    </a:cubicBezTo>
                    <a:cubicBezTo>
                      <a:pt x="31" y="153"/>
                      <a:pt x="31" y="153"/>
                      <a:pt x="31" y="153"/>
                    </a:cubicBezTo>
                    <a:cubicBezTo>
                      <a:pt x="30" y="153"/>
                      <a:pt x="30" y="152"/>
                      <a:pt x="30" y="151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2"/>
                      <a:pt x="30" y="1"/>
                      <a:pt x="31" y="1"/>
                    </a:cubicBezTo>
                    <a:cubicBezTo>
                      <a:pt x="32" y="0"/>
                      <a:pt x="32" y="0"/>
                      <a:pt x="33" y="1"/>
                    </a:cubicBezTo>
                    <a:cubicBezTo>
                      <a:pt x="162" y="75"/>
                      <a:pt x="162" y="75"/>
                      <a:pt x="162" y="75"/>
                    </a:cubicBezTo>
                    <a:cubicBezTo>
                      <a:pt x="162" y="75"/>
                      <a:pt x="163" y="76"/>
                      <a:pt x="163" y="77"/>
                    </a:cubicBezTo>
                    <a:cubicBezTo>
                      <a:pt x="163" y="225"/>
                      <a:pt x="163" y="225"/>
                      <a:pt x="163" y="225"/>
                    </a:cubicBezTo>
                    <a:cubicBezTo>
                      <a:pt x="163" y="226"/>
                      <a:pt x="162" y="227"/>
                      <a:pt x="162" y="227"/>
                    </a:cubicBezTo>
                    <a:cubicBezTo>
                      <a:pt x="161" y="228"/>
                      <a:pt x="160" y="228"/>
                      <a:pt x="160" y="227"/>
                    </a:cubicBezTo>
                    <a:cubicBezTo>
                      <a:pt x="144" y="218"/>
                      <a:pt x="144" y="218"/>
                      <a:pt x="144" y="218"/>
                    </a:cubicBezTo>
                    <a:cubicBezTo>
                      <a:pt x="144" y="272"/>
                      <a:pt x="144" y="272"/>
                      <a:pt x="144" y="272"/>
                    </a:cubicBezTo>
                    <a:cubicBezTo>
                      <a:pt x="154" y="266"/>
                      <a:pt x="154" y="266"/>
                      <a:pt x="154" y="266"/>
                    </a:cubicBezTo>
                    <a:cubicBezTo>
                      <a:pt x="155" y="266"/>
                      <a:pt x="155" y="266"/>
                      <a:pt x="156" y="266"/>
                    </a:cubicBezTo>
                    <a:cubicBezTo>
                      <a:pt x="225" y="306"/>
                      <a:pt x="225" y="306"/>
                      <a:pt x="225" y="306"/>
                    </a:cubicBezTo>
                    <a:cubicBezTo>
                      <a:pt x="225" y="306"/>
                      <a:pt x="226" y="307"/>
                      <a:pt x="226" y="307"/>
                    </a:cubicBezTo>
                    <a:cubicBezTo>
                      <a:pt x="226" y="308"/>
                      <a:pt x="225" y="309"/>
                      <a:pt x="225" y="309"/>
                    </a:cubicBezTo>
                    <a:cubicBezTo>
                      <a:pt x="156" y="349"/>
                      <a:pt x="156" y="349"/>
                      <a:pt x="156" y="349"/>
                    </a:cubicBezTo>
                    <a:cubicBezTo>
                      <a:pt x="155" y="349"/>
                      <a:pt x="155" y="349"/>
                      <a:pt x="154" y="349"/>
                    </a:cubicBezTo>
                    <a:cubicBezTo>
                      <a:pt x="144" y="343"/>
                      <a:pt x="144" y="343"/>
                      <a:pt x="144" y="343"/>
                    </a:cubicBezTo>
                    <a:cubicBezTo>
                      <a:pt x="144" y="349"/>
                      <a:pt x="144" y="349"/>
                      <a:pt x="144" y="349"/>
                    </a:cubicBezTo>
                    <a:cubicBezTo>
                      <a:pt x="144" y="350"/>
                      <a:pt x="144" y="351"/>
                      <a:pt x="143" y="351"/>
                    </a:cubicBezTo>
                    <a:cubicBezTo>
                      <a:pt x="137" y="355"/>
                      <a:pt x="137" y="355"/>
                      <a:pt x="137" y="355"/>
                    </a:cubicBezTo>
                    <a:cubicBezTo>
                      <a:pt x="137" y="418"/>
                      <a:pt x="137" y="418"/>
                      <a:pt x="137" y="418"/>
                    </a:cubicBezTo>
                    <a:cubicBezTo>
                      <a:pt x="137" y="418"/>
                      <a:pt x="137" y="419"/>
                      <a:pt x="136" y="419"/>
                    </a:cubicBezTo>
                    <a:cubicBezTo>
                      <a:pt x="136" y="420"/>
                      <a:pt x="135" y="420"/>
                      <a:pt x="135" y="420"/>
                    </a:cubicBezTo>
                    <a:close/>
                    <a:moveTo>
                      <a:pt x="71" y="379"/>
                    </a:moveTo>
                    <a:cubicBezTo>
                      <a:pt x="71" y="379"/>
                      <a:pt x="72" y="379"/>
                      <a:pt x="72" y="379"/>
                    </a:cubicBezTo>
                    <a:cubicBezTo>
                      <a:pt x="133" y="414"/>
                      <a:pt x="133" y="414"/>
                      <a:pt x="133" y="414"/>
                    </a:cubicBezTo>
                    <a:cubicBezTo>
                      <a:pt x="133" y="354"/>
                      <a:pt x="133" y="354"/>
                      <a:pt x="133" y="354"/>
                    </a:cubicBezTo>
                    <a:cubicBezTo>
                      <a:pt x="133" y="353"/>
                      <a:pt x="134" y="352"/>
                      <a:pt x="134" y="352"/>
                    </a:cubicBezTo>
                    <a:cubicBezTo>
                      <a:pt x="140" y="348"/>
                      <a:pt x="140" y="348"/>
                      <a:pt x="140" y="348"/>
                    </a:cubicBezTo>
                    <a:cubicBezTo>
                      <a:pt x="140" y="340"/>
                      <a:pt x="140" y="340"/>
                      <a:pt x="140" y="340"/>
                    </a:cubicBezTo>
                    <a:cubicBezTo>
                      <a:pt x="140" y="339"/>
                      <a:pt x="141" y="338"/>
                      <a:pt x="141" y="338"/>
                    </a:cubicBezTo>
                    <a:cubicBezTo>
                      <a:pt x="142" y="338"/>
                      <a:pt x="143" y="338"/>
                      <a:pt x="143" y="338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220" y="307"/>
                      <a:pt x="220" y="307"/>
                      <a:pt x="220" y="307"/>
                    </a:cubicBezTo>
                    <a:cubicBezTo>
                      <a:pt x="155" y="270"/>
                      <a:pt x="155" y="270"/>
                      <a:pt x="155" y="270"/>
                    </a:cubicBezTo>
                    <a:cubicBezTo>
                      <a:pt x="143" y="277"/>
                      <a:pt x="143" y="277"/>
                      <a:pt x="143" y="277"/>
                    </a:cubicBezTo>
                    <a:cubicBezTo>
                      <a:pt x="143" y="277"/>
                      <a:pt x="142" y="277"/>
                      <a:pt x="141" y="277"/>
                    </a:cubicBezTo>
                    <a:cubicBezTo>
                      <a:pt x="141" y="277"/>
                      <a:pt x="140" y="276"/>
                      <a:pt x="140" y="275"/>
                    </a:cubicBezTo>
                    <a:cubicBezTo>
                      <a:pt x="140" y="215"/>
                      <a:pt x="140" y="215"/>
                      <a:pt x="140" y="215"/>
                    </a:cubicBezTo>
                    <a:cubicBezTo>
                      <a:pt x="140" y="214"/>
                      <a:pt x="141" y="214"/>
                      <a:pt x="141" y="213"/>
                    </a:cubicBezTo>
                    <a:cubicBezTo>
                      <a:pt x="142" y="213"/>
                      <a:pt x="143" y="213"/>
                      <a:pt x="143" y="213"/>
                    </a:cubicBezTo>
                    <a:cubicBezTo>
                      <a:pt x="159" y="222"/>
                      <a:pt x="159" y="222"/>
                      <a:pt x="159" y="222"/>
                    </a:cubicBezTo>
                    <a:cubicBezTo>
                      <a:pt x="159" y="78"/>
                      <a:pt x="159" y="78"/>
                      <a:pt x="159" y="78"/>
                    </a:cubicBezTo>
                    <a:cubicBezTo>
                      <a:pt x="34" y="6"/>
                      <a:pt x="34" y="6"/>
                      <a:pt x="34" y="6"/>
                    </a:cubicBezTo>
                    <a:cubicBezTo>
                      <a:pt x="34" y="150"/>
                      <a:pt x="34" y="150"/>
                      <a:pt x="34" y="150"/>
                    </a:cubicBezTo>
                    <a:cubicBezTo>
                      <a:pt x="62" y="166"/>
                      <a:pt x="62" y="166"/>
                      <a:pt x="62" y="166"/>
                    </a:cubicBezTo>
                    <a:cubicBezTo>
                      <a:pt x="63" y="167"/>
                      <a:pt x="63" y="167"/>
                      <a:pt x="63" y="168"/>
                    </a:cubicBezTo>
                    <a:cubicBezTo>
                      <a:pt x="63" y="169"/>
                      <a:pt x="63" y="169"/>
                      <a:pt x="62" y="170"/>
                    </a:cubicBezTo>
                    <a:cubicBezTo>
                      <a:pt x="24" y="192"/>
                      <a:pt x="24" y="192"/>
                      <a:pt x="24" y="192"/>
                    </a:cubicBezTo>
                    <a:cubicBezTo>
                      <a:pt x="54" y="209"/>
                      <a:pt x="54" y="209"/>
                      <a:pt x="54" y="209"/>
                    </a:cubicBezTo>
                    <a:cubicBezTo>
                      <a:pt x="55" y="210"/>
                      <a:pt x="55" y="210"/>
                      <a:pt x="55" y="211"/>
                    </a:cubicBezTo>
                    <a:cubicBezTo>
                      <a:pt x="55" y="212"/>
                      <a:pt x="55" y="213"/>
                      <a:pt x="54" y="213"/>
                    </a:cubicBezTo>
                    <a:cubicBezTo>
                      <a:pt x="49" y="216"/>
                      <a:pt x="49" y="216"/>
                      <a:pt x="49" y="216"/>
                    </a:cubicBezTo>
                    <a:cubicBezTo>
                      <a:pt x="49" y="216"/>
                      <a:pt x="48" y="216"/>
                      <a:pt x="48" y="216"/>
                    </a:cubicBezTo>
                    <a:cubicBezTo>
                      <a:pt x="4" y="191"/>
                      <a:pt x="4" y="191"/>
                      <a:pt x="4" y="191"/>
                    </a:cubicBezTo>
                    <a:cubicBezTo>
                      <a:pt x="4" y="264"/>
                      <a:pt x="4" y="264"/>
                      <a:pt x="4" y="264"/>
                    </a:cubicBezTo>
                    <a:cubicBezTo>
                      <a:pt x="33" y="280"/>
                      <a:pt x="33" y="280"/>
                      <a:pt x="33" y="280"/>
                    </a:cubicBezTo>
                    <a:cubicBezTo>
                      <a:pt x="34" y="281"/>
                      <a:pt x="34" y="281"/>
                      <a:pt x="34" y="282"/>
                    </a:cubicBezTo>
                    <a:cubicBezTo>
                      <a:pt x="34" y="295"/>
                      <a:pt x="34" y="295"/>
                      <a:pt x="34" y="295"/>
                    </a:cubicBezTo>
                    <a:cubicBezTo>
                      <a:pt x="45" y="289"/>
                      <a:pt x="45" y="289"/>
                      <a:pt x="45" y="289"/>
                    </a:cubicBezTo>
                    <a:cubicBezTo>
                      <a:pt x="46" y="288"/>
                      <a:pt x="47" y="288"/>
                      <a:pt x="47" y="289"/>
                    </a:cubicBezTo>
                    <a:cubicBezTo>
                      <a:pt x="69" y="301"/>
                      <a:pt x="69" y="301"/>
                      <a:pt x="69" y="301"/>
                    </a:cubicBezTo>
                    <a:cubicBezTo>
                      <a:pt x="69" y="301"/>
                      <a:pt x="70" y="302"/>
                      <a:pt x="70" y="303"/>
                    </a:cubicBezTo>
                    <a:cubicBezTo>
                      <a:pt x="70" y="304"/>
                      <a:pt x="70" y="304"/>
                      <a:pt x="70" y="304"/>
                    </a:cubicBezTo>
                    <a:cubicBezTo>
                      <a:pt x="70" y="305"/>
                      <a:pt x="69" y="306"/>
                      <a:pt x="69" y="306"/>
                    </a:cubicBezTo>
                    <a:cubicBezTo>
                      <a:pt x="20" y="335"/>
                      <a:pt x="20" y="335"/>
                      <a:pt x="20" y="335"/>
                    </a:cubicBezTo>
                    <a:cubicBezTo>
                      <a:pt x="20" y="408"/>
                      <a:pt x="20" y="408"/>
                      <a:pt x="20" y="408"/>
                    </a:cubicBezTo>
                    <a:cubicBezTo>
                      <a:pt x="70" y="379"/>
                      <a:pt x="70" y="379"/>
                      <a:pt x="70" y="379"/>
                    </a:cubicBezTo>
                    <a:cubicBezTo>
                      <a:pt x="70" y="379"/>
                      <a:pt x="71" y="379"/>
                      <a:pt x="71" y="37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1" name="Freeform 1117">
                <a:extLst>
                  <a:ext uri="{FF2B5EF4-FFF2-40B4-BE49-F238E27FC236}">
                    <a16:creationId xmlns:a16="http://schemas.microsoft.com/office/drawing/2014/main" id="{E9C28BBB-1217-4668-BE20-32526C7391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346439" y="6866931"/>
                <a:ext cx="315413" cy="544708"/>
              </a:xfrm>
              <a:custGeom>
                <a:avLst/>
                <a:gdLst>
                  <a:gd name="T0" fmla="*/ 127 w 129"/>
                  <a:gd name="T1" fmla="*/ 222 h 222"/>
                  <a:gd name="T2" fmla="*/ 126 w 129"/>
                  <a:gd name="T3" fmla="*/ 221 h 222"/>
                  <a:gd name="T4" fmla="*/ 109 w 129"/>
                  <a:gd name="T5" fmla="*/ 212 h 222"/>
                  <a:gd name="T6" fmla="*/ 108 w 129"/>
                  <a:gd name="T7" fmla="*/ 210 h 222"/>
                  <a:gd name="T8" fmla="*/ 108 w 129"/>
                  <a:gd name="T9" fmla="*/ 207 h 222"/>
                  <a:gd name="T10" fmla="*/ 102 w 129"/>
                  <a:gd name="T11" fmla="*/ 203 h 222"/>
                  <a:gd name="T12" fmla="*/ 101 w 129"/>
                  <a:gd name="T13" fmla="*/ 201 h 222"/>
                  <a:gd name="T14" fmla="*/ 102 w 129"/>
                  <a:gd name="T15" fmla="*/ 200 h 222"/>
                  <a:gd name="T16" fmla="*/ 121 w 129"/>
                  <a:gd name="T17" fmla="*/ 189 h 222"/>
                  <a:gd name="T18" fmla="*/ 56 w 129"/>
                  <a:gd name="T19" fmla="*/ 152 h 222"/>
                  <a:gd name="T20" fmla="*/ 32 w 129"/>
                  <a:gd name="T21" fmla="*/ 166 h 222"/>
                  <a:gd name="T22" fmla="*/ 30 w 129"/>
                  <a:gd name="T23" fmla="*/ 166 h 222"/>
                  <a:gd name="T24" fmla="*/ 1 w 129"/>
                  <a:gd name="T25" fmla="*/ 149 h 222"/>
                  <a:gd name="T26" fmla="*/ 0 w 129"/>
                  <a:gd name="T27" fmla="*/ 147 h 222"/>
                  <a:gd name="T28" fmla="*/ 0 w 129"/>
                  <a:gd name="T29" fmla="*/ 2 h 222"/>
                  <a:gd name="T30" fmla="*/ 1 w 129"/>
                  <a:gd name="T31" fmla="*/ 1 h 222"/>
                  <a:gd name="T32" fmla="*/ 3 w 129"/>
                  <a:gd name="T33" fmla="*/ 1 h 222"/>
                  <a:gd name="T34" fmla="*/ 128 w 129"/>
                  <a:gd name="T35" fmla="*/ 73 h 222"/>
                  <a:gd name="T36" fmla="*/ 129 w 129"/>
                  <a:gd name="T37" fmla="*/ 75 h 222"/>
                  <a:gd name="T38" fmla="*/ 129 w 129"/>
                  <a:gd name="T39" fmla="*/ 220 h 222"/>
                  <a:gd name="T40" fmla="*/ 128 w 129"/>
                  <a:gd name="T41" fmla="*/ 221 h 222"/>
                  <a:gd name="T42" fmla="*/ 127 w 129"/>
                  <a:gd name="T43" fmla="*/ 222 h 222"/>
                  <a:gd name="T44" fmla="*/ 112 w 129"/>
                  <a:gd name="T45" fmla="*/ 209 h 222"/>
                  <a:gd name="T46" fmla="*/ 125 w 129"/>
                  <a:gd name="T47" fmla="*/ 216 h 222"/>
                  <a:gd name="T48" fmla="*/ 125 w 129"/>
                  <a:gd name="T49" fmla="*/ 191 h 222"/>
                  <a:gd name="T50" fmla="*/ 107 w 129"/>
                  <a:gd name="T51" fmla="*/ 201 h 222"/>
                  <a:gd name="T52" fmla="*/ 111 w 129"/>
                  <a:gd name="T53" fmla="*/ 204 h 222"/>
                  <a:gd name="T54" fmla="*/ 112 w 129"/>
                  <a:gd name="T55" fmla="*/ 205 h 222"/>
                  <a:gd name="T56" fmla="*/ 112 w 129"/>
                  <a:gd name="T57" fmla="*/ 209 h 222"/>
                  <a:gd name="T58" fmla="*/ 56 w 129"/>
                  <a:gd name="T59" fmla="*/ 147 h 222"/>
                  <a:gd name="T60" fmla="*/ 57 w 129"/>
                  <a:gd name="T61" fmla="*/ 148 h 222"/>
                  <a:gd name="T62" fmla="*/ 125 w 129"/>
                  <a:gd name="T63" fmla="*/ 187 h 222"/>
                  <a:gd name="T64" fmla="*/ 125 w 129"/>
                  <a:gd name="T65" fmla="*/ 76 h 222"/>
                  <a:gd name="T66" fmla="*/ 4 w 129"/>
                  <a:gd name="T67" fmla="*/ 6 h 222"/>
                  <a:gd name="T68" fmla="*/ 4 w 129"/>
                  <a:gd name="T69" fmla="*/ 146 h 222"/>
                  <a:gd name="T70" fmla="*/ 31 w 129"/>
                  <a:gd name="T71" fmla="*/ 162 h 222"/>
                  <a:gd name="T72" fmla="*/ 55 w 129"/>
                  <a:gd name="T73" fmla="*/ 148 h 222"/>
                  <a:gd name="T74" fmla="*/ 56 w 129"/>
                  <a:gd name="T75" fmla="*/ 14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9" h="222">
                    <a:moveTo>
                      <a:pt x="127" y="222"/>
                    </a:moveTo>
                    <a:cubicBezTo>
                      <a:pt x="127" y="222"/>
                      <a:pt x="126" y="222"/>
                      <a:pt x="126" y="221"/>
                    </a:cubicBezTo>
                    <a:cubicBezTo>
                      <a:pt x="109" y="212"/>
                      <a:pt x="109" y="212"/>
                      <a:pt x="109" y="212"/>
                    </a:cubicBezTo>
                    <a:cubicBezTo>
                      <a:pt x="109" y="211"/>
                      <a:pt x="108" y="211"/>
                      <a:pt x="108" y="210"/>
                    </a:cubicBez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2" y="203"/>
                      <a:pt x="102" y="203"/>
                      <a:pt x="102" y="203"/>
                    </a:cubicBezTo>
                    <a:cubicBezTo>
                      <a:pt x="101" y="203"/>
                      <a:pt x="101" y="202"/>
                      <a:pt x="101" y="201"/>
                    </a:cubicBezTo>
                    <a:cubicBezTo>
                      <a:pt x="101" y="201"/>
                      <a:pt x="101" y="200"/>
                      <a:pt x="102" y="200"/>
                    </a:cubicBezTo>
                    <a:cubicBezTo>
                      <a:pt x="121" y="189"/>
                      <a:pt x="121" y="189"/>
                      <a:pt x="121" y="189"/>
                    </a:cubicBezTo>
                    <a:cubicBezTo>
                      <a:pt x="56" y="152"/>
                      <a:pt x="56" y="152"/>
                      <a:pt x="56" y="152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1" y="166"/>
                      <a:pt x="30" y="166"/>
                      <a:pt x="30" y="166"/>
                    </a:cubicBezTo>
                    <a:cubicBezTo>
                      <a:pt x="1" y="149"/>
                      <a:pt x="1" y="149"/>
                      <a:pt x="1" y="149"/>
                    </a:cubicBezTo>
                    <a:cubicBezTo>
                      <a:pt x="0" y="149"/>
                      <a:pt x="0" y="148"/>
                      <a:pt x="0" y="14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220"/>
                      <a:pt x="129" y="220"/>
                      <a:pt x="129" y="220"/>
                    </a:cubicBezTo>
                    <a:cubicBezTo>
                      <a:pt x="129" y="220"/>
                      <a:pt x="129" y="221"/>
                      <a:pt x="128" y="221"/>
                    </a:cubicBezTo>
                    <a:cubicBezTo>
                      <a:pt x="128" y="222"/>
                      <a:pt x="127" y="222"/>
                      <a:pt x="127" y="222"/>
                    </a:cubicBezTo>
                    <a:close/>
                    <a:moveTo>
                      <a:pt x="112" y="209"/>
                    </a:moveTo>
                    <a:cubicBezTo>
                      <a:pt x="125" y="216"/>
                      <a:pt x="125" y="216"/>
                      <a:pt x="125" y="216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11" y="204"/>
                      <a:pt x="111" y="204"/>
                      <a:pt x="111" y="204"/>
                    </a:cubicBezTo>
                    <a:cubicBezTo>
                      <a:pt x="112" y="204"/>
                      <a:pt x="112" y="205"/>
                      <a:pt x="112" y="205"/>
                    </a:cubicBezTo>
                    <a:lnTo>
                      <a:pt x="112" y="209"/>
                    </a:lnTo>
                    <a:close/>
                    <a:moveTo>
                      <a:pt x="56" y="147"/>
                    </a:moveTo>
                    <a:cubicBezTo>
                      <a:pt x="57" y="147"/>
                      <a:pt x="57" y="147"/>
                      <a:pt x="57" y="148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31" y="162"/>
                      <a:pt x="31" y="162"/>
                      <a:pt x="31" y="162"/>
                    </a:cubicBezTo>
                    <a:cubicBezTo>
                      <a:pt x="55" y="148"/>
                      <a:pt x="55" y="148"/>
                      <a:pt x="55" y="148"/>
                    </a:cubicBezTo>
                    <a:cubicBezTo>
                      <a:pt x="56" y="147"/>
                      <a:pt x="56" y="147"/>
                      <a:pt x="56" y="14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2" name="Freeform 567">
                <a:extLst>
                  <a:ext uri="{FF2B5EF4-FFF2-40B4-BE49-F238E27FC236}">
                    <a16:creationId xmlns:a16="http://schemas.microsoft.com/office/drawing/2014/main" id="{AD476C24-682B-4BE0-AD59-C761265279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809116" y="4984106"/>
                <a:ext cx="649501" cy="377664"/>
              </a:xfrm>
              <a:custGeom>
                <a:avLst/>
                <a:gdLst>
                  <a:gd name="T0" fmla="*/ 132 w 265"/>
                  <a:gd name="T1" fmla="*/ 154 h 154"/>
                  <a:gd name="T2" fmla="*/ 131 w 265"/>
                  <a:gd name="T3" fmla="*/ 154 h 154"/>
                  <a:gd name="T4" fmla="*/ 1 w 265"/>
                  <a:gd name="T5" fmla="*/ 79 h 154"/>
                  <a:gd name="T6" fmla="*/ 0 w 265"/>
                  <a:gd name="T7" fmla="*/ 77 h 154"/>
                  <a:gd name="T8" fmla="*/ 1 w 265"/>
                  <a:gd name="T9" fmla="*/ 75 h 154"/>
                  <a:gd name="T10" fmla="*/ 131 w 265"/>
                  <a:gd name="T11" fmla="*/ 0 h 154"/>
                  <a:gd name="T12" fmla="*/ 133 w 265"/>
                  <a:gd name="T13" fmla="*/ 0 h 154"/>
                  <a:gd name="T14" fmla="*/ 264 w 265"/>
                  <a:gd name="T15" fmla="*/ 75 h 154"/>
                  <a:gd name="T16" fmla="*/ 265 w 265"/>
                  <a:gd name="T17" fmla="*/ 77 h 154"/>
                  <a:gd name="T18" fmla="*/ 264 w 265"/>
                  <a:gd name="T19" fmla="*/ 79 h 154"/>
                  <a:gd name="T20" fmla="*/ 133 w 265"/>
                  <a:gd name="T21" fmla="*/ 154 h 154"/>
                  <a:gd name="T22" fmla="*/ 132 w 265"/>
                  <a:gd name="T23" fmla="*/ 154 h 154"/>
                  <a:gd name="T24" fmla="*/ 6 w 265"/>
                  <a:gd name="T25" fmla="*/ 77 h 154"/>
                  <a:gd name="T26" fmla="*/ 132 w 265"/>
                  <a:gd name="T27" fmla="*/ 150 h 154"/>
                  <a:gd name="T28" fmla="*/ 259 w 265"/>
                  <a:gd name="T29" fmla="*/ 77 h 154"/>
                  <a:gd name="T30" fmla="*/ 132 w 265"/>
                  <a:gd name="T31" fmla="*/ 4 h 154"/>
                  <a:gd name="T32" fmla="*/ 6 w 265"/>
                  <a:gd name="T33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4">
                    <a:moveTo>
                      <a:pt x="132" y="154"/>
                    </a:moveTo>
                    <a:cubicBezTo>
                      <a:pt x="132" y="154"/>
                      <a:pt x="131" y="154"/>
                      <a:pt x="131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78"/>
                      <a:pt x="0" y="78"/>
                      <a:pt x="0" y="77"/>
                    </a:cubicBezTo>
                    <a:cubicBezTo>
                      <a:pt x="0" y="76"/>
                      <a:pt x="0" y="76"/>
                      <a:pt x="1" y="75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3" y="0"/>
                      <a:pt x="133" y="0"/>
                    </a:cubicBezTo>
                    <a:cubicBezTo>
                      <a:pt x="264" y="75"/>
                      <a:pt x="264" y="75"/>
                      <a:pt x="264" y="75"/>
                    </a:cubicBezTo>
                    <a:cubicBezTo>
                      <a:pt x="264" y="76"/>
                      <a:pt x="265" y="76"/>
                      <a:pt x="265" y="77"/>
                    </a:cubicBezTo>
                    <a:cubicBezTo>
                      <a:pt x="265" y="78"/>
                      <a:pt x="264" y="78"/>
                      <a:pt x="264" y="79"/>
                    </a:cubicBezTo>
                    <a:cubicBezTo>
                      <a:pt x="133" y="154"/>
                      <a:pt x="133" y="154"/>
                      <a:pt x="133" y="154"/>
                    </a:cubicBezTo>
                    <a:cubicBezTo>
                      <a:pt x="133" y="154"/>
                      <a:pt x="132" y="154"/>
                      <a:pt x="132" y="154"/>
                    </a:cubicBezTo>
                    <a:close/>
                    <a:moveTo>
                      <a:pt x="6" y="77"/>
                    </a:moveTo>
                    <a:cubicBezTo>
                      <a:pt x="132" y="150"/>
                      <a:pt x="132" y="150"/>
                      <a:pt x="132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2" y="4"/>
                      <a:pt x="132" y="4"/>
                      <a:pt x="132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3" name="Freeform 568">
                <a:extLst>
                  <a:ext uri="{FF2B5EF4-FFF2-40B4-BE49-F238E27FC236}">
                    <a16:creationId xmlns:a16="http://schemas.microsoft.com/office/drawing/2014/main" id="{8CA55971-34D3-4697-B696-52A8EB61D3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818454" y="4989294"/>
                <a:ext cx="631863" cy="370402"/>
              </a:xfrm>
              <a:custGeom>
                <a:avLst/>
                <a:gdLst>
                  <a:gd name="T0" fmla="*/ 129 w 258"/>
                  <a:gd name="T1" fmla="*/ 151 h 151"/>
                  <a:gd name="T2" fmla="*/ 128 w 258"/>
                  <a:gd name="T3" fmla="*/ 150 h 151"/>
                  <a:gd name="T4" fmla="*/ 1 w 258"/>
                  <a:gd name="T5" fmla="*/ 77 h 151"/>
                  <a:gd name="T6" fmla="*/ 0 w 258"/>
                  <a:gd name="T7" fmla="*/ 75 h 151"/>
                  <a:gd name="T8" fmla="*/ 1 w 258"/>
                  <a:gd name="T9" fmla="*/ 73 h 151"/>
                  <a:gd name="T10" fmla="*/ 128 w 258"/>
                  <a:gd name="T11" fmla="*/ 0 h 151"/>
                  <a:gd name="T12" fmla="*/ 130 w 258"/>
                  <a:gd name="T13" fmla="*/ 0 h 151"/>
                  <a:gd name="T14" fmla="*/ 257 w 258"/>
                  <a:gd name="T15" fmla="*/ 73 h 151"/>
                  <a:gd name="T16" fmla="*/ 258 w 258"/>
                  <a:gd name="T17" fmla="*/ 75 h 151"/>
                  <a:gd name="T18" fmla="*/ 257 w 258"/>
                  <a:gd name="T19" fmla="*/ 77 h 151"/>
                  <a:gd name="T20" fmla="*/ 130 w 258"/>
                  <a:gd name="T21" fmla="*/ 150 h 151"/>
                  <a:gd name="T22" fmla="*/ 129 w 258"/>
                  <a:gd name="T23" fmla="*/ 151 h 151"/>
                  <a:gd name="T24" fmla="*/ 6 w 258"/>
                  <a:gd name="T25" fmla="*/ 75 h 151"/>
                  <a:gd name="T26" fmla="*/ 129 w 258"/>
                  <a:gd name="T27" fmla="*/ 146 h 151"/>
                  <a:gd name="T28" fmla="*/ 252 w 258"/>
                  <a:gd name="T29" fmla="*/ 75 h 151"/>
                  <a:gd name="T30" fmla="*/ 129 w 258"/>
                  <a:gd name="T31" fmla="*/ 4 h 151"/>
                  <a:gd name="T32" fmla="*/ 6 w 258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8" h="151">
                    <a:moveTo>
                      <a:pt x="129" y="151"/>
                    </a:moveTo>
                    <a:cubicBezTo>
                      <a:pt x="129" y="151"/>
                      <a:pt x="128" y="150"/>
                      <a:pt x="128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76"/>
                      <a:pt x="0" y="76"/>
                      <a:pt x="0" y="75"/>
                    </a:cubicBezTo>
                    <a:cubicBezTo>
                      <a:pt x="0" y="74"/>
                      <a:pt x="0" y="74"/>
                      <a:pt x="1" y="73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30" y="0"/>
                      <a:pt x="130" y="0"/>
                    </a:cubicBezTo>
                    <a:cubicBezTo>
                      <a:pt x="257" y="73"/>
                      <a:pt x="257" y="73"/>
                      <a:pt x="257" y="73"/>
                    </a:cubicBezTo>
                    <a:cubicBezTo>
                      <a:pt x="258" y="74"/>
                      <a:pt x="258" y="74"/>
                      <a:pt x="258" y="75"/>
                    </a:cubicBezTo>
                    <a:cubicBezTo>
                      <a:pt x="258" y="76"/>
                      <a:pt x="258" y="76"/>
                      <a:pt x="257" y="77"/>
                    </a:cubicBezTo>
                    <a:cubicBezTo>
                      <a:pt x="130" y="150"/>
                      <a:pt x="130" y="150"/>
                      <a:pt x="130" y="150"/>
                    </a:cubicBezTo>
                    <a:cubicBezTo>
                      <a:pt x="130" y="150"/>
                      <a:pt x="129" y="151"/>
                      <a:pt x="129" y="151"/>
                    </a:cubicBezTo>
                    <a:close/>
                    <a:moveTo>
                      <a:pt x="6" y="75"/>
                    </a:moveTo>
                    <a:cubicBezTo>
                      <a:pt x="129" y="146"/>
                      <a:pt x="129" y="146"/>
                      <a:pt x="129" y="146"/>
                    </a:cubicBezTo>
                    <a:cubicBezTo>
                      <a:pt x="252" y="75"/>
                      <a:pt x="252" y="75"/>
                      <a:pt x="252" y="75"/>
                    </a:cubicBezTo>
                    <a:cubicBezTo>
                      <a:pt x="129" y="4"/>
                      <a:pt x="129" y="4"/>
                      <a:pt x="129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4" name="Freeform 569">
                <a:extLst>
                  <a:ext uri="{FF2B5EF4-FFF2-40B4-BE49-F238E27FC236}">
                    <a16:creationId xmlns:a16="http://schemas.microsoft.com/office/drawing/2014/main" id="{B887C17F-725B-45B8-A4C2-7169E51D3E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72842" y="4984106"/>
                <a:ext cx="649501" cy="377664"/>
              </a:xfrm>
              <a:custGeom>
                <a:avLst/>
                <a:gdLst>
                  <a:gd name="T0" fmla="*/ 133 w 265"/>
                  <a:gd name="T1" fmla="*/ 154 h 154"/>
                  <a:gd name="T2" fmla="*/ 132 w 265"/>
                  <a:gd name="T3" fmla="*/ 154 h 154"/>
                  <a:gd name="T4" fmla="*/ 1 w 265"/>
                  <a:gd name="T5" fmla="*/ 79 h 154"/>
                  <a:gd name="T6" fmla="*/ 0 w 265"/>
                  <a:gd name="T7" fmla="*/ 77 h 154"/>
                  <a:gd name="T8" fmla="*/ 1 w 265"/>
                  <a:gd name="T9" fmla="*/ 75 h 154"/>
                  <a:gd name="T10" fmla="*/ 132 w 265"/>
                  <a:gd name="T11" fmla="*/ 0 h 154"/>
                  <a:gd name="T12" fmla="*/ 134 w 265"/>
                  <a:gd name="T13" fmla="*/ 0 h 154"/>
                  <a:gd name="T14" fmla="*/ 264 w 265"/>
                  <a:gd name="T15" fmla="*/ 75 h 154"/>
                  <a:gd name="T16" fmla="*/ 265 w 265"/>
                  <a:gd name="T17" fmla="*/ 77 h 154"/>
                  <a:gd name="T18" fmla="*/ 264 w 265"/>
                  <a:gd name="T19" fmla="*/ 79 h 154"/>
                  <a:gd name="T20" fmla="*/ 134 w 265"/>
                  <a:gd name="T21" fmla="*/ 154 h 154"/>
                  <a:gd name="T22" fmla="*/ 133 w 265"/>
                  <a:gd name="T23" fmla="*/ 154 h 154"/>
                  <a:gd name="T24" fmla="*/ 6 w 265"/>
                  <a:gd name="T25" fmla="*/ 77 h 154"/>
                  <a:gd name="T26" fmla="*/ 133 w 265"/>
                  <a:gd name="T27" fmla="*/ 150 h 154"/>
                  <a:gd name="T28" fmla="*/ 259 w 265"/>
                  <a:gd name="T29" fmla="*/ 77 h 154"/>
                  <a:gd name="T30" fmla="*/ 133 w 265"/>
                  <a:gd name="T31" fmla="*/ 4 h 154"/>
                  <a:gd name="T32" fmla="*/ 6 w 265"/>
                  <a:gd name="T33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4">
                    <a:moveTo>
                      <a:pt x="133" y="154"/>
                    </a:moveTo>
                    <a:cubicBezTo>
                      <a:pt x="132" y="154"/>
                      <a:pt x="132" y="154"/>
                      <a:pt x="132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1" y="78"/>
                      <a:pt x="0" y="78"/>
                      <a:pt x="0" y="77"/>
                    </a:cubicBezTo>
                    <a:cubicBezTo>
                      <a:pt x="0" y="76"/>
                      <a:pt x="1" y="76"/>
                      <a:pt x="1" y="75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32" y="0"/>
                      <a:pt x="133" y="0"/>
                      <a:pt x="134" y="0"/>
                    </a:cubicBezTo>
                    <a:cubicBezTo>
                      <a:pt x="264" y="75"/>
                      <a:pt x="264" y="75"/>
                      <a:pt x="264" y="75"/>
                    </a:cubicBezTo>
                    <a:cubicBezTo>
                      <a:pt x="265" y="76"/>
                      <a:pt x="265" y="76"/>
                      <a:pt x="265" y="77"/>
                    </a:cubicBezTo>
                    <a:cubicBezTo>
                      <a:pt x="265" y="78"/>
                      <a:pt x="265" y="78"/>
                      <a:pt x="264" y="79"/>
                    </a:cubicBezTo>
                    <a:cubicBezTo>
                      <a:pt x="134" y="154"/>
                      <a:pt x="134" y="154"/>
                      <a:pt x="134" y="154"/>
                    </a:cubicBezTo>
                    <a:cubicBezTo>
                      <a:pt x="133" y="154"/>
                      <a:pt x="133" y="154"/>
                      <a:pt x="133" y="154"/>
                    </a:cubicBezTo>
                    <a:close/>
                    <a:moveTo>
                      <a:pt x="6" y="77"/>
                    </a:moveTo>
                    <a:cubicBezTo>
                      <a:pt x="133" y="150"/>
                      <a:pt x="133" y="150"/>
                      <a:pt x="133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3" y="4"/>
                      <a:pt x="133" y="4"/>
                      <a:pt x="133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5" name="Freeform 570">
                <a:extLst>
                  <a:ext uri="{FF2B5EF4-FFF2-40B4-BE49-F238E27FC236}">
                    <a16:creationId xmlns:a16="http://schemas.microsoft.com/office/drawing/2014/main" id="{83D3323E-CABD-4651-81C1-0C03A64CDA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81142" y="4989294"/>
                <a:ext cx="633938" cy="370402"/>
              </a:xfrm>
              <a:custGeom>
                <a:avLst/>
                <a:gdLst>
                  <a:gd name="T0" fmla="*/ 130 w 259"/>
                  <a:gd name="T1" fmla="*/ 151 h 151"/>
                  <a:gd name="T2" fmla="*/ 129 w 259"/>
                  <a:gd name="T3" fmla="*/ 150 h 151"/>
                  <a:gd name="T4" fmla="*/ 1 w 259"/>
                  <a:gd name="T5" fmla="*/ 77 h 151"/>
                  <a:gd name="T6" fmla="*/ 0 w 259"/>
                  <a:gd name="T7" fmla="*/ 75 h 151"/>
                  <a:gd name="T8" fmla="*/ 1 w 259"/>
                  <a:gd name="T9" fmla="*/ 73 h 151"/>
                  <a:gd name="T10" fmla="*/ 129 w 259"/>
                  <a:gd name="T11" fmla="*/ 0 h 151"/>
                  <a:gd name="T12" fmla="*/ 131 w 259"/>
                  <a:gd name="T13" fmla="*/ 0 h 151"/>
                  <a:gd name="T14" fmla="*/ 258 w 259"/>
                  <a:gd name="T15" fmla="*/ 73 h 151"/>
                  <a:gd name="T16" fmla="*/ 259 w 259"/>
                  <a:gd name="T17" fmla="*/ 75 h 151"/>
                  <a:gd name="T18" fmla="*/ 258 w 259"/>
                  <a:gd name="T19" fmla="*/ 77 h 151"/>
                  <a:gd name="T20" fmla="*/ 131 w 259"/>
                  <a:gd name="T21" fmla="*/ 150 h 151"/>
                  <a:gd name="T22" fmla="*/ 130 w 259"/>
                  <a:gd name="T23" fmla="*/ 151 h 151"/>
                  <a:gd name="T24" fmla="*/ 6 w 259"/>
                  <a:gd name="T25" fmla="*/ 75 h 151"/>
                  <a:gd name="T26" fmla="*/ 130 w 259"/>
                  <a:gd name="T27" fmla="*/ 146 h 151"/>
                  <a:gd name="T28" fmla="*/ 253 w 259"/>
                  <a:gd name="T29" fmla="*/ 75 h 151"/>
                  <a:gd name="T30" fmla="*/ 130 w 259"/>
                  <a:gd name="T31" fmla="*/ 4 h 151"/>
                  <a:gd name="T32" fmla="*/ 6 w 259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51">
                    <a:moveTo>
                      <a:pt x="130" y="151"/>
                    </a:moveTo>
                    <a:cubicBezTo>
                      <a:pt x="129" y="151"/>
                      <a:pt x="129" y="150"/>
                      <a:pt x="129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6"/>
                      <a:pt x="0" y="75"/>
                    </a:cubicBezTo>
                    <a:cubicBezTo>
                      <a:pt x="0" y="74"/>
                      <a:pt x="1" y="74"/>
                      <a:pt x="1" y="73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30" y="0"/>
                      <a:pt x="131" y="0"/>
                    </a:cubicBezTo>
                    <a:cubicBezTo>
                      <a:pt x="258" y="73"/>
                      <a:pt x="258" y="73"/>
                      <a:pt x="258" y="73"/>
                    </a:cubicBezTo>
                    <a:cubicBezTo>
                      <a:pt x="258" y="74"/>
                      <a:pt x="259" y="74"/>
                      <a:pt x="259" y="75"/>
                    </a:cubicBezTo>
                    <a:cubicBezTo>
                      <a:pt x="259" y="76"/>
                      <a:pt x="258" y="76"/>
                      <a:pt x="258" y="77"/>
                    </a:cubicBezTo>
                    <a:cubicBezTo>
                      <a:pt x="131" y="150"/>
                      <a:pt x="131" y="150"/>
                      <a:pt x="131" y="150"/>
                    </a:cubicBezTo>
                    <a:cubicBezTo>
                      <a:pt x="130" y="150"/>
                      <a:pt x="130" y="151"/>
                      <a:pt x="130" y="151"/>
                    </a:cubicBezTo>
                    <a:close/>
                    <a:moveTo>
                      <a:pt x="6" y="75"/>
                    </a:moveTo>
                    <a:cubicBezTo>
                      <a:pt x="130" y="146"/>
                      <a:pt x="130" y="146"/>
                      <a:pt x="130" y="146"/>
                    </a:cubicBezTo>
                    <a:cubicBezTo>
                      <a:pt x="253" y="75"/>
                      <a:pt x="253" y="75"/>
                      <a:pt x="253" y="75"/>
                    </a:cubicBezTo>
                    <a:cubicBezTo>
                      <a:pt x="130" y="4"/>
                      <a:pt x="130" y="4"/>
                      <a:pt x="130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6" name="Freeform 571">
                <a:extLst>
                  <a:ext uri="{FF2B5EF4-FFF2-40B4-BE49-F238E27FC236}">
                    <a16:creationId xmlns:a16="http://schemas.microsoft.com/office/drawing/2014/main" id="{FCAF0E05-62B5-4AC5-AF2F-F96984FA49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19080" y="5530889"/>
                <a:ext cx="649501" cy="379739"/>
              </a:xfrm>
              <a:custGeom>
                <a:avLst/>
                <a:gdLst>
                  <a:gd name="T0" fmla="*/ 132 w 265"/>
                  <a:gd name="T1" fmla="*/ 155 h 155"/>
                  <a:gd name="T2" fmla="*/ 131 w 265"/>
                  <a:gd name="T3" fmla="*/ 154 h 155"/>
                  <a:gd name="T4" fmla="*/ 1 w 265"/>
                  <a:gd name="T5" fmla="*/ 79 h 155"/>
                  <a:gd name="T6" fmla="*/ 0 w 265"/>
                  <a:gd name="T7" fmla="*/ 77 h 155"/>
                  <a:gd name="T8" fmla="*/ 1 w 265"/>
                  <a:gd name="T9" fmla="*/ 76 h 155"/>
                  <a:gd name="T10" fmla="*/ 131 w 265"/>
                  <a:gd name="T11" fmla="*/ 0 h 155"/>
                  <a:gd name="T12" fmla="*/ 133 w 265"/>
                  <a:gd name="T13" fmla="*/ 0 h 155"/>
                  <a:gd name="T14" fmla="*/ 264 w 265"/>
                  <a:gd name="T15" fmla="*/ 76 h 155"/>
                  <a:gd name="T16" fmla="*/ 265 w 265"/>
                  <a:gd name="T17" fmla="*/ 77 h 155"/>
                  <a:gd name="T18" fmla="*/ 264 w 265"/>
                  <a:gd name="T19" fmla="*/ 79 h 155"/>
                  <a:gd name="T20" fmla="*/ 133 w 265"/>
                  <a:gd name="T21" fmla="*/ 154 h 155"/>
                  <a:gd name="T22" fmla="*/ 132 w 265"/>
                  <a:gd name="T23" fmla="*/ 155 h 155"/>
                  <a:gd name="T24" fmla="*/ 6 w 265"/>
                  <a:gd name="T25" fmla="*/ 77 h 155"/>
                  <a:gd name="T26" fmla="*/ 132 w 265"/>
                  <a:gd name="T27" fmla="*/ 150 h 155"/>
                  <a:gd name="T28" fmla="*/ 259 w 265"/>
                  <a:gd name="T29" fmla="*/ 77 h 155"/>
                  <a:gd name="T30" fmla="*/ 132 w 265"/>
                  <a:gd name="T31" fmla="*/ 4 h 155"/>
                  <a:gd name="T32" fmla="*/ 6 w 265"/>
                  <a:gd name="T33" fmla="*/ 77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5">
                    <a:moveTo>
                      <a:pt x="132" y="155"/>
                    </a:moveTo>
                    <a:cubicBezTo>
                      <a:pt x="132" y="155"/>
                      <a:pt x="131" y="155"/>
                      <a:pt x="131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79"/>
                      <a:pt x="0" y="78"/>
                      <a:pt x="0" y="77"/>
                    </a:cubicBezTo>
                    <a:cubicBezTo>
                      <a:pt x="0" y="77"/>
                      <a:pt x="0" y="76"/>
                      <a:pt x="1" y="76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2" y="0"/>
                      <a:pt x="133" y="0"/>
                    </a:cubicBezTo>
                    <a:cubicBezTo>
                      <a:pt x="264" y="76"/>
                      <a:pt x="264" y="76"/>
                      <a:pt x="264" y="76"/>
                    </a:cubicBezTo>
                    <a:cubicBezTo>
                      <a:pt x="264" y="76"/>
                      <a:pt x="265" y="77"/>
                      <a:pt x="265" y="77"/>
                    </a:cubicBezTo>
                    <a:cubicBezTo>
                      <a:pt x="265" y="78"/>
                      <a:pt x="264" y="79"/>
                      <a:pt x="264" y="79"/>
                    </a:cubicBezTo>
                    <a:cubicBezTo>
                      <a:pt x="133" y="154"/>
                      <a:pt x="133" y="154"/>
                      <a:pt x="133" y="154"/>
                    </a:cubicBezTo>
                    <a:cubicBezTo>
                      <a:pt x="133" y="155"/>
                      <a:pt x="132" y="155"/>
                      <a:pt x="132" y="155"/>
                    </a:cubicBezTo>
                    <a:close/>
                    <a:moveTo>
                      <a:pt x="6" y="77"/>
                    </a:moveTo>
                    <a:cubicBezTo>
                      <a:pt x="132" y="150"/>
                      <a:pt x="132" y="150"/>
                      <a:pt x="132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2" y="4"/>
                      <a:pt x="132" y="4"/>
                      <a:pt x="132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7" name="Freeform 572">
                <a:extLst>
                  <a:ext uri="{FF2B5EF4-FFF2-40B4-BE49-F238E27FC236}">
                    <a16:creationId xmlns:a16="http://schemas.microsoft.com/office/drawing/2014/main" id="{F8EF9140-3677-4899-80FE-E209670A0E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29455" y="5536077"/>
                <a:ext cx="631863" cy="370402"/>
              </a:xfrm>
              <a:custGeom>
                <a:avLst/>
                <a:gdLst>
                  <a:gd name="T0" fmla="*/ 129 w 258"/>
                  <a:gd name="T1" fmla="*/ 151 h 151"/>
                  <a:gd name="T2" fmla="*/ 128 w 258"/>
                  <a:gd name="T3" fmla="*/ 150 h 151"/>
                  <a:gd name="T4" fmla="*/ 1 w 258"/>
                  <a:gd name="T5" fmla="*/ 77 h 151"/>
                  <a:gd name="T6" fmla="*/ 0 w 258"/>
                  <a:gd name="T7" fmla="*/ 75 h 151"/>
                  <a:gd name="T8" fmla="*/ 1 w 258"/>
                  <a:gd name="T9" fmla="*/ 74 h 151"/>
                  <a:gd name="T10" fmla="*/ 128 w 258"/>
                  <a:gd name="T11" fmla="*/ 0 h 151"/>
                  <a:gd name="T12" fmla="*/ 130 w 258"/>
                  <a:gd name="T13" fmla="*/ 0 h 151"/>
                  <a:gd name="T14" fmla="*/ 257 w 258"/>
                  <a:gd name="T15" fmla="*/ 74 h 151"/>
                  <a:gd name="T16" fmla="*/ 258 w 258"/>
                  <a:gd name="T17" fmla="*/ 75 h 151"/>
                  <a:gd name="T18" fmla="*/ 257 w 258"/>
                  <a:gd name="T19" fmla="*/ 77 h 151"/>
                  <a:gd name="T20" fmla="*/ 130 w 258"/>
                  <a:gd name="T21" fmla="*/ 150 h 151"/>
                  <a:gd name="T22" fmla="*/ 129 w 258"/>
                  <a:gd name="T23" fmla="*/ 151 h 151"/>
                  <a:gd name="T24" fmla="*/ 6 w 258"/>
                  <a:gd name="T25" fmla="*/ 75 h 151"/>
                  <a:gd name="T26" fmla="*/ 129 w 258"/>
                  <a:gd name="T27" fmla="*/ 146 h 151"/>
                  <a:gd name="T28" fmla="*/ 252 w 258"/>
                  <a:gd name="T29" fmla="*/ 75 h 151"/>
                  <a:gd name="T30" fmla="*/ 129 w 258"/>
                  <a:gd name="T31" fmla="*/ 4 h 151"/>
                  <a:gd name="T32" fmla="*/ 6 w 258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8" h="151">
                    <a:moveTo>
                      <a:pt x="129" y="151"/>
                    </a:moveTo>
                    <a:cubicBezTo>
                      <a:pt x="129" y="151"/>
                      <a:pt x="128" y="151"/>
                      <a:pt x="128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77"/>
                      <a:pt x="0" y="76"/>
                      <a:pt x="0" y="75"/>
                    </a:cubicBezTo>
                    <a:cubicBezTo>
                      <a:pt x="0" y="75"/>
                      <a:pt x="0" y="74"/>
                      <a:pt x="1" y="74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30" y="0"/>
                    </a:cubicBezTo>
                    <a:cubicBezTo>
                      <a:pt x="257" y="74"/>
                      <a:pt x="257" y="74"/>
                      <a:pt x="257" y="74"/>
                    </a:cubicBezTo>
                    <a:cubicBezTo>
                      <a:pt x="258" y="74"/>
                      <a:pt x="258" y="75"/>
                      <a:pt x="258" y="75"/>
                    </a:cubicBezTo>
                    <a:cubicBezTo>
                      <a:pt x="258" y="76"/>
                      <a:pt x="258" y="77"/>
                      <a:pt x="257" y="77"/>
                    </a:cubicBezTo>
                    <a:cubicBezTo>
                      <a:pt x="130" y="150"/>
                      <a:pt x="130" y="150"/>
                      <a:pt x="130" y="150"/>
                    </a:cubicBezTo>
                    <a:cubicBezTo>
                      <a:pt x="130" y="151"/>
                      <a:pt x="129" y="151"/>
                      <a:pt x="129" y="151"/>
                    </a:cubicBezTo>
                    <a:close/>
                    <a:moveTo>
                      <a:pt x="6" y="75"/>
                    </a:moveTo>
                    <a:cubicBezTo>
                      <a:pt x="129" y="146"/>
                      <a:pt x="129" y="146"/>
                      <a:pt x="129" y="146"/>
                    </a:cubicBezTo>
                    <a:cubicBezTo>
                      <a:pt x="252" y="75"/>
                      <a:pt x="252" y="75"/>
                      <a:pt x="252" y="75"/>
                    </a:cubicBezTo>
                    <a:cubicBezTo>
                      <a:pt x="129" y="4"/>
                      <a:pt x="129" y="4"/>
                      <a:pt x="129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8" name="Freeform 577">
                <a:extLst>
                  <a:ext uri="{FF2B5EF4-FFF2-40B4-BE49-F238E27FC236}">
                    <a16:creationId xmlns:a16="http://schemas.microsoft.com/office/drawing/2014/main" id="{1B5B757B-666B-4639-9649-BF908CD61B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862411" y="6921192"/>
                <a:ext cx="159781" cy="169119"/>
              </a:xfrm>
              <a:custGeom>
                <a:avLst/>
                <a:gdLst>
                  <a:gd name="T0" fmla="*/ 61 w 65"/>
                  <a:gd name="T1" fmla="*/ 69 h 69"/>
                  <a:gd name="T2" fmla="*/ 60 w 65"/>
                  <a:gd name="T3" fmla="*/ 69 h 69"/>
                  <a:gd name="T4" fmla="*/ 1 w 65"/>
                  <a:gd name="T5" fmla="*/ 35 h 69"/>
                  <a:gd name="T6" fmla="*/ 0 w 65"/>
                  <a:gd name="T7" fmla="*/ 33 h 69"/>
                  <a:gd name="T8" fmla="*/ 1 w 65"/>
                  <a:gd name="T9" fmla="*/ 31 h 69"/>
                  <a:gd name="T10" fmla="*/ 54 w 65"/>
                  <a:gd name="T11" fmla="*/ 1 h 69"/>
                  <a:gd name="T12" fmla="*/ 56 w 65"/>
                  <a:gd name="T13" fmla="*/ 1 h 69"/>
                  <a:gd name="T14" fmla="*/ 64 w 65"/>
                  <a:gd name="T15" fmla="*/ 6 h 69"/>
                  <a:gd name="T16" fmla="*/ 65 w 65"/>
                  <a:gd name="T17" fmla="*/ 7 h 69"/>
                  <a:gd name="T18" fmla="*/ 65 w 65"/>
                  <a:gd name="T19" fmla="*/ 66 h 69"/>
                  <a:gd name="T20" fmla="*/ 64 w 65"/>
                  <a:gd name="T21" fmla="*/ 68 h 69"/>
                  <a:gd name="T22" fmla="*/ 62 w 65"/>
                  <a:gd name="T23" fmla="*/ 69 h 69"/>
                  <a:gd name="T24" fmla="*/ 61 w 65"/>
                  <a:gd name="T25" fmla="*/ 69 h 69"/>
                  <a:gd name="T26" fmla="*/ 63 w 65"/>
                  <a:gd name="T27" fmla="*/ 66 h 69"/>
                  <a:gd name="T28" fmla="*/ 63 w 65"/>
                  <a:gd name="T29" fmla="*/ 66 h 69"/>
                  <a:gd name="T30" fmla="*/ 6 w 65"/>
                  <a:gd name="T31" fmla="*/ 33 h 69"/>
                  <a:gd name="T32" fmla="*/ 61 w 65"/>
                  <a:gd name="T33" fmla="*/ 65 h 69"/>
                  <a:gd name="T34" fmla="*/ 61 w 65"/>
                  <a:gd name="T35" fmla="*/ 9 h 69"/>
                  <a:gd name="T36" fmla="*/ 55 w 65"/>
                  <a:gd name="T37" fmla="*/ 5 h 69"/>
                  <a:gd name="T38" fmla="*/ 6 w 65"/>
                  <a:gd name="T39" fmla="*/ 3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5" h="69">
                    <a:moveTo>
                      <a:pt x="61" y="69"/>
                    </a:moveTo>
                    <a:cubicBezTo>
                      <a:pt x="61" y="69"/>
                      <a:pt x="61" y="69"/>
                      <a:pt x="60" y="69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32"/>
                      <a:pt x="0" y="32"/>
                      <a:pt x="1" y="3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4" y="0"/>
                      <a:pt x="55" y="0"/>
                      <a:pt x="56" y="1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5" y="6"/>
                      <a:pt x="65" y="7"/>
                      <a:pt x="65" y="7"/>
                    </a:cubicBezTo>
                    <a:cubicBezTo>
                      <a:pt x="65" y="66"/>
                      <a:pt x="65" y="66"/>
                      <a:pt x="65" y="66"/>
                    </a:cubicBezTo>
                    <a:cubicBezTo>
                      <a:pt x="65" y="67"/>
                      <a:pt x="65" y="68"/>
                      <a:pt x="64" y="68"/>
                    </a:cubicBezTo>
                    <a:cubicBezTo>
                      <a:pt x="62" y="69"/>
                      <a:pt x="62" y="69"/>
                      <a:pt x="62" y="69"/>
                    </a:cubicBezTo>
                    <a:cubicBezTo>
                      <a:pt x="62" y="69"/>
                      <a:pt x="62" y="69"/>
                      <a:pt x="61" y="69"/>
                    </a:cubicBezTo>
                    <a:close/>
                    <a:moveTo>
                      <a:pt x="63" y="66"/>
                    </a:moveTo>
                    <a:cubicBezTo>
                      <a:pt x="63" y="66"/>
                      <a:pt x="63" y="66"/>
                      <a:pt x="63" y="66"/>
                    </a:cubicBezTo>
                    <a:close/>
                    <a:moveTo>
                      <a:pt x="6" y="33"/>
                    </a:moveTo>
                    <a:cubicBezTo>
                      <a:pt x="61" y="65"/>
                      <a:pt x="61" y="65"/>
                      <a:pt x="61" y="65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55" y="5"/>
                      <a:pt x="55" y="5"/>
                      <a:pt x="55" y="5"/>
                    </a:cubicBezTo>
                    <a:lnTo>
                      <a:pt x="6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9" name="Freeform 581">
                <a:extLst>
                  <a:ext uri="{FF2B5EF4-FFF2-40B4-BE49-F238E27FC236}">
                    <a16:creationId xmlns:a16="http://schemas.microsoft.com/office/drawing/2014/main" id="{16EB2097-95EF-465D-A02F-842852EAA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457770" y="6329795"/>
                <a:ext cx="59140" cy="84041"/>
              </a:xfrm>
              <a:custGeom>
                <a:avLst/>
                <a:gdLst>
                  <a:gd name="T0" fmla="*/ 22 w 24"/>
                  <a:gd name="T1" fmla="*/ 34 h 34"/>
                  <a:gd name="T2" fmla="*/ 21 w 24"/>
                  <a:gd name="T3" fmla="*/ 34 h 34"/>
                  <a:gd name="T4" fmla="*/ 1 w 24"/>
                  <a:gd name="T5" fmla="*/ 23 h 34"/>
                  <a:gd name="T6" fmla="*/ 0 w 24"/>
                  <a:gd name="T7" fmla="*/ 21 h 34"/>
                  <a:gd name="T8" fmla="*/ 0 w 24"/>
                  <a:gd name="T9" fmla="*/ 2 h 34"/>
                  <a:gd name="T10" fmla="*/ 1 w 24"/>
                  <a:gd name="T11" fmla="*/ 0 h 34"/>
                  <a:gd name="T12" fmla="*/ 3 w 24"/>
                  <a:gd name="T13" fmla="*/ 0 h 34"/>
                  <a:gd name="T14" fmla="*/ 23 w 24"/>
                  <a:gd name="T15" fmla="*/ 11 h 34"/>
                  <a:gd name="T16" fmla="*/ 24 w 24"/>
                  <a:gd name="T17" fmla="*/ 13 h 34"/>
                  <a:gd name="T18" fmla="*/ 24 w 24"/>
                  <a:gd name="T19" fmla="*/ 32 h 34"/>
                  <a:gd name="T20" fmla="*/ 23 w 24"/>
                  <a:gd name="T21" fmla="*/ 34 h 34"/>
                  <a:gd name="T22" fmla="*/ 22 w 24"/>
                  <a:gd name="T23" fmla="*/ 34 h 34"/>
                  <a:gd name="T24" fmla="*/ 4 w 24"/>
                  <a:gd name="T25" fmla="*/ 20 h 34"/>
                  <a:gd name="T26" fmla="*/ 20 w 24"/>
                  <a:gd name="T27" fmla="*/ 29 h 34"/>
                  <a:gd name="T28" fmla="*/ 20 w 24"/>
                  <a:gd name="T29" fmla="*/ 14 h 34"/>
                  <a:gd name="T30" fmla="*/ 4 w 24"/>
                  <a:gd name="T31" fmla="*/ 5 h 34"/>
                  <a:gd name="T32" fmla="*/ 4 w 24"/>
                  <a:gd name="T33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4">
                    <a:moveTo>
                      <a:pt x="22" y="34"/>
                    </a:moveTo>
                    <a:cubicBezTo>
                      <a:pt x="21" y="34"/>
                      <a:pt x="21" y="34"/>
                      <a:pt x="21" y="34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3"/>
                      <a:pt x="23" y="34"/>
                      <a:pt x="23" y="34"/>
                    </a:cubicBezTo>
                    <a:cubicBezTo>
                      <a:pt x="22" y="34"/>
                      <a:pt x="22" y="34"/>
                      <a:pt x="22" y="34"/>
                    </a:cubicBezTo>
                    <a:close/>
                    <a:moveTo>
                      <a:pt x="4" y="20"/>
                    </a:moveTo>
                    <a:cubicBezTo>
                      <a:pt x="20" y="29"/>
                      <a:pt x="20" y="29"/>
                      <a:pt x="20" y="29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0" name="Freeform 583">
                <a:extLst>
                  <a:ext uri="{FF2B5EF4-FFF2-40B4-BE49-F238E27FC236}">
                    <a16:creationId xmlns:a16="http://schemas.microsoft.com/office/drawing/2014/main" id="{C0C64F8E-4C56-4CD9-87A5-3779DE590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511722" y="6151338"/>
                <a:ext cx="156669" cy="181569"/>
              </a:xfrm>
              <a:custGeom>
                <a:avLst/>
                <a:gdLst>
                  <a:gd name="T0" fmla="*/ 62 w 64"/>
                  <a:gd name="T1" fmla="*/ 74 h 74"/>
                  <a:gd name="T2" fmla="*/ 61 w 64"/>
                  <a:gd name="T3" fmla="*/ 74 h 74"/>
                  <a:gd name="T4" fmla="*/ 1 w 64"/>
                  <a:gd name="T5" fmla="*/ 39 h 74"/>
                  <a:gd name="T6" fmla="*/ 0 w 64"/>
                  <a:gd name="T7" fmla="*/ 37 h 74"/>
                  <a:gd name="T8" fmla="*/ 1 w 64"/>
                  <a:gd name="T9" fmla="*/ 35 h 74"/>
                  <a:gd name="T10" fmla="*/ 61 w 64"/>
                  <a:gd name="T11" fmla="*/ 0 h 74"/>
                  <a:gd name="T12" fmla="*/ 63 w 64"/>
                  <a:gd name="T13" fmla="*/ 0 h 74"/>
                  <a:gd name="T14" fmla="*/ 64 w 64"/>
                  <a:gd name="T15" fmla="*/ 2 h 74"/>
                  <a:gd name="T16" fmla="*/ 64 w 64"/>
                  <a:gd name="T17" fmla="*/ 72 h 74"/>
                  <a:gd name="T18" fmla="*/ 63 w 64"/>
                  <a:gd name="T19" fmla="*/ 74 h 74"/>
                  <a:gd name="T20" fmla="*/ 62 w 64"/>
                  <a:gd name="T21" fmla="*/ 74 h 74"/>
                  <a:gd name="T22" fmla="*/ 6 w 64"/>
                  <a:gd name="T23" fmla="*/ 37 h 74"/>
                  <a:gd name="T24" fmla="*/ 60 w 64"/>
                  <a:gd name="T25" fmla="*/ 68 h 74"/>
                  <a:gd name="T26" fmla="*/ 60 w 64"/>
                  <a:gd name="T27" fmla="*/ 5 h 74"/>
                  <a:gd name="T28" fmla="*/ 6 w 64"/>
                  <a:gd name="T29" fmla="*/ 3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4" h="74">
                    <a:moveTo>
                      <a:pt x="62" y="74"/>
                    </a:moveTo>
                    <a:cubicBezTo>
                      <a:pt x="62" y="74"/>
                      <a:pt x="62" y="74"/>
                      <a:pt x="61" y="74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38"/>
                      <a:pt x="0" y="38"/>
                      <a:pt x="0" y="37"/>
                    </a:cubicBezTo>
                    <a:cubicBezTo>
                      <a:pt x="0" y="36"/>
                      <a:pt x="0" y="36"/>
                      <a:pt x="1" y="35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3" y="0"/>
                    </a:cubicBezTo>
                    <a:cubicBezTo>
                      <a:pt x="64" y="1"/>
                      <a:pt x="64" y="1"/>
                      <a:pt x="64" y="2"/>
                    </a:cubicBezTo>
                    <a:cubicBezTo>
                      <a:pt x="64" y="72"/>
                      <a:pt x="64" y="72"/>
                      <a:pt x="64" y="72"/>
                    </a:cubicBezTo>
                    <a:cubicBezTo>
                      <a:pt x="64" y="73"/>
                      <a:pt x="64" y="73"/>
                      <a:pt x="63" y="74"/>
                    </a:cubicBezTo>
                    <a:cubicBezTo>
                      <a:pt x="63" y="74"/>
                      <a:pt x="63" y="74"/>
                      <a:pt x="62" y="74"/>
                    </a:cubicBezTo>
                    <a:close/>
                    <a:moveTo>
                      <a:pt x="6" y="37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5"/>
                      <a:pt x="60" y="5"/>
                      <a:pt x="60" y="5"/>
                    </a:cubicBezTo>
                    <a:lnTo>
                      <a:pt x="6" y="3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1" name="Freeform 584">
                <a:extLst>
                  <a:ext uri="{FF2B5EF4-FFF2-40B4-BE49-F238E27FC236}">
                    <a16:creationId xmlns:a16="http://schemas.microsoft.com/office/drawing/2014/main" id="{6DAFC1FF-1A9D-475C-9AFF-A8BAACC1D2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457770" y="6121249"/>
                <a:ext cx="59140" cy="240709"/>
              </a:xfrm>
              <a:custGeom>
                <a:avLst/>
                <a:gdLst>
                  <a:gd name="T0" fmla="*/ 22 w 24"/>
                  <a:gd name="T1" fmla="*/ 98 h 98"/>
                  <a:gd name="T2" fmla="*/ 21 w 24"/>
                  <a:gd name="T3" fmla="*/ 98 h 98"/>
                  <a:gd name="T4" fmla="*/ 1 w 24"/>
                  <a:gd name="T5" fmla="*/ 87 h 98"/>
                  <a:gd name="T6" fmla="*/ 0 w 24"/>
                  <a:gd name="T7" fmla="*/ 85 h 98"/>
                  <a:gd name="T8" fmla="*/ 0 w 24"/>
                  <a:gd name="T9" fmla="*/ 13 h 98"/>
                  <a:gd name="T10" fmla="*/ 1 w 24"/>
                  <a:gd name="T11" fmla="*/ 11 h 98"/>
                  <a:gd name="T12" fmla="*/ 21 w 24"/>
                  <a:gd name="T13" fmla="*/ 0 h 98"/>
                  <a:gd name="T14" fmla="*/ 23 w 24"/>
                  <a:gd name="T15" fmla="*/ 0 h 98"/>
                  <a:gd name="T16" fmla="*/ 24 w 24"/>
                  <a:gd name="T17" fmla="*/ 2 h 98"/>
                  <a:gd name="T18" fmla="*/ 24 w 24"/>
                  <a:gd name="T19" fmla="*/ 96 h 98"/>
                  <a:gd name="T20" fmla="*/ 23 w 24"/>
                  <a:gd name="T21" fmla="*/ 98 h 98"/>
                  <a:gd name="T22" fmla="*/ 22 w 24"/>
                  <a:gd name="T23" fmla="*/ 98 h 98"/>
                  <a:gd name="T24" fmla="*/ 4 w 24"/>
                  <a:gd name="T25" fmla="*/ 84 h 98"/>
                  <a:gd name="T26" fmla="*/ 20 w 24"/>
                  <a:gd name="T27" fmla="*/ 93 h 98"/>
                  <a:gd name="T28" fmla="*/ 20 w 24"/>
                  <a:gd name="T29" fmla="*/ 5 h 98"/>
                  <a:gd name="T30" fmla="*/ 4 w 24"/>
                  <a:gd name="T31" fmla="*/ 14 h 98"/>
                  <a:gd name="T32" fmla="*/ 4 w 24"/>
                  <a:gd name="T33" fmla="*/ 8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98">
                    <a:moveTo>
                      <a:pt x="22" y="98"/>
                    </a:moveTo>
                    <a:cubicBezTo>
                      <a:pt x="21" y="98"/>
                      <a:pt x="21" y="98"/>
                      <a:pt x="21" y="98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0" y="86"/>
                      <a:pt x="0" y="86"/>
                      <a:pt x="0" y="8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2"/>
                      <a:pt x="1" y="11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3" y="0"/>
                      <a:pt x="24" y="1"/>
                      <a:pt x="24" y="2"/>
                    </a:cubicBezTo>
                    <a:cubicBezTo>
                      <a:pt x="24" y="96"/>
                      <a:pt x="24" y="96"/>
                      <a:pt x="24" y="96"/>
                    </a:cubicBezTo>
                    <a:cubicBezTo>
                      <a:pt x="24" y="97"/>
                      <a:pt x="23" y="98"/>
                      <a:pt x="23" y="98"/>
                    </a:cubicBezTo>
                    <a:cubicBezTo>
                      <a:pt x="22" y="98"/>
                      <a:pt x="22" y="98"/>
                      <a:pt x="22" y="98"/>
                    </a:cubicBezTo>
                    <a:close/>
                    <a:moveTo>
                      <a:pt x="4" y="84"/>
                    </a:moveTo>
                    <a:cubicBezTo>
                      <a:pt x="20" y="93"/>
                      <a:pt x="20" y="93"/>
                      <a:pt x="20" y="9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8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2" name="Freeform 585">
                <a:extLst>
                  <a:ext uri="{FF2B5EF4-FFF2-40B4-BE49-F238E27FC236}">
                    <a16:creationId xmlns:a16="http://schemas.microsoft.com/office/drawing/2014/main" id="{7B34A881-8AB5-4121-9172-0EDB05EE59DD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855148" y="6905629"/>
                <a:ext cx="9338" cy="10375"/>
              </a:xfrm>
              <a:custGeom>
                <a:avLst/>
                <a:gdLst>
                  <a:gd name="T0" fmla="*/ 2 w 4"/>
                  <a:gd name="T1" fmla="*/ 4 h 4"/>
                  <a:gd name="T2" fmla="*/ 1 w 4"/>
                  <a:gd name="T3" fmla="*/ 4 h 4"/>
                  <a:gd name="T4" fmla="*/ 0 w 4"/>
                  <a:gd name="T5" fmla="*/ 2 h 4"/>
                  <a:gd name="T6" fmla="*/ 1 w 4"/>
                  <a:gd name="T7" fmla="*/ 0 h 4"/>
                  <a:gd name="T8" fmla="*/ 3 w 4"/>
                  <a:gd name="T9" fmla="*/ 0 h 4"/>
                  <a:gd name="T10" fmla="*/ 4 w 4"/>
                  <a:gd name="T11" fmla="*/ 2 h 4"/>
                  <a:gd name="T12" fmla="*/ 4 w 4"/>
                  <a:gd name="T13" fmla="*/ 2 h 4"/>
                  <a:gd name="T14" fmla="*/ 3 w 4"/>
                  <a:gd name="T15" fmla="*/ 4 h 4"/>
                  <a:gd name="T16" fmla="*/ 2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2" y="4"/>
                      <a:pt x="2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4" y="3"/>
                      <a:pt x="3" y="4"/>
                    </a:cubicBezTo>
                    <a:cubicBezTo>
                      <a:pt x="3" y="4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3" name="Freeform 586">
                <a:extLst>
                  <a:ext uri="{FF2B5EF4-FFF2-40B4-BE49-F238E27FC236}">
                    <a16:creationId xmlns:a16="http://schemas.microsoft.com/office/drawing/2014/main" id="{B90CA7B4-AEAD-4BA9-A09F-126D19D943BB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538698" y="6351583"/>
                <a:ext cx="14526" cy="15563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1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5" y="6"/>
                      <a:pt x="5" y="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4" name="Freeform 587">
                <a:extLst>
                  <a:ext uri="{FF2B5EF4-FFF2-40B4-BE49-F238E27FC236}">
                    <a16:creationId xmlns:a16="http://schemas.microsoft.com/office/drawing/2014/main" id="{CDCBDA5E-BA3D-4A5C-B190-8AAC49DAA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372691" y="6709534"/>
                <a:ext cx="320600" cy="196095"/>
              </a:xfrm>
              <a:custGeom>
                <a:avLst/>
                <a:gdLst>
                  <a:gd name="T0" fmla="*/ 63 w 131"/>
                  <a:gd name="T1" fmla="*/ 80 h 80"/>
                  <a:gd name="T2" fmla="*/ 62 w 131"/>
                  <a:gd name="T3" fmla="*/ 79 h 80"/>
                  <a:gd name="T4" fmla="*/ 1 w 131"/>
                  <a:gd name="T5" fmla="*/ 44 h 80"/>
                  <a:gd name="T6" fmla="*/ 0 w 131"/>
                  <a:gd name="T7" fmla="*/ 42 h 80"/>
                  <a:gd name="T8" fmla="*/ 1 w 131"/>
                  <a:gd name="T9" fmla="*/ 40 h 80"/>
                  <a:gd name="T10" fmla="*/ 60 w 131"/>
                  <a:gd name="T11" fmla="*/ 6 h 80"/>
                  <a:gd name="T12" fmla="*/ 60 w 131"/>
                  <a:gd name="T13" fmla="*/ 3 h 80"/>
                  <a:gd name="T14" fmla="*/ 61 w 131"/>
                  <a:gd name="T15" fmla="*/ 1 h 80"/>
                  <a:gd name="T16" fmla="*/ 62 w 131"/>
                  <a:gd name="T17" fmla="*/ 1 h 80"/>
                  <a:gd name="T18" fmla="*/ 64 w 131"/>
                  <a:gd name="T19" fmla="*/ 1 h 80"/>
                  <a:gd name="T20" fmla="*/ 130 w 131"/>
                  <a:gd name="T21" fmla="*/ 38 h 80"/>
                  <a:gd name="T22" fmla="*/ 131 w 131"/>
                  <a:gd name="T23" fmla="*/ 40 h 80"/>
                  <a:gd name="T24" fmla="*/ 130 w 131"/>
                  <a:gd name="T25" fmla="*/ 42 h 80"/>
                  <a:gd name="T26" fmla="*/ 64 w 131"/>
                  <a:gd name="T27" fmla="*/ 79 h 80"/>
                  <a:gd name="T28" fmla="*/ 63 w 131"/>
                  <a:gd name="T29" fmla="*/ 80 h 80"/>
                  <a:gd name="T30" fmla="*/ 6 w 131"/>
                  <a:gd name="T31" fmla="*/ 42 h 80"/>
                  <a:gd name="T32" fmla="*/ 63 w 131"/>
                  <a:gd name="T33" fmla="*/ 75 h 80"/>
                  <a:gd name="T34" fmla="*/ 125 w 131"/>
                  <a:gd name="T35" fmla="*/ 40 h 80"/>
                  <a:gd name="T36" fmla="*/ 64 w 131"/>
                  <a:gd name="T37" fmla="*/ 5 h 80"/>
                  <a:gd name="T38" fmla="*/ 64 w 131"/>
                  <a:gd name="T39" fmla="*/ 7 h 80"/>
                  <a:gd name="T40" fmla="*/ 63 w 131"/>
                  <a:gd name="T41" fmla="*/ 9 h 80"/>
                  <a:gd name="T42" fmla="*/ 6 w 131"/>
                  <a:gd name="T43" fmla="*/ 4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1" h="80">
                    <a:moveTo>
                      <a:pt x="63" y="80"/>
                    </a:moveTo>
                    <a:cubicBezTo>
                      <a:pt x="63" y="80"/>
                      <a:pt x="63" y="79"/>
                      <a:pt x="62" y="79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0"/>
                      <a:pt x="1" y="40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0" y="2"/>
                      <a:pt x="61" y="2"/>
                      <a:pt x="61" y="1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3" y="0"/>
                      <a:pt x="64" y="0"/>
                      <a:pt x="64" y="1"/>
                    </a:cubicBezTo>
                    <a:cubicBezTo>
                      <a:pt x="130" y="38"/>
                      <a:pt x="130" y="38"/>
                      <a:pt x="130" y="38"/>
                    </a:cubicBezTo>
                    <a:cubicBezTo>
                      <a:pt x="130" y="39"/>
                      <a:pt x="131" y="39"/>
                      <a:pt x="131" y="40"/>
                    </a:cubicBezTo>
                    <a:cubicBezTo>
                      <a:pt x="131" y="41"/>
                      <a:pt x="130" y="41"/>
                      <a:pt x="130" y="42"/>
                    </a:cubicBezTo>
                    <a:cubicBezTo>
                      <a:pt x="64" y="79"/>
                      <a:pt x="64" y="79"/>
                      <a:pt x="64" y="79"/>
                    </a:cubicBezTo>
                    <a:cubicBezTo>
                      <a:pt x="64" y="79"/>
                      <a:pt x="64" y="80"/>
                      <a:pt x="63" y="80"/>
                    </a:cubicBezTo>
                    <a:close/>
                    <a:moveTo>
                      <a:pt x="6" y="42"/>
                    </a:moveTo>
                    <a:cubicBezTo>
                      <a:pt x="63" y="75"/>
                      <a:pt x="63" y="75"/>
                      <a:pt x="63" y="75"/>
                    </a:cubicBezTo>
                    <a:cubicBezTo>
                      <a:pt x="125" y="40"/>
                      <a:pt x="125" y="40"/>
                      <a:pt x="125" y="4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8"/>
                      <a:pt x="64" y="8"/>
                      <a:pt x="63" y="9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5" name="Freeform 588">
                <a:extLst>
                  <a:ext uri="{FF2B5EF4-FFF2-40B4-BE49-F238E27FC236}">
                    <a16:creationId xmlns:a16="http://schemas.microsoft.com/office/drawing/2014/main" id="{A3E3FFE8-ABEC-4C1C-944B-0750B298DB0D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538698" y="6714722"/>
                <a:ext cx="164969" cy="100641"/>
              </a:xfrm>
              <a:custGeom>
                <a:avLst/>
                <a:gdLst>
                  <a:gd name="T0" fmla="*/ 4 w 67"/>
                  <a:gd name="T1" fmla="*/ 41 h 41"/>
                  <a:gd name="T2" fmla="*/ 3 w 67"/>
                  <a:gd name="T3" fmla="*/ 41 h 41"/>
                  <a:gd name="T4" fmla="*/ 1 w 67"/>
                  <a:gd name="T5" fmla="*/ 40 h 41"/>
                  <a:gd name="T6" fmla="*/ 0 w 67"/>
                  <a:gd name="T7" fmla="*/ 38 h 41"/>
                  <a:gd name="T8" fmla="*/ 1 w 67"/>
                  <a:gd name="T9" fmla="*/ 36 h 41"/>
                  <a:gd name="T10" fmla="*/ 64 w 67"/>
                  <a:gd name="T11" fmla="*/ 0 h 41"/>
                  <a:gd name="T12" fmla="*/ 66 w 67"/>
                  <a:gd name="T13" fmla="*/ 0 h 41"/>
                  <a:gd name="T14" fmla="*/ 67 w 67"/>
                  <a:gd name="T15" fmla="*/ 2 h 41"/>
                  <a:gd name="T16" fmla="*/ 67 w 67"/>
                  <a:gd name="T17" fmla="*/ 4 h 41"/>
                  <a:gd name="T18" fmla="*/ 66 w 67"/>
                  <a:gd name="T19" fmla="*/ 6 h 41"/>
                  <a:gd name="T20" fmla="*/ 5 w 67"/>
                  <a:gd name="T21" fmla="*/ 41 h 41"/>
                  <a:gd name="T22" fmla="*/ 4 w 67"/>
                  <a:gd name="T2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41">
                    <a:moveTo>
                      <a:pt x="4" y="41"/>
                    </a:moveTo>
                    <a:cubicBezTo>
                      <a:pt x="4" y="41"/>
                      <a:pt x="3" y="41"/>
                      <a:pt x="3" y="41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39"/>
                      <a:pt x="0" y="39"/>
                      <a:pt x="0" y="38"/>
                    </a:cubicBezTo>
                    <a:cubicBezTo>
                      <a:pt x="0" y="37"/>
                      <a:pt x="1" y="37"/>
                      <a:pt x="1" y="36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4" y="0"/>
                      <a:pt x="65" y="0"/>
                      <a:pt x="66" y="0"/>
                    </a:cubicBezTo>
                    <a:cubicBezTo>
                      <a:pt x="66" y="1"/>
                      <a:pt x="67" y="1"/>
                      <a:pt x="67" y="2"/>
                    </a:cubicBezTo>
                    <a:cubicBezTo>
                      <a:pt x="67" y="4"/>
                      <a:pt x="67" y="4"/>
                      <a:pt x="67" y="4"/>
                    </a:cubicBezTo>
                    <a:cubicBezTo>
                      <a:pt x="67" y="5"/>
                      <a:pt x="66" y="5"/>
                      <a:pt x="66" y="6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5" y="41"/>
                      <a:pt x="4" y="41"/>
                      <a:pt x="4" y="4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6" name="Freeform 589">
                <a:extLst>
                  <a:ext uri="{FF2B5EF4-FFF2-40B4-BE49-F238E27FC236}">
                    <a16:creationId xmlns:a16="http://schemas.microsoft.com/office/drawing/2014/main" id="{57CCF77A-4B1F-4186-B1DA-96F175EE77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862411" y="6910817"/>
                <a:ext cx="26976" cy="29051"/>
              </a:xfrm>
              <a:custGeom>
                <a:avLst/>
                <a:gdLst>
                  <a:gd name="T0" fmla="*/ 9 w 11"/>
                  <a:gd name="T1" fmla="*/ 12 h 12"/>
                  <a:gd name="T2" fmla="*/ 8 w 11"/>
                  <a:gd name="T3" fmla="*/ 11 h 12"/>
                  <a:gd name="T4" fmla="*/ 1 w 11"/>
                  <a:gd name="T5" fmla="*/ 7 h 12"/>
                  <a:gd name="T6" fmla="*/ 0 w 11"/>
                  <a:gd name="T7" fmla="*/ 6 h 12"/>
                  <a:gd name="T8" fmla="*/ 1 w 11"/>
                  <a:gd name="T9" fmla="*/ 4 h 12"/>
                  <a:gd name="T10" fmla="*/ 8 w 11"/>
                  <a:gd name="T11" fmla="*/ 0 h 12"/>
                  <a:gd name="T12" fmla="*/ 10 w 11"/>
                  <a:gd name="T13" fmla="*/ 0 h 12"/>
                  <a:gd name="T14" fmla="*/ 11 w 11"/>
                  <a:gd name="T15" fmla="*/ 2 h 12"/>
                  <a:gd name="T16" fmla="*/ 11 w 11"/>
                  <a:gd name="T17" fmla="*/ 10 h 12"/>
                  <a:gd name="T18" fmla="*/ 10 w 11"/>
                  <a:gd name="T19" fmla="*/ 11 h 12"/>
                  <a:gd name="T20" fmla="*/ 9 w 11"/>
                  <a:gd name="T21" fmla="*/ 12 h 12"/>
                  <a:gd name="T22" fmla="*/ 6 w 11"/>
                  <a:gd name="T23" fmla="*/ 6 h 12"/>
                  <a:gd name="T24" fmla="*/ 7 w 11"/>
                  <a:gd name="T25" fmla="*/ 6 h 12"/>
                  <a:gd name="T26" fmla="*/ 7 w 11"/>
                  <a:gd name="T27" fmla="*/ 5 h 12"/>
                  <a:gd name="T28" fmla="*/ 6 w 11"/>
                  <a:gd name="T2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9" y="12"/>
                    </a:moveTo>
                    <a:cubicBezTo>
                      <a:pt x="9" y="12"/>
                      <a:pt x="8" y="11"/>
                      <a:pt x="8" y="1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1" y="11"/>
                      <a:pt x="10" y="11"/>
                    </a:cubicBezTo>
                    <a:cubicBezTo>
                      <a:pt x="10" y="11"/>
                      <a:pt x="9" y="12"/>
                      <a:pt x="9" y="12"/>
                    </a:cubicBezTo>
                    <a:close/>
                    <a:moveTo>
                      <a:pt x="6" y="6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7" name="Freeform 594">
                <a:extLst>
                  <a:ext uri="{FF2B5EF4-FFF2-40B4-BE49-F238E27FC236}">
                    <a16:creationId xmlns:a16="http://schemas.microsoft.com/office/drawing/2014/main" id="{81F1059F-0CC9-4642-851F-97BC91FAAA32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387217" y="6991745"/>
                <a:ext cx="12450" cy="12450"/>
              </a:xfrm>
              <a:custGeom>
                <a:avLst/>
                <a:gdLst>
                  <a:gd name="T0" fmla="*/ 3 w 5"/>
                  <a:gd name="T1" fmla="*/ 5 h 5"/>
                  <a:gd name="T2" fmla="*/ 2 w 5"/>
                  <a:gd name="T3" fmla="*/ 4 h 5"/>
                  <a:gd name="T4" fmla="*/ 1 w 5"/>
                  <a:gd name="T5" fmla="*/ 4 h 5"/>
                  <a:gd name="T6" fmla="*/ 0 w 5"/>
                  <a:gd name="T7" fmla="*/ 2 h 5"/>
                  <a:gd name="T8" fmla="*/ 1 w 5"/>
                  <a:gd name="T9" fmla="*/ 0 h 5"/>
                  <a:gd name="T10" fmla="*/ 2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5 w 5"/>
                  <a:gd name="T17" fmla="*/ 3 h 5"/>
                  <a:gd name="T18" fmla="*/ 4 w 5"/>
                  <a:gd name="T19" fmla="*/ 4 h 5"/>
                  <a:gd name="T20" fmla="*/ 3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5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4"/>
                      <a:pt x="4" y="4"/>
                    </a:cubicBezTo>
                    <a:cubicBezTo>
                      <a:pt x="4" y="4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8" name="Freeform 596">
                <a:extLst>
                  <a:ext uri="{FF2B5EF4-FFF2-40B4-BE49-F238E27FC236}">
                    <a16:creationId xmlns:a16="http://schemas.microsoft.com/office/drawing/2014/main" id="{6F4322A0-EC77-4E4D-82FA-6398EFCD55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713005" y="6925342"/>
                <a:ext cx="147331" cy="154593"/>
              </a:xfrm>
              <a:custGeom>
                <a:avLst/>
                <a:gdLst>
                  <a:gd name="T0" fmla="*/ 2 w 60"/>
                  <a:gd name="T1" fmla="*/ 63 h 63"/>
                  <a:gd name="T2" fmla="*/ 1 w 60"/>
                  <a:gd name="T3" fmla="*/ 63 h 63"/>
                  <a:gd name="T4" fmla="*/ 0 w 60"/>
                  <a:gd name="T5" fmla="*/ 61 h 63"/>
                  <a:gd name="T6" fmla="*/ 0 w 60"/>
                  <a:gd name="T7" fmla="*/ 7 h 63"/>
                  <a:gd name="T8" fmla="*/ 1 w 60"/>
                  <a:gd name="T9" fmla="*/ 6 h 63"/>
                  <a:gd name="T10" fmla="*/ 10 w 60"/>
                  <a:gd name="T11" fmla="*/ 0 h 63"/>
                  <a:gd name="T12" fmla="*/ 12 w 60"/>
                  <a:gd name="T13" fmla="*/ 0 h 63"/>
                  <a:gd name="T14" fmla="*/ 59 w 60"/>
                  <a:gd name="T15" fmla="*/ 27 h 63"/>
                  <a:gd name="T16" fmla="*/ 60 w 60"/>
                  <a:gd name="T17" fmla="*/ 29 h 63"/>
                  <a:gd name="T18" fmla="*/ 59 w 60"/>
                  <a:gd name="T19" fmla="*/ 31 h 63"/>
                  <a:gd name="T20" fmla="*/ 3 w 60"/>
                  <a:gd name="T21" fmla="*/ 63 h 63"/>
                  <a:gd name="T22" fmla="*/ 2 w 60"/>
                  <a:gd name="T23" fmla="*/ 63 h 63"/>
                  <a:gd name="T24" fmla="*/ 4 w 60"/>
                  <a:gd name="T25" fmla="*/ 9 h 63"/>
                  <a:gd name="T26" fmla="*/ 4 w 60"/>
                  <a:gd name="T27" fmla="*/ 58 h 63"/>
                  <a:gd name="T28" fmla="*/ 54 w 60"/>
                  <a:gd name="T29" fmla="*/ 29 h 63"/>
                  <a:gd name="T30" fmla="*/ 11 w 60"/>
                  <a:gd name="T31" fmla="*/ 4 h 63"/>
                  <a:gd name="T32" fmla="*/ 4 w 60"/>
                  <a:gd name="T33" fmla="*/ 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63">
                    <a:moveTo>
                      <a:pt x="2" y="63"/>
                    </a:moveTo>
                    <a:cubicBezTo>
                      <a:pt x="2" y="63"/>
                      <a:pt x="1" y="63"/>
                      <a:pt x="1" y="63"/>
                    </a:cubicBezTo>
                    <a:cubicBezTo>
                      <a:pt x="0" y="63"/>
                      <a:pt x="0" y="62"/>
                      <a:pt x="0" y="6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0"/>
                      <a:pt x="12" y="0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60" y="28"/>
                      <a:pt x="60" y="28"/>
                      <a:pt x="60" y="29"/>
                    </a:cubicBezTo>
                    <a:cubicBezTo>
                      <a:pt x="60" y="30"/>
                      <a:pt x="60" y="30"/>
                      <a:pt x="59" y="31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2" y="63"/>
                      <a:pt x="2" y="63"/>
                    </a:cubicBezTo>
                    <a:close/>
                    <a:moveTo>
                      <a:pt x="4" y="9"/>
                    </a:moveTo>
                    <a:cubicBezTo>
                      <a:pt x="4" y="58"/>
                      <a:pt x="4" y="58"/>
                      <a:pt x="4" y="58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11" y="4"/>
                      <a:pt x="11" y="4"/>
                      <a:pt x="11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9" name="Freeform 598">
                <a:extLst>
                  <a:ext uri="{FF2B5EF4-FFF2-40B4-BE49-F238E27FC236}">
                    <a16:creationId xmlns:a16="http://schemas.microsoft.com/office/drawing/2014/main" id="{FA0C6693-D990-4095-A093-001CB426CD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700554" y="6817438"/>
                <a:ext cx="159781" cy="113092"/>
              </a:xfrm>
              <a:custGeom>
                <a:avLst/>
                <a:gdLst>
                  <a:gd name="T0" fmla="*/ 11 w 65"/>
                  <a:gd name="T1" fmla="*/ 46 h 46"/>
                  <a:gd name="T2" fmla="*/ 10 w 65"/>
                  <a:gd name="T3" fmla="*/ 46 h 46"/>
                  <a:gd name="T4" fmla="*/ 1 w 65"/>
                  <a:gd name="T5" fmla="*/ 41 h 46"/>
                  <a:gd name="T6" fmla="*/ 0 w 65"/>
                  <a:gd name="T7" fmla="*/ 39 h 46"/>
                  <a:gd name="T8" fmla="*/ 0 w 65"/>
                  <a:gd name="T9" fmla="*/ 37 h 46"/>
                  <a:gd name="T10" fmla="*/ 1 w 65"/>
                  <a:gd name="T11" fmla="*/ 35 h 46"/>
                  <a:gd name="T12" fmla="*/ 62 w 65"/>
                  <a:gd name="T13" fmla="*/ 0 h 46"/>
                  <a:gd name="T14" fmla="*/ 64 w 65"/>
                  <a:gd name="T15" fmla="*/ 0 h 46"/>
                  <a:gd name="T16" fmla="*/ 65 w 65"/>
                  <a:gd name="T17" fmla="*/ 2 h 46"/>
                  <a:gd name="T18" fmla="*/ 65 w 65"/>
                  <a:gd name="T19" fmla="*/ 14 h 46"/>
                  <a:gd name="T20" fmla="*/ 64 w 65"/>
                  <a:gd name="T21" fmla="*/ 16 h 46"/>
                  <a:gd name="T22" fmla="*/ 12 w 65"/>
                  <a:gd name="T23" fmla="*/ 46 h 46"/>
                  <a:gd name="T24" fmla="*/ 11 w 65"/>
                  <a:gd name="T25" fmla="*/ 46 h 46"/>
                  <a:gd name="T26" fmla="*/ 4 w 65"/>
                  <a:gd name="T27" fmla="*/ 38 h 46"/>
                  <a:gd name="T28" fmla="*/ 11 w 65"/>
                  <a:gd name="T29" fmla="*/ 42 h 46"/>
                  <a:gd name="T30" fmla="*/ 61 w 65"/>
                  <a:gd name="T31" fmla="*/ 13 h 46"/>
                  <a:gd name="T32" fmla="*/ 61 w 65"/>
                  <a:gd name="T33" fmla="*/ 5 h 46"/>
                  <a:gd name="T34" fmla="*/ 4 w 65"/>
                  <a:gd name="T35" fmla="*/ 3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46">
                    <a:moveTo>
                      <a:pt x="11" y="46"/>
                    </a:moveTo>
                    <a:cubicBezTo>
                      <a:pt x="11" y="46"/>
                      <a:pt x="11" y="46"/>
                      <a:pt x="10" y="46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3" y="0"/>
                      <a:pt x="64" y="0"/>
                    </a:cubicBezTo>
                    <a:cubicBezTo>
                      <a:pt x="64" y="0"/>
                      <a:pt x="65" y="1"/>
                      <a:pt x="65" y="2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5"/>
                      <a:pt x="64" y="16"/>
                      <a:pt x="64" y="16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2" y="46"/>
                      <a:pt x="11" y="46"/>
                    </a:cubicBezTo>
                    <a:close/>
                    <a:moveTo>
                      <a:pt x="4" y="38"/>
                    </a:moveTo>
                    <a:cubicBezTo>
                      <a:pt x="11" y="42"/>
                      <a:pt x="11" y="42"/>
                      <a:pt x="11" y="42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61" y="5"/>
                      <a:pt x="61" y="5"/>
                      <a:pt x="61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0" name="Freeform 599">
                <a:extLst>
                  <a:ext uri="{FF2B5EF4-FFF2-40B4-BE49-F238E27FC236}">
                    <a16:creationId xmlns:a16="http://schemas.microsoft.com/office/drawing/2014/main" id="{1D228A1B-5812-4BD0-93E7-D3AC4D00C9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698479" y="6851677"/>
                <a:ext cx="161856" cy="262497"/>
              </a:xfrm>
              <a:custGeom>
                <a:avLst/>
                <a:gdLst>
                  <a:gd name="T0" fmla="*/ 8 w 66"/>
                  <a:gd name="T1" fmla="*/ 107 h 107"/>
                  <a:gd name="T2" fmla="*/ 7 w 66"/>
                  <a:gd name="T3" fmla="*/ 107 h 107"/>
                  <a:gd name="T4" fmla="*/ 1 w 66"/>
                  <a:gd name="T5" fmla="*/ 103 h 107"/>
                  <a:gd name="T6" fmla="*/ 0 w 66"/>
                  <a:gd name="T7" fmla="*/ 102 h 107"/>
                  <a:gd name="T8" fmla="*/ 0 w 66"/>
                  <a:gd name="T9" fmla="*/ 93 h 107"/>
                  <a:gd name="T10" fmla="*/ 1 w 66"/>
                  <a:gd name="T11" fmla="*/ 92 h 107"/>
                  <a:gd name="T12" fmla="*/ 57 w 66"/>
                  <a:gd name="T13" fmla="*/ 59 h 107"/>
                  <a:gd name="T14" fmla="*/ 12 w 66"/>
                  <a:gd name="T15" fmla="*/ 33 h 107"/>
                  <a:gd name="T16" fmla="*/ 11 w 66"/>
                  <a:gd name="T17" fmla="*/ 31 h 107"/>
                  <a:gd name="T18" fmla="*/ 12 w 66"/>
                  <a:gd name="T19" fmla="*/ 29 h 107"/>
                  <a:gd name="T20" fmla="*/ 62 w 66"/>
                  <a:gd name="T21" fmla="*/ 1 h 107"/>
                  <a:gd name="T22" fmla="*/ 64 w 66"/>
                  <a:gd name="T23" fmla="*/ 1 h 107"/>
                  <a:gd name="T24" fmla="*/ 65 w 66"/>
                  <a:gd name="T25" fmla="*/ 2 h 107"/>
                  <a:gd name="T26" fmla="*/ 65 w 66"/>
                  <a:gd name="T27" fmla="*/ 62 h 107"/>
                  <a:gd name="T28" fmla="*/ 66 w 66"/>
                  <a:gd name="T29" fmla="*/ 63 h 107"/>
                  <a:gd name="T30" fmla="*/ 66 w 66"/>
                  <a:gd name="T31" fmla="*/ 73 h 107"/>
                  <a:gd name="T32" fmla="*/ 65 w 66"/>
                  <a:gd name="T33" fmla="*/ 75 h 107"/>
                  <a:gd name="T34" fmla="*/ 9 w 66"/>
                  <a:gd name="T35" fmla="*/ 107 h 107"/>
                  <a:gd name="T36" fmla="*/ 8 w 66"/>
                  <a:gd name="T37" fmla="*/ 107 h 107"/>
                  <a:gd name="T38" fmla="*/ 4 w 66"/>
                  <a:gd name="T39" fmla="*/ 100 h 107"/>
                  <a:gd name="T40" fmla="*/ 8 w 66"/>
                  <a:gd name="T41" fmla="*/ 103 h 107"/>
                  <a:gd name="T42" fmla="*/ 62 w 66"/>
                  <a:gd name="T43" fmla="*/ 72 h 107"/>
                  <a:gd name="T44" fmla="*/ 62 w 66"/>
                  <a:gd name="T45" fmla="*/ 64 h 107"/>
                  <a:gd name="T46" fmla="*/ 61 w 66"/>
                  <a:gd name="T47" fmla="*/ 63 h 107"/>
                  <a:gd name="T48" fmla="*/ 61 w 66"/>
                  <a:gd name="T49" fmla="*/ 62 h 107"/>
                  <a:gd name="T50" fmla="*/ 4 w 66"/>
                  <a:gd name="T51" fmla="*/ 94 h 107"/>
                  <a:gd name="T52" fmla="*/ 4 w 66"/>
                  <a:gd name="T53" fmla="*/ 100 h 107"/>
                  <a:gd name="T54" fmla="*/ 17 w 66"/>
                  <a:gd name="T55" fmla="*/ 31 h 107"/>
                  <a:gd name="T56" fmla="*/ 61 w 66"/>
                  <a:gd name="T57" fmla="*/ 56 h 107"/>
                  <a:gd name="T58" fmla="*/ 61 w 66"/>
                  <a:gd name="T59" fmla="*/ 6 h 107"/>
                  <a:gd name="T60" fmla="*/ 17 w 66"/>
                  <a:gd name="T61" fmla="*/ 3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6" h="107">
                    <a:moveTo>
                      <a:pt x="8" y="107"/>
                    </a:moveTo>
                    <a:cubicBezTo>
                      <a:pt x="8" y="107"/>
                      <a:pt x="8" y="107"/>
                      <a:pt x="7" y="10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2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3"/>
                      <a:pt x="0" y="92"/>
                      <a:pt x="1" y="92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1" y="32"/>
                      <a:pt x="11" y="32"/>
                      <a:pt x="11" y="31"/>
                    </a:cubicBezTo>
                    <a:cubicBezTo>
                      <a:pt x="11" y="30"/>
                      <a:pt x="11" y="30"/>
                      <a:pt x="12" y="29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0"/>
                      <a:pt x="63" y="0"/>
                      <a:pt x="64" y="1"/>
                    </a:cubicBezTo>
                    <a:cubicBezTo>
                      <a:pt x="64" y="1"/>
                      <a:pt x="65" y="2"/>
                      <a:pt x="65" y="2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6" y="62"/>
                      <a:pt x="66" y="63"/>
                      <a:pt x="66" y="63"/>
                    </a:cubicBezTo>
                    <a:cubicBezTo>
                      <a:pt x="66" y="73"/>
                      <a:pt x="66" y="73"/>
                      <a:pt x="66" y="73"/>
                    </a:cubicBezTo>
                    <a:cubicBezTo>
                      <a:pt x="66" y="74"/>
                      <a:pt x="66" y="74"/>
                      <a:pt x="65" y="75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9" y="107"/>
                      <a:pt x="9" y="107"/>
                      <a:pt x="8" y="107"/>
                    </a:cubicBezTo>
                    <a:close/>
                    <a:moveTo>
                      <a:pt x="4" y="100"/>
                    </a:moveTo>
                    <a:cubicBezTo>
                      <a:pt x="8" y="103"/>
                      <a:pt x="8" y="103"/>
                      <a:pt x="8" y="103"/>
                    </a:cubicBezTo>
                    <a:cubicBezTo>
                      <a:pt x="62" y="72"/>
                      <a:pt x="62" y="72"/>
                      <a:pt x="62" y="72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1" y="64"/>
                      <a:pt x="61" y="63"/>
                      <a:pt x="61" y="63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4" y="94"/>
                      <a:pt x="4" y="94"/>
                      <a:pt x="4" y="94"/>
                    </a:cubicBezTo>
                    <a:lnTo>
                      <a:pt x="4" y="100"/>
                    </a:lnTo>
                    <a:close/>
                    <a:moveTo>
                      <a:pt x="17" y="31"/>
                    </a:moveTo>
                    <a:cubicBezTo>
                      <a:pt x="61" y="56"/>
                      <a:pt x="61" y="56"/>
                      <a:pt x="61" y="56"/>
                    </a:cubicBezTo>
                    <a:cubicBezTo>
                      <a:pt x="61" y="6"/>
                      <a:pt x="61" y="6"/>
                      <a:pt x="61" y="6"/>
                    </a:cubicBezTo>
                    <a:lnTo>
                      <a:pt x="17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1" name="Freeform 600">
                <a:extLst>
                  <a:ext uri="{FF2B5EF4-FFF2-40B4-BE49-F238E27FC236}">
                    <a16:creationId xmlns:a16="http://schemas.microsoft.com/office/drawing/2014/main" id="{0E0F9937-E5D1-4A39-B10F-ABE74423B2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830247" y="6912892"/>
                <a:ext cx="30089" cy="30089"/>
              </a:xfrm>
              <a:custGeom>
                <a:avLst/>
                <a:gdLst>
                  <a:gd name="T0" fmla="*/ 2 w 12"/>
                  <a:gd name="T1" fmla="*/ 12 h 12"/>
                  <a:gd name="T2" fmla="*/ 1 w 12"/>
                  <a:gd name="T3" fmla="*/ 12 h 12"/>
                  <a:gd name="T4" fmla="*/ 0 w 12"/>
                  <a:gd name="T5" fmla="*/ 10 h 12"/>
                  <a:gd name="T6" fmla="*/ 0 w 12"/>
                  <a:gd name="T7" fmla="*/ 2 h 12"/>
                  <a:gd name="T8" fmla="*/ 1 w 12"/>
                  <a:gd name="T9" fmla="*/ 0 h 12"/>
                  <a:gd name="T10" fmla="*/ 3 w 12"/>
                  <a:gd name="T11" fmla="*/ 0 h 12"/>
                  <a:gd name="T12" fmla="*/ 11 w 12"/>
                  <a:gd name="T13" fmla="*/ 4 h 12"/>
                  <a:gd name="T14" fmla="*/ 12 w 12"/>
                  <a:gd name="T15" fmla="*/ 6 h 12"/>
                  <a:gd name="T16" fmla="*/ 11 w 12"/>
                  <a:gd name="T17" fmla="*/ 8 h 12"/>
                  <a:gd name="T18" fmla="*/ 3 w 12"/>
                  <a:gd name="T19" fmla="*/ 12 h 12"/>
                  <a:gd name="T20" fmla="*/ 2 w 12"/>
                  <a:gd name="T21" fmla="*/ 12 h 12"/>
                  <a:gd name="T22" fmla="*/ 4 w 12"/>
                  <a:gd name="T23" fmla="*/ 5 h 12"/>
                  <a:gd name="T24" fmla="*/ 4 w 12"/>
                  <a:gd name="T25" fmla="*/ 7 h 12"/>
                  <a:gd name="T26" fmla="*/ 6 w 12"/>
                  <a:gd name="T27" fmla="*/ 6 h 12"/>
                  <a:gd name="T28" fmla="*/ 4 w 12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2">
                    <a:moveTo>
                      <a:pt x="2" y="12"/>
                    </a:moveTo>
                    <a:cubicBezTo>
                      <a:pt x="2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5"/>
                      <a:pt x="12" y="5"/>
                      <a:pt x="12" y="6"/>
                    </a:cubicBezTo>
                    <a:cubicBezTo>
                      <a:pt x="12" y="7"/>
                      <a:pt x="11" y="7"/>
                      <a:pt x="11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6" y="6"/>
                      <a:pt x="6" y="6"/>
                      <a:pt x="6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2" name="Freeform 604">
                <a:extLst>
                  <a:ext uri="{FF2B5EF4-FFF2-40B4-BE49-F238E27FC236}">
                    <a16:creationId xmlns:a16="http://schemas.microsoft.com/office/drawing/2014/main" id="{DA9ABAAD-DE76-474F-BFC6-4D655C195A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538698" y="6817438"/>
                <a:ext cx="169119" cy="280136"/>
              </a:xfrm>
              <a:custGeom>
                <a:avLst/>
                <a:gdLst>
                  <a:gd name="T0" fmla="*/ 66 w 69"/>
                  <a:gd name="T1" fmla="*/ 114 h 114"/>
                  <a:gd name="T2" fmla="*/ 65 w 69"/>
                  <a:gd name="T3" fmla="*/ 114 h 114"/>
                  <a:gd name="T4" fmla="*/ 3 w 69"/>
                  <a:gd name="T5" fmla="*/ 78 h 114"/>
                  <a:gd name="T6" fmla="*/ 2 w 69"/>
                  <a:gd name="T7" fmla="*/ 76 h 114"/>
                  <a:gd name="T8" fmla="*/ 2 w 69"/>
                  <a:gd name="T9" fmla="*/ 15 h 114"/>
                  <a:gd name="T10" fmla="*/ 1 w 69"/>
                  <a:gd name="T11" fmla="*/ 15 h 114"/>
                  <a:gd name="T12" fmla="*/ 0 w 69"/>
                  <a:gd name="T13" fmla="*/ 13 h 114"/>
                  <a:gd name="T14" fmla="*/ 0 w 69"/>
                  <a:gd name="T15" fmla="*/ 2 h 114"/>
                  <a:gd name="T16" fmla="*/ 1 w 69"/>
                  <a:gd name="T17" fmla="*/ 0 h 114"/>
                  <a:gd name="T18" fmla="*/ 3 w 69"/>
                  <a:gd name="T19" fmla="*/ 0 h 114"/>
                  <a:gd name="T20" fmla="*/ 68 w 69"/>
                  <a:gd name="T21" fmla="*/ 37 h 114"/>
                  <a:gd name="T22" fmla="*/ 69 w 69"/>
                  <a:gd name="T23" fmla="*/ 39 h 114"/>
                  <a:gd name="T24" fmla="*/ 69 w 69"/>
                  <a:gd name="T25" fmla="*/ 50 h 114"/>
                  <a:gd name="T26" fmla="*/ 68 w 69"/>
                  <a:gd name="T27" fmla="*/ 52 h 114"/>
                  <a:gd name="T28" fmla="*/ 68 w 69"/>
                  <a:gd name="T29" fmla="*/ 52 h 114"/>
                  <a:gd name="T30" fmla="*/ 68 w 69"/>
                  <a:gd name="T31" fmla="*/ 112 h 114"/>
                  <a:gd name="T32" fmla="*/ 67 w 69"/>
                  <a:gd name="T33" fmla="*/ 114 h 114"/>
                  <a:gd name="T34" fmla="*/ 66 w 69"/>
                  <a:gd name="T35" fmla="*/ 114 h 114"/>
                  <a:gd name="T36" fmla="*/ 6 w 69"/>
                  <a:gd name="T37" fmla="*/ 75 h 114"/>
                  <a:gd name="T38" fmla="*/ 64 w 69"/>
                  <a:gd name="T39" fmla="*/ 109 h 114"/>
                  <a:gd name="T40" fmla="*/ 64 w 69"/>
                  <a:gd name="T41" fmla="*/ 50 h 114"/>
                  <a:gd name="T42" fmla="*/ 65 w 69"/>
                  <a:gd name="T43" fmla="*/ 49 h 114"/>
                  <a:gd name="T44" fmla="*/ 65 w 69"/>
                  <a:gd name="T45" fmla="*/ 49 h 114"/>
                  <a:gd name="T46" fmla="*/ 65 w 69"/>
                  <a:gd name="T47" fmla="*/ 40 h 114"/>
                  <a:gd name="T48" fmla="*/ 4 w 69"/>
                  <a:gd name="T49" fmla="*/ 5 h 114"/>
                  <a:gd name="T50" fmla="*/ 4 w 69"/>
                  <a:gd name="T51" fmla="*/ 11 h 114"/>
                  <a:gd name="T52" fmla="*/ 5 w 69"/>
                  <a:gd name="T53" fmla="*/ 11 h 114"/>
                  <a:gd name="T54" fmla="*/ 6 w 69"/>
                  <a:gd name="T55" fmla="*/ 13 h 114"/>
                  <a:gd name="T56" fmla="*/ 6 w 69"/>
                  <a:gd name="T57" fmla="*/ 7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9" h="114">
                    <a:moveTo>
                      <a:pt x="66" y="114"/>
                    </a:moveTo>
                    <a:cubicBezTo>
                      <a:pt x="65" y="114"/>
                      <a:pt x="65" y="114"/>
                      <a:pt x="65" y="114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2" y="78"/>
                      <a:pt x="2" y="77"/>
                      <a:pt x="2" y="76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1" y="15"/>
                    </a:cubicBezTo>
                    <a:cubicBezTo>
                      <a:pt x="1" y="15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37"/>
                      <a:pt x="69" y="38"/>
                      <a:pt x="69" y="39"/>
                    </a:cubicBezTo>
                    <a:cubicBezTo>
                      <a:pt x="69" y="50"/>
                      <a:pt x="69" y="50"/>
                      <a:pt x="69" y="50"/>
                    </a:cubicBezTo>
                    <a:cubicBezTo>
                      <a:pt x="69" y="51"/>
                      <a:pt x="68" y="51"/>
                      <a:pt x="68" y="52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3"/>
                      <a:pt x="67" y="114"/>
                      <a:pt x="67" y="114"/>
                    </a:cubicBezTo>
                    <a:cubicBezTo>
                      <a:pt x="66" y="114"/>
                      <a:pt x="66" y="114"/>
                      <a:pt x="66" y="114"/>
                    </a:cubicBezTo>
                    <a:close/>
                    <a:moveTo>
                      <a:pt x="6" y="75"/>
                    </a:moveTo>
                    <a:cubicBezTo>
                      <a:pt x="64" y="109"/>
                      <a:pt x="64" y="109"/>
                      <a:pt x="64" y="109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4" y="50"/>
                      <a:pt x="64" y="49"/>
                      <a:pt x="65" y="4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5" y="40"/>
                      <a:pt x="65" y="40"/>
                      <a:pt x="65" y="4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6" y="12"/>
                      <a:pt x="6" y="13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3" name="Freeform 606">
                <a:extLst>
                  <a:ext uri="{FF2B5EF4-FFF2-40B4-BE49-F238E27FC236}">
                    <a16:creationId xmlns:a16="http://schemas.microsoft.com/office/drawing/2014/main" id="{70A3FE29-8C1B-41CB-8078-8C26254687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438056" y="6410723"/>
                <a:ext cx="26976" cy="32164"/>
              </a:xfrm>
              <a:custGeom>
                <a:avLst/>
                <a:gdLst>
                  <a:gd name="T0" fmla="*/ 2 w 11"/>
                  <a:gd name="T1" fmla="*/ 13 h 13"/>
                  <a:gd name="T2" fmla="*/ 1 w 11"/>
                  <a:gd name="T3" fmla="*/ 12 h 13"/>
                  <a:gd name="T4" fmla="*/ 0 w 11"/>
                  <a:gd name="T5" fmla="*/ 11 h 13"/>
                  <a:gd name="T6" fmla="*/ 0 w 11"/>
                  <a:gd name="T7" fmla="*/ 2 h 13"/>
                  <a:gd name="T8" fmla="*/ 1 w 11"/>
                  <a:gd name="T9" fmla="*/ 0 h 13"/>
                  <a:gd name="T10" fmla="*/ 3 w 11"/>
                  <a:gd name="T11" fmla="*/ 0 h 13"/>
                  <a:gd name="T12" fmla="*/ 10 w 11"/>
                  <a:gd name="T13" fmla="*/ 5 h 13"/>
                  <a:gd name="T14" fmla="*/ 11 w 11"/>
                  <a:gd name="T15" fmla="*/ 6 h 13"/>
                  <a:gd name="T16" fmla="*/ 10 w 11"/>
                  <a:gd name="T17" fmla="*/ 8 h 13"/>
                  <a:gd name="T18" fmla="*/ 3 w 11"/>
                  <a:gd name="T19" fmla="*/ 12 h 13"/>
                  <a:gd name="T20" fmla="*/ 2 w 11"/>
                  <a:gd name="T21" fmla="*/ 13 h 13"/>
                  <a:gd name="T22" fmla="*/ 4 w 11"/>
                  <a:gd name="T23" fmla="*/ 6 h 13"/>
                  <a:gd name="T24" fmla="*/ 4 w 11"/>
                  <a:gd name="T25" fmla="*/ 7 h 13"/>
                  <a:gd name="T26" fmla="*/ 5 w 11"/>
                  <a:gd name="T27" fmla="*/ 6 h 13"/>
                  <a:gd name="T28" fmla="*/ 4 w 11"/>
                  <a:gd name="T2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2" y="13"/>
                    </a:moveTo>
                    <a:cubicBezTo>
                      <a:pt x="2" y="13"/>
                      <a:pt x="2" y="12"/>
                      <a:pt x="1" y="12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5"/>
                      <a:pt x="11" y="6"/>
                      <a:pt x="11" y="6"/>
                    </a:cubicBezTo>
                    <a:cubicBezTo>
                      <a:pt x="11" y="7"/>
                      <a:pt x="11" y="8"/>
                      <a:pt x="1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3"/>
                      <a:pt x="2" y="13"/>
                    </a:cubicBezTo>
                    <a:close/>
                    <a:moveTo>
                      <a:pt x="4" y="6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4" name="Freeform 608">
                <a:extLst>
                  <a:ext uri="{FF2B5EF4-FFF2-40B4-BE49-F238E27FC236}">
                    <a16:creationId xmlns:a16="http://schemas.microsoft.com/office/drawing/2014/main" id="{46B60A49-02EA-4E03-9381-DEE3EB3A08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960787" y="6795650"/>
                <a:ext cx="70553" cy="83003"/>
              </a:xfrm>
              <a:custGeom>
                <a:avLst/>
                <a:gdLst>
                  <a:gd name="T0" fmla="*/ 2 w 29"/>
                  <a:gd name="T1" fmla="*/ 34 h 34"/>
                  <a:gd name="T2" fmla="*/ 1 w 29"/>
                  <a:gd name="T3" fmla="*/ 33 h 34"/>
                  <a:gd name="T4" fmla="*/ 0 w 29"/>
                  <a:gd name="T5" fmla="*/ 32 h 34"/>
                  <a:gd name="T6" fmla="*/ 0 w 29"/>
                  <a:gd name="T7" fmla="*/ 2 h 34"/>
                  <a:gd name="T8" fmla="*/ 1 w 29"/>
                  <a:gd name="T9" fmla="*/ 0 h 34"/>
                  <a:gd name="T10" fmla="*/ 3 w 29"/>
                  <a:gd name="T11" fmla="*/ 0 h 34"/>
                  <a:gd name="T12" fmla="*/ 28 w 29"/>
                  <a:gd name="T13" fmla="*/ 15 h 34"/>
                  <a:gd name="T14" fmla="*/ 29 w 29"/>
                  <a:gd name="T15" fmla="*/ 17 h 34"/>
                  <a:gd name="T16" fmla="*/ 28 w 29"/>
                  <a:gd name="T17" fmla="*/ 19 h 34"/>
                  <a:gd name="T18" fmla="*/ 3 w 29"/>
                  <a:gd name="T19" fmla="*/ 33 h 34"/>
                  <a:gd name="T20" fmla="*/ 2 w 29"/>
                  <a:gd name="T21" fmla="*/ 34 h 34"/>
                  <a:gd name="T22" fmla="*/ 4 w 29"/>
                  <a:gd name="T23" fmla="*/ 6 h 34"/>
                  <a:gd name="T24" fmla="*/ 4 w 29"/>
                  <a:gd name="T25" fmla="*/ 28 h 34"/>
                  <a:gd name="T26" fmla="*/ 23 w 29"/>
                  <a:gd name="T27" fmla="*/ 17 h 34"/>
                  <a:gd name="T28" fmla="*/ 4 w 29"/>
                  <a:gd name="T2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34">
                    <a:moveTo>
                      <a:pt x="2" y="34"/>
                    </a:moveTo>
                    <a:cubicBezTo>
                      <a:pt x="1" y="34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29" y="16"/>
                      <a:pt x="29" y="17"/>
                    </a:cubicBezTo>
                    <a:cubicBezTo>
                      <a:pt x="29" y="18"/>
                      <a:pt x="29" y="18"/>
                      <a:pt x="28" y="19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2" y="33"/>
                      <a:pt x="2" y="34"/>
                      <a:pt x="2" y="34"/>
                    </a:cubicBezTo>
                    <a:close/>
                    <a:moveTo>
                      <a:pt x="4" y="6"/>
                    </a:moveTo>
                    <a:cubicBezTo>
                      <a:pt x="4" y="28"/>
                      <a:pt x="4" y="28"/>
                      <a:pt x="4" y="28"/>
                    </a:cubicBezTo>
                    <a:cubicBezTo>
                      <a:pt x="23" y="17"/>
                      <a:pt x="23" y="17"/>
                      <a:pt x="23" y="1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5" name="Freeform 609">
                <a:extLst>
                  <a:ext uri="{FF2B5EF4-FFF2-40B4-BE49-F238E27FC236}">
                    <a16:creationId xmlns:a16="http://schemas.microsoft.com/office/drawing/2014/main" id="{34861119-D363-4D7E-92CF-322C670D53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6862052"/>
                <a:ext cx="166007" cy="198170"/>
              </a:xfrm>
              <a:custGeom>
                <a:avLst/>
                <a:gdLst>
                  <a:gd name="T0" fmla="*/ 53 w 68"/>
                  <a:gd name="T1" fmla="*/ 81 h 81"/>
                  <a:gd name="T2" fmla="*/ 52 w 68"/>
                  <a:gd name="T3" fmla="*/ 81 h 81"/>
                  <a:gd name="T4" fmla="*/ 1 w 68"/>
                  <a:gd name="T5" fmla="*/ 51 h 81"/>
                  <a:gd name="T6" fmla="*/ 0 w 68"/>
                  <a:gd name="T7" fmla="*/ 49 h 81"/>
                  <a:gd name="T8" fmla="*/ 0 w 68"/>
                  <a:gd name="T9" fmla="*/ 11 h 81"/>
                  <a:gd name="T10" fmla="*/ 1 w 68"/>
                  <a:gd name="T11" fmla="*/ 9 h 81"/>
                  <a:gd name="T12" fmla="*/ 3 w 68"/>
                  <a:gd name="T13" fmla="*/ 9 h 81"/>
                  <a:gd name="T14" fmla="*/ 17 w 68"/>
                  <a:gd name="T15" fmla="*/ 17 h 81"/>
                  <a:gd name="T16" fmla="*/ 47 w 68"/>
                  <a:gd name="T17" fmla="*/ 0 h 81"/>
                  <a:gd name="T18" fmla="*/ 49 w 68"/>
                  <a:gd name="T19" fmla="*/ 0 h 81"/>
                  <a:gd name="T20" fmla="*/ 67 w 68"/>
                  <a:gd name="T21" fmla="*/ 10 h 81"/>
                  <a:gd name="T22" fmla="*/ 68 w 68"/>
                  <a:gd name="T23" fmla="*/ 12 h 81"/>
                  <a:gd name="T24" fmla="*/ 67 w 68"/>
                  <a:gd name="T25" fmla="*/ 14 h 81"/>
                  <a:gd name="T26" fmla="*/ 55 w 68"/>
                  <a:gd name="T27" fmla="*/ 21 h 81"/>
                  <a:gd name="T28" fmla="*/ 55 w 68"/>
                  <a:gd name="T29" fmla="*/ 79 h 81"/>
                  <a:gd name="T30" fmla="*/ 54 w 68"/>
                  <a:gd name="T31" fmla="*/ 81 h 81"/>
                  <a:gd name="T32" fmla="*/ 53 w 68"/>
                  <a:gd name="T33" fmla="*/ 81 h 81"/>
                  <a:gd name="T34" fmla="*/ 4 w 68"/>
                  <a:gd name="T35" fmla="*/ 48 h 81"/>
                  <a:gd name="T36" fmla="*/ 51 w 68"/>
                  <a:gd name="T37" fmla="*/ 76 h 81"/>
                  <a:gd name="T38" fmla="*/ 51 w 68"/>
                  <a:gd name="T39" fmla="*/ 20 h 81"/>
                  <a:gd name="T40" fmla="*/ 52 w 68"/>
                  <a:gd name="T41" fmla="*/ 18 h 81"/>
                  <a:gd name="T42" fmla="*/ 62 w 68"/>
                  <a:gd name="T43" fmla="*/ 12 h 81"/>
                  <a:gd name="T44" fmla="*/ 48 w 68"/>
                  <a:gd name="T45" fmla="*/ 4 h 81"/>
                  <a:gd name="T46" fmla="*/ 18 w 68"/>
                  <a:gd name="T47" fmla="*/ 21 h 81"/>
                  <a:gd name="T48" fmla="*/ 16 w 68"/>
                  <a:gd name="T49" fmla="*/ 21 h 81"/>
                  <a:gd name="T50" fmla="*/ 4 w 68"/>
                  <a:gd name="T51" fmla="*/ 14 h 81"/>
                  <a:gd name="T52" fmla="*/ 4 w 68"/>
                  <a:gd name="T53" fmla="*/ 4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" h="81">
                    <a:moveTo>
                      <a:pt x="53" y="81"/>
                    </a:moveTo>
                    <a:cubicBezTo>
                      <a:pt x="53" y="81"/>
                      <a:pt x="53" y="81"/>
                      <a:pt x="52" y="8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0"/>
                      <a:pt x="0" y="4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0"/>
                      <a:pt x="0" y="10"/>
                      <a:pt x="1" y="9"/>
                    </a:cubicBezTo>
                    <a:cubicBezTo>
                      <a:pt x="1" y="9"/>
                      <a:pt x="2" y="9"/>
                      <a:pt x="3" y="9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8" y="0"/>
                      <a:pt x="49" y="0"/>
                    </a:cubicBezTo>
                    <a:cubicBezTo>
                      <a:pt x="67" y="10"/>
                      <a:pt x="67" y="10"/>
                      <a:pt x="67" y="10"/>
                    </a:cubicBezTo>
                    <a:cubicBezTo>
                      <a:pt x="68" y="11"/>
                      <a:pt x="68" y="11"/>
                      <a:pt x="68" y="12"/>
                    </a:cubicBezTo>
                    <a:cubicBezTo>
                      <a:pt x="68" y="13"/>
                      <a:pt x="68" y="14"/>
                      <a:pt x="67" y="14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5" y="80"/>
                      <a:pt x="55" y="81"/>
                      <a:pt x="54" y="81"/>
                    </a:cubicBezTo>
                    <a:cubicBezTo>
                      <a:pt x="54" y="81"/>
                      <a:pt x="54" y="81"/>
                      <a:pt x="53" y="81"/>
                    </a:cubicBezTo>
                    <a:close/>
                    <a:moveTo>
                      <a:pt x="4" y="48"/>
                    </a:move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1" y="19"/>
                      <a:pt x="52" y="18"/>
                      <a:pt x="52" y="18"/>
                    </a:cubicBezTo>
                    <a:cubicBezTo>
                      <a:pt x="62" y="12"/>
                      <a:pt x="62" y="12"/>
                      <a:pt x="62" y="12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7" y="22"/>
                      <a:pt x="16" y="22"/>
                      <a:pt x="16" y="21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4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6" name="Freeform 610">
                <a:extLst>
                  <a:ext uri="{FF2B5EF4-FFF2-40B4-BE49-F238E27FC236}">
                    <a16:creationId xmlns:a16="http://schemas.microsoft.com/office/drawing/2014/main" id="{11CE13E3-3B0F-4FAB-B404-3CE1F3038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34603" y="6842339"/>
                <a:ext cx="134880" cy="237597"/>
              </a:xfrm>
              <a:custGeom>
                <a:avLst/>
                <a:gdLst>
                  <a:gd name="T0" fmla="*/ 2 w 55"/>
                  <a:gd name="T1" fmla="*/ 97 h 97"/>
                  <a:gd name="T2" fmla="*/ 1 w 55"/>
                  <a:gd name="T3" fmla="*/ 97 h 97"/>
                  <a:gd name="T4" fmla="*/ 0 w 55"/>
                  <a:gd name="T5" fmla="*/ 95 h 97"/>
                  <a:gd name="T6" fmla="*/ 0 w 55"/>
                  <a:gd name="T7" fmla="*/ 21 h 97"/>
                  <a:gd name="T8" fmla="*/ 1 w 55"/>
                  <a:gd name="T9" fmla="*/ 20 h 97"/>
                  <a:gd name="T10" fmla="*/ 35 w 55"/>
                  <a:gd name="T11" fmla="*/ 0 h 97"/>
                  <a:gd name="T12" fmla="*/ 37 w 55"/>
                  <a:gd name="T13" fmla="*/ 0 h 97"/>
                  <a:gd name="T14" fmla="*/ 54 w 55"/>
                  <a:gd name="T15" fmla="*/ 10 h 97"/>
                  <a:gd name="T16" fmla="*/ 55 w 55"/>
                  <a:gd name="T17" fmla="*/ 12 h 97"/>
                  <a:gd name="T18" fmla="*/ 55 w 55"/>
                  <a:gd name="T19" fmla="*/ 66 h 97"/>
                  <a:gd name="T20" fmla="*/ 54 w 55"/>
                  <a:gd name="T21" fmla="*/ 68 h 97"/>
                  <a:gd name="T22" fmla="*/ 3 w 55"/>
                  <a:gd name="T23" fmla="*/ 97 h 97"/>
                  <a:gd name="T24" fmla="*/ 2 w 55"/>
                  <a:gd name="T25" fmla="*/ 97 h 97"/>
                  <a:gd name="T26" fmla="*/ 4 w 55"/>
                  <a:gd name="T27" fmla="*/ 23 h 97"/>
                  <a:gd name="T28" fmla="*/ 4 w 55"/>
                  <a:gd name="T29" fmla="*/ 92 h 97"/>
                  <a:gd name="T30" fmla="*/ 51 w 55"/>
                  <a:gd name="T31" fmla="*/ 65 h 97"/>
                  <a:gd name="T32" fmla="*/ 51 w 55"/>
                  <a:gd name="T33" fmla="*/ 13 h 97"/>
                  <a:gd name="T34" fmla="*/ 36 w 55"/>
                  <a:gd name="T35" fmla="*/ 4 h 97"/>
                  <a:gd name="T36" fmla="*/ 4 w 55"/>
                  <a:gd name="T37" fmla="*/ 23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" h="97">
                    <a:moveTo>
                      <a:pt x="2" y="97"/>
                    </a:moveTo>
                    <a:cubicBezTo>
                      <a:pt x="1" y="97"/>
                      <a:pt x="1" y="97"/>
                      <a:pt x="1" y="97"/>
                    </a:cubicBezTo>
                    <a:cubicBezTo>
                      <a:pt x="0" y="97"/>
                      <a:pt x="0" y="96"/>
                      <a:pt x="0" y="9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0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6" y="0"/>
                      <a:pt x="37" y="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5" y="10"/>
                      <a:pt x="55" y="11"/>
                      <a:pt x="55" y="12"/>
                    </a:cubicBezTo>
                    <a:cubicBezTo>
                      <a:pt x="55" y="66"/>
                      <a:pt x="55" y="66"/>
                      <a:pt x="55" y="66"/>
                    </a:cubicBezTo>
                    <a:cubicBezTo>
                      <a:pt x="55" y="66"/>
                      <a:pt x="55" y="67"/>
                      <a:pt x="54" y="68"/>
                    </a:cubicBezTo>
                    <a:cubicBezTo>
                      <a:pt x="3" y="97"/>
                      <a:pt x="3" y="97"/>
                      <a:pt x="3" y="97"/>
                    </a:cubicBezTo>
                    <a:cubicBezTo>
                      <a:pt x="2" y="97"/>
                      <a:pt x="2" y="97"/>
                      <a:pt x="2" y="97"/>
                    </a:cubicBezTo>
                    <a:close/>
                    <a:moveTo>
                      <a:pt x="4" y="23"/>
                    </a:moveTo>
                    <a:cubicBezTo>
                      <a:pt x="4" y="92"/>
                      <a:pt x="4" y="92"/>
                      <a:pt x="4" y="92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7" name="Freeform 611">
                <a:extLst>
                  <a:ext uri="{FF2B5EF4-FFF2-40B4-BE49-F238E27FC236}">
                    <a16:creationId xmlns:a16="http://schemas.microsoft.com/office/drawing/2014/main" id="{3BE52AE1-C3C8-4C1E-B63C-0E9F2B4F59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31095" y="6786312"/>
                <a:ext cx="129693" cy="80928"/>
              </a:xfrm>
              <a:custGeom>
                <a:avLst/>
                <a:gdLst>
                  <a:gd name="T0" fmla="*/ 19 w 53"/>
                  <a:gd name="T1" fmla="*/ 33 h 33"/>
                  <a:gd name="T2" fmla="*/ 18 w 53"/>
                  <a:gd name="T3" fmla="*/ 32 h 33"/>
                  <a:gd name="T4" fmla="*/ 1 w 53"/>
                  <a:gd name="T5" fmla="*/ 23 h 33"/>
                  <a:gd name="T6" fmla="*/ 0 w 53"/>
                  <a:gd name="T7" fmla="*/ 21 h 33"/>
                  <a:gd name="T8" fmla="*/ 1 w 53"/>
                  <a:gd name="T9" fmla="*/ 19 h 33"/>
                  <a:gd name="T10" fmla="*/ 33 w 53"/>
                  <a:gd name="T11" fmla="*/ 0 h 33"/>
                  <a:gd name="T12" fmla="*/ 35 w 53"/>
                  <a:gd name="T13" fmla="*/ 0 h 33"/>
                  <a:gd name="T14" fmla="*/ 52 w 53"/>
                  <a:gd name="T15" fmla="*/ 10 h 33"/>
                  <a:gd name="T16" fmla="*/ 53 w 53"/>
                  <a:gd name="T17" fmla="*/ 12 h 33"/>
                  <a:gd name="T18" fmla="*/ 52 w 53"/>
                  <a:gd name="T19" fmla="*/ 14 h 33"/>
                  <a:gd name="T20" fmla="*/ 20 w 53"/>
                  <a:gd name="T21" fmla="*/ 32 h 33"/>
                  <a:gd name="T22" fmla="*/ 19 w 53"/>
                  <a:gd name="T23" fmla="*/ 33 h 33"/>
                  <a:gd name="T24" fmla="*/ 6 w 53"/>
                  <a:gd name="T25" fmla="*/ 21 h 33"/>
                  <a:gd name="T26" fmla="*/ 19 w 53"/>
                  <a:gd name="T27" fmla="*/ 28 h 33"/>
                  <a:gd name="T28" fmla="*/ 47 w 53"/>
                  <a:gd name="T29" fmla="*/ 12 h 33"/>
                  <a:gd name="T30" fmla="*/ 34 w 53"/>
                  <a:gd name="T31" fmla="*/ 4 h 33"/>
                  <a:gd name="T32" fmla="*/ 6 w 53"/>
                  <a:gd name="T33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33">
                    <a:moveTo>
                      <a:pt x="19" y="33"/>
                    </a:moveTo>
                    <a:cubicBezTo>
                      <a:pt x="18" y="33"/>
                      <a:pt x="18" y="33"/>
                      <a:pt x="18" y="32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19"/>
                      <a:pt x="1" y="19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4" y="0"/>
                      <a:pt x="35" y="0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3" y="11"/>
                      <a:pt x="53" y="11"/>
                      <a:pt x="53" y="12"/>
                    </a:cubicBezTo>
                    <a:cubicBezTo>
                      <a:pt x="53" y="13"/>
                      <a:pt x="53" y="13"/>
                      <a:pt x="52" y="14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19" y="33"/>
                      <a:pt x="19" y="33"/>
                      <a:pt x="19" y="33"/>
                    </a:cubicBezTo>
                    <a:close/>
                    <a:moveTo>
                      <a:pt x="6" y="21"/>
                    </a:moveTo>
                    <a:cubicBezTo>
                      <a:pt x="19" y="28"/>
                      <a:pt x="19" y="28"/>
                      <a:pt x="19" y="2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4" y="4"/>
                      <a:pt x="34" y="4"/>
                      <a:pt x="34" y="4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8" name="Freeform 612">
                <a:extLst>
                  <a:ext uri="{FF2B5EF4-FFF2-40B4-BE49-F238E27FC236}">
                    <a16:creationId xmlns:a16="http://schemas.microsoft.com/office/drawing/2014/main" id="{3849528A-39E4-4CF3-B63A-D1BD95CCFF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914098" y="6835076"/>
                <a:ext cx="117242" cy="75740"/>
              </a:xfrm>
              <a:custGeom>
                <a:avLst/>
                <a:gdLst>
                  <a:gd name="T0" fmla="*/ 17 w 48"/>
                  <a:gd name="T1" fmla="*/ 31 h 31"/>
                  <a:gd name="T2" fmla="*/ 16 w 48"/>
                  <a:gd name="T3" fmla="*/ 30 h 31"/>
                  <a:gd name="T4" fmla="*/ 1 w 48"/>
                  <a:gd name="T5" fmla="*/ 22 h 31"/>
                  <a:gd name="T6" fmla="*/ 0 w 48"/>
                  <a:gd name="T7" fmla="*/ 20 h 31"/>
                  <a:gd name="T8" fmla="*/ 0 w 48"/>
                  <a:gd name="T9" fmla="*/ 17 h 31"/>
                  <a:gd name="T10" fmla="*/ 1 w 48"/>
                  <a:gd name="T11" fmla="*/ 16 h 31"/>
                  <a:gd name="T12" fmla="*/ 28 w 48"/>
                  <a:gd name="T13" fmla="*/ 0 h 31"/>
                  <a:gd name="T14" fmla="*/ 30 w 48"/>
                  <a:gd name="T15" fmla="*/ 0 h 31"/>
                  <a:gd name="T16" fmla="*/ 47 w 48"/>
                  <a:gd name="T17" fmla="*/ 10 h 31"/>
                  <a:gd name="T18" fmla="*/ 48 w 48"/>
                  <a:gd name="T19" fmla="*/ 12 h 31"/>
                  <a:gd name="T20" fmla="*/ 47 w 48"/>
                  <a:gd name="T21" fmla="*/ 13 h 31"/>
                  <a:gd name="T22" fmla="*/ 18 w 48"/>
                  <a:gd name="T23" fmla="*/ 30 h 31"/>
                  <a:gd name="T24" fmla="*/ 17 w 48"/>
                  <a:gd name="T25" fmla="*/ 31 h 31"/>
                  <a:gd name="T26" fmla="*/ 4 w 48"/>
                  <a:gd name="T27" fmla="*/ 19 h 31"/>
                  <a:gd name="T28" fmla="*/ 17 w 48"/>
                  <a:gd name="T29" fmla="*/ 26 h 31"/>
                  <a:gd name="T30" fmla="*/ 42 w 48"/>
                  <a:gd name="T31" fmla="*/ 12 h 31"/>
                  <a:gd name="T32" fmla="*/ 29 w 48"/>
                  <a:gd name="T33" fmla="*/ 4 h 31"/>
                  <a:gd name="T34" fmla="*/ 4 w 48"/>
                  <a:gd name="T35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1">
                    <a:moveTo>
                      <a:pt x="17" y="31"/>
                    </a:moveTo>
                    <a:cubicBezTo>
                      <a:pt x="16" y="31"/>
                      <a:pt x="16" y="31"/>
                      <a:pt x="16" y="30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6"/>
                      <a:pt x="1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30" y="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8" y="10"/>
                      <a:pt x="48" y="11"/>
                      <a:pt x="48" y="12"/>
                    </a:cubicBezTo>
                    <a:cubicBezTo>
                      <a:pt x="48" y="12"/>
                      <a:pt x="48" y="13"/>
                      <a:pt x="47" y="13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7" y="31"/>
                      <a:pt x="17" y="31"/>
                      <a:pt x="17" y="31"/>
                    </a:cubicBezTo>
                    <a:close/>
                    <a:moveTo>
                      <a:pt x="4" y="19"/>
                    </a:moveTo>
                    <a:cubicBezTo>
                      <a:pt x="17" y="26"/>
                      <a:pt x="17" y="26"/>
                      <a:pt x="17" y="26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4" y="19"/>
                      <a:pt x="4" y="19"/>
                      <a:pt x="4" y="1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9" name="Freeform 613">
                <a:extLst>
                  <a:ext uri="{FF2B5EF4-FFF2-40B4-BE49-F238E27FC236}">
                    <a16:creationId xmlns:a16="http://schemas.microsoft.com/office/drawing/2014/main" id="{4E9F382B-75CA-4155-80ED-37D5906C13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81293" y="6813288"/>
                <a:ext cx="134880" cy="83003"/>
              </a:xfrm>
              <a:custGeom>
                <a:avLst/>
                <a:gdLst>
                  <a:gd name="T0" fmla="*/ 21 w 55"/>
                  <a:gd name="T1" fmla="*/ 34 h 34"/>
                  <a:gd name="T2" fmla="*/ 20 w 55"/>
                  <a:gd name="T3" fmla="*/ 33 h 34"/>
                  <a:gd name="T4" fmla="*/ 19 w 55"/>
                  <a:gd name="T5" fmla="*/ 33 h 34"/>
                  <a:gd name="T6" fmla="*/ 1 w 55"/>
                  <a:gd name="T7" fmla="*/ 22 h 34"/>
                  <a:gd name="T8" fmla="*/ 0 w 55"/>
                  <a:gd name="T9" fmla="*/ 21 h 34"/>
                  <a:gd name="T10" fmla="*/ 1 w 55"/>
                  <a:gd name="T11" fmla="*/ 19 h 34"/>
                  <a:gd name="T12" fmla="*/ 34 w 55"/>
                  <a:gd name="T13" fmla="*/ 0 h 34"/>
                  <a:gd name="T14" fmla="*/ 36 w 55"/>
                  <a:gd name="T15" fmla="*/ 0 h 34"/>
                  <a:gd name="T16" fmla="*/ 54 w 55"/>
                  <a:gd name="T17" fmla="*/ 11 h 34"/>
                  <a:gd name="T18" fmla="*/ 55 w 55"/>
                  <a:gd name="T19" fmla="*/ 13 h 34"/>
                  <a:gd name="T20" fmla="*/ 54 w 55"/>
                  <a:gd name="T21" fmla="*/ 14 h 34"/>
                  <a:gd name="T22" fmla="*/ 22 w 55"/>
                  <a:gd name="T23" fmla="*/ 33 h 34"/>
                  <a:gd name="T24" fmla="*/ 21 w 55"/>
                  <a:gd name="T25" fmla="*/ 34 h 34"/>
                  <a:gd name="T26" fmla="*/ 6 w 55"/>
                  <a:gd name="T27" fmla="*/ 21 h 34"/>
                  <a:gd name="T28" fmla="*/ 21 w 55"/>
                  <a:gd name="T29" fmla="*/ 29 h 34"/>
                  <a:gd name="T30" fmla="*/ 49 w 55"/>
                  <a:gd name="T31" fmla="*/ 13 h 34"/>
                  <a:gd name="T32" fmla="*/ 35 w 55"/>
                  <a:gd name="T33" fmla="*/ 4 h 34"/>
                  <a:gd name="T34" fmla="*/ 6 w 55"/>
                  <a:gd name="T35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5" h="34">
                    <a:moveTo>
                      <a:pt x="21" y="34"/>
                    </a:moveTo>
                    <a:cubicBezTo>
                      <a:pt x="20" y="34"/>
                      <a:pt x="20" y="33"/>
                      <a:pt x="20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0" y="21"/>
                      <a:pt x="0" y="21"/>
                    </a:cubicBezTo>
                    <a:cubicBezTo>
                      <a:pt x="0" y="20"/>
                      <a:pt x="1" y="19"/>
                      <a:pt x="1" y="19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5" y="0"/>
                      <a:pt x="36" y="0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5" y="11"/>
                      <a:pt x="55" y="12"/>
                      <a:pt x="55" y="13"/>
                    </a:cubicBezTo>
                    <a:cubicBezTo>
                      <a:pt x="55" y="13"/>
                      <a:pt x="55" y="14"/>
                      <a:pt x="54" y="14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1" y="33"/>
                      <a:pt x="21" y="34"/>
                      <a:pt x="21" y="34"/>
                    </a:cubicBezTo>
                    <a:close/>
                    <a:moveTo>
                      <a:pt x="6" y="21"/>
                    </a:moveTo>
                    <a:cubicBezTo>
                      <a:pt x="21" y="29"/>
                      <a:pt x="21" y="29"/>
                      <a:pt x="21" y="29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35" y="4"/>
                      <a:pt x="35" y="4"/>
                      <a:pt x="35" y="4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0" name="Freeform 614">
                <a:extLst>
                  <a:ext uri="{FF2B5EF4-FFF2-40B4-BE49-F238E27FC236}">
                    <a16:creationId xmlns:a16="http://schemas.microsoft.com/office/drawing/2014/main" id="{C3F3C600-B22D-4357-AEEF-ABF1BAB03F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6891103"/>
                <a:ext cx="36314" cy="186757"/>
              </a:xfrm>
              <a:custGeom>
                <a:avLst/>
                <a:gdLst>
                  <a:gd name="T0" fmla="*/ 13 w 15"/>
                  <a:gd name="T1" fmla="*/ 76 h 76"/>
                  <a:gd name="T2" fmla="*/ 12 w 15"/>
                  <a:gd name="T3" fmla="*/ 76 h 76"/>
                  <a:gd name="T4" fmla="*/ 1 w 15"/>
                  <a:gd name="T5" fmla="*/ 70 h 76"/>
                  <a:gd name="T6" fmla="*/ 0 w 15"/>
                  <a:gd name="T7" fmla="*/ 68 h 76"/>
                  <a:gd name="T8" fmla="*/ 0 w 15"/>
                  <a:gd name="T9" fmla="*/ 9 h 76"/>
                  <a:gd name="T10" fmla="*/ 1 w 15"/>
                  <a:gd name="T11" fmla="*/ 7 h 76"/>
                  <a:gd name="T12" fmla="*/ 12 w 15"/>
                  <a:gd name="T13" fmla="*/ 1 h 76"/>
                  <a:gd name="T14" fmla="*/ 14 w 15"/>
                  <a:gd name="T15" fmla="*/ 1 h 76"/>
                  <a:gd name="T16" fmla="*/ 15 w 15"/>
                  <a:gd name="T17" fmla="*/ 2 h 76"/>
                  <a:gd name="T18" fmla="*/ 15 w 15"/>
                  <a:gd name="T19" fmla="*/ 74 h 76"/>
                  <a:gd name="T20" fmla="*/ 14 w 15"/>
                  <a:gd name="T21" fmla="*/ 76 h 76"/>
                  <a:gd name="T22" fmla="*/ 13 w 15"/>
                  <a:gd name="T23" fmla="*/ 76 h 76"/>
                  <a:gd name="T24" fmla="*/ 4 w 15"/>
                  <a:gd name="T25" fmla="*/ 67 h 76"/>
                  <a:gd name="T26" fmla="*/ 11 w 15"/>
                  <a:gd name="T27" fmla="*/ 71 h 76"/>
                  <a:gd name="T28" fmla="*/ 11 w 15"/>
                  <a:gd name="T29" fmla="*/ 6 h 76"/>
                  <a:gd name="T30" fmla="*/ 4 w 15"/>
                  <a:gd name="T31" fmla="*/ 10 h 76"/>
                  <a:gd name="T32" fmla="*/ 4 w 15"/>
                  <a:gd name="T33" fmla="*/ 6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76">
                    <a:moveTo>
                      <a:pt x="13" y="76"/>
                    </a:moveTo>
                    <a:cubicBezTo>
                      <a:pt x="13" y="76"/>
                      <a:pt x="12" y="76"/>
                      <a:pt x="12" y="76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69"/>
                      <a:pt x="0" y="69"/>
                      <a:pt x="0" y="6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0"/>
                      <a:pt x="14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5" y="75"/>
                      <a:pt x="15" y="76"/>
                      <a:pt x="14" y="76"/>
                    </a:cubicBezTo>
                    <a:cubicBezTo>
                      <a:pt x="14" y="76"/>
                      <a:pt x="13" y="76"/>
                      <a:pt x="13" y="76"/>
                    </a:cubicBezTo>
                    <a:close/>
                    <a:moveTo>
                      <a:pt x="4" y="67"/>
                    </a:move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1" name="Freeform 615">
                <a:extLst>
                  <a:ext uri="{FF2B5EF4-FFF2-40B4-BE49-F238E27FC236}">
                    <a16:creationId xmlns:a16="http://schemas.microsoft.com/office/drawing/2014/main" id="{7AF97D2D-5D67-4C25-8A73-61EAA7D04996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734603" y="6817438"/>
                <a:ext cx="15563" cy="15563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6" y="5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2" name="Freeform 616">
                <a:extLst>
                  <a:ext uri="{FF2B5EF4-FFF2-40B4-BE49-F238E27FC236}">
                    <a16:creationId xmlns:a16="http://schemas.microsoft.com/office/drawing/2014/main" id="{AFDE7889-8D11-46D4-A63C-19907A8C6C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027190" y="6874503"/>
                <a:ext cx="9338" cy="11413"/>
              </a:xfrm>
              <a:custGeom>
                <a:avLst/>
                <a:gdLst>
                  <a:gd name="T0" fmla="*/ 2 w 4"/>
                  <a:gd name="T1" fmla="*/ 5 h 5"/>
                  <a:gd name="T2" fmla="*/ 1 w 4"/>
                  <a:gd name="T3" fmla="*/ 5 h 5"/>
                  <a:gd name="T4" fmla="*/ 1 w 4"/>
                  <a:gd name="T5" fmla="*/ 4 h 5"/>
                  <a:gd name="T6" fmla="*/ 0 w 4"/>
                  <a:gd name="T7" fmla="*/ 3 h 5"/>
                  <a:gd name="T8" fmla="*/ 1 w 4"/>
                  <a:gd name="T9" fmla="*/ 1 h 5"/>
                  <a:gd name="T10" fmla="*/ 1 w 4"/>
                  <a:gd name="T11" fmla="*/ 1 h 5"/>
                  <a:gd name="T12" fmla="*/ 3 w 4"/>
                  <a:gd name="T13" fmla="*/ 1 h 5"/>
                  <a:gd name="T14" fmla="*/ 4 w 4"/>
                  <a:gd name="T15" fmla="*/ 2 h 5"/>
                  <a:gd name="T16" fmla="*/ 4 w 4"/>
                  <a:gd name="T17" fmla="*/ 3 h 5"/>
                  <a:gd name="T18" fmla="*/ 3 w 4"/>
                  <a:gd name="T19" fmla="*/ 5 h 5"/>
                  <a:gd name="T20" fmla="*/ 2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3" name="Freeform 617">
                <a:extLst>
                  <a:ext uri="{FF2B5EF4-FFF2-40B4-BE49-F238E27FC236}">
                    <a16:creationId xmlns:a16="http://schemas.microsoft.com/office/drawing/2014/main" id="{1C60DEB7-43A6-40E1-B39B-51A685793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92460" y="6993820"/>
                <a:ext cx="292587" cy="194020"/>
              </a:xfrm>
              <a:custGeom>
                <a:avLst/>
                <a:gdLst>
                  <a:gd name="T0" fmla="*/ 67 w 119"/>
                  <a:gd name="T1" fmla="*/ 79 h 79"/>
                  <a:gd name="T2" fmla="*/ 66 w 119"/>
                  <a:gd name="T3" fmla="*/ 79 h 79"/>
                  <a:gd name="T4" fmla="*/ 1 w 119"/>
                  <a:gd name="T5" fmla="*/ 41 h 79"/>
                  <a:gd name="T6" fmla="*/ 0 w 119"/>
                  <a:gd name="T7" fmla="*/ 40 h 79"/>
                  <a:gd name="T8" fmla="*/ 1 w 119"/>
                  <a:gd name="T9" fmla="*/ 38 h 79"/>
                  <a:gd name="T10" fmla="*/ 66 w 119"/>
                  <a:gd name="T11" fmla="*/ 1 h 79"/>
                  <a:gd name="T12" fmla="*/ 68 w 119"/>
                  <a:gd name="T13" fmla="*/ 1 h 79"/>
                  <a:gd name="T14" fmla="*/ 69 w 119"/>
                  <a:gd name="T15" fmla="*/ 2 h 79"/>
                  <a:gd name="T16" fmla="*/ 69 w 119"/>
                  <a:gd name="T17" fmla="*/ 18 h 79"/>
                  <a:gd name="T18" fmla="*/ 118 w 119"/>
                  <a:gd name="T19" fmla="*/ 47 h 79"/>
                  <a:gd name="T20" fmla="*/ 119 w 119"/>
                  <a:gd name="T21" fmla="*/ 49 h 79"/>
                  <a:gd name="T22" fmla="*/ 118 w 119"/>
                  <a:gd name="T23" fmla="*/ 50 h 79"/>
                  <a:gd name="T24" fmla="*/ 68 w 119"/>
                  <a:gd name="T25" fmla="*/ 79 h 79"/>
                  <a:gd name="T26" fmla="*/ 67 w 119"/>
                  <a:gd name="T27" fmla="*/ 79 h 79"/>
                  <a:gd name="T28" fmla="*/ 6 w 119"/>
                  <a:gd name="T29" fmla="*/ 40 h 79"/>
                  <a:gd name="T30" fmla="*/ 67 w 119"/>
                  <a:gd name="T31" fmla="*/ 75 h 79"/>
                  <a:gd name="T32" fmla="*/ 113 w 119"/>
                  <a:gd name="T33" fmla="*/ 49 h 79"/>
                  <a:gd name="T34" fmla="*/ 66 w 119"/>
                  <a:gd name="T35" fmla="*/ 21 h 79"/>
                  <a:gd name="T36" fmla="*/ 65 w 119"/>
                  <a:gd name="T37" fmla="*/ 19 h 79"/>
                  <a:gd name="T38" fmla="*/ 65 w 119"/>
                  <a:gd name="T39" fmla="*/ 6 h 79"/>
                  <a:gd name="T40" fmla="*/ 6 w 119"/>
                  <a:gd name="T4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9" h="79">
                    <a:moveTo>
                      <a:pt x="67" y="79"/>
                    </a:moveTo>
                    <a:cubicBezTo>
                      <a:pt x="67" y="79"/>
                      <a:pt x="67" y="79"/>
                      <a:pt x="66" y="79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6" y="0"/>
                      <a:pt x="67" y="0"/>
                      <a:pt x="68" y="1"/>
                    </a:cubicBezTo>
                    <a:cubicBezTo>
                      <a:pt x="68" y="1"/>
                      <a:pt x="69" y="2"/>
                      <a:pt x="69" y="2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118" y="47"/>
                      <a:pt x="118" y="47"/>
                      <a:pt x="118" y="47"/>
                    </a:cubicBezTo>
                    <a:cubicBezTo>
                      <a:pt x="119" y="47"/>
                      <a:pt x="119" y="48"/>
                      <a:pt x="119" y="49"/>
                    </a:cubicBezTo>
                    <a:cubicBezTo>
                      <a:pt x="119" y="49"/>
                      <a:pt x="119" y="50"/>
                      <a:pt x="118" y="50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68" y="79"/>
                      <a:pt x="68" y="79"/>
                      <a:pt x="67" y="79"/>
                    </a:cubicBezTo>
                    <a:close/>
                    <a:moveTo>
                      <a:pt x="6" y="40"/>
                    </a:moveTo>
                    <a:cubicBezTo>
                      <a:pt x="67" y="75"/>
                      <a:pt x="67" y="75"/>
                      <a:pt x="67" y="75"/>
                    </a:cubicBezTo>
                    <a:cubicBezTo>
                      <a:pt x="113" y="49"/>
                      <a:pt x="113" y="49"/>
                      <a:pt x="113" y="49"/>
                    </a:cubicBezTo>
                    <a:cubicBezTo>
                      <a:pt x="66" y="21"/>
                      <a:pt x="66" y="21"/>
                      <a:pt x="66" y="21"/>
                    </a:cubicBezTo>
                    <a:cubicBezTo>
                      <a:pt x="65" y="21"/>
                      <a:pt x="65" y="20"/>
                      <a:pt x="65" y="19"/>
                    </a:cubicBezTo>
                    <a:cubicBezTo>
                      <a:pt x="65" y="6"/>
                      <a:pt x="65" y="6"/>
                      <a:pt x="65" y="6"/>
                    </a:cubicBezTo>
                    <a:lnTo>
                      <a:pt x="6" y="4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4" name="Freeform 620">
                <a:extLst>
                  <a:ext uri="{FF2B5EF4-FFF2-40B4-BE49-F238E27FC236}">
                    <a16:creationId xmlns:a16="http://schemas.microsoft.com/office/drawing/2014/main" id="{F6F6DF80-90B3-4B06-A642-60B970FC5A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15927" y="6867240"/>
                <a:ext cx="23863" cy="142143"/>
              </a:xfrm>
              <a:custGeom>
                <a:avLst/>
                <a:gdLst>
                  <a:gd name="T0" fmla="*/ 2 w 10"/>
                  <a:gd name="T1" fmla="*/ 58 h 58"/>
                  <a:gd name="T2" fmla="*/ 1 w 10"/>
                  <a:gd name="T3" fmla="*/ 58 h 58"/>
                  <a:gd name="T4" fmla="*/ 0 w 10"/>
                  <a:gd name="T5" fmla="*/ 56 h 58"/>
                  <a:gd name="T6" fmla="*/ 0 w 10"/>
                  <a:gd name="T7" fmla="*/ 3 h 58"/>
                  <a:gd name="T8" fmla="*/ 1 w 10"/>
                  <a:gd name="T9" fmla="*/ 1 h 58"/>
                  <a:gd name="T10" fmla="*/ 3 w 10"/>
                  <a:gd name="T11" fmla="*/ 1 h 58"/>
                  <a:gd name="T12" fmla="*/ 9 w 10"/>
                  <a:gd name="T13" fmla="*/ 4 h 58"/>
                  <a:gd name="T14" fmla="*/ 10 w 10"/>
                  <a:gd name="T15" fmla="*/ 6 h 58"/>
                  <a:gd name="T16" fmla="*/ 10 w 10"/>
                  <a:gd name="T17" fmla="*/ 53 h 58"/>
                  <a:gd name="T18" fmla="*/ 9 w 10"/>
                  <a:gd name="T19" fmla="*/ 54 h 58"/>
                  <a:gd name="T20" fmla="*/ 3 w 10"/>
                  <a:gd name="T21" fmla="*/ 58 h 58"/>
                  <a:gd name="T22" fmla="*/ 2 w 10"/>
                  <a:gd name="T23" fmla="*/ 58 h 58"/>
                  <a:gd name="T24" fmla="*/ 4 w 10"/>
                  <a:gd name="T25" fmla="*/ 6 h 58"/>
                  <a:gd name="T26" fmla="*/ 4 w 10"/>
                  <a:gd name="T27" fmla="*/ 53 h 58"/>
                  <a:gd name="T28" fmla="*/ 6 w 10"/>
                  <a:gd name="T29" fmla="*/ 51 h 58"/>
                  <a:gd name="T30" fmla="*/ 6 w 10"/>
                  <a:gd name="T31" fmla="*/ 7 h 58"/>
                  <a:gd name="T32" fmla="*/ 4 w 10"/>
                  <a:gd name="T33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58">
                    <a:moveTo>
                      <a:pt x="2" y="58"/>
                    </a:moveTo>
                    <a:cubicBezTo>
                      <a:pt x="1" y="58"/>
                      <a:pt x="1" y="58"/>
                      <a:pt x="1" y="58"/>
                    </a:cubicBezTo>
                    <a:cubicBezTo>
                      <a:pt x="0" y="57"/>
                      <a:pt x="0" y="57"/>
                      <a:pt x="0" y="5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6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53"/>
                      <a:pt x="9" y="54"/>
                      <a:pt x="9" y="54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8"/>
                      <a:pt x="2" y="58"/>
                      <a:pt x="2" y="58"/>
                    </a:cubicBezTo>
                    <a:close/>
                    <a:moveTo>
                      <a:pt x="4" y="6"/>
                    </a:moveTo>
                    <a:cubicBezTo>
                      <a:pt x="4" y="53"/>
                      <a:pt x="4" y="53"/>
                      <a:pt x="4" y="53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5" name="Freeform 626">
                <a:extLst>
                  <a:ext uri="{FF2B5EF4-FFF2-40B4-BE49-F238E27FC236}">
                    <a16:creationId xmlns:a16="http://schemas.microsoft.com/office/drawing/2014/main" id="{B34B5515-28D1-4B33-936B-A9E74ECD4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36528" y="6867240"/>
                <a:ext cx="26976" cy="29051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2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7 h 12"/>
                  <a:gd name="T18" fmla="*/ 3 w 11"/>
                  <a:gd name="T19" fmla="*/ 12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2" y="12"/>
                      <a:pt x="1" y="12"/>
                    </a:cubicBezTo>
                    <a:cubicBezTo>
                      <a:pt x="1" y="11"/>
                      <a:pt x="0" y="10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6"/>
                      <a:pt x="11" y="7"/>
                      <a:pt x="10" y="7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6" name="Freeform 627">
                <a:extLst>
                  <a:ext uri="{FF2B5EF4-FFF2-40B4-BE49-F238E27FC236}">
                    <a16:creationId xmlns:a16="http://schemas.microsoft.com/office/drawing/2014/main" id="{B29396A6-61B4-4DCF-BE77-BFE718850F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18098" y="5955243"/>
                <a:ext cx="43577" cy="41502"/>
              </a:xfrm>
              <a:custGeom>
                <a:avLst/>
                <a:gdLst>
                  <a:gd name="T0" fmla="*/ 9 w 18"/>
                  <a:gd name="T1" fmla="*/ 17 h 17"/>
                  <a:gd name="T2" fmla="*/ 8 w 18"/>
                  <a:gd name="T3" fmla="*/ 17 h 17"/>
                  <a:gd name="T4" fmla="*/ 1 w 18"/>
                  <a:gd name="T5" fmla="*/ 12 h 17"/>
                  <a:gd name="T6" fmla="*/ 0 w 18"/>
                  <a:gd name="T7" fmla="*/ 11 h 17"/>
                  <a:gd name="T8" fmla="*/ 1 w 18"/>
                  <a:gd name="T9" fmla="*/ 9 h 17"/>
                  <a:gd name="T10" fmla="*/ 15 w 18"/>
                  <a:gd name="T11" fmla="*/ 1 h 17"/>
                  <a:gd name="T12" fmla="*/ 17 w 18"/>
                  <a:gd name="T13" fmla="*/ 1 h 17"/>
                  <a:gd name="T14" fmla="*/ 18 w 18"/>
                  <a:gd name="T15" fmla="*/ 3 h 17"/>
                  <a:gd name="T16" fmla="*/ 18 w 18"/>
                  <a:gd name="T17" fmla="*/ 11 h 17"/>
                  <a:gd name="T18" fmla="*/ 17 w 18"/>
                  <a:gd name="T19" fmla="*/ 13 h 17"/>
                  <a:gd name="T20" fmla="*/ 10 w 18"/>
                  <a:gd name="T21" fmla="*/ 17 h 17"/>
                  <a:gd name="T22" fmla="*/ 9 w 18"/>
                  <a:gd name="T23" fmla="*/ 17 h 17"/>
                  <a:gd name="T24" fmla="*/ 6 w 18"/>
                  <a:gd name="T25" fmla="*/ 11 h 17"/>
                  <a:gd name="T26" fmla="*/ 9 w 18"/>
                  <a:gd name="T27" fmla="*/ 13 h 17"/>
                  <a:gd name="T28" fmla="*/ 14 w 18"/>
                  <a:gd name="T29" fmla="*/ 10 h 17"/>
                  <a:gd name="T30" fmla="*/ 14 w 18"/>
                  <a:gd name="T31" fmla="*/ 6 h 17"/>
                  <a:gd name="T32" fmla="*/ 6 w 18"/>
                  <a:gd name="T33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7">
                    <a:moveTo>
                      <a:pt x="9" y="17"/>
                    </a:moveTo>
                    <a:cubicBezTo>
                      <a:pt x="9" y="17"/>
                      <a:pt x="8" y="17"/>
                      <a:pt x="8" y="17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6" y="0"/>
                      <a:pt x="17" y="1"/>
                    </a:cubicBezTo>
                    <a:cubicBezTo>
                      <a:pt x="18" y="1"/>
                      <a:pt x="18" y="2"/>
                      <a:pt x="18" y="3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2"/>
                      <a:pt x="18" y="12"/>
                      <a:pt x="17" y="13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9" y="17"/>
                      <a:pt x="9" y="17"/>
                    </a:cubicBezTo>
                    <a:close/>
                    <a:moveTo>
                      <a:pt x="6" y="11"/>
                    </a:moveTo>
                    <a:cubicBezTo>
                      <a:pt x="9" y="13"/>
                      <a:pt x="9" y="13"/>
                      <a:pt x="9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6"/>
                      <a:pt x="14" y="6"/>
                      <a:pt x="14" y="6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7" name="Freeform 629">
                <a:extLst>
                  <a:ext uri="{FF2B5EF4-FFF2-40B4-BE49-F238E27FC236}">
                    <a16:creationId xmlns:a16="http://schemas.microsoft.com/office/drawing/2014/main" id="{431D7A9F-B6A9-41F8-A876-E23C6FA004DB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608023" y="6867240"/>
                <a:ext cx="115167" cy="75740"/>
              </a:xfrm>
              <a:custGeom>
                <a:avLst/>
                <a:gdLst>
                  <a:gd name="T0" fmla="*/ 45 w 47"/>
                  <a:gd name="T1" fmla="*/ 31 h 31"/>
                  <a:gd name="T2" fmla="*/ 44 w 47"/>
                  <a:gd name="T3" fmla="*/ 31 h 31"/>
                  <a:gd name="T4" fmla="*/ 1 w 47"/>
                  <a:gd name="T5" fmla="*/ 7 h 31"/>
                  <a:gd name="T6" fmla="*/ 0 w 47"/>
                  <a:gd name="T7" fmla="*/ 5 h 31"/>
                  <a:gd name="T8" fmla="*/ 0 w 47"/>
                  <a:gd name="T9" fmla="*/ 2 h 31"/>
                  <a:gd name="T10" fmla="*/ 1 w 47"/>
                  <a:gd name="T11" fmla="*/ 1 h 31"/>
                  <a:gd name="T12" fmla="*/ 3 w 47"/>
                  <a:gd name="T13" fmla="*/ 1 h 31"/>
                  <a:gd name="T14" fmla="*/ 46 w 47"/>
                  <a:gd name="T15" fmla="*/ 25 h 31"/>
                  <a:gd name="T16" fmla="*/ 47 w 47"/>
                  <a:gd name="T17" fmla="*/ 27 h 31"/>
                  <a:gd name="T18" fmla="*/ 47 w 47"/>
                  <a:gd name="T19" fmla="*/ 29 h 31"/>
                  <a:gd name="T20" fmla="*/ 46 w 47"/>
                  <a:gd name="T21" fmla="*/ 31 h 31"/>
                  <a:gd name="T22" fmla="*/ 45 w 47"/>
                  <a:gd name="T2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31">
                    <a:moveTo>
                      <a:pt x="45" y="31"/>
                    </a:moveTo>
                    <a:cubicBezTo>
                      <a:pt x="44" y="31"/>
                      <a:pt x="44" y="31"/>
                      <a:pt x="44" y="3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6" y="25"/>
                      <a:pt x="47" y="26"/>
                      <a:pt x="47" y="27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47" y="30"/>
                      <a:pt x="46" y="31"/>
                      <a:pt x="46" y="31"/>
                    </a:cubicBezTo>
                    <a:cubicBezTo>
                      <a:pt x="45" y="31"/>
                      <a:pt x="45" y="31"/>
                      <a:pt x="45" y="3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8" name="Freeform 630">
                <a:extLst>
                  <a:ext uri="{FF2B5EF4-FFF2-40B4-BE49-F238E27FC236}">
                    <a16:creationId xmlns:a16="http://schemas.microsoft.com/office/drawing/2014/main" id="{1C7F0F0B-4CA8-4E71-A2A6-F012D171A8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608023" y="6829889"/>
                <a:ext cx="131768" cy="102716"/>
              </a:xfrm>
              <a:custGeom>
                <a:avLst/>
                <a:gdLst>
                  <a:gd name="T0" fmla="*/ 52 w 54"/>
                  <a:gd name="T1" fmla="*/ 42 h 42"/>
                  <a:gd name="T2" fmla="*/ 51 w 54"/>
                  <a:gd name="T3" fmla="*/ 42 h 42"/>
                  <a:gd name="T4" fmla="*/ 10 w 54"/>
                  <a:gd name="T5" fmla="*/ 18 h 42"/>
                  <a:gd name="T6" fmla="*/ 10 w 54"/>
                  <a:gd name="T7" fmla="*/ 19 h 42"/>
                  <a:gd name="T8" fmla="*/ 9 w 54"/>
                  <a:gd name="T9" fmla="*/ 21 h 42"/>
                  <a:gd name="T10" fmla="*/ 7 w 54"/>
                  <a:gd name="T11" fmla="*/ 21 h 42"/>
                  <a:gd name="T12" fmla="*/ 1 w 54"/>
                  <a:gd name="T13" fmla="*/ 17 h 42"/>
                  <a:gd name="T14" fmla="*/ 0 w 54"/>
                  <a:gd name="T15" fmla="*/ 16 h 42"/>
                  <a:gd name="T16" fmla="*/ 0 w 54"/>
                  <a:gd name="T17" fmla="*/ 2 h 42"/>
                  <a:gd name="T18" fmla="*/ 1 w 54"/>
                  <a:gd name="T19" fmla="*/ 0 h 42"/>
                  <a:gd name="T20" fmla="*/ 3 w 54"/>
                  <a:gd name="T21" fmla="*/ 0 h 42"/>
                  <a:gd name="T22" fmla="*/ 53 w 54"/>
                  <a:gd name="T23" fmla="*/ 29 h 42"/>
                  <a:gd name="T24" fmla="*/ 54 w 54"/>
                  <a:gd name="T25" fmla="*/ 31 h 42"/>
                  <a:gd name="T26" fmla="*/ 54 w 54"/>
                  <a:gd name="T27" fmla="*/ 40 h 42"/>
                  <a:gd name="T28" fmla="*/ 53 w 54"/>
                  <a:gd name="T29" fmla="*/ 42 h 42"/>
                  <a:gd name="T30" fmla="*/ 52 w 54"/>
                  <a:gd name="T31" fmla="*/ 42 h 42"/>
                  <a:gd name="T32" fmla="*/ 8 w 54"/>
                  <a:gd name="T33" fmla="*/ 13 h 42"/>
                  <a:gd name="T34" fmla="*/ 9 w 54"/>
                  <a:gd name="T35" fmla="*/ 13 h 42"/>
                  <a:gd name="T36" fmla="*/ 50 w 54"/>
                  <a:gd name="T37" fmla="*/ 36 h 42"/>
                  <a:gd name="T38" fmla="*/ 50 w 54"/>
                  <a:gd name="T39" fmla="*/ 32 h 42"/>
                  <a:gd name="T40" fmla="*/ 4 w 54"/>
                  <a:gd name="T41" fmla="*/ 5 h 42"/>
                  <a:gd name="T42" fmla="*/ 4 w 54"/>
                  <a:gd name="T43" fmla="*/ 14 h 42"/>
                  <a:gd name="T44" fmla="*/ 6 w 54"/>
                  <a:gd name="T45" fmla="*/ 16 h 42"/>
                  <a:gd name="T46" fmla="*/ 6 w 54"/>
                  <a:gd name="T47" fmla="*/ 15 h 42"/>
                  <a:gd name="T48" fmla="*/ 7 w 54"/>
                  <a:gd name="T49" fmla="*/ 13 h 42"/>
                  <a:gd name="T50" fmla="*/ 8 w 54"/>
                  <a:gd name="T51" fmla="*/ 1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42">
                    <a:moveTo>
                      <a:pt x="52" y="42"/>
                    </a:moveTo>
                    <a:cubicBezTo>
                      <a:pt x="51" y="42"/>
                      <a:pt x="51" y="42"/>
                      <a:pt x="51" y="42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20"/>
                      <a:pt x="9" y="20"/>
                      <a:pt x="9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53" y="29"/>
                      <a:pt x="53" y="29"/>
                      <a:pt x="53" y="29"/>
                    </a:cubicBezTo>
                    <a:cubicBezTo>
                      <a:pt x="53" y="29"/>
                      <a:pt x="54" y="30"/>
                      <a:pt x="54" y="31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4" y="41"/>
                      <a:pt x="53" y="41"/>
                      <a:pt x="53" y="42"/>
                    </a:cubicBezTo>
                    <a:cubicBezTo>
                      <a:pt x="52" y="42"/>
                      <a:pt x="52" y="42"/>
                      <a:pt x="52" y="42"/>
                    </a:cubicBezTo>
                    <a:close/>
                    <a:moveTo>
                      <a:pt x="8" y="13"/>
                    </a:moveTo>
                    <a:cubicBezTo>
                      <a:pt x="8" y="13"/>
                      <a:pt x="8" y="13"/>
                      <a:pt x="9" y="13"/>
                    </a:cubicBezTo>
                    <a:cubicBezTo>
                      <a:pt x="50" y="36"/>
                      <a:pt x="50" y="36"/>
                      <a:pt x="50" y="3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4"/>
                      <a:pt x="6" y="13"/>
                      <a:pt x="7" y="13"/>
                    </a:cubicBezTo>
                    <a:cubicBezTo>
                      <a:pt x="7" y="13"/>
                      <a:pt x="7" y="13"/>
                      <a:pt x="8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9" name="Freeform 632">
                <a:extLst>
                  <a:ext uri="{FF2B5EF4-FFF2-40B4-BE49-F238E27FC236}">
                    <a16:creationId xmlns:a16="http://schemas.microsoft.com/office/drawing/2014/main" id="{332449FA-4C9B-435A-AC99-0AE9386D2E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608023" y="6725097"/>
                <a:ext cx="158744" cy="180532"/>
              </a:xfrm>
              <a:custGeom>
                <a:avLst/>
                <a:gdLst>
                  <a:gd name="T0" fmla="*/ 63 w 65"/>
                  <a:gd name="T1" fmla="*/ 74 h 74"/>
                  <a:gd name="T2" fmla="*/ 62 w 65"/>
                  <a:gd name="T3" fmla="*/ 73 h 74"/>
                  <a:gd name="T4" fmla="*/ 12 w 65"/>
                  <a:gd name="T5" fmla="*/ 45 h 74"/>
                  <a:gd name="T6" fmla="*/ 11 w 65"/>
                  <a:gd name="T7" fmla="*/ 43 h 74"/>
                  <a:gd name="T8" fmla="*/ 11 w 65"/>
                  <a:gd name="T9" fmla="*/ 40 h 74"/>
                  <a:gd name="T10" fmla="*/ 9 w 65"/>
                  <a:gd name="T11" fmla="*/ 42 h 74"/>
                  <a:gd name="T12" fmla="*/ 7 w 65"/>
                  <a:gd name="T13" fmla="*/ 42 h 74"/>
                  <a:gd name="T14" fmla="*/ 1 w 65"/>
                  <a:gd name="T15" fmla="*/ 38 h 74"/>
                  <a:gd name="T16" fmla="*/ 0 w 65"/>
                  <a:gd name="T17" fmla="*/ 37 h 74"/>
                  <a:gd name="T18" fmla="*/ 1 w 65"/>
                  <a:gd name="T19" fmla="*/ 35 h 74"/>
                  <a:gd name="T20" fmla="*/ 62 w 65"/>
                  <a:gd name="T21" fmla="*/ 0 h 74"/>
                  <a:gd name="T22" fmla="*/ 64 w 65"/>
                  <a:gd name="T23" fmla="*/ 0 h 74"/>
                  <a:gd name="T24" fmla="*/ 65 w 65"/>
                  <a:gd name="T25" fmla="*/ 2 h 74"/>
                  <a:gd name="T26" fmla="*/ 65 w 65"/>
                  <a:gd name="T27" fmla="*/ 72 h 74"/>
                  <a:gd name="T28" fmla="*/ 64 w 65"/>
                  <a:gd name="T29" fmla="*/ 73 h 74"/>
                  <a:gd name="T30" fmla="*/ 63 w 65"/>
                  <a:gd name="T31" fmla="*/ 74 h 74"/>
                  <a:gd name="T32" fmla="*/ 15 w 65"/>
                  <a:gd name="T33" fmla="*/ 42 h 74"/>
                  <a:gd name="T34" fmla="*/ 61 w 65"/>
                  <a:gd name="T35" fmla="*/ 68 h 74"/>
                  <a:gd name="T36" fmla="*/ 61 w 65"/>
                  <a:gd name="T37" fmla="*/ 5 h 74"/>
                  <a:gd name="T38" fmla="*/ 6 w 65"/>
                  <a:gd name="T39" fmla="*/ 37 h 74"/>
                  <a:gd name="T40" fmla="*/ 8 w 65"/>
                  <a:gd name="T41" fmla="*/ 38 h 74"/>
                  <a:gd name="T42" fmla="*/ 12 w 65"/>
                  <a:gd name="T43" fmla="*/ 35 h 74"/>
                  <a:gd name="T44" fmla="*/ 14 w 65"/>
                  <a:gd name="T45" fmla="*/ 35 h 74"/>
                  <a:gd name="T46" fmla="*/ 15 w 65"/>
                  <a:gd name="T47" fmla="*/ 37 h 74"/>
                  <a:gd name="T48" fmla="*/ 15 w 65"/>
                  <a:gd name="T49" fmla="*/ 4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5" h="74">
                    <a:moveTo>
                      <a:pt x="63" y="74"/>
                    </a:moveTo>
                    <a:cubicBezTo>
                      <a:pt x="62" y="74"/>
                      <a:pt x="62" y="74"/>
                      <a:pt x="62" y="73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1" y="44"/>
                      <a:pt x="11" y="44"/>
                      <a:pt x="11" y="43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8" y="42"/>
                      <a:pt x="7" y="42"/>
                      <a:pt x="7" y="42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7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3" y="0"/>
                      <a:pt x="64" y="0"/>
                    </a:cubicBezTo>
                    <a:cubicBezTo>
                      <a:pt x="64" y="0"/>
                      <a:pt x="65" y="1"/>
                      <a:pt x="65" y="2"/>
                    </a:cubicBezTo>
                    <a:cubicBezTo>
                      <a:pt x="65" y="72"/>
                      <a:pt x="65" y="72"/>
                      <a:pt x="65" y="72"/>
                    </a:cubicBezTo>
                    <a:cubicBezTo>
                      <a:pt x="65" y="72"/>
                      <a:pt x="64" y="73"/>
                      <a:pt x="64" y="73"/>
                    </a:cubicBezTo>
                    <a:cubicBezTo>
                      <a:pt x="63" y="74"/>
                      <a:pt x="63" y="74"/>
                      <a:pt x="63" y="74"/>
                    </a:cubicBezTo>
                    <a:close/>
                    <a:moveTo>
                      <a:pt x="15" y="42"/>
                    </a:moveTo>
                    <a:cubicBezTo>
                      <a:pt x="61" y="68"/>
                      <a:pt x="61" y="68"/>
                      <a:pt x="61" y="68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5"/>
                      <a:pt x="13" y="35"/>
                      <a:pt x="14" y="35"/>
                    </a:cubicBezTo>
                    <a:cubicBezTo>
                      <a:pt x="14" y="36"/>
                      <a:pt x="15" y="36"/>
                      <a:pt x="15" y="37"/>
                    </a:cubicBezTo>
                    <a:lnTo>
                      <a:pt x="15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0" name="Freeform 633">
                <a:extLst>
                  <a:ext uri="{FF2B5EF4-FFF2-40B4-BE49-F238E27FC236}">
                    <a16:creationId xmlns:a16="http://schemas.microsoft.com/office/drawing/2014/main" id="{97B77E03-C3C6-4285-879F-D70C737801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34603" y="6822626"/>
                <a:ext cx="46689" cy="48764"/>
              </a:xfrm>
              <a:custGeom>
                <a:avLst/>
                <a:gdLst>
                  <a:gd name="T0" fmla="*/ 17 w 19"/>
                  <a:gd name="T1" fmla="*/ 20 h 20"/>
                  <a:gd name="T2" fmla="*/ 16 w 19"/>
                  <a:gd name="T3" fmla="*/ 19 h 20"/>
                  <a:gd name="T4" fmla="*/ 1 w 19"/>
                  <a:gd name="T5" fmla="*/ 10 h 20"/>
                  <a:gd name="T6" fmla="*/ 0 w 19"/>
                  <a:gd name="T7" fmla="*/ 9 h 20"/>
                  <a:gd name="T8" fmla="*/ 1 w 19"/>
                  <a:gd name="T9" fmla="*/ 7 h 20"/>
                  <a:gd name="T10" fmla="*/ 13 w 19"/>
                  <a:gd name="T11" fmla="*/ 0 h 20"/>
                  <a:gd name="T12" fmla="*/ 15 w 19"/>
                  <a:gd name="T13" fmla="*/ 0 h 20"/>
                  <a:gd name="T14" fmla="*/ 18 w 19"/>
                  <a:gd name="T15" fmla="*/ 2 h 20"/>
                  <a:gd name="T16" fmla="*/ 19 w 19"/>
                  <a:gd name="T17" fmla="*/ 4 h 20"/>
                  <a:gd name="T18" fmla="*/ 19 w 19"/>
                  <a:gd name="T19" fmla="*/ 18 h 20"/>
                  <a:gd name="T20" fmla="*/ 18 w 19"/>
                  <a:gd name="T21" fmla="*/ 19 h 20"/>
                  <a:gd name="T22" fmla="*/ 17 w 19"/>
                  <a:gd name="T23" fmla="*/ 20 h 20"/>
                  <a:gd name="T24" fmla="*/ 6 w 19"/>
                  <a:gd name="T25" fmla="*/ 9 h 20"/>
                  <a:gd name="T26" fmla="*/ 15 w 19"/>
                  <a:gd name="T27" fmla="*/ 14 h 20"/>
                  <a:gd name="T28" fmla="*/ 15 w 19"/>
                  <a:gd name="T29" fmla="*/ 5 h 20"/>
                  <a:gd name="T30" fmla="*/ 14 w 19"/>
                  <a:gd name="T31" fmla="*/ 4 h 20"/>
                  <a:gd name="T32" fmla="*/ 6 w 19"/>
                  <a:gd name="T33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20">
                    <a:moveTo>
                      <a:pt x="17" y="20"/>
                    </a:moveTo>
                    <a:cubicBezTo>
                      <a:pt x="17" y="20"/>
                      <a:pt x="16" y="20"/>
                      <a:pt x="16" y="1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19" y="3"/>
                      <a:pt x="19" y="4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9"/>
                      <a:pt x="18" y="19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6" y="9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4"/>
                      <a:pt x="14" y="4"/>
                      <a:pt x="14" y="4"/>
                    </a:cubicBez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1" name="Freeform 635">
                <a:extLst>
                  <a:ext uri="{FF2B5EF4-FFF2-40B4-BE49-F238E27FC236}">
                    <a16:creationId xmlns:a16="http://schemas.microsoft.com/office/drawing/2014/main" id="{50E72E76-55DD-4645-A951-1FF4B2D265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7" y="6993820"/>
                <a:ext cx="154594" cy="123467"/>
              </a:xfrm>
              <a:custGeom>
                <a:avLst/>
                <a:gdLst>
                  <a:gd name="T0" fmla="*/ 53 w 63"/>
                  <a:gd name="T1" fmla="*/ 50 h 50"/>
                  <a:gd name="T2" fmla="*/ 52 w 63"/>
                  <a:gd name="T3" fmla="*/ 49 h 50"/>
                  <a:gd name="T4" fmla="*/ 1 w 63"/>
                  <a:gd name="T5" fmla="*/ 20 h 50"/>
                  <a:gd name="T6" fmla="*/ 0 w 63"/>
                  <a:gd name="T7" fmla="*/ 18 h 50"/>
                  <a:gd name="T8" fmla="*/ 0 w 63"/>
                  <a:gd name="T9" fmla="*/ 2 h 50"/>
                  <a:gd name="T10" fmla="*/ 1 w 63"/>
                  <a:gd name="T11" fmla="*/ 1 h 50"/>
                  <a:gd name="T12" fmla="*/ 3 w 63"/>
                  <a:gd name="T13" fmla="*/ 1 h 50"/>
                  <a:gd name="T14" fmla="*/ 62 w 63"/>
                  <a:gd name="T15" fmla="*/ 35 h 50"/>
                  <a:gd name="T16" fmla="*/ 63 w 63"/>
                  <a:gd name="T17" fmla="*/ 37 h 50"/>
                  <a:gd name="T18" fmla="*/ 63 w 63"/>
                  <a:gd name="T19" fmla="*/ 43 h 50"/>
                  <a:gd name="T20" fmla="*/ 62 w 63"/>
                  <a:gd name="T21" fmla="*/ 44 h 50"/>
                  <a:gd name="T22" fmla="*/ 54 w 63"/>
                  <a:gd name="T23" fmla="*/ 49 h 50"/>
                  <a:gd name="T24" fmla="*/ 53 w 63"/>
                  <a:gd name="T25" fmla="*/ 50 h 50"/>
                  <a:gd name="T26" fmla="*/ 4 w 63"/>
                  <a:gd name="T27" fmla="*/ 17 h 50"/>
                  <a:gd name="T28" fmla="*/ 53 w 63"/>
                  <a:gd name="T29" fmla="*/ 45 h 50"/>
                  <a:gd name="T30" fmla="*/ 59 w 63"/>
                  <a:gd name="T31" fmla="*/ 42 h 50"/>
                  <a:gd name="T32" fmla="*/ 59 w 63"/>
                  <a:gd name="T33" fmla="*/ 38 h 50"/>
                  <a:gd name="T34" fmla="*/ 4 w 63"/>
                  <a:gd name="T35" fmla="*/ 6 h 50"/>
                  <a:gd name="T36" fmla="*/ 4 w 63"/>
                  <a:gd name="T37" fmla="*/ 17 h 50"/>
                  <a:gd name="T38" fmla="*/ 61 w 63"/>
                  <a:gd name="T39" fmla="*/ 43 h 50"/>
                  <a:gd name="T40" fmla="*/ 61 w 63"/>
                  <a:gd name="T41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50">
                    <a:moveTo>
                      <a:pt x="53" y="50"/>
                    </a:moveTo>
                    <a:cubicBezTo>
                      <a:pt x="52" y="50"/>
                      <a:pt x="52" y="50"/>
                      <a:pt x="52" y="4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5"/>
                      <a:pt x="63" y="36"/>
                      <a:pt x="63" y="37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43"/>
                      <a:pt x="63" y="44"/>
                      <a:pt x="62" y="44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4" y="50"/>
                      <a:pt x="53" y="50"/>
                      <a:pt x="53" y="50"/>
                    </a:cubicBezTo>
                    <a:close/>
                    <a:moveTo>
                      <a:pt x="4" y="17"/>
                    </a:moveTo>
                    <a:cubicBezTo>
                      <a:pt x="53" y="45"/>
                      <a:pt x="53" y="45"/>
                      <a:pt x="53" y="45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  <a:moveTo>
                      <a:pt x="61" y="43"/>
                    </a:moveTo>
                    <a:cubicBezTo>
                      <a:pt x="61" y="43"/>
                      <a:pt x="61" y="43"/>
                      <a:pt x="61" y="4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2" name="Freeform 636">
                <a:extLst>
                  <a:ext uri="{FF2B5EF4-FFF2-40B4-BE49-F238E27FC236}">
                    <a16:creationId xmlns:a16="http://schemas.microsoft.com/office/drawing/2014/main" id="{B2A068C8-AB37-47C2-8D5B-678A3AB561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392405" y="6359883"/>
                <a:ext cx="72628" cy="68478"/>
              </a:xfrm>
              <a:custGeom>
                <a:avLst/>
                <a:gdLst>
                  <a:gd name="T0" fmla="*/ 11 w 30"/>
                  <a:gd name="T1" fmla="*/ 28 h 28"/>
                  <a:gd name="T2" fmla="*/ 10 w 30"/>
                  <a:gd name="T3" fmla="*/ 28 h 28"/>
                  <a:gd name="T4" fmla="*/ 1 w 30"/>
                  <a:gd name="T5" fmla="*/ 23 h 28"/>
                  <a:gd name="T6" fmla="*/ 0 w 30"/>
                  <a:gd name="T7" fmla="*/ 21 h 28"/>
                  <a:gd name="T8" fmla="*/ 0 w 30"/>
                  <a:gd name="T9" fmla="*/ 2 h 28"/>
                  <a:gd name="T10" fmla="*/ 1 w 30"/>
                  <a:gd name="T11" fmla="*/ 0 h 28"/>
                  <a:gd name="T12" fmla="*/ 3 w 30"/>
                  <a:gd name="T13" fmla="*/ 0 h 28"/>
                  <a:gd name="T14" fmla="*/ 29 w 30"/>
                  <a:gd name="T15" fmla="*/ 15 h 28"/>
                  <a:gd name="T16" fmla="*/ 30 w 30"/>
                  <a:gd name="T17" fmla="*/ 17 h 28"/>
                  <a:gd name="T18" fmla="*/ 29 w 30"/>
                  <a:gd name="T19" fmla="*/ 18 h 28"/>
                  <a:gd name="T20" fmla="*/ 12 w 30"/>
                  <a:gd name="T21" fmla="*/ 28 h 28"/>
                  <a:gd name="T22" fmla="*/ 11 w 30"/>
                  <a:gd name="T23" fmla="*/ 28 h 28"/>
                  <a:gd name="T24" fmla="*/ 4 w 30"/>
                  <a:gd name="T25" fmla="*/ 20 h 28"/>
                  <a:gd name="T26" fmla="*/ 11 w 30"/>
                  <a:gd name="T27" fmla="*/ 24 h 28"/>
                  <a:gd name="T28" fmla="*/ 24 w 30"/>
                  <a:gd name="T29" fmla="*/ 17 h 28"/>
                  <a:gd name="T30" fmla="*/ 4 w 30"/>
                  <a:gd name="T31" fmla="*/ 5 h 28"/>
                  <a:gd name="T32" fmla="*/ 4 w 30"/>
                  <a:gd name="T33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8">
                    <a:moveTo>
                      <a:pt x="11" y="28"/>
                    </a:moveTo>
                    <a:cubicBezTo>
                      <a:pt x="11" y="28"/>
                      <a:pt x="10" y="28"/>
                      <a:pt x="10" y="28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30" y="16"/>
                      <a:pt x="30" y="17"/>
                    </a:cubicBezTo>
                    <a:cubicBezTo>
                      <a:pt x="30" y="17"/>
                      <a:pt x="29" y="18"/>
                      <a:pt x="29" y="1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28"/>
                      <a:pt x="11" y="28"/>
                      <a:pt x="11" y="28"/>
                    </a:cubicBezTo>
                    <a:close/>
                    <a:moveTo>
                      <a:pt x="4" y="20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3" name="Freeform 637">
                <a:extLst>
                  <a:ext uri="{FF2B5EF4-FFF2-40B4-BE49-F238E27FC236}">
                    <a16:creationId xmlns:a16="http://schemas.microsoft.com/office/drawing/2014/main" id="{6FCA9A0E-228A-4306-921C-33CA571BBAA6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855148" y="6908742"/>
                <a:ext cx="12450" cy="34239"/>
              </a:xfrm>
              <a:custGeom>
                <a:avLst/>
                <a:gdLst>
                  <a:gd name="T0" fmla="*/ 3 w 5"/>
                  <a:gd name="T1" fmla="*/ 14 h 14"/>
                  <a:gd name="T2" fmla="*/ 2 w 5"/>
                  <a:gd name="T3" fmla="*/ 14 h 14"/>
                  <a:gd name="T4" fmla="*/ 1 w 5"/>
                  <a:gd name="T5" fmla="*/ 13 h 14"/>
                  <a:gd name="T6" fmla="*/ 0 w 5"/>
                  <a:gd name="T7" fmla="*/ 11 h 14"/>
                  <a:gd name="T8" fmla="*/ 0 w 5"/>
                  <a:gd name="T9" fmla="*/ 2 h 14"/>
                  <a:gd name="T10" fmla="*/ 1 w 5"/>
                  <a:gd name="T11" fmla="*/ 0 h 14"/>
                  <a:gd name="T12" fmla="*/ 3 w 5"/>
                  <a:gd name="T13" fmla="*/ 0 h 14"/>
                  <a:gd name="T14" fmla="*/ 4 w 5"/>
                  <a:gd name="T15" fmla="*/ 1 h 14"/>
                  <a:gd name="T16" fmla="*/ 5 w 5"/>
                  <a:gd name="T17" fmla="*/ 3 h 14"/>
                  <a:gd name="T18" fmla="*/ 5 w 5"/>
                  <a:gd name="T19" fmla="*/ 12 h 14"/>
                  <a:gd name="T20" fmla="*/ 4 w 5"/>
                  <a:gd name="T21" fmla="*/ 14 h 14"/>
                  <a:gd name="T22" fmla="*/ 3 w 5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4">
                    <a:moveTo>
                      <a:pt x="3" y="14"/>
                    </a:moveTo>
                    <a:cubicBezTo>
                      <a:pt x="3" y="14"/>
                      <a:pt x="3" y="14"/>
                      <a:pt x="2" y="14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3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4" y="14"/>
                      <a:pt x="3" y="1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4" name="Freeform 638">
                <a:extLst>
                  <a:ext uri="{FF2B5EF4-FFF2-40B4-BE49-F238E27FC236}">
                    <a16:creationId xmlns:a16="http://schemas.microsoft.com/office/drawing/2014/main" id="{44F5F247-4A5A-4EF6-9C9D-A1A1B22B6938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855148" y="6935718"/>
                <a:ext cx="12450" cy="149406"/>
              </a:xfrm>
              <a:custGeom>
                <a:avLst/>
                <a:gdLst>
                  <a:gd name="T0" fmla="*/ 2 w 5"/>
                  <a:gd name="T1" fmla="*/ 61 h 61"/>
                  <a:gd name="T2" fmla="*/ 1 w 5"/>
                  <a:gd name="T3" fmla="*/ 61 h 61"/>
                  <a:gd name="T4" fmla="*/ 0 w 5"/>
                  <a:gd name="T5" fmla="*/ 59 h 61"/>
                  <a:gd name="T6" fmla="*/ 0 w 5"/>
                  <a:gd name="T7" fmla="*/ 2 h 61"/>
                  <a:gd name="T8" fmla="*/ 1 w 5"/>
                  <a:gd name="T9" fmla="*/ 1 h 61"/>
                  <a:gd name="T10" fmla="*/ 3 w 5"/>
                  <a:gd name="T11" fmla="*/ 1 h 61"/>
                  <a:gd name="T12" fmla="*/ 4 w 5"/>
                  <a:gd name="T13" fmla="*/ 2 h 61"/>
                  <a:gd name="T14" fmla="*/ 5 w 5"/>
                  <a:gd name="T15" fmla="*/ 3 h 61"/>
                  <a:gd name="T16" fmla="*/ 5 w 5"/>
                  <a:gd name="T17" fmla="*/ 58 h 61"/>
                  <a:gd name="T18" fmla="*/ 4 w 5"/>
                  <a:gd name="T19" fmla="*/ 60 h 61"/>
                  <a:gd name="T20" fmla="*/ 3 w 5"/>
                  <a:gd name="T21" fmla="*/ 61 h 61"/>
                  <a:gd name="T22" fmla="*/ 2 w 5"/>
                  <a:gd name="T2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61">
                    <a:moveTo>
                      <a:pt x="2" y="61"/>
                    </a:moveTo>
                    <a:cubicBezTo>
                      <a:pt x="1" y="61"/>
                      <a:pt x="1" y="61"/>
                      <a:pt x="1" y="61"/>
                    </a:cubicBezTo>
                    <a:cubicBezTo>
                      <a:pt x="0" y="61"/>
                      <a:pt x="0" y="60"/>
                      <a:pt x="0" y="5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5" y="59"/>
                      <a:pt x="5" y="60"/>
                      <a:pt x="4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2" y="61"/>
                      <a:pt x="2" y="61"/>
                      <a:pt x="2" y="6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5" name="Freeform 639">
                <a:extLst>
                  <a:ext uri="{FF2B5EF4-FFF2-40B4-BE49-F238E27FC236}">
                    <a16:creationId xmlns:a16="http://schemas.microsoft.com/office/drawing/2014/main" id="{D3B907FD-F56A-4CC9-BC7C-92381B24BED6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855148" y="6577766"/>
                <a:ext cx="12450" cy="335125"/>
              </a:xfrm>
              <a:custGeom>
                <a:avLst/>
                <a:gdLst>
                  <a:gd name="T0" fmla="*/ 2 w 5"/>
                  <a:gd name="T1" fmla="*/ 137 h 137"/>
                  <a:gd name="T2" fmla="*/ 0 w 5"/>
                  <a:gd name="T3" fmla="*/ 135 h 137"/>
                  <a:gd name="T4" fmla="*/ 0 w 5"/>
                  <a:gd name="T5" fmla="*/ 2 h 137"/>
                  <a:gd name="T6" fmla="*/ 1 w 5"/>
                  <a:gd name="T7" fmla="*/ 0 h 137"/>
                  <a:gd name="T8" fmla="*/ 3 w 5"/>
                  <a:gd name="T9" fmla="*/ 0 h 137"/>
                  <a:gd name="T10" fmla="*/ 4 w 5"/>
                  <a:gd name="T11" fmla="*/ 1 h 137"/>
                  <a:gd name="T12" fmla="*/ 5 w 5"/>
                  <a:gd name="T13" fmla="*/ 3 h 137"/>
                  <a:gd name="T14" fmla="*/ 5 w 5"/>
                  <a:gd name="T15" fmla="*/ 134 h 137"/>
                  <a:gd name="T16" fmla="*/ 4 w 5"/>
                  <a:gd name="T17" fmla="*/ 136 h 137"/>
                  <a:gd name="T18" fmla="*/ 3 w 5"/>
                  <a:gd name="T19" fmla="*/ 137 h 137"/>
                  <a:gd name="T20" fmla="*/ 2 w 5"/>
                  <a:gd name="T21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37">
                    <a:moveTo>
                      <a:pt x="2" y="137"/>
                    </a:moveTo>
                    <a:cubicBezTo>
                      <a:pt x="1" y="137"/>
                      <a:pt x="0" y="136"/>
                      <a:pt x="0" y="13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134"/>
                      <a:pt x="5" y="134"/>
                      <a:pt x="5" y="134"/>
                    </a:cubicBezTo>
                    <a:cubicBezTo>
                      <a:pt x="5" y="135"/>
                      <a:pt x="5" y="135"/>
                      <a:pt x="4" y="136"/>
                    </a:cubicBezTo>
                    <a:cubicBezTo>
                      <a:pt x="3" y="137"/>
                      <a:pt x="3" y="137"/>
                      <a:pt x="3" y="137"/>
                    </a:cubicBezTo>
                    <a:cubicBezTo>
                      <a:pt x="2" y="137"/>
                      <a:pt x="2" y="137"/>
                      <a:pt x="2" y="1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6" name="Freeform 640">
                <a:extLst>
                  <a:ext uri="{FF2B5EF4-FFF2-40B4-BE49-F238E27FC236}">
                    <a16:creationId xmlns:a16="http://schemas.microsoft.com/office/drawing/2014/main" id="{F64D0F1D-C102-4C7A-A1EF-AEF684AE27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538698" y="6356771"/>
                <a:ext cx="328901" cy="551971"/>
              </a:xfrm>
              <a:custGeom>
                <a:avLst/>
                <a:gdLst>
                  <a:gd name="T0" fmla="*/ 5 w 134"/>
                  <a:gd name="T1" fmla="*/ 225 h 225"/>
                  <a:gd name="T2" fmla="*/ 4 w 134"/>
                  <a:gd name="T3" fmla="*/ 225 h 225"/>
                  <a:gd name="T4" fmla="*/ 3 w 134"/>
                  <a:gd name="T5" fmla="*/ 223 h 225"/>
                  <a:gd name="T6" fmla="*/ 3 w 134"/>
                  <a:gd name="T7" fmla="*/ 93 h 225"/>
                  <a:gd name="T8" fmla="*/ 1 w 134"/>
                  <a:gd name="T9" fmla="*/ 92 h 225"/>
                  <a:gd name="T10" fmla="*/ 0 w 134"/>
                  <a:gd name="T11" fmla="*/ 90 h 225"/>
                  <a:gd name="T12" fmla="*/ 0 w 134"/>
                  <a:gd name="T13" fmla="*/ 75 h 225"/>
                  <a:gd name="T14" fmla="*/ 1 w 134"/>
                  <a:gd name="T15" fmla="*/ 73 h 225"/>
                  <a:gd name="T16" fmla="*/ 127 w 134"/>
                  <a:gd name="T17" fmla="*/ 0 h 225"/>
                  <a:gd name="T18" fmla="*/ 129 w 134"/>
                  <a:gd name="T19" fmla="*/ 0 h 225"/>
                  <a:gd name="T20" fmla="*/ 133 w 134"/>
                  <a:gd name="T21" fmla="*/ 2 h 225"/>
                  <a:gd name="T22" fmla="*/ 134 w 134"/>
                  <a:gd name="T23" fmla="*/ 4 h 225"/>
                  <a:gd name="T24" fmla="*/ 134 w 134"/>
                  <a:gd name="T25" fmla="*/ 146 h 225"/>
                  <a:gd name="T26" fmla="*/ 133 w 134"/>
                  <a:gd name="T27" fmla="*/ 148 h 225"/>
                  <a:gd name="T28" fmla="*/ 70 w 134"/>
                  <a:gd name="T29" fmla="*/ 184 h 225"/>
                  <a:gd name="T30" fmla="*/ 70 w 134"/>
                  <a:gd name="T31" fmla="*/ 184 h 225"/>
                  <a:gd name="T32" fmla="*/ 71 w 134"/>
                  <a:gd name="T33" fmla="*/ 186 h 225"/>
                  <a:gd name="T34" fmla="*/ 70 w 134"/>
                  <a:gd name="T35" fmla="*/ 188 h 225"/>
                  <a:gd name="T36" fmla="*/ 68 w 134"/>
                  <a:gd name="T37" fmla="*/ 189 h 225"/>
                  <a:gd name="T38" fmla="*/ 67 w 134"/>
                  <a:gd name="T39" fmla="*/ 189 h 225"/>
                  <a:gd name="T40" fmla="*/ 67 w 134"/>
                  <a:gd name="T41" fmla="*/ 190 h 225"/>
                  <a:gd name="T42" fmla="*/ 6 w 134"/>
                  <a:gd name="T43" fmla="*/ 225 h 225"/>
                  <a:gd name="T44" fmla="*/ 5 w 134"/>
                  <a:gd name="T45" fmla="*/ 225 h 225"/>
                  <a:gd name="T46" fmla="*/ 4 w 134"/>
                  <a:gd name="T47" fmla="*/ 89 h 225"/>
                  <a:gd name="T48" fmla="*/ 6 w 134"/>
                  <a:gd name="T49" fmla="*/ 90 h 225"/>
                  <a:gd name="T50" fmla="*/ 7 w 134"/>
                  <a:gd name="T51" fmla="*/ 92 h 225"/>
                  <a:gd name="T52" fmla="*/ 7 w 134"/>
                  <a:gd name="T53" fmla="*/ 219 h 225"/>
                  <a:gd name="T54" fmla="*/ 64 w 134"/>
                  <a:gd name="T55" fmla="*/ 187 h 225"/>
                  <a:gd name="T56" fmla="*/ 65 w 134"/>
                  <a:gd name="T57" fmla="*/ 185 h 225"/>
                  <a:gd name="T58" fmla="*/ 64 w 134"/>
                  <a:gd name="T59" fmla="*/ 184 h 225"/>
                  <a:gd name="T60" fmla="*/ 65 w 134"/>
                  <a:gd name="T61" fmla="*/ 182 h 225"/>
                  <a:gd name="T62" fmla="*/ 130 w 134"/>
                  <a:gd name="T63" fmla="*/ 145 h 225"/>
                  <a:gd name="T64" fmla="*/ 130 w 134"/>
                  <a:gd name="T65" fmla="*/ 5 h 225"/>
                  <a:gd name="T66" fmla="*/ 128 w 134"/>
                  <a:gd name="T67" fmla="*/ 4 h 225"/>
                  <a:gd name="T68" fmla="*/ 4 w 134"/>
                  <a:gd name="T69" fmla="*/ 76 h 225"/>
                  <a:gd name="T70" fmla="*/ 4 w 134"/>
                  <a:gd name="T71" fmla="*/ 89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4" h="225">
                    <a:moveTo>
                      <a:pt x="5" y="225"/>
                    </a:moveTo>
                    <a:cubicBezTo>
                      <a:pt x="5" y="225"/>
                      <a:pt x="4" y="225"/>
                      <a:pt x="4" y="225"/>
                    </a:cubicBezTo>
                    <a:cubicBezTo>
                      <a:pt x="3" y="224"/>
                      <a:pt x="3" y="224"/>
                      <a:pt x="3" y="223"/>
                    </a:cubicBezTo>
                    <a:cubicBezTo>
                      <a:pt x="3" y="93"/>
                      <a:pt x="3" y="93"/>
                      <a:pt x="3" y="93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1"/>
                      <a:pt x="0" y="90"/>
                      <a:pt x="0" y="9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4"/>
                      <a:pt x="0" y="74"/>
                      <a:pt x="1" y="73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8" y="0"/>
                      <a:pt x="128" y="0"/>
                      <a:pt x="129" y="0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3" y="3"/>
                      <a:pt x="134" y="3"/>
                      <a:pt x="134" y="4"/>
                    </a:cubicBezTo>
                    <a:cubicBezTo>
                      <a:pt x="134" y="146"/>
                      <a:pt x="134" y="146"/>
                      <a:pt x="134" y="146"/>
                    </a:cubicBezTo>
                    <a:cubicBezTo>
                      <a:pt x="134" y="147"/>
                      <a:pt x="133" y="148"/>
                      <a:pt x="133" y="148"/>
                    </a:cubicBezTo>
                    <a:cubicBezTo>
                      <a:pt x="70" y="184"/>
                      <a:pt x="70" y="184"/>
                      <a:pt x="70" y="184"/>
                    </a:cubicBezTo>
                    <a:cubicBezTo>
                      <a:pt x="70" y="184"/>
                      <a:pt x="70" y="184"/>
                      <a:pt x="70" y="184"/>
                    </a:cubicBezTo>
                    <a:cubicBezTo>
                      <a:pt x="71" y="184"/>
                      <a:pt x="71" y="185"/>
                      <a:pt x="71" y="186"/>
                    </a:cubicBezTo>
                    <a:cubicBezTo>
                      <a:pt x="71" y="187"/>
                      <a:pt x="71" y="187"/>
                      <a:pt x="70" y="188"/>
                    </a:cubicBezTo>
                    <a:cubicBezTo>
                      <a:pt x="68" y="189"/>
                      <a:pt x="68" y="189"/>
                      <a:pt x="68" y="189"/>
                    </a:cubicBezTo>
                    <a:cubicBezTo>
                      <a:pt x="68" y="189"/>
                      <a:pt x="67" y="189"/>
                      <a:pt x="67" y="189"/>
                    </a:cubicBezTo>
                    <a:cubicBezTo>
                      <a:pt x="67" y="189"/>
                      <a:pt x="67" y="190"/>
                      <a:pt x="67" y="190"/>
                    </a:cubicBezTo>
                    <a:cubicBezTo>
                      <a:pt x="6" y="225"/>
                      <a:pt x="6" y="225"/>
                      <a:pt x="6" y="225"/>
                    </a:cubicBezTo>
                    <a:cubicBezTo>
                      <a:pt x="6" y="225"/>
                      <a:pt x="5" y="225"/>
                      <a:pt x="5" y="225"/>
                    </a:cubicBezTo>
                    <a:close/>
                    <a:moveTo>
                      <a:pt x="4" y="89"/>
                    </a:moveTo>
                    <a:cubicBezTo>
                      <a:pt x="6" y="90"/>
                      <a:pt x="6" y="90"/>
                      <a:pt x="6" y="90"/>
                    </a:cubicBezTo>
                    <a:cubicBezTo>
                      <a:pt x="7" y="90"/>
                      <a:pt x="7" y="91"/>
                      <a:pt x="7" y="92"/>
                    </a:cubicBezTo>
                    <a:cubicBezTo>
                      <a:pt x="7" y="219"/>
                      <a:pt x="7" y="219"/>
                      <a:pt x="7" y="219"/>
                    </a:cubicBezTo>
                    <a:cubicBezTo>
                      <a:pt x="64" y="187"/>
                      <a:pt x="64" y="187"/>
                      <a:pt x="64" y="187"/>
                    </a:cubicBezTo>
                    <a:cubicBezTo>
                      <a:pt x="64" y="186"/>
                      <a:pt x="64" y="186"/>
                      <a:pt x="65" y="185"/>
                    </a:cubicBezTo>
                    <a:cubicBezTo>
                      <a:pt x="64" y="185"/>
                      <a:pt x="64" y="184"/>
                      <a:pt x="64" y="184"/>
                    </a:cubicBezTo>
                    <a:cubicBezTo>
                      <a:pt x="64" y="183"/>
                      <a:pt x="64" y="183"/>
                      <a:pt x="65" y="182"/>
                    </a:cubicBezTo>
                    <a:cubicBezTo>
                      <a:pt x="130" y="145"/>
                      <a:pt x="130" y="145"/>
                      <a:pt x="130" y="145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4" y="76"/>
                      <a:pt x="4" y="76"/>
                      <a:pt x="4" y="76"/>
                    </a:cubicBezTo>
                    <a:lnTo>
                      <a:pt x="4" y="8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7" name="Freeform 641">
                <a:extLst>
                  <a:ext uri="{FF2B5EF4-FFF2-40B4-BE49-F238E27FC236}">
                    <a16:creationId xmlns:a16="http://schemas.microsoft.com/office/drawing/2014/main" id="{445D3624-DB3E-4B2E-B236-CFE72F42EC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668391" y="6187652"/>
                <a:ext cx="93379" cy="84041"/>
              </a:xfrm>
              <a:custGeom>
                <a:avLst/>
                <a:gdLst>
                  <a:gd name="T0" fmla="*/ 20 w 38"/>
                  <a:gd name="T1" fmla="*/ 34 h 34"/>
                  <a:gd name="T2" fmla="*/ 19 w 38"/>
                  <a:gd name="T3" fmla="*/ 33 h 34"/>
                  <a:gd name="T4" fmla="*/ 1 w 38"/>
                  <a:gd name="T5" fmla="*/ 23 h 34"/>
                  <a:gd name="T6" fmla="*/ 0 w 38"/>
                  <a:gd name="T7" fmla="*/ 21 h 34"/>
                  <a:gd name="T8" fmla="*/ 0 w 38"/>
                  <a:gd name="T9" fmla="*/ 2 h 34"/>
                  <a:gd name="T10" fmla="*/ 1 w 38"/>
                  <a:gd name="T11" fmla="*/ 0 h 34"/>
                  <a:gd name="T12" fmla="*/ 3 w 38"/>
                  <a:gd name="T13" fmla="*/ 0 h 34"/>
                  <a:gd name="T14" fmla="*/ 37 w 38"/>
                  <a:gd name="T15" fmla="*/ 20 h 34"/>
                  <a:gd name="T16" fmla="*/ 38 w 38"/>
                  <a:gd name="T17" fmla="*/ 22 h 34"/>
                  <a:gd name="T18" fmla="*/ 37 w 38"/>
                  <a:gd name="T19" fmla="*/ 24 h 34"/>
                  <a:gd name="T20" fmla="*/ 21 w 38"/>
                  <a:gd name="T21" fmla="*/ 33 h 34"/>
                  <a:gd name="T22" fmla="*/ 20 w 38"/>
                  <a:gd name="T23" fmla="*/ 34 h 34"/>
                  <a:gd name="T24" fmla="*/ 4 w 38"/>
                  <a:gd name="T25" fmla="*/ 20 h 34"/>
                  <a:gd name="T26" fmla="*/ 20 w 38"/>
                  <a:gd name="T27" fmla="*/ 29 h 34"/>
                  <a:gd name="T28" fmla="*/ 32 w 38"/>
                  <a:gd name="T29" fmla="*/ 22 h 34"/>
                  <a:gd name="T30" fmla="*/ 4 w 38"/>
                  <a:gd name="T31" fmla="*/ 5 h 34"/>
                  <a:gd name="T32" fmla="*/ 4 w 38"/>
                  <a:gd name="T33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34">
                    <a:moveTo>
                      <a:pt x="20" y="34"/>
                    </a:moveTo>
                    <a:cubicBezTo>
                      <a:pt x="19" y="34"/>
                      <a:pt x="19" y="33"/>
                      <a:pt x="19" y="3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1"/>
                      <a:pt x="38" y="21"/>
                      <a:pt x="38" y="22"/>
                    </a:cubicBezTo>
                    <a:cubicBezTo>
                      <a:pt x="38" y="23"/>
                      <a:pt x="38" y="23"/>
                      <a:pt x="37" y="24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0" y="33"/>
                      <a:pt x="20" y="34"/>
                      <a:pt x="20" y="34"/>
                    </a:cubicBezTo>
                    <a:close/>
                    <a:moveTo>
                      <a:pt x="4" y="20"/>
                    </a:moveTo>
                    <a:cubicBezTo>
                      <a:pt x="20" y="29"/>
                      <a:pt x="20" y="29"/>
                      <a:pt x="20" y="29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8" name="Freeform 642">
                <a:extLst>
                  <a:ext uri="{FF2B5EF4-FFF2-40B4-BE49-F238E27FC236}">
                    <a16:creationId xmlns:a16="http://schemas.microsoft.com/office/drawing/2014/main" id="{F4CB859F-B665-40AF-8B9F-876464F3A1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352978" y="6398272"/>
                <a:ext cx="85078" cy="53952"/>
              </a:xfrm>
              <a:custGeom>
                <a:avLst/>
                <a:gdLst>
                  <a:gd name="T0" fmla="*/ 17 w 35"/>
                  <a:gd name="T1" fmla="*/ 22 h 22"/>
                  <a:gd name="T2" fmla="*/ 16 w 35"/>
                  <a:gd name="T3" fmla="*/ 22 h 22"/>
                  <a:gd name="T4" fmla="*/ 1 w 35"/>
                  <a:gd name="T5" fmla="*/ 13 h 22"/>
                  <a:gd name="T6" fmla="*/ 0 w 35"/>
                  <a:gd name="T7" fmla="*/ 11 h 22"/>
                  <a:gd name="T8" fmla="*/ 1 w 35"/>
                  <a:gd name="T9" fmla="*/ 10 h 22"/>
                  <a:gd name="T10" fmla="*/ 17 w 35"/>
                  <a:gd name="T11" fmla="*/ 0 h 22"/>
                  <a:gd name="T12" fmla="*/ 19 w 35"/>
                  <a:gd name="T13" fmla="*/ 0 h 22"/>
                  <a:gd name="T14" fmla="*/ 34 w 35"/>
                  <a:gd name="T15" fmla="*/ 9 h 22"/>
                  <a:gd name="T16" fmla="*/ 35 w 35"/>
                  <a:gd name="T17" fmla="*/ 10 h 22"/>
                  <a:gd name="T18" fmla="*/ 34 w 35"/>
                  <a:gd name="T19" fmla="*/ 12 h 22"/>
                  <a:gd name="T20" fmla="*/ 18 w 35"/>
                  <a:gd name="T21" fmla="*/ 22 h 22"/>
                  <a:gd name="T22" fmla="*/ 17 w 35"/>
                  <a:gd name="T23" fmla="*/ 22 h 22"/>
                  <a:gd name="T24" fmla="*/ 6 w 35"/>
                  <a:gd name="T25" fmla="*/ 11 h 22"/>
                  <a:gd name="T26" fmla="*/ 17 w 35"/>
                  <a:gd name="T27" fmla="*/ 18 h 22"/>
                  <a:gd name="T28" fmla="*/ 29 w 35"/>
                  <a:gd name="T29" fmla="*/ 10 h 22"/>
                  <a:gd name="T30" fmla="*/ 18 w 35"/>
                  <a:gd name="T31" fmla="*/ 4 h 22"/>
                  <a:gd name="T32" fmla="*/ 6 w 35"/>
                  <a:gd name="T33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2">
                    <a:moveTo>
                      <a:pt x="17" y="22"/>
                    </a:moveTo>
                    <a:cubicBezTo>
                      <a:pt x="16" y="22"/>
                      <a:pt x="16" y="22"/>
                      <a:pt x="16" y="2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3"/>
                      <a:pt x="0" y="12"/>
                      <a:pt x="0" y="11"/>
                    </a:cubicBezTo>
                    <a:cubicBezTo>
                      <a:pt x="0" y="11"/>
                      <a:pt x="0" y="10"/>
                      <a:pt x="1" y="1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8" y="0"/>
                      <a:pt x="19" y="0"/>
                      <a:pt x="19" y="0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5" y="9"/>
                      <a:pt x="35" y="10"/>
                      <a:pt x="35" y="10"/>
                    </a:cubicBezTo>
                    <a:cubicBezTo>
                      <a:pt x="35" y="11"/>
                      <a:pt x="35" y="12"/>
                      <a:pt x="34" y="12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2"/>
                      <a:pt x="17" y="22"/>
                      <a:pt x="17" y="22"/>
                    </a:cubicBezTo>
                    <a:close/>
                    <a:moveTo>
                      <a:pt x="6" y="11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18" y="4"/>
                      <a:pt x="18" y="4"/>
                      <a:pt x="18" y="4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9" name="Freeform 644">
                <a:extLst>
                  <a:ext uri="{FF2B5EF4-FFF2-40B4-BE49-F238E27FC236}">
                    <a16:creationId xmlns:a16="http://schemas.microsoft.com/office/drawing/2014/main" id="{D457553A-78AD-428E-B453-6AF4691F06E1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887312" y="6918079"/>
                <a:ext cx="142143" cy="86116"/>
              </a:xfrm>
              <a:custGeom>
                <a:avLst/>
                <a:gdLst>
                  <a:gd name="T0" fmla="*/ 3 w 58"/>
                  <a:gd name="T1" fmla="*/ 35 h 35"/>
                  <a:gd name="T2" fmla="*/ 2 w 58"/>
                  <a:gd name="T3" fmla="*/ 35 h 35"/>
                  <a:gd name="T4" fmla="*/ 1 w 58"/>
                  <a:gd name="T5" fmla="*/ 34 h 35"/>
                  <a:gd name="T6" fmla="*/ 0 w 58"/>
                  <a:gd name="T7" fmla="*/ 32 h 35"/>
                  <a:gd name="T8" fmla="*/ 1 w 58"/>
                  <a:gd name="T9" fmla="*/ 30 h 35"/>
                  <a:gd name="T10" fmla="*/ 53 w 58"/>
                  <a:gd name="T11" fmla="*/ 0 h 35"/>
                  <a:gd name="T12" fmla="*/ 55 w 58"/>
                  <a:gd name="T13" fmla="*/ 0 h 35"/>
                  <a:gd name="T14" fmla="*/ 57 w 58"/>
                  <a:gd name="T15" fmla="*/ 1 h 35"/>
                  <a:gd name="T16" fmla="*/ 58 w 58"/>
                  <a:gd name="T17" fmla="*/ 3 h 35"/>
                  <a:gd name="T18" fmla="*/ 57 w 58"/>
                  <a:gd name="T19" fmla="*/ 4 h 35"/>
                  <a:gd name="T20" fmla="*/ 4 w 58"/>
                  <a:gd name="T21" fmla="*/ 35 h 35"/>
                  <a:gd name="T22" fmla="*/ 3 w 58"/>
                  <a:gd name="T2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8" h="35">
                    <a:moveTo>
                      <a:pt x="3" y="35"/>
                    </a:moveTo>
                    <a:cubicBezTo>
                      <a:pt x="3" y="35"/>
                      <a:pt x="3" y="35"/>
                      <a:pt x="2" y="3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3"/>
                      <a:pt x="0" y="32"/>
                    </a:cubicBezTo>
                    <a:cubicBezTo>
                      <a:pt x="0" y="31"/>
                      <a:pt x="0" y="31"/>
                      <a:pt x="1" y="3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4" y="0"/>
                      <a:pt x="55" y="0"/>
                      <a:pt x="55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8" y="1"/>
                      <a:pt x="58" y="2"/>
                      <a:pt x="58" y="3"/>
                    </a:cubicBezTo>
                    <a:cubicBezTo>
                      <a:pt x="58" y="3"/>
                      <a:pt x="58" y="4"/>
                      <a:pt x="57" y="4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4" y="35"/>
                      <a:pt x="4" y="35"/>
                      <a:pt x="3" y="3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0" name="Freeform 645">
                <a:extLst>
                  <a:ext uri="{FF2B5EF4-FFF2-40B4-BE49-F238E27FC236}">
                    <a16:creationId xmlns:a16="http://schemas.microsoft.com/office/drawing/2014/main" id="{63678256-8669-4154-9807-B94CA383A8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894575" y="6824701"/>
                <a:ext cx="419167" cy="253160"/>
              </a:xfrm>
              <a:custGeom>
                <a:avLst/>
                <a:gdLst>
                  <a:gd name="T0" fmla="*/ 68 w 171"/>
                  <a:gd name="T1" fmla="*/ 103 h 103"/>
                  <a:gd name="T2" fmla="*/ 67 w 171"/>
                  <a:gd name="T3" fmla="*/ 102 h 103"/>
                  <a:gd name="T4" fmla="*/ 1 w 171"/>
                  <a:gd name="T5" fmla="*/ 64 h 103"/>
                  <a:gd name="T6" fmla="*/ 0 w 171"/>
                  <a:gd name="T7" fmla="*/ 62 h 103"/>
                  <a:gd name="T8" fmla="*/ 1 w 171"/>
                  <a:gd name="T9" fmla="*/ 61 h 103"/>
                  <a:gd name="T10" fmla="*/ 105 w 171"/>
                  <a:gd name="T11" fmla="*/ 1 h 103"/>
                  <a:gd name="T12" fmla="*/ 107 w 171"/>
                  <a:gd name="T13" fmla="*/ 1 h 103"/>
                  <a:gd name="T14" fmla="*/ 170 w 171"/>
                  <a:gd name="T15" fmla="*/ 37 h 103"/>
                  <a:gd name="T16" fmla="*/ 171 w 171"/>
                  <a:gd name="T17" fmla="*/ 39 h 103"/>
                  <a:gd name="T18" fmla="*/ 170 w 171"/>
                  <a:gd name="T19" fmla="*/ 40 h 103"/>
                  <a:gd name="T20" fmla="*/ 118 w 171"/>
                  <a:gd name="T21" fmla="*/ 70 h 103"/>
                  <a:gd name="T22" fmla="*/ 119 w 171"/>
                  <a:gd name="T23" fmla="*/ 70 h 103"/>
                  <a:gd name="T24" fmla="*/ 120 w 171"/>
                  <a:gd name="T25" fmla="*/ 72 h 103"/>
                  <a:gd name="T26" fmla="*/ 119 w 171"/>
                  <a:gd name="T27" fmla="*/ 74 h 103"/>
                  <a:gd name="T28" fmla="*/ 69 w 171"/>
                  <a:gd name="T29" fmla="*/ 102 h 103"/>
                  <a:gd name="T30" fmla="*/ 68 w 171"/>
                  <a:gd name="T31" fmla="*/ 103 h 103"/>
                  <a:gd name="T32" fmla="*/ 6 w 171"/>
                  <a:gd name="T33" fmla="*/ 62 h 103"/>
                  <a:gd name="T34" fmla="*/ 68 w 171"/>
                  <a:gd name="T35" fmla="*/ 98 h 103"/>
                  <a:gd name="T36" fmla="*/ 114 w 171"/>
                  <a:gd name="T37" fmla="*/ 72 h 103"/>
                  <a:gd name="T38" fmla="*/ 113 w 171"/>
                  <a:gd name="T39" fmla="*/ 72 h 103"/>
                  <a:gd name="T40" fmla="*/ 112 w 171"/>
                  <a:gd name="T41" fmla="*/ 70 h 103"/>
                  <a:gd name="T42" fmla="*/ 113 w 171"/>
                  <a:gd name="T43" fmla="*/ 68 h 103"/>
                  <a:gd name="T44" fmla="*/ 165 w 171"/>
                  <a:gd name="T45" fmla="*/ 39 h 103"/>
                  <a:gd name="T46" fmla="*/ 106 w 171"/>
                  <a:gd name="T47" fmla="*/ 5 h 103"/>
                  <a:gd name="T48" fmla="*/ 6 w 171"/>
                  <a:gd name="T49" fmla="*/ 6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1" h="103">
                    <a:moveTo>
                      <a:pt x="68" y="103"/>
                    </a:moveTo>
                    <a:cubicBezTo>
                      <a:pt x="68" y="103"/>
                      <a:pt x="67" y="103"/>
                      <a:pt x="67" y="102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0" y="64"/>
                      <a:pt x="0" y="63"/>
                      <a:pt x="0" y="62"/>
                    </a:cubicBezTo>
                    <a:cubicBezTo>
                      <a:pt x="0" y="62"/>
                      <a:pt x="0" y="61"/>
                      <a:pt x="1" y="61"/>
                    </a:cubicBezTo>
                    <a:cubicBezTo>
                      <a:pt x="105" y="1"/>
                      <a:pt x="105" y="1"/>
                      <a:pt x="105" y="1"/>
                    </a:cubicBezTo>
                    <a:cubicBezTo>
                      <a:pt x="105" y="0"/>
                      <a:pt x="106" y="0"/>
                      <a:pt x="107" y="1"/>
                    </a:cubicBezTo>
                    <a:cubicBezTo>
                      <a:pt x="170" y="37"/>
                      <a:pt x="170" y="37"/>
                      <a:pt x="170" y="37"/>
                    </a:cubicBezTo>
                    <a:cubicBezTo>
                      <a:pt x="170" y="37"/>
                      <a:pt x="171" y="38"/>
                      <a:pt x="171" y="39"/>
                    </a:cubicBezTo>
                    <a:cubicBezTo>
                      <a:pt x="171" y="39"/>
                      <a:pt x="170" y="40"/>
                      <a:pt x="170" y="40"/>
                    </a:cubicBezTo>
                    <a:cubicBezTo>
                      <a:pt x="118" y="70"/>
                      <a:pt x="118" y="70"/>
                      <a:pt x="118" y="70"/>
                    </a:cubicBezTo>
                    <a:cubicBezTo>
                      <a:pt x="119" y="70"/>
                      <a:pt x="119" y="70"/>
                      <a:pt x="119" y="70"/>
                    </a:cubicBezTo>
                    <a:cubicBezTo>
                      <a:pt x="119" y="71"/>
                      <a:pt x="120" y="71"/>
                      <a:pt x="120" y="72"/>
                    </a:cubicBezTo>
                    <a:cubicBezTo>
                      <a:pt x="120" y="73"/>
                      <a:pt x="119" y="73"/>
                      <a:pt x="119" y="74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3"/>
                      <a:pt x="68" y="103"/>
                      <a:pt x="68" y="103"/>
                    </a:cubicBezTo>
                    <a:close/>
                    <a:moveTo>
                      <a:pt x="6" y="62"/>
                    </a:moveTo>
                    <a:cubicBezTo>
                      <a:pt x="68" y="98"/>
                      <a:pt x="68" y="98"/>
                      <a:pt x="68" y="98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3" y="72"/>
                      <a:pt x="113" y="72"/>
                      <a:pt x="113" y="72"/>
                    </a:cubicBezTo>
                    <a:cubicBezTo>
                      <a:pt x="113" y="71"/>
                      <a:pt x="112" y="71"/>
                      <a:pt x="112" y="70"/>
                    </a:cubicBezTo>
                    <a:cubicBezTo>
                      <a:pt x="112" y="69"/>
                      <a:pt x="113" y="69"/>
                      <a:pt x="113" y="68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06" y="5"/>
                      <a:pt x="106" y="5"/>
                      <a:pt x="106" y="5"/>
                    </a:cubicBez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1" name="Freeform 646">
                <a:extLst>
                  <a:ext uri="{FF2B5EF4-FFF2-40B4-BE49-F238E27FC236}">
                    <a16:creationId xmlns:a16="http://schemas.microsoft.com/office/drawing/2014/main" id="{3FFE6893-866D-44F3-B2F7-72D9691C38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713005" y="6239529"/>
                <a:ext cx="338239" cy="212696"/>
              </a:xfrm>
              <a:custGeom>
                <a:avLst/>
                <a:gdLst>
                  <a:gd name="T0" fmla="*/ 9 w 138"/>
                  <a:gd name="T1" fmla="*/ 87 h 87"/>
                  <a:gd name="T2" fmla="*/ 8 w 138"/>
                  <a:gd name="T3" fmla="*/ 87 h 87"/>
                  <a:gd name="T4" fmla="*/ 1 w 138"/>
                  <a:gd name="T5" fmla="*/ 82 h 87"/>
                  <a:gd name="T6" fmla="*/ 0 w 138"/>
                  <a:gd name="T7" fmla="*/ 81 h 87"/>
                  <a:gd name="T8" fmla="*/ 1 w 138"/>
                  <a:gd name="T9" fmla="*/ 79 h 87"/>
                  <a:gd name="T10" fmla="*/ 118 w 138"/>
                  <a:gd name="T11" fmla="*/ 11 h 87"/>
                  <a:gd name="T12" fmla="*/ 118 w 138"/>
                  <a:gd name="T13" fmla="*/ 2 h 87"/>
                  <a:gd name="T14" fmla="*/ 119 w 138"/>
                  <a:gd name="T15" fmla="*/ 0 h 87"/>
                  <a:gd name="T16" fmla="*/ 121 w 138"/>
                  <a:gd name="T17" fmla="*/ 0 h 87"/>
                  <a:gd name="T18" fmla="*/ 137 w 138"/>
                  <a:gd name="T19" fmla="*/ 10 h 87"/>
                  <a:gd name="T20" fmla="*/ 138 w 138"/>
                  <a:gd name="T21" fmla="*/ 11 h 87"/>
                  <a:gd name="T22" fmla="*/ 137 w 138"/>
                  <a:gd name="T23" fmla="*/ 13 h 87"/>
                  <a:gd name="T24" fmla="*/ 10 w 138"/>
                  <a:gd name="T25" fmla="*/ 87 h 87"/>
                  <a:gd name="T26" fmla="*/ 9 w 138"/>
                  <a:gd name="T27" fmla="*/ 87 h 87"/>
                  <a:gd name="T28" fmla="*/ 6 w 138"/>
                  <a:gd name="T29" fmla="*/ 81 h 87"/>
                  <a:gd name="T30" fmla="*/ 9 w 138"/>
                  <a:gd name="T31" fmla="*/ 83 h 87"/>
                  <a:gd name="T32" fmla="*/ 132 w 138"/>
                  <a:gd name="T33" fmla="*/ 11 h 87"/>
                  <a:gd name="T34" fmla="*/ 122 w 138"/>
                  <a:gd name="T35" fmla="*/ 6 h 87"/>
                  <a:gd name="T36" fmla="*/ 122 w 138"/>
                  <a:gd name="T37" fmla="*/ 12 h 87"/>
                  <a:gd name="T38" fmla="*/ 121 w 138"/>
                  <a:gd name="T39" fmla="*/ 14 h 87"/>
                  <a:gd name="T40" fmla="*/ 6 w 138"/>
                  <a:gd name="T41" fmla="*/ 8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87">
                    <a:moveTo>
                      <a:pt x="9" y="87"/>
                    </a:moveTo>
                    <a:cubicBezTo>
                      <a:pt x="9" y="87"/>
                      <a:pt x="8" y="87"/>
                      <a:pt x="8" y="8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0" y="82"/>
                      <a:pt x="0" y="81"/>
                      <a:pt x="0" y="81"/>
                    </a:cubicBezTo>
                    <a:cubicBezTo>
                      <a:pt x="0" y="80"/>
                      <a:pt x="0" y="79"/>
                      <a:pt x="1" y="79"/>
                    </a:cubicBezTo>
                    <a:cubicBezTo>
                      <a:pt x="118" y="11"/>
                      <a:pt x="118" y="11"/>
                      <a:pt x="118" y="11"/>
                    </a:cubicBezTo>
                    <a:cubicBezTo>
                      <a:pt x="118" y="2"/>
                      <a:pt x="118" y="2"/>
                      <a:pt x="118" y="2"/>
                    </a:cubicBezTo>
                    <a:cubicBezTo>
                      <a:pt x="118" y="1"/>
                      <a:pt x="118" y="1"/>
                      <a:pt x="119" y="0"/>
                    </a:cubicBezTo>
                    <a:cubicBezTo>
                      <a:pt x="120" y="0"/>
                      <a:pt x="120" y="0"/>
                      <a:pt x="121" y="0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8" y="10"/>
                      <a:pt x="138" y="11"/>
                      <a:pt x="138" y="11"/>
                    </a:cubicBezTo>
                    <a:cubicBezTo>
                      <a:pt x="138" y="12"/>
                      <a:pt x="138" y="13"/>
                      <a:pt x="137" y="13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0" y="87"/>
                      <a:pt x="9" y="87"/>
                      <a:pt x="9" y="87"/>
                    </a:cubicBezTo>
                    <a:close/>
                    <a:moveTo>
                      <a:pt x="6" y="81"/>
                    </a:moveTo>
                    <a:cubicBezTo>
                      <a:pt x="9" y="83"/>
                      <a:pt x="9" y="83"/>
                      <a:pt x="9" y="83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2" y="13"/>
                      <a:pt x="122" y="14"/>
                      <a:pt x="121" y="14"/>
                    </a:cubicBezTo>
                    <a:lnTo>
                      <a:pt x="6" y="8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2" name="Freeform 647">
                <a:extLst>
                  <a:ext uri="{FF2B5EF4-FFF2-40B4-BE49-F238E27FC236}">
                    <a16:creationId xmlns:a16="http://schemas.microsoft.com/office/drawing/2014/main" id="{4C5790E1-8E89-4963-86A6-A6765DB2A6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29455" y="6788387"/>
                <a:ext cx="65365" cy="44614"/>
              </a:xfrm>
              <a:custGeom>
                <a:avLst/>
                <a:gdLst>
                  <a:gd name="T0" fmla="*/ 17 w 27"/>
                  <a:gd name="T1" fmla="*/ 18 h 18"/>
                  <a:gd name="T2" fmla="*/ 16 w 27"/>
                  <a:gd name="T3" fmla="*/ 17 h 18"/>
                  <a:gd name="T4" fmla="*/ 1 w 27"/>
                  <a:gd name="T5" fmla="*/ 9 h 18"/>
                  <a:gd name="T6" fmla="*/ 0 w 27"/>
                  <a:gd name="T7" fmla="*/ 7 h 18"/>
                  <a:gd name="T8" fmla="*/ 1 w 27"/>
                  <a:gd name="T9" fmla="*/ 5 h 18"/>
                  <a:gd name="T10" fmla="*/ 9 w 27"/>
                  <a:gd name="T11" fmla="*/ 0 h 18"/>
                  <a:gd name="T12" fmla="*/ 11 w 27"/>
                  <a:gd name="T13" fmla="*/ 0 h 18"/>
                  <a:gd name="T14" fmla="*/ 26 w 27"/>
                  <a:gd name="T15" fmla="*/ 9 h 18"/>
                  <a:gd name="T16" fmla="*/ 27 w 27"/>
                  <a:gd name="T17" fmla="*/ 11 h 18"/>
                  <a:gd name="T18" fmla="*/ 26 w 27"/>
                  <a:gd name="T19" fmla="*/ 12 h 18"/>
                  <a:gd name="T20" fmla="*/ 18 w 27"/>
                  <a:gd name="T21" fmla="*/ 17 h 18"/>
                  <a:gd name="T22" fmla="*/ 17 w 27"/>
                  <a:gd name="T23" fmla="*/ 18 h 18"/>
                  <a:gd name="T24" fmla="*/ 6 w 27"/>
                  <a:gd name="T25" fmla="*/ 7 h 18"/>
                  <a:gd name="T26" fmla="*/ 17 w 27"/>
                  <a:gd name="T27" fmla="*/ 13 h 18"/>
                  <a:gd name="T28" fmla="*/ 21 w 27"/>
                  <a:gd name="T29" fmla="*/ 11 h 18"/>
                  <a:gd name="T30" fmla="*/ 10 w 27"/>
                  <a:gd name="T31" fmla="*/ 4 h 18"/>
                  <a:gd name="T32" fmla="*/ 6 w 27"/>
                  <a:gd name="T33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8">
                    <a:moveTo>
                      <a:pt x="17" y="18"/>
                    </a:moveTo>
                    <a:cubicBezTo>
                      <a:pt x="17" y="18"/>
                      <a:pt x="16" y="17"/>
                      <a:pt x="16" y="17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8"/>
                      <a:pt x="0" y="8"/>
                      <a:pt x="0" y="7"/>
                    </a:cubicBezTo>
                    <a:cubicBezTo>
                      <a:pt x="0" y="6"/>
                      <a:pt x="0" y="6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10"/>
                      <a:pt x="27" y="11"/>
                    </a:cubicBezTo>
                    <a:cubicBezTo>
                      <a:pt x="27" y="11"/>
                      <a:pt x="27" y="12"/>
                      <a:pt x="26" y="12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7"/>
                      <a:pt x="17" y="18"/>
                      <a:pt x="17" y="18"/>
                    </a:cubicBezTo>
                    <a:close/>
                    <a:moveTo>
                      <a:pt x="6" y="7"/>
                    </a:moveTo>
                    <a:cubicBezTo>
                      <a:pt x="17" y="13"/>
                      <a:pt x="17" y="13"/>
                      <a:pt x="17" y="13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10" y="4"/>
                      <a:pt x="10" y="4"/>
                      <a:pt x="10" y="4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3" name="Freeform 650">
                <a:extLst>
                  <a:ext uri="{FF2B5EF4-FFF2-40B4-BE49-F238E27FC236}">
                    <a16:creationId xmlns:a16="http://schemas.microsoft.com/office/drawing/2014/main" id="{169BBA3C-81AA-4C31-8609-476195517190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862411" y="6903554"/>
                <a:ext cx="34239" cy="24901"/>
              </a:xfrm>
              <a:custGeom>
                <a:avLst/>
                <a:gdLst>
                  <a:gd name="T0" fmla="*/ 4 w 14"/>
                  <a:gd name="T1" fmla="*/ 10 h 10"/>
                  <a:gd name="T2" fmla="*/ 3 w 14"/>
                  <a:gd name="T3" fmla="*/ 9 h 10"/>
                  <a:gd name="T4" fmla="*/ 1 w 14"/>
                  <a:gd name="T5" fmla="*/ 8 h 10"/>
                  <a:gd name="T6" fmla="*/ 0 w 14"/>
                  <a:gd name="T7" fmla="*/ 7 h 10"/>
                  <a:gd name="T8" fmla="*/ 1 w 14"/>
                  <a:gd name="T9" fmla="*/ 5 h 10"/>
                  <a:gd name="T10" fmla="*/ 9 w 14"/>
                  <a:gd name="T11" fmla="*/ 0 h 10"/>
                  <a:gd name="T12" fmla="*/ 11 w 14"/>
                  <a:gd name="T13" fmla="*/ 0 h 10"/>
                  <a:gd name="T14" fmla="*/ 13 w 14"/>
                  <a:gd name="T15" fmla="*/ 1 h 10"/>
                  <a:gd name="T16" fmla="*/ 14 w 14"/>
                  <a:gd name="T17" fmla="*/ 3 h 10"/>
                  <a:gd name="T18" fmla="*/ 13 w 14"/>
                  <a:gd name="T19" fmla="*/ 5 h 10"/>
                  <a:gd name="T20" fmla="*/ 5 w 14"/>
                  <a:gd name="T21" fmla="*/ 9 h 10"/>
                  <a:gd name="T22" fmla="*/ 4 w 14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0">
                    <a:moveTo>
                      <a:pt x="4" y="10"/>
                    </a:moveTo>
                    <a:cubicBezTo>
                      <a:pt x="3" y="10"/>
                      <a:pt x="3" y="10"/>
                      <a:pt x="3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1"/>
                      <a:pt x="14" y="2"/>
                      <a:pt x="14" y="3"/>
                    </a:cubicBezTo>
                    <a:cubicBezTo>
                      <a:pt x="14" y="4"/>
                      <a:pt x="14" y="4"/>
                      <a:pt x="13" y="5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0"/>
                      <a:pt x="4" y="10"/>
                      <a:pt x="4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4" name="Freeform 652">
                <a:extLst>
                  <a:ext uri="{FF2B5EF4-FFF2-40B4-BE49-F238E27FC236}">
                    <a16:creationId xmlns:a16="http://schemas.microsoft.com/office/drawing/2014/main" id="{7DA8F0FB-D9BA-4401-8F10-93F39C808F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6040321"/>
                <a:ext cx="76778" cy="179494"/>
              </a:xfrm>
              <a:custGeom>
                <a:avLst/>
                <a:gdLst>
                  <a:gd name="T0" fmla="*/ 29 w 31"/>
                  <a:gd name="T1" fmla="*/ 73 h 73"/>
                  <a:gd name="T2" fmla="*/ 28 w 31"/>
                  <a:gd name="T3" fmla="*/ 73 h 73"/>
                  <a:gd name="T4" fmla="*/ 1 w 31"/>
                  <a:gd name="T5" fmla="*/ 58 h 73"/>
                  <a:gd name="T6" fmla="*/ 0 w 31"/>
                  <a:gd name="T7" fmla="*/ 56 h 73"/>
                  <a:gd name="T8" fmla="*/ 0 w 31"/>
                  <a:gd name="T9" fmla="*/ 3 h 73"/>
                  <a:gd name="T10" fmla="*/ 1 w 31"/>
                  <a:gd name="T11" fmla="*/ 1 h 73"/>
                  <a:gd name="T12" fmla="*/ 3 w 31"/>
                  <a:gd name="T13" fmla="*/ 1 h 73"/>
                  <a:gd name="T14" fmla="*/ 30 w 31"/>
                  <a:gd name="T15" fmla="*/ 16 h 73"/>
                  <a:gd name="T16" fmla="*/ 31 w 31"/>
                  <a:gd name="T17" fmla="*/ 18 h 73"/>
                  <a:gd name="T18" fmla="*/ 31 w 31"/>
                  <a:gd name="T19" fmla="*/ 71 h 73"/>
                  <a:gd name="T20" fmla="*/ 30 w 31"/>
                  <a:gd name="T21" fmla="*/ 73 h 73"/>
                  <a:gd name="T22" fmla="*/ 29 w 31"/>
                  <a:gd name="T23" fmla="*/ 73 h 73"/>
                  <a:gd name="T24" fmla="*/ 4 w 31"/>
                  <a:gd name="T25" fmla="*/ 55 h 73"/>
                  <a:gd name="T26" fmla="*/ 27 w 31"/>
                  <a:gd name="T27" fmla="*/ 68 h 73"/>
                  <a:gd name="T28" fmla="*/ 27 w 31"/>
                  <a:gd name="T29" fmla="*/ 19 h 73"/>
                  <a:gd name="T30" fmla="*/ 4 w 31"/>
                  <a:gd name="T31" fmla="*/ 6 h 73"/>
                  <a:gd name="T32" fmla="*/ 4 w 31"/>
                  <a:gd name="T33" fmla="*/ 5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73">
                    <a:moveTo>
                      <a:pt x="29" y="73"/>
                    </a:moveTo>
                    <a:cubicBezTo>
                      <a:pt x="28" y="73"/>
                      <a:pt x="28" y="73"/>
                      <a:pt x="28" y="73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1" y="57"/>
                      <a:pt x="0" y="57"/>
                      <a:pt x="0" y="5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7"/>
                      <a:pt x="31" y="17"/>
                      <a:pt x="31" y="18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1" y="72"/>
                      <a:pt x="30" y="73"/>
                      <a:pt x="30" y="73"/>
                    </a:cubicBezTo>
                    <a:cubicBezTo>
                      <a:pt x="30" y="73"/>
                      <a:pt x="29" y="73"/>
                      <a:pt x="29" y="73"/>
                    </a:cubicBezTo>
                    <a:close/>
                    <a:moveTo>
                      <a:pt x="4" y="55"/>
                    </a:moveTo>
                    <a:cubicBezTo>
                      <a:pt x="27" y="68"/>
                      <a:pt x="27" y="68"/>
                      <a:pt x="27" y="68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5" name="Freeform 653">
                <a:extLst>
                  <a:ext uri="{FF2B5EF4-FFF2-40B4-BE49-F238E27FC236}">
                    <a16:creationId xmlns:a16="http://schemas.microsoft.com/office/drawing/2014/main" id="{F13BA00B-2E5C-4347-BB94-80A34EC850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5923079"/>
                <a:ext cx="62252" cy="61215"/>
              </a:xfrm>
              <a:custGeom>
                <a:avLst/>
                <a:gdLst>
                  <a:gd name="T0" fmla="*/ 2 w 25"/>
                  <a:gd name="T1" fmla="*/ 25 h 25"/>
                  <a:gd name="T2" fmla="*/ 1 w 25"/>
                  <a:gd name="T3" fmla="*/ 24 h 25"/>
                  <a:gd name="T4" fmla="*/ 0 w 25"/>
                  <a:gd name="T5" fmla="*/ 23 h 25"/>
                  <a:gd name="T6" fmla="*/ 0 w 25"/>
                  <a:gd name="T7" fmla="*/ 15 h 25"/>
                  <a:gd name="T8" fmla="*/ 1 w 25"/>
                  <a:gd name="T9" fmla="*/ 13 h 25"/>
                  <a:gd name="T10" fmla="*/ 22 w 25"/>
                  <a:gd name="T11" fmla="*/ 1 h 25"/>
                  <a:gd name="T12" fmla="*/ 24 w 25"/>
                  <a:gd name="T13" fmla="*/ 1 h 25"/>
                  <a:gd name="T14" fmla="*/ 25 w 25"/>
                  <a:gd name="T15" fmla="*/ 2 h 25"/>
                  <a:gd name="T16" fmla="*/ 25 w 25"/>
                  <a:gd name="T17" fmla="*/ 10 h 25"/>
                  <a:gd name="T18" fmla="*/ 24 w 25"/>
                  <a:gd name="T19" fmla="*/ 12 h 25"/>
                  <a:gd name="T20" fmla="*/ 3 w 25"/>
                  <a:gd name="T21" fmla="*/ 24 h 25"/>
                  <a:gd name="T22" fmla="*/ 2 w 25"/>
                  <a:gd name="T23" fmla="*/ 25 h 25"/>
                  <a:gd name="T24" fmla="*/ 4 w 25"/>
                  <a:gd name="T25" fmla="*/ 16 h 25"/>
                  <a:gd name="T26" fmla="*/ 4 w 25"/>
                  <a:gd name="T27" fmla="*/ 19 h 25"/>
                  <a:gd name="T28" fmla="*/ 21 w 25"/>
                  <a:gd name="T29" fmla="*/ 9 h 25"/>
                  <a:gd name="T30" fmla="*/ 21 w 25"/>
                  <a:gd name="T31" fmla="*/ 6 h 25"/>
                  <a:gd name="T32" fmla="*/ 4 w 25"/>
                  <a:gd name="T33" fmla="*/ 16 h 25"/>
                  <a:gd name="T34" fmla="*/ 23 w 25"/>
                  <a:gd name="T35" fmla="*/ 10 h 25"/>
                  <a:gd name="T36" fmla="*/ 23 w 25"/>
                  <a:gd name="T37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" y="25"/>
                    </a:moveTo>
                    <a:cubicBezTo>
                      <a:pt x="1" y="25"/>
                      <a:pt x="1" y="24"/>
                      <a:pt x="1" y="24"/>
                    </a:cubicBezTo>
                    <a:cubicBezTo>
                      <a:pt x="0" y="24"/>
                      <a:pt x="0" y="23"/>
                      <a:pt x="0" y="2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2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1"/>
                      <a:pt x="24" y="12"/>
                      <a:pt x="24" y="12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2" y="24"/>
                      <a:pt x="2" y="25"/>
                      <a:pt x="2" y="25"/>
                    </a:cubicBezTo>
                    <a:close/>
                    <a:moveTo>
                      <a:pt x="4" y="16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4" y="16"/>
                    </a:lnTo>
                    <a:close/>
                    <a:moveTo>
                      <a:pt x="23" y="10"/>
                    </a:moveTo>
                    <a:cubicBezTo>
                      <a:pt x="23" y="10"/>
                      <a:pt x="23" y="10"/>
                      <a:pt x="23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6" name="Freeform 654">
                <a:extLst>
                  <a:ext uri="{FF2B5EF4-FFF2-40B4-BE49-F238E27FC236}">
                    <a16:creationId xmlns:a16="http://schemas.microsoft.com/office/drawing/2014/main" id="{46835215-40F8-465A-9019-B5ACAF6D49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5820363"/>
                <a:ext cx="62252" cy="107904"/>
              </a:xfrm>
              <a:custGeom>
                <a:avLst/>
                <a:gdLst>
                  <a:gd name="T0" fmla="*/ 23 w 25"/>
                  <a:gd name="T1" fmla="*/ 44 h 44"/>
                  <a:gd name="T2" fmla="*/ 22 w 25"/>
                  <a:gd name="T3" fmla="*/ 43 h 44"/>
                  <a:gd name="T4" fmla="*/ 1 w 25"/>
                  <a:gd name="T5" fmla="*/ 31 h 44"/>
                  <a:gd name="T6" fmla="*/ 0 w 25"/>
                  <a:gd name="T7" fmla="*/ 29 h 44"/>
                  <a:gd name="T8" fmla="*/ 0 w 25"/>
                  <a:gd name="T9" fmla="*/ 2 h 44"/>
                  <a:gd name="T10" fmla="*/ 1 w 25"/>
                  <a:gd name="T11" fmla="*/ 1 h 44"/>
                  <a:gd name="T12" fmla="*/ 3 w 25"/>
                  <a:gd name="T13" fmla="*/ 1 h 44"/>
                  <a:gd name="T14" fmla="*/ 24 w 25"/>
                  <a:gd name="T15" fmla="*/ 13 h 44"/>
                  <a:gd name="T16" fmla="*/ 25 w 25"/>
                  <a:gd name="T17" fmla="*/ 15 h 44"/>
                  <a:gd name="T18" fmla="*/ 25 w 25"/>
                  <a:gd name="T19" fmla="*/ 42 h 44"/>
                  <a:gd name="T20" fmla="*/ 24 w 25"/>
                  <a:gd name="T21" fmla="*/ 43 h 44"/>
                  <a:gd name="T22" fmla="*/ 23 w 25"/>
                  <a:gd name="T23" fmla="*/ 44 h 44"/>
                  <a:gd name="T24" fmla="*/ 4 w 25"/>
                  <a:gd name="T25" fmla="*/ 28 h 44"/>
                  <a:gd name="T26" fmla="*/ 21 w 25"/>
                  <a:gd name="T27" fmla="*/ 38 h 44"/>
                  <a:gd name="T28" fmla="*/ 21 w 25"/>
                  <a:gd name="T29" fmla="*/ 16 h 44"/>
                  <a:gd name="T30" fmla="*/ 4 w 25"/>
                  <a:gd name="T31" fmla="*/ 6 h 44"/>
                  <a:gd name="T32" fmla="*/ 4 w 25"/>
                  <a:gd name="T33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44">
                    <a:moveTo>
                      <a:pt x="23" y="44"/>
                    </a:moveTo>
                    <a:cubicBezTo>
                      <a:pt x="22" y="44"/>
                      <a:pt x="22" y="43"/>
                      <a:pt x="22" y="43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5" y="14"/>
                      <a:pt x="25" y="15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5" y="42"/>
                      <a:pt x="24" y="43"/>
                      <a:pt x="24" y="43"/>
                    </a:cubicBezTo>
                    <a:cubicBezTo>
                      <a:pt x="24" y="43"/>
                      <a:pt x="23" y="44"/>
                      <a:pt x="23" y="44"/>
                    </a:cubicBezTo>
                    <a:close/>
                    <a:moveTo>
                      <a:pt x="4" y="28"/>
                    </a:move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7" name="Freeform 655">
                <a:extLst>
                  <a:ext uri="{FF2B5EF4-FFF2-40B4-BE49-F238E27FC236}">
                    <a16:creationId xmlns:a16="http://schemas.microsoft.com/office/drawing/2014/main" id="{1EC60E5E-910E-488B-90A4-155190E1DD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5950055"/>
                <a:ext cx="304000" cy="230334"/>
              </a:xfrm>
              <a:custGeom>
                <a:avLst/>
                <a:gdLst>
                  <a:gd name="T0" fmla="*/ 94 w 124"/>
                  <a:gd name="T1" fmla="*/ 94 h 94"/>
                  <a:gd name="T2" fmla="*/ 93 w 124"/>
                  <a:gd name="T3" fmla="*/ 94 h 94"/>
                  <a:gd name="T4" fmla="*/ 28 w 124"/>
                  <a:gd name="T5" fmla="*/ 56 h 94"/>
                  <a:gd name="T6" fmla="*/ 3 w 124"/>
                  <a:gd name="T7" fmla="*/ 71 h 94"/>
                  <a:gd name="T8" fmla="*/ 1 w 124"/>
                  <a:gd name="T9" fmla="*/ 71 h 94"/>
                  <a:gd name="T10" fmla="*/ 0 w 124"/>
                  <a:gd name="T11" fmla="*/ 69 h 94"/>
                  <a:gd name="T12" fmla="*/ 0 w 124"/>
                  <a:gd name="T13" fmla="*/ 60 h 94"/>
                  <a:gd name="T14" fmla="*/ 1 w 124"/>
                  <a:gd name="T15" fmla="*/ 59 h 94"/>
                  <a:gd name="T16" fmla="*/ 82 w 124"/>
                  <a:gd name="T17" fmla="*/ 12 h 94"/>
                  <a:gd name="T18" fmla="*/ 84 w 124"/>
                  <a:gd name="T19" fmla="*/ 12 h 94"/>
                  <a:gd name="T20" fmla="*/ 92 w 124"/>
                  <a:gd name="T21" fmla="*/ 17 h 94"/>
                  <a:gd name="T22" fmla="*/ 121 w 124"/>
                  <a:gd name="T23" fmla="*/ 0 h 94"/>
                  <a:gd name="T24" fmla="*/ 123 w 124"/>
                  <a:gd name="T25" fmla="*/ 0 h 94"/>
                  <a:gd name="T26" fmla="*/ 124 w 124"/>
                  <a:gd name="T27" fmla="*/ 2 h 94"/>
                  <a:gd name="T28" fmla="*/ 124 w 124"/>
                  <a:gd name="T29" fmla="*/ 53 h 94"/>
                  <a:gd name="T30" fmla="*/ 123 w 124"/>
                  <a:gd name="T31" fmla="*/ 55 h 94"/>
                  <a:gd name="T32" fmla="*/ 121 w 124"/>
                  <a:gd name="T33" fmla="*/ 55 h 94"/>
                  <a:gd name="T34" fmla="*/ 96 w 124"/>
                  <a:gd name="T35" fmla="*/ 40 h 94"/>
                  <a:gd name="T36" fmla="*/ 96 w 124"/>
                  <a:gd name="T37" fmla="*/ 92 h 94"/>
                  <a:gd name="T38" fmla="*/ 95 w 124"/>
                  <a:gd name="T39" fmla="*/ 94 h 94"/>
                  <a:gd name="T40" fmla="*/ 94 w 124"/>
                  <a:gd name="T41" fmla="*/ 94 h 94"/>
                  <a:gd name="T42" fmla="*/ 28 w 124"/>
                  <a:gd name="T43" fmla="*/ 52 h 94"/>
                  <a:gd name="T44" fmla="*/ 29 w 124"/>
                  <a:gd name="T45" fmla="*/ 52 h 94"/>
                  <a:gd name="T46" fmla="*/ 92 w 124"/>
                  <a:gd name="T47" fmla="*/ 89 h 94"/>
                  <a:gd name="T48" fmla="*/ 92 w 124"/>
                  <a:gd name="T49" fmla="*/ 37 h 94"/>
                  <a:gd name="T50" fmla="*/ 93 w 124"/>
                  <a:gd name="T51" fmla="*/ 35 h 94"/>
                  <a:gd name="T52" fmla="*/ 95 w 124"/>
                  <a:gd name="T53" fmla="*/ 35 h 94"/>
                  <a:gd name="T54" fmla="*/ 120 w 124"/>
                  <a:gd name="T55" fmla="*/ 50 h 94"/>
                  <a:gd name="T56" fmla="*/ 120 w 124"/>
                  <a:gd name="T57" fmla="*/ 5 h 94"/>
                  <a:gd name="T58" fmla="*/ 93 w 124"/>
                  <a:gd name="T59" fmla="*/ 21 h 94"/>
                  <a:gd name="T60" fmla="*/ 91 w 124"/>
                  <a:gd name="T61" fmla="*/ 21 h 94"/>
                  <a:gd name="T62" fmla="*/ 83 w 124"/>
                  <a:gd name="T63" fmla="*/ 16 h 94"/>
                  <a:gd name="T64" fmla="*/ 4 w 124"/>
                  <a:gd name="T65" fmla="*/ 62 h 94"/>
                  <a:gd name="T66" fmla="*/ 4 w 124"/>
                  <a:gd name="T67" fmla="*/ 65 h 94"/>
                  <a:gd name="T68" fmla="*/ 27 w 124"/>
                  <a:gd name="T69" fmla="*/ 52 h 94"/>
                  <a:gd name="T70" fmla="*/ 28 w 124"/>
                  <a:gd name="T71" fmla="*/ 5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4" h="94">
                    <a:moveTo>
                      <a:pt x="94" y="94"/>
                    </a:moveTo>
                    <a:cubicBezTo>
                      <a:pt x="93" y="94"/>
                      <a:pt x="93" y="94"/>
                      <a:pt x="93" y="94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2" y="71"/>
                      <a:pt x="1" y="71"/>
                    </a:cubicBezTo>
                    <a:cubicBezTo>
                      <a:pt x="1" y="70"/>
                      <a:pt x="0" y="70"/>
                      <a:pt x="0" y="69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1" y="59"/>
                      <a:pt x="1" y="59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3" y="12"/>
                      <a:pt x="84" y="12"/>
                      <a:pt x="84" y="12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1" y="0"/>
                      <a:pt x="122" y="0"/>
                      <a:pt x="123" y="0"/>
                    </a:cubicBezTo>
                    <a:cubicBezTo>
                      <a:pt x="123" y="0"/>
                      <a:pt x="124" y="1"/>
                      <a:pt x="124" y="2"/>
                    </a:cubicBezTo>
                    <a:cubicBezTo>
                      <a:pt x="124" y="53"/>
                      <a:pt x="124" y="53"/>
                      <a:pt x="124" y="53"/>
                    </a:cubicBezTo>
                    <a:cubicBezTo>
                      <a:pt x="124" y="54"/>
                      <a:pt x="123" y="54"/>
                      <a:pt x="123" y="55"/>
                    </a:cubicBezTo>
                    <a:cubicBezTo>
                      <a:pt x="122" y="55"/>
                      <a:pt x="121" y="55"/>
                      <a:pt x="121" y="55"/>
                    </a:cubicBezTo>
                    <a:cubicBezTo>
                      <a:pt x="96" y="40"/>
                      <a:pt x="96" y="40"/>
                      <a:pt x="96" y="40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3"/>
                      <a:pt x="95" y="94"/>
                      <a:pt x="95" y="94"/>
                    </a:cubicBezTo>
                    <a:cubicBezTo>
                      <a:pt x="94" y="94"/>
                      <a:pt x="94" y="94"/>
                      <a:pt x="94" y="94"/>
                    </a:cubicBezTo>
                    <a:close/>
                    <a:moveTo>
                      <a:pt x="28" y="52"/>
                    </a:moveTo>
                    <a:cubicBezTo>
                      <a:pt x="28" y="52"/>
                      <a:pt x="28" y="52"/>
                      <a:pt x="29" y="52"/>
                    </a:cubicBezTo>
                    <a:cubicBezTo>
                      <a:pt x="92" y="89"/>
                      <a:pt x="92" y="89"/>
                      <a:pt x="92" y="89"/>
                    </a:cubicBezTo>
                    <a:cubicBezTo>
                      <a:pt x="92" y="37"/>
                      <a:pt x="92" y="37"/>
                      <a:pt x="92" y="37"/>
                    </a:cubicBezTo>
                    <a:cubicBezTo>
                      <a:pt x="92" y="36"/>
                      <a:pt x="92" y="35"/>
                      <a:pt x="93" y="35"/>
                    </a:cubicBezTo>
                    <a:cubicBezTo>
                      <a:pt x="93" y="35"/>
                      <a:pt x="94" y="35"/>
                      <a:pt x="95" y="35"/>
                    </a:cubicBezTo>
                    <a:cubicBezTo>
                      <a:pt x="120" y="50"/>
                      <a:pt x="120" y="50"/>
                      <a:pt x="120" y="50"/>
                    </a:cubicBezTo>
                    <a:cubicBezTo>
                      <a:pt x="120" y="5"/>
                      <a:pt x="120" y="5"/>
                      <a:pt x="120" y="5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1"/>
                      <a:pt x="92" y="21"/>
                      <a:pt x="91" y="21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7" y="52"/>
                      <a:pt x="27" y="52"/>
                      <a:pt x="28" y="5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8" name="Freeform 656">
                <a:extLst>
                  <a:ext uri="{FF2B5EF4-FFF2-40B4-BE49-F238E27FC236}">
                    <a16:creationId xmlns:a16="http://schemas.microsoft.com/office/drawing/2014/main" id="{FBC7232E-82F6-46CD-9C8A-29D7F05878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5761223"/>
                <a:ext cx="62252" cy="95454"/>
              </a:xfrm>
              <a:custGeom>
                <a:avLst/>
                <a:gdLst>
                  <a:gd name="T0" fmla="*/ 23 w 25"/>
                  <a:gd name="T1" fmla="*/ 39 h 39"/>
                  <a:gd name="T2" fmla="*/ 22 w 25"/>
                  <a:gd name="T3" fmla="*/ 38 h 39"/>
                  <a:gd name="T4" fmla="*/ 1 w 25"/>
                  <a:gd name="T5" fmla="*/ 26 h 39"/>
                  <a:gd name="T6" fmla="*/ 0 w 25"/>
                  <a:gd name="T7" fmla="*/ 24 h 39"/>
                  <a:gd name="T8" fmla="*/ 0 w 25"/>
                  <a:gd name="T9" fmla="*/ 15 h 39"/>
                  <a:gd name="T10" fmla="*/ 1 w 25"/>
                  <a:gd name="T11" fmla="*/ 13 h 39"/>
                  <a:gd name="T12" fmla="*/ 22 w 25"/>
                  <a:gd name="T13" fmla="*/ 1 h 39"/>
                  <a:gd name="T14" fmla="*/ 24 w 25"/>
                  <a:gd name="T15" fmla="*/ 1 h 39"/>
                  <a:gd name="T16" fmla="*/ 25 w 25"/>
                  <a:gd name="T17" fmla="*/ 2 h 39"/>
                  <a:gd name="T18" fmla="*/ 25 w 25"/>
                  <a:gd name="T19" fmla="*/ 37 h 39"/>
                  <a:gd name="T20" fmla="*/ 24 w 25"/>
                  <a:gd name="T21" fmla="*/ 38 h 39"/>
                  <a:gd name="T22" fmla="*/ 23 w 25"/>
                  <a:gd name="T23" fmla="*/ 39 h 39"/>
                  <a:gd name="T24" fmla="*/ 4 w 25"/>
                  <a:gd name="T25" fmla="*/ 23 h 39"/>
                  <a:gd name="T26" fmla="*/ 21 w 25"/>
                  <a:gd name="T27" fmla="*/ 33 h 39"/>
                  <a:gd name="T28" fmla="*/ 21 w 25"/>
                  <a:gd name="T29" fmla="*/ 6 h 39"/>
                  <a:gd name="T30" fmla="*/ 4 w 25"/>
                  <a:gd name="T31" fmla="*/ 16 h 39"/>
                  <a:gd name="T32" fmla="*/ 4 w 25"/>
                  <a:gd name="T33" fmla="*/ 2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9">
                    <a:moveTo>
                      <a:pt x="23" y="39"/>
                    </a:moveTo>
                    <a:cubicBezTo>
                      <a:pt x="22" y="39"/>
                      <a:pt x="22" y="39"/>
                      <a:pt x="22" y="38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6"/>
                      <a:pt x="0" y="25"/>
                      <a:pt x="0" y="2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7"/>
                      <a:pt x="24" y="38"/>
                      <a:pt x="24" y="38"/>
                    </a:cubicBezTo>
                    <a:cubicBezTo>
                      <a:pt x="24" y="39"/>
                      <a:pt x="23" y="39"/>
                      <a:pt x="23" y="39"/>
                    </a:cubicBezTo>
                    <a:close/>
                    <a:moveTo>
                      <a:pt x="4" y="23"/>
                    </a:move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9" name="Freeform 657">
                <a:extLst>
                  <a:ext uri="{FF2B5EF4-FFF2-40B4-BE49-F238E27FC236}">
                    <a16:creationId xmlns:a16="http://schemas.microsoft.com/office/drawing/2014/main" id="{CF7414F1-9EA1-44D9-859F-E33AB3555F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53319" y="6450149"/>
                <a:ext cx="118280" cy="343426"/>
              </a:xfrm>
              <a:custGeom>
                <a:avLst/>
                <a:gdLst>
                  <a:gd name="T0" fmla="*/ 41 w 48"/>
                  <a:gd name="T1" fmla="*/ 140 h 140"/>
                  <a:gd name="T2" fmla="*/ 40 w 48"/>
                  <a:gd name="T3" fmla="*/ 140 h 140"/>
                  <a:gd name="T4" fmla="*/ 1 w 48"/>
                  <a:gd name="T5" fmla="*/ 117 h 140"/>
                  <a:gd name="T6" fmla="*/ 0 w 48"/>
                  <a:gd name="T7" fmla="*/ 115 h 140"/>
                  <a:gd name="T8" fmla="*/ 0 w 48"/>
                  <a:gd name="T9" fmla="*/ 23 h 140"/>
                  <a:gd name="T10" fmla="*/ 1 w 48"/>
                  <a:gd name="T11" fmla="*/ 21 h 140"/>
                  <a:gd name="T12" fmla="*/ 36 w 48"/>
                  <a:gd name="T13" fmla="*/ 1 h 140"/>
                  <a:gd name="T14" fmla="*/ 38 w 48"/>
                  <a:gd name="T15" fmla="*/ 1 h 140"/>
                  <a:gd name="T16" fmla="*/ 47 w 48"/>
                  <a:gd name="T17" fmla="*/ 6 h 140"/>
                  <a:gd name="T18" fmla="*/ 48 w 48"/>
                  <a:gd name="T19" fmla="*/ 8 h 140"/>
                  <a:gd name="T20" fmla="*/ 48 w 48"/>
                  <a:gd name="T21" fmla="*/ 135 h 140"/>
                  <a:gd name="T22" fmla="*/ 47 w 48"/>
                  <a:gd name="T23" fmla="*/ 137 h 140"/>
                  <a:gd name="T24" fmla="*/ 42 w 48"/>
                  <a:gd name="T25" fmla="*/ 140 h 140"/>
                  <a:gd name="T26" fmla="*/ 41 w 48"/>
                  <a:gd name="T27" fmla="*/ 140 h 140"/>
                  <a:gd name="T28" fmla="*/ 4 w 48"/>
                  <a:gd name="T29" fmla="*/ 114 h 140"/>
                  <a:gd name="T30" fmla="*/ 41 w 48"/>
                  <a:gd name="T31" fmla="*/ 136 h 140"/>
                  <a:gd name="T32" fmla="*/ 44 w 48"/>
                  <a:gd name="T33" fmla="*/ 134 h 140"/>
                  <a:gd name="T34" fmla="*/ 44 w 48"/>
                  <a:gd name="T35" fmla="*/ 9 h 140"/>
                  <a:gd name="T36" fmla="*/ 37 w 48"/>
                  <a:gd name="T37" fmla="*/ 5 h 140"/>
                  <a:gd name="T38" fmla="*/ 4 w 48"/>
                  <a:gd name="T39" fmla="*/ 24 h 140"/>
                  <a:gd name="T40" fmla="*/ 4 w 48"/>
                  <a:gd name="T41" fmla="*/ 114 h 140"/>
                  <a:gd name="T42" fmla="*/ 46 w 48"/>
                  <a:gd name="T43" fmla="*/ 135 h 140"/>
                  <a:gd name="T44" fmla="*/ 46 w 48"/>
                  <a:gd name="T45" fmla="*/ 135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" h="140">
                    <a:moveTo>
                      <a:pt x="41" y="140"/>
                    </a:moveTo>
                    <a:cubicBezTo>
                      <a:pt x="41" y="140"/>
                      <a:pt x="41" y="140"/>
                      <a:pt x="40" y="140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0" y="117"/>
                      <a:pt x="0" y="116"/>
                      <a:pt x="0" y="11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2"/>
                      <a:pt x="0" y="21"/>
                      <a:pt x="1" y="2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7" y="0"/>
                      <a:pt x="38" y="0"/>
                      <a:pt x="38" y="1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8" y="6"/>
                      <a:pt x="48" y="7"/>
                      <a:pt x="48" y="8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7"/>
                      <a:pt x="47" y="137"/>
                    </a:cubicBezTo>
                    <a:cubicBezTo>
                      <a:pt x="42" y="140"/>
                      <a:pt x="42" y="140"/>
                      <a:pt x="42" y="140"/>
                    </a:cubicBezTo>
                    <a:cubicBezTo>
                      <a:pt x="42" y="140"/>
                      <a:pt x="42" y="140"/>
                      <a:pt x="41" y="140"/>
                    </a:cubicBezTo>
                    <a:close/>
                    <a:moveTo>
                      <a:pt x="4" y="114"/>
                    </a:moveTo>
                    <a:cubicBezTo>
                      <a:pt x="41" y="136"/>
                      <a:pt x="41" y="136"/>
                      <a:pt x="41" y="136"/>
                    </a:cubicBezTo>
                    <a:cubicBezTo>
                      <a:pt x="44" y="134"/>
                      <a:pt x="44" y="134"/>
                      <a:pt x="44" y="134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4" y="24"/>
                      <a:pt x="4" y="24"/>
                      <a:pt x="4" y="24"/>
                    </a:cubicBezTo>
                    <a:lnTo>
                      <a:pt x="4" y="114"/>
                    </a:lnTo>
                    <a:close/>
                    <a:moveTo>
                      <a:pt x="46" y="135"/>
                    </a:moveTo>
                    <a:cubicBezTo>
                      <a:pt x="46" y="135"/>
                      <a:pt x="46" y="135"/>
                      <a:pt x="46" y="13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0" name="Freeform 658">
                <a:extLst>
                  <a:ext uri="{FF2B5EF4-FFF2-40B4-BE49-F238E27FC236}">
                    <a16:creationId xmlns:a16="http://schemas.microsoft.com/office/drawing/2014/main" id="{C8106C37-F40A-462C-91B0-E08326550B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756582" y="5923079"/>
                <a:ext cx="84041" cy="267685"/>
              </a:xfrm>
              <a:custGeom>
                <a:avLst/>
                <a:gdLst>
                  <a:gd name="T0" fmla="*/ 32 w 34"/>
                  <a:gd name="T1" fmla="*/ 109 h 109"/>
                  <a:gd name="T2" fmla="*/ 31 w 34"/>
                  <a:gd name="T3" fmla="*/ 109 h 109"/>
                  <a:gd name="T4" fmla="*/ 1 w 34"/>
                  <a:gd name="T5" fmla="*/ 91 h 109"/>
                  <a:gd name="T6" fmla="*/ 0 w 34"/>
                  <a:gd name="T7" fmla="*/ 90 h 109"/>
                  <a:gd name="T8" fmla="*/ 0 w 34"/>
                  <a:gd name="T9" fmla="*/ 20 h 109"/>
                  <a:gd name="T10" fmla="*/ 1 w 34"/>
                  <a:gd name="T11" fmla="*/ 18 h 109"/>
                  <a:gd name="T12" fmla="*/ 31 w 34"/>
                  <a:gd name="T13" fmla="*/ 1 h 109"/>
                  <a:gd name="T14" fmla="*/ 33 w 34"/>
                  <a:gd name="T15" fmla="*/ 1 h 109"/>
                  <a:gd name="T16" fmla="*/ 34 w 34"/>
                  <a:gd name="T17" fmla="*/ 2 h 109"/>
                  <a:gd name="T18" fmla="*/ 34 w 34"/>
                  <a:gd name="T19" fmla="*/ 107 h 109"/>
                  <a:gd name="T20" fmla="*/ 33 w 34"/>
                  <a:gd name="T21" fmla="*/ 109 h 109"/>
                  <a:gd name="T22" fmla="*/ 32 w 34"/>
                  <a:gd name="T23" fmla="*/ 109 h 109"/>
                  <a:gd name="T24" fmla="*/ 4 w 34"/>
                  <a:gd name="T25" fmla="*/ 89 h 109"/>
                  <a:gd name="T26" fmla="*/ 30 w 34"/>
                  <a:gd name="T27" fmla="*/ 104 h 109"/>
                  <a:gd name="T28" fmla="*/ 30 w 34"/>
                  <a:gd name="T29" fmla="*/ 6 h 109"/>
                  <a:gd name="T30" fmla="*/ 4 w 34"/>
                  <a:gd name="T31" fmla="*/ 21 h 109"/>
                  <a:gd name="T32" fmla="*/ 4 w 34"/>
                  <a:gd name="T33" fmla="*/ 8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109">
                    <a:moveTo>
                      <a:pt x="32" y="109"/>
                    </a:moveTo>
                    <a:cubicBezTo>
                      <a:pt x="32" y="109"/>
                      <a:pt x="32" y="109"/>
                      <a:pt x="31" y="109"/>
                    </a:cubicBezTo>
                    <a:cubicBezTo>
                      <a:pt x="1" y="91"/>
                      <a:pt x="1" y="91"/>
                      <a:pt x="1" y="91"/>
                    </a:cubicBezTo>
                    <a:cubicBezTo>
                      <a:pt x="0" y="91"/>
                      <a:pt x="0" y="90"/>
                      <a:pt x="0" y="9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9"/>
                      <a:pt x="1" y="18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0"/>
                      <a:pt x="33" y="0"/>
                      <a:pt x="33" y="1"/>
                    </a:cubicBezTo>
                    <a:cubicBezTo>
                      <a:pt x="34" y="1"/>
                      <a:pt x="34" y="2"/>
                      <a:pt x="34" y="2"/>
                    </a:cubicBezTo>
                    <a:cubicBezTo>
                      <a:pt x="34" y="107"/>
                      <a:pt x="34" y="107"/>
                      <a:pt x="34" y="107"/>
                    </a:cubicBezTo>
                    <a:cubicBezTo>
                      <a:pt x="34" y="108"/>
                      <a:pt x="34" y="109"/>
                      <a:pt x="33" y="109"/>
                    </a:cubicBezTo>
                    <a:cubicBezTo>
                      <a:pt x="33" y="109"/>
                      <a:pt x="33" y="109"/>
                      <a:pt x="32" y="109"/>
                    </a:cubicBezTo>
                    <a:close/>
                    <a:moveTo>
                      <a:pt x="4" y="89"/>
                    </a:move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4" y="21"/>
                      <a:pt x="4" y="21"/>
                      <a:pt x="4" y="21"/>
                    </a:cubicBezTo>
                    <a:lnTo>
                      <a:pt x="4" y="8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1" name="Freeform 659">
                <a:extLst>
                  <a:ext uri="{FF2B5EF4-FFF2-40B4-BE49-F238E27FC236}">
                    <a16:creationId xmlns:a16="http://schemas.microsoft.com/office/drawing/2014/main" id="{B31C6CCA-B28A-4FBA-8207-4192E2B59D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6178314"/>
                <a:ext cx="76778" cy="85078"/>
              </a:xfrm>
              <a:custGeom>
                <a:avLst/>
                <a:gdLst>
                  <a:gd name="T0" fmla="*/ 29 w 31"/>
                  <a:gd name="T1" fmla="*/ 35 h 35"/>
                  <a:gd name="T2" fmla="*/ 28 w 31"/>
                  <a:gd name="T3" fmla="*/ 35 h 35"/>
                  <a:gd name="T4" fmla="*/ 1 w 31"/>
                  <a:gd name="T5" fmla="*/ 20 h 35"/>
                  <a:gd name="T6" fmla="*/ 0 w 31"/>
                  <a:gd name="T7" fmla="*/ 18 h 35"/>
                  <a:gd name="T8" fmla="*/ 0 w 31"/>
                  <a:gd name="T9" fmla="*/ 2 h 35"/>
                  <a:gd name="T10" fmla="*/ 1 w 31"/>
                  <a:gd name="T11" fmla="*/ 0 h 35"/>
                  <a:gd name="T12" fmla="*/ 3 w 31"/>
                  <a:gd name="T13" fmla="*/ 0 h 35"/>
                  <a:gd name="T14" fmla="*/ 30 w 31"/>
                  <a:gd name="T15" fmla="*/ 16 h 35"/>
                  <a:gd name="T16" fmla="*/ 31 w 31"/>
                  <a:gd name="T17" fmla="*/ 17 h 35"/>
                  <a:gd name="T18" fmla="*/ 31 w 31"/>
                  <a:gd name="T19" fmla="*/ 33 h 35"/>
                  <a:gd name="T20" fmla="*/ 30 w 31"/>
                  <a:gd name="T21" fmla="*/ 35 h 35"/>
                  <a:gd name="T22" fmla="*/ 29 w 31"/>
                  <a:gd name="T23" fmla="*/ 35 h 35"/>
                  <a:gd name="T24" fmla="*/ 4 w 31"/>
                  <a:gd name="T25" fmla="*/ 17 h 35"/>
                  <a:gd name="T26" fmla="*/ 27 w 31"/>
                  <a:gd name="T27" fmla="*/ 30 h 35"/>
                  <a:gd name="T28" fmla="*/ 27 w 31"/>
                  <a:gd name="T29" fmla="*/ 19 h 35"/>
                  <a:gd name="T30" fmla="*/ 4 w 31"/>
                  <a:gd name="T31" fmla="*/ 5 h 35"/>
                  <a:gd name="T32" fmla="*/ 4 w 31"/>
                  <a:gd name="T3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35">
                    <a:moveTo>
                      <a:pt x="29" y="35"/>
                    </a:moveTo>
                    <a:cubicBezTo>
                      <a:pt x="28" y="35"/>
                      <a:pt x="28" y="35"/>
                      <a:pt x="28" y="35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1" y="17"/>
                      <a:pt x="31" y="17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1" y="34"/>
                      <a:pt x="30" y="35"/>
                      <a:pt x="30" y="35"/>
                    </a:cubicBezTo>
                    <a:cubicBezTo>
                      <a:pt x="30" y="35"/>
                      <a:pt x="29" y="35"/>
                      <a:pt x="29" y="35"/>
                    </a:cubicBezTo>
                    <a:close/>
                    <a:moveTo>
                      <a:pt x="4" y="17"/>
                    </a:move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2" name="Freeform 660">
                <a:extLst>
                  <a:ext uri="{FF2B5EF4-FFF2-40B4-BE49-F238E27FC236}">
                    <a16:creationId xmlns:a16="http://schemas.microsoft.com/office/drawing/2014/main" id="{6F9051DA-F10E-4D1C-8118-ED298F196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6082860"/>
                <a:ext cx="304000" cy="320600"/>
              </a:xfrm>
              <a:custGeom>
                <a:avLst/>
                <a:gdLst>
                  <a:gd name="T0" fmla="*/ 29 w 124"/>
                  <a:gd name="T1" fmla="*/ 131 h 131"/>
                  <a:gd name="T2" fmla="*/ 28 w 124"/>
                  <a:gd name="T3" fmla="*/ 131 h 131"/>
                  <a:gd name="T4" fmla="*/ 1 w 124"/>
                  <a:gd name="T5" fmla="*/ 115 h 131"/>
                  <a:gd name="T6" fmla="*/ 0 w 124"/>
                  <a:gd name="T7" fmla="*/ 113 h 131"/>
                  <a:gd name="T8" fmla="*/ 0 w 124"/>
                  <a:gd name="T9" fmla="*/ 17 h 131"/>
                  <a:gd name="T10" fmla="*/ 1 w 124"/>
                  <a:gd name="T11" fmla="*/ 15 h 131"/>
                  <a:gd name="T12" fmla="*/ 27 w 124"/>
                  <a:gd name="T13" fmla="*/ 0 h 131"/>
                  <a:gd name="T14" fmla="*/ 29 w 124"/>
                  <a:gd name="T15" fmla="*/ 0 h 131"/>
                  <a:gd name="T16" fmla="*/ 95 w 124"/>
                  <a:gd name="T17" fmla="*/ 38 h 131"/>
                  <a:gd name="T18" fmla="*/ 96 w 124"/>
                  <a:gd name="T19" fmla="*/ 40 h 131"/>
                  <a:gd name="T20" fmla="*/ 96 w 124"/>
                  <a:gd name="T21" fmla="*/ 57 h 131"/>
                  <a:gd name="T22" fmla="*/ 123 w 124"/>
                  <a:gd name="T23" fmla="*/ 73 h 131"/>
                  <a:gd name="T24" fmla="*/ 124 w 124"/>
                  <a:gd name="T25" fmla="*/ 74 h 131"/>
                  <a:gd name="T26" fmla="*/ 124 w 124"/>
                  <a:gd name="T27" fmla="*/ 75 h 131"/>
                  <a:gd name="T28" fmla="*/ 123 w 124"/>
                  <a:gd name="T29" fmla="*/ 77 h 131"/>
                  <a:gd name="T30" fmla="*/ 30 w 124"/>
                  <a:gd name="T31" fmla="*/ 131 h 131"/>
                  <a:gd name="T32" fmla="*/ 29 w 124"/>
                  <a:gd name="T33" fmla="*/ 131 h 131"/>
                  <a:gd name="T34" fmla="*/ 4 w 124"/>
                  <a:gd name="T35" fmla="*/ 112 h 131"/>
                  <a:gd name="T36" fmla="*/ 29 w 124"/>
                  <a:gd name="T37" fmla="*/ 127 h 131"/>
                  <a:gd name="T38" fmla="*/ 119 w 124"/>
                  <a:gd name="T39" fmla="*/ 75 h 131"/>
                  <a:gd name="T40" fmla="*/ 93 w 124"/>
                  <a:gd name="T41" fmla="*/ 60 h 131"/>
                  <a:gd name="T42" fmla="*/ 92 w 124"/>
                  <a:gd name="T43" fmla="*/ 58 h 131"/>
                  <a:gd name="T44" fmla="*/ 92 w 124"/>
                  <a:gd name="T45" fmla="*/ 41 h 131"/>
                  <a:gd name="T46" fmla="*/ 28 w 124"/>
                  <a:gd name="T47" fmla="*/ 4 h 131"/>
                  <a:gd name="T48" fmla="*/ 4 w 124"/>
                  <a:gd name="T49" fmla="*/ 18 h 131"/>
                  <a:gd name="T50" fmla="*/ 4 w 124"/>
                  <a:gd name="T51" fmla="*/ 11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4" h="131">
                    <a:moveTo>
                      <a:pt x="29" y="131"/>
                    </a:moveTo>
                    <a:cubicBezTo>
                      <a:pt x="29" y="131"/>
                      <a:pt x="29" y="131"/>
                      <a:pt x="28" y="131"/>
                    </a:cubicBezTo>
                    <a:cubicBezTo>
                      <a:pt x="1" y="115"/>
                      <a:pt x="1" y="115"/>
                      <a:pt x="1" y="115"/>
                    </a:cubicBezTo>
                    <a:cubicBezTo>
                      <a:pt x="1" y="114"/>
                      <a:pt x="0" y="114"/>
                      <a:pt x="0" y="1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8" y="0"/>
                      <a:pt x="29" y="0"/>
                    </a:cubicBezTo>
                    <a:cubicBezTo>
                      <a:pt x="95" y="38"/>
                      <a:pt x="95" y="38"/>
                      <a:pt x="95" y="38"/>
                    </a:cubicBezTo>
                    <a:cubicBezTo>
                      <a:pt x="95" y="39"/>
                      <a:pt x="96" y="39"/>
                      <a:pt x="96" y="40"/>
                    </a:cubicBezTo>
                    <a:cubicBezTo>
                      <a:pt x="96" y="57"/>
                      <a:pt x="96" y="57"/>
                      <a:pt x="96" y="57"/>
                    </a:cubicBezTo>
                    <a:cubicBezTo>
                      <a:pt x="123" y="73"/>
                      <a:pt x="123" y="73"/>
                      <a:pt x="123" y="73"/>
                    </a:cubicBezTo>
                    <a:cubicBezTo>
                      <a:pt x="123" y="73"/>
                      <a:pt x="124" y="74"/>
                      <a:pt x="124" y="74"/>
                    </a:cubicBezTo>
                    <a:cubicBezTo>
                      <a:pt x="124" y="75"/>
                      <a:pt x="124" y="75"/>
                      <a:pt x="124" y="75"/>
                    </a:cubicBezTo>
                    <a:cubicBezTo>
                      <a:pt x="124" y="76"/>
                      <a:pt x="123" y="77"/>
                      <a:pt x="123" y="77"/>
                    </a:cubicBezTo>
                    <a:cubicBezTo>
                      <a:pt x="30" y="131"/>
                      <a:pt x="30" y="131"/>
                      <a:pt x="30" y="131"/>
                    </a:cubicBezTo>
                    <a:cubicBezTo>
                      <a:pt x="30" y="131"/>
                      <a:pt x="30" y="131"/>
                      <a:pt x="29" y="131"/>
                    </a:cubicBezTo>
                    <a:close/>
                    <a:moveTo>
                      <a:pt x="4" y="112"/>
                    </a:moveTo>
                    <a:cubicBezTo>
                      <a:pt x="29" y="127"/>
                      <a:pt x="29" y="127"/>
                      <a:pt x="29" y="127"/>
                    </a:cubicBezTo>
                    <a:cubicBezTo>
                      <a:pt x="119" y="75"/>
                      <a:pt x="119" y="75"/>
                      <a:pt x="119" y="75"/>
                    </a:cubicBezTo>
                    <a:cubicBezTo>
                      <a:pt x="93" y="60"/>
                      <a:pt x="93" y="60"/>
                      <a:pt x="93" y="60"/>
                    </a:cubicBezTo>
                    <a:cubicBezTo>
                      <a:pt x="92" y="59"/>
                      <a:pt x="92" y="59"/>
                      <a:pt x="92" y="58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11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3" name="Freeform 661">
                <a:extLst>
                  <a:ext uri="{FF2B5EF4-FFF2-40B4-BE49-F238E27FC236}">
                    <a16:creationId xmlns:a16="http://schemas.microsoft.com/office/drawing/2014/main" id="{266F00F3-D189-4020-B3B2-A4342AD3C2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511722" y="5783011"/>
                <a:ext cx="328901" cy="461705"/>
              </a:xfrm>
              <a:custGeom>
                <a:avLst/>
                <a:gdLst>
                  <a:gd name="T0" fmla="*/ 70 w 134"/>
                  <a:gd name="T1" fmla="*/ 188 h 188"/>
                  <a:gd name="T2" fmla="*/ 69 w 134"/>
                  <a:gd name="T3" fmla="*/ 188 h 188"/>
                  <a:gd name="T4" fmla="*/ 33 w 134"/>
                  <a:gd name="T5" fmla="*/ 167 h 188"/>
                  <a:gd name="T6" fmla="*/ 32 w 134"/>
                  <a:gd name="T7" fmla="*/ 165 h 188"/>
                  <a:gd name="T8" fmla="*/ 32 w 134"/>
                  <a:gd name="T9" fmla="*/ 60 h 188"/>
                  <a:gd name="T10" fmla="*/ 3 w 134"/>
                  <a:gd name="T11" fmla="*/ 77 h 188"/>
                  <a:gd name="T12" fmla="*/ 1 w 134"/>
                  <a:gd name="T13" fmla="*/ 77 h 188"/>
                  <a:gd name="T14" fmla="*/ 0 w 134"/>
                  <a:gd name="T15" fmla="*/ 75 h 188"/>
                  <a:gd name="T16" fmla="*/ 0 w 134"/>
                  <a:gd name="T17" fmla="*/ 2 h 188"/>
                  <a:gd name="T18" fmla="*/ 1 w 134"/>
                  <a:gd name="T19" fmla="*/ 0 h 188"/>
                  <a:gd name="T20" fmla="*/ 3 w 134"/>
                  <a:gd name="T21" fmla="*/ 0 h 188"/>
                  <a:gd name="T22" fmla="*/ 123 w 134"/>
                  <a:gd name="T23" fmla="*/ 69 h 188"/>
                  <a:gd name="T24" fmla="*/ 127 w 134"/>
                  <a:gd name="T25" fmla="*/ 67 h 188"/>
                  <a:gd name="T26" fmla="*/ 129 w 134"/>
                  <a:gd name="T27" fmla="*/ 67 h 188"/>
                  <a:gd name="T28" fmla="*/ 133 w 134"/>
                  <a:gd name="T29" fmla="*/ 70 h 188"/>
                  <a:gd name="T30" fmla="*/ 134 w 134"/>
                  <a:gd name="T31" fmla="*/ 71 h 188"/>
                  <a:gd name="T32" fmla="*/ 134 w 134"/>
                  <a:gd name="T33" fmla="*/ 150 h 188"/>
                  <a:gd name="T34" fmla="*/ 133 w 134"/>
                  <a:gd name="T35" fmla="*/ 152 h 188"/>
                  <a:gd name="T36" fmla="*/ 71 w 134"/>
                  <a:gd name="T37" fmla="*/ 188 h 188"/>
                  <a:gd name="T38" fmla="*/ 70 w 134"/>
                  <a:gd name="T39" fmla="*/ 188 h 188"/>
                  <a:gd name="T40" fmla="*/ 36 w 134"/>
                  <a:gd name="T41" fmla="*/ 164 h 188"/>
                  <a:gd name="T42" fmla="*/ 70 w 134"/>
                  <a:gd name="T43" fmla="*/ 184 h 188"/>
                  <a:gd name="T44" fmla="*/ 130 w 134"/>
                  <a:gd name="T45" fmla="*/ 149 h 188"/>
                  <a:gd name="T46" fmla="*/ 130 w 134"/>
                  <a:gd name="T47" fmla="*/ 73 h 188"/>
                  <a:gd name="T48" fmla="*/ 128 w 134"/>
                  <a:gd name="T49" fmla="*/ 71 h 188"/>
                  <a:gd name="T50" fmla="*/ 124 w 134"/>
                  <a:gd name="T51" fmla="*/ 74 h 188"/>
                  <a:gd name="T52" fmla="*/ 122 w 134"/>
                  <a:gd name="T53" fmla="*/ 74 h 188"/>
                  <a:gd name="T54" fmla="*/ 4 w 134"/>
                  <a:gd name="T55" fmla="*/ 5 h 188"/>
                  <a:gd name="T56" fmla="*/ 4 w 134"/>
                  <a:gd name="T57" fmla="*/ 72 h 188"/>
                  <a:gd name="T58" fmla="*/ 33 w 134"/>
                  <a:gd name="T59" fmla="*/ 55 h 188"/>
                  <a:gd name="T60" fmla="*/ 35 w 134"/>
                  <a:gd name="T61" fmla="*/ 55 h 188"/>
                  <a:gd name="T62" fmla="*/ 36 w 134"/>
                  <a:gd name="T63" fmla="*/ 57 h 188"/>
                  <a:gd name="T64" fmla="*/ 36 w 134"/>
                  <a:gd name="T65" fmla="*/ 16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188">
                    <a:moveTo>
                      <a:pt x="70" y="188"/>
                    </a:moveTo>
                    <a:cubicBezTo>
                      <a:pt x="70" y="188"/>
                      <a:pt x="69" y="188"/>
                      <a:pt x="69" y="188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32" y="167"/>
                      <a:pt x="32" y="166"/>
                      <a:pt x="32" y="165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2" y="77"/>
                      <a:pt x="2" y="77"/>
                      <a:pt x="1" y="77"/>
                    </a:cubicBezTo>
                    <a:cubicBezTo>
                      <a:pt x="0" y="76"/>
                      <a:pt x="0" y="76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3" y="69"/>
                      <a:pt x="123" y="69"/>
                      <a:pt x="123" y="69"/>
                    </a:cubicBezTo>
                    <a:cubicBezTo>
                      <a:pt x="127" y="67"/>
                      <a:pt x="127" y="67"/>
                      <a:pt x="127" y="67"/>
                    </a:cubicBezTo>
                    <a:cubicBezTo>
                      <a:pt x="128" y="67"/>
                      <a:pt x="129" y="67"/>
                      <a:pt x="129" y="67"/>
                    </a:cubicBezTo>
                    <a:cubicBezTo>
                      <a:pt x="133" y="70"/>
                      <a:pt x="133" y="70"/>
                      <a:pt x="133" y="70"/>
                    </a:cubicBezTo>
                    <a:cubicBezTo>
                      <a:pt x="134" y="70"/>
                      <a:pt x="134" y="71"/>
                      <a:pt x="134" y="71"/>
                    </a:cubicBezTo>
                    <a:cubicBezTo>
                      <a:pt x="134" y="150"/>
                      <a:pt x="134" y="150"/>
                      <a:pt x="134" y="150"/>
                    </a:cubicBezTo>
                    <a:cubicBezTo>
                      <a:pt x="134" y="151"/>
                      <a:pt x="134" y="151"/>
                      <a:pt x="133" y="152"/>
                    </a:cubicBezTo>
                    <a:cubicBezTo>
                      <a:pt x="71" y="188"/>
                      <a:pt x="71" y="188"/>
                      <a:pt x="71" y="188"/>
                    </a:cubicBezTo>
                    <a:cubicBezTo>
                      <a:pt x="71" y="188"/>
                      <a:pt x="70" y="188"/>
                      <a:pt x="70" y="188"/>
                    </a:cubicBezTo>
                    <a:close/>
                    <a:moveTo>
                      <a:pt x="36" y="164"/>
                    </a:moveTo>
                    <a:cubicBezTo>
                      <a:pt x="70" y="184"/>
                      <a:pt x="70" y="184"/>
                      <a:pt x="70" y="184"/>
                    </a:cubicBezTo>
                    <a:cubicBezTo>
                      <a:pt x="130" y="149"/>
                      <a:pt x="130" y="149"/>
                      <a:pt x="130" y="149"/>
                    </a:cubicBezTo>
                    <a:cubicBezTo>
                      <a:pt x="130" y="73"/>
                      <a:pt x="130" y="73"/>
                      <a:pt x="130" y="73"/>
                    </a:cubicBezTo>
                    <a:cubicBezTo>
                      <a:pt x="128" y="71"/>
                      <a:pt x="128" y="71"/>
                      <a:pt x="128" y="71"/>
                    </a:cubicBezTo>
                    <a:cubicBezTo>
                      <a:pt x="124" y="74"/>
                      <a:pt x="124" y="74"/>
                      <a:pt x="124" y="74"/>
                    </a:cubicBezTo>
                    <a:cubicBezTo>
                      <a:pt x="124" y="74"/>
                      <a:pt x="123" y="74"/>
                      <a:pt x="122" y="7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4" y="54"/>
                      <a:pt x="34" y="54"/>
                      <a:pt x="35" y="55"/>
                    </a:cubicBezTo>
                    <a:cubicBezTo>
                      <a:pt x="36" y="55"/>
                      <a:pt x="36" y="56"/>
                      <a:pt x="36" y="57"/>
                    </a:cubicBezTo>
                    <a:lnTo>
                      <a:pt x="36" y="1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4" name="Freeform 662">
                <a:extLst>
                  <a:ext uri="{FF2B5EF4-FFF2-40B4-BE49-F238E27FC236}">
                    <a16:creationId xmlns:a16="http://schemas.microsoft.com/office/drawing/2014/main" id="{0F225A23-084E-4A5D-AF89-DB0C452F1DE1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524172" y="5768486"/>
                <a:ext cx="316450" cy="190907"/>
              </a:xfrm>
              <a:custGeom>
                <a:avLst/>
                <a:gdLst>
                  <a:gd name="T0" fmla="*/ 123 w 129"/>
                  <a:gd name="T1" fmla="*/ 78 h 78"/>
                  <a:gd name="T2" fmla="*/ 122 w 129"/>
                  <a:gd name="T3" fmla="*/ 78 h 78"/>
                  <a:gd name="T4" fmla="*/ 1 w 129"/>
                  <a:gd name="T5" fmla="*/ 7 h 78"/>
                  <a:gd name="T6" fmla="*/ 0 w 129"/>
                  <a:gd name="T7" fmla="*/ 6 h 78"/>
                  <a:gd name="T8" fmla="*/ 0 w 129"/>
                  <a:gd name="T9" fmla="*/ 2 h 78"/>
                  <a:gd name="T10" fmla="*/ 1 w 129"/>
                  <a:gd name="T11" fmla="*/ 0 h 78"/>
                  <a:gd name="T12" fmla="*/ 3 w 129"/>
                  <a:gd name="T13" fmla="*/ 0 h 78"/>
                  <a:gd name="T14" fmla="*/ 128 w 129"/>
                  <a:gd name="T15" fmla="*/ 72 h 78"/>
                  <a:gd name="T16" fmla="*/ 129 w 129"/>
                  <a:gd name="T17" fmla="*/ 74 h 78"/>
                  <a:gd name="T18" fmla="*/ 128 w 129"/>
                  <a:gd name="T19" fmla="*/ 76 h 78"/>
                  <a:gd name="T20" fmla="*/ 124 w 129"/>
                  <a:gd name="T21" fmla="*/ 78 h 78"/>
                  <a:gd name="T22" fmla="*/ 123 w 129"/>
                  <a:gd name="T2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78">
                    <a:moveTo>
                      <a:pt x="123" y="78"/>
                    </a:moveTo>
                    <a:cubicBezTo>
                      <a:pt x="123" y="78"/>
                      <a:pt x="123" y="78"/>
                      <a:pt x="122" y="7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2"/>
                      <a:pt x="128" y="72"/>
                      <a:pt x="128" y="72"/>
                    </a:cubicBezTo>
                    <a:cubicBezTo>
                      <a:pt x="128" y="73"/>
                      <a:pt x="129" y="73"/>
                      <a:pt x="129" y="74"/>
                    </a:cubicBezTo>
                    <a:cubicBezTo>
                      <a:pt x="129" y="75"/>
                      <a:pt x="128" y="76"/>
                      <a:pt x="128" y="76"/>
                    </a:cubicBezTo>
                    <a:cubicBezTo>
                      <a:pt x="124" y="78"/>
                      <a:pt x="124" y="78"/>
                      <a:pt x="124" y="78"/>
                    </a:cubicBezTo>
                    <a:cubicBezTo>
                      <a:pt x="124" y="78"/>
                      <a:pt x="124" y="78"/>
                      <a:pt x="123" y="7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5" name="Freeform 663">
                <a:extLst>
                  <a:ext uri="{FF2B5EF4-FFF2-40B4-BE49-F238E27FC236}">
                    <a16:creationId xmlns:a16="http://schemas.microsoft.com/office/drawing/2014/main" id="{0A267BDC-718D-4B66-8C28-706358219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59599" y="5829701"/>
                <a:ext cx="266648" cy="323712"/>
              </a:xfrm>
              <a:custGeom>
                <a:avLst/>
                <a:gdLst>
                  <a:gd name="T0" fmla="*/ 6 w 109"/>
                  <a:gd name="T1" fmla="*/ 132 h 132"/>
                  <a:gd name="T2" fmla="*/ 5 w 109"/>
                  <a:gd name="T3" fmla="*/ 132 h 132"/>
                  <a:gd name="T4" fmla="*/ 4 w 109"/>
                  <a:gd name="T5" fmla="*/ 130 h 132"/>
                  <a:gd name="T6" fmla="*/ 4 w 109"/>
                  <a:gd name="T7" fmla="*/ 53 h 132"/>
                  <a:gd name="T8" fmla="*/ 1 w 109"/>
                  <a:gd name="T9" fmla="*/ 51 h 132"/>
                  <a:gd name="T10" fmla="*/ 0 w 109"/>
                  <a:gd name="T11" fmla="*/ 49 h 132"/>
                  <a:gd name="T12" fmla="*/ 1 w 109"/>
                  <a:gd name="T13" fmla="*/ 47 h 132"/>
                  <a:gd name="T14" fmla="*/ 82 w 109"/>
                  <a:gd name="T15" fmla="*/ 1 h 132"/>
                  <a:gd name="T16" fmla="*/ 84 w 109"/>
                  <a:gd name="T17" fmla="*/ 1 h 132"/>
                  <a:gd name="T18" fmla="*/ 91 w 109"/>
                  <a:gd name="T19" fmla="*/ 5 h 132"/>
                  <a:gd name="T20" fmla="*/ 92 w 109"/>
                  <a:gd name="T21" fmla="*/ 7 h 132"/>
                  <a:gd name="T22" fmla="*/ 91 w 109"/>
                  <a:gd name="T23" fmla="*/ 9 h 132"/>
                  <a:gd name="T24" fmla="*/ 55 w 109"/>
                  <a:gd name="T25" fmla="*/ 30 h 132"/>
                  <a:gd name="T26" fmla="*/ 108 w 109"/>
                  <a:gd name="T27" fmla="*/ 60 h 132"/>
                  <a:gd name="T28" fmla="*/ 109 w 109"/>
                  <a:gd name="T29" fmla="*/ 62 h 132"/>
                  <a:gd name="T30" fmla="*/ 108 w 109"/>
                  <a:gd name="T31" fmla="*/ 63 h 132"/>
                  <a:gd name="T32" fmla="*/ 28 w 109"/>
                  <a:gd name="T33" fmla="*/ 110 h 132"/>
                  <a:gd name="T34" fmla="*/ 28 w 109"/>
                  <a:gd name="T35" fmla="*/ 119 h 132"/>
                  <a:gd name="T36" fmla="*/ 27 w 109"/>
                  <a:gd name="T37" fmla="*/ 120 h 132"/>
                  <a:gd name="T38" fmla="*/ 7 w 109"/>
                  <a:gd name="T39" fmla="*/ 132 h 132"/>
                  <a:gd name="T40" fmla="*/ 6 w 109"/>
                  <a:gd name="T41" fmla="*/ 132 h 132"/>
                  <a:gd name="T42" fmla="*/ 6 w 109"/>
                  <a:gd name="T43" fmla="*/ 49 h 132"/>
                  <a:gd name="T44" fmla="*/ 7 w 109"/>
                  <a:gd name="T45" fmla="*/ 50 h 132"/>
                  <a:gd name="T46" fmla="*/ 8 w 109"/>
                  <a:gd name="T47" fmla="*/ 51 h 132"/>
                  <a:gd name="T48" fmla="*/ 8 w 109"/>
                  <a:gd name="T49" fmla="*/ 127 h 132"/>
                  <a:gd name="T50" fmla="*/ 24 w 109"/>
                  <a:gd name="T51" fmla="*/ 118 h 132"/>
                  <a:gd name="T52" fmla="*/ 24 w 109"/>
                  <a:gd name="T53" fmla="*/ 108 h 132"/>
                  <a:gd name="T54" fmla="*/ 25 w 109"/>
                  <a:gd name="T55" fmla="*/ 107 h 132"/>
                  <a:gd name="T56" fmla="*/ 103 w 109"/>
                  <a:gd name="T57" fmla="*/ 62 h 132"/>
                  <a:gd name="T58" fmla="*/ 50 w 109"/>
                  <a:gd name="T59" fmla="*/ 31 h 132"/>
                  <a:gd name="T60" fmla="*/ 49 w 109"/>
                  <a:gd name="T61" fmla="*/ 30 h 132"/>
                  <a:gd name="T62" fmla="*/ 50 w 109"/>
                  <a:gd name="T63" fmla="*/ 28 h 132"/>
                  <a:gd name="T64" fmla="*/ 86 w 109"/>
                  <a:gd name="T65" fmla="*/ 7 h 132"/>
                  <a:gd name="T66" fmla="*/ 83 w 109"/>
                  <a:gd name="T67" fmla="*/ 5 h 132"/>
                  <a:gd name="T68" fmla="*/ 6 w 109"/>
                  <a:gd name="T69" fmla="*/ 49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" h="132">
                    <a:moveTo>
                      <a:pt x="6" y="132"/>
                    </a:moveTo>
                    <a:cubicBezTo>
                      <a:pt x="6" y="132"/>
                      <a:pt x="5" y="132"/>
                      <a:pt x="5" y="132"/>
                    </a:cubicBezTo>
                    <a:cubicBezTo>
                      <a:pt x="4" y="131"/>
                      <a:pt x="4" y="131"/>
                      <a:pt x="4" y="130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0"/>
                      <a:pt x="0" y="49"/>
                    </a:cubicBezTo>
                    <a:cubicBezTo>
                      <a:pt x="0" y="48"/>
                      <a:pt x="0" y="48"/>
                      <a:pt x="1" y="47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3" y="0"/>
                      <a:pt x="84" y="1"/>
                    </a:cubicBezTo>
                    <a:cubicBezTo>
                      <a:pt x="91" y="5"/>
                      <a:pt x="91" y="5"/>
                      <a:pt x="91" y="5"/>
                    </a:cubicBezTo>
                    <a:cubicBezTo>
                      <a:pt x="92" y="6"/>
                      <a:pt x="92" y="6"/>
                      <a:pt x="92" y="7"/>
                    </a:cubicBezTo>
                    <a:cubicBezTo>
                      <a:pt x="92" y="8"/>
                      <a:pt x="92" y="8"/>
                      <a:pt x="91" y="9"/>
                    </a:cubicBezTo>
                    <a:cubicBezTo>
                      <a:pt x="55" y="30"/>
                      <a:pt x="55" y="30"/>
                      <a:pt x="55" y="30"/>
                    </a:cubicBezTo>
                    <a:cubicBezTo>
                      <a:pt x="108" y="60"/>
                      <a:pt x="108" y="60"/>
                      <a:pt x="108" y="60"/>
                    </a:cubicBezTo>
                    <a:cubicBezTo>
                      <a:pt x="108" y="60"/>
                      <a:pt x="109" y="61"/>
                      <a:pt x="109" y="62"/>
                    </a:cubicBezTo>
                    <a:cubicBezTo>
                      <a:pt x="109" y="62"/>
                      <a:pt x="108" y="63"/>
                      <a:pt x="108" y="63"/>
                    </a:cubicBezTo>
                    <a:cubicBezTo>
                      <a:pt x="28" y="110"/>
                      <a:pt x="28" y="110"/>
                      <a:pt x="28" y="110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9"/>
                      <a:pt x="27" y="120"/>
                      <a:pt x="27" y="120"/>
                    </a:cubicBezTo>
                    <a:cubicBezTo>
                      <a:pt x="7" y="132"/>
                      <a:pt x="7" y="132"/>
                      <a:pt x="7" y="132"/>
                    </a:cubicBezTo>
                    <a:cubicBezTo>
                      <a:pt x="7" y="132"/>
                      <a:pt x="6" y="132"/>
                      <a:pt x="6" y="132"/>
                    </a:cubicBezTo>
                    <a:close/>
                    <a:moveTo>
                      <a:pt x="6" y="49"/>
                    </a:moveTo>
                    <a:cubicBezTo>
                      <a:pt x="7" y="50"/>
                      <a:pt x="7" y="50"/>
                      <a:pt x="7" y="50"/>
                    </a:cubicBezTo>
                    <a:cubicBezTo>
                      <a:pt x="8" y="50"/>
                      <a:pt x="8" y="51"/>
                      <a:pt x="8" y="51"/>
                    </a:cubicBezTo>
                    <a:cubicBezTo>
                      <a:pt x="8" y="127"/>
                      <a:pt x="8" y="127"/>
                      <a:pt x="8" y="127"/>
                    </a:cubicBezTo>
                    <a:cubicBezTo>
                      <a:pt x="24" y="118"/>
                      <a:pt x="24" y="118"/>
                      <a:pt x="24" y="118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108"/>
                      <a:pt x="24" y="107"/>
                      <a:pt x="25" y="107"/>
                    </a:cubicBezTo>
                    <a:cubicBezTo>
                      <a:pt x="103" y="62"/>
                      <a:pt x="103" y="62"/>
                      <a:pt x="103" y="62"/>
                    </a:cubicBezTo>
                    <a:cubicBezTo>
                      <a:pt x="50" y="31"/>
                      <a:pt x="50" y="31"/>
                      <a:pt x="50" y="31"/>
                    </a:cubicBezTo>
                    <a:cubicBezTo>
                      <a:pt x="49" y="31"/>
                      <a:pt x="49" y="30"/>
                      <a:pt x="49" y="30"/>
                    </a:cubicBezTo>
                    <a:cubicBezTo>
                      <a:pt x="49" y="29"/>
                      <a:pt x="49" y="28"/>
                      <a:pt x="50" y="28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3" y="5"/>
                      <a:pt x="83" y="5"/>
                      <a:pt x="83" y="5"/>
                    </a:cubicBezTo>
                    <a:lnTo>
                      <a:pt x="6" y="4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6" name="Freeform 664">
                <a:extLst>
                  <a:ext uri="{FF2B5EF4-FFF2-40B4-BE49-F238E27FC236}">
                    <a16:creationId xmlns:a16="http://schemas.microsoft.com/office/drawing/2014/main" id="{B783860D-7963-4115-B9E7-947FCEA65D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4145" y="5890915"/>
                <a:ext cx="59140" cy="68478"/>
              </a:xfrm>
              <a:custGeom>
                <a:avLst/>
                <a:gdLst>
                  <a:gd name="T0" fmla="*/ 2 w 24"/>
                  <a:gd name="T1" fmla="*/ 28 h 28"/>
                  <a:gd name="T2" fmla="*/ 1 w 24"/>
                  <a:gd name="T3" fmla="*/ 27 h 28"/>
                  <a:gd name="T4" fmla="*/ 0 w 24"/>
                  <a:gd name="T5" fmla="*/ 26 h 28"/>
                  <a:gd name="T6" fmla="*/ 0 w 24"/>
                  <a:gd name="T7" fmla="*/ 2 h 28"/>
                  <a:gd name="T8" fmla="*/ 1 w 24"/>
                  <a:gd name="T9" fmla="*/ 0 h 28"/>
                  <a:gd name="T10" fmla="*/ 3 w 24"/>
                  <a:gd name="T11" fmla="*/ 0 h 28"/>
                  <a:gd name="T12" fmla="*/ 23 w 24"/>
                  <a:gd name="T13" fmla="*/ 12 h 28"/>
                  <a:gd name="T14" fmla="*/ 24 w 24"/>
                  <a:gd name="T15" fmla="*/ 14 h 28"/>
                  <a:gd name="T16" fmla="*/ 23 w 24"/>
                  <a:gd name="T17" fmla="*/ 16 h 28"/>
                  <a:gd name="T18" fmla="*/ 3 w 24"/>
                  <a:gd name="T19" fmla="*/ 27 h 28"/>
                  <a:gd name="T20" fmla="*/ 2 w 24"/>
                  <a:gd name="T21" fmla="*/ 28 h 28"/>
                  <a:gd name="T22" fmla="*/ 4 w 24"/>
                  <a:gd name="T23" fmla="*/ 6 h 28"/>
                  <a:gd name="T24" fmla="*/ 4 w 24"/>
                  <a:gd name="T25" fmla="*/ 22 h 28"/>
                  <a:gd name="T26" fmla="*/ 18 w 24"/>
                  <a:gd name="T27" fmla="*/ 14 h 28"/>
                  <a:gd name="T28" fmla="*/ 4 w 24"/>
                  <a:gd name="T2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28">
                    <a:moveTo>
                      <a:pt x="2" y="28"/>
                    </a:moveTo>
                    <a:cubicBezTo>
                      <a:pt x="1" y="28"/>
                      <a:pt x="1" y="28"/>
                      <a:pt x="1" y="27"/>
                    </a:cubicBezTo>
                    <a:cubicBezTo>
                      <a:pt x="0" y="27"/>
                      <a:pt x="0" y="26"/>
                      <a:pt x="0" y="2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4" y="13"/>
                      <a:pt x="24" y="13"/>
                      <a:pt x="24" y="14"/>
                    </a:cubicBezTo>
                    <a:cubicBezTo>
                      <a:pt x="24" y="15"/>
                      <a:pt x="24" y="15"/>
                      <a:pt x="23" y="16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2" y="28"/>
                      <a:pt x="2" y="28"/>
                      <a:pt x="2" y="28"/>
                    </a:cubicBezTo>
                    <a:close/>
                    <a:moveTo>
                      <a:pt x="4" y="6"/>
                    </a:moveTo>
                    <a:cubicBezTo>
                      <a:pt x="4" y="22"/>
                      <a:pt x="4" y="22"/>
                      <a:pt x="4" y="22"/>
                    </a:cubicBezTo>
                    <a:cubicBezTo>
                      <a:pt x="18" y="14"/>
                      <a:pt x="18" y="14"/>
                      <a:pt x="18" y="14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7" name="Freeform 665">
                <a:extLst>
                  <a:ext uri="{FF2B5EF4-FFF2-40B4-BE49-F238E27FC236}">
                    <a16:creationId xmlns:a16="http://schemas.microsoft.com/office/drawing/2014/main" id="{7F6417C1-146C-4686-9237-04632E469D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18098" y="5807912"/>
                <a:ext cx="83003" cy="86116"/>
              </a:xfrm>
              <a:custGeom>
                <a:avLst/>
                <a:gdLst>
                  <a:gd name="T0" fmla="*/ 32 w 34"/>
                  <a:gd name="T1" fmla="*/ 35 h 35"/>
                  <a:gd name="T2" fmla="*/ 31 w 34"/>
                  <a:gd name="T3" fmla="*/ 35 h 35"/>
                  <a:gd name="T4" fmla="*/ 1 w 34"/>
                  <a:gd name="T5" fmla="*/ 18 h 35"/>
                  <a:gd name="T6" fmla="*/ 0 w 34"/>
                  <a:gd name="T7" fmla="*/ 16 h 35"/>
                  <a:gd name="T8" fmla="*/ 1 w 34"/>
                  <a:gd name="T9" fmla="*/ 14 h 35"/>
                  <a:gd name="T10" fmla="*/ 24 w 34"/>
                  <a:gd name="T11" fmla="*/ 1 h 35"/>
                  <a:gd name="T12" fmla="*/ 26 w 34"/>
                  <a:gd name="T13" fmla="*/ 1 h 35"/>
                  <a:gd name="T14" fmla="*/ 33 w 34"/>
                  <a:gd name="T15" fmla="*/ 5 h 35"/>
                  <a:gd name="T16" fmla="*/ 34 w 34"/>
                  <a:gd name="T17" fmla="*/ 6 h 35"/>
                  <a:gd name="T18" fmla="*/ 34 w 34"/>
                  <a:gd name="T19" fmla="*/ 33 h 35"/>
                  <a:gd name="T20" fmla="*/ 33 w 34"/>
                  <a:gd name="T21" fmla="*/ 35 h 35"/>
                  <a:gd name="T22" fmla="*/ 32 w 34"/>
                  <a:gd name="T23" fmla="*/ 35 h 35"/>
                  <a:gd name="T24" fmla="*/ 6 w 34"/>
                  <a:gd name="T25" fmla="*/ 16 h 35"/>
                  <a:gd name="T26" fmla="*/ 30 w 34"/>
                  <a:gd name="T27" fmla="*/ 30 h 35"/>
                  <a:gd name="T28" fmla="*/ 30 w 34"/>
                  <a:gd name="T29" fmla="*/ 8 h 35"/>
                  <a:gd name="T30" fmla="*/ 25 w 34"/>
                  <a:gd name="T31" fmla="*/ 5 h 35"/>
                  <a:gd name="T32" fmla="*/ 6 w 34"/>
                  <a:gd name="T3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5">
                    <a:moveTo>
                      <a:pt x="32" y="35"/>
                    </a:moveTo>
                    <a:cubicBezTo>
                      <a:pt x="32" y="35"/>
                      <a:pt x="31" y="35"/>
                      <a:pt x="31" y="35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1" y="14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5" y="0"/>
                      <a:pt x="26" y="1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4" y="5"/>
                      <a:pt x="34" y="6"/>
                      <a:pt x="34" y="6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4"/>
                      <a:pt x="34" y="35"/>
                      <a:pt x="33" y="35"/>
                    </a:cubicBezTo>
                    <a:cubicBezTo>
                      <a:pt x="33" y="35"/>
                      <a:pt x="32" y="35"/>
                      <a:pt x="32" y="35"/>
                    </a:cubicBezTo>
                    <a:close/>
                    <a:moveTo>
                      <a:pt x="6" y="16"/>
                    </a:move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8" name="Freeform 666">
                <a:extLst>
                  <a:ext uri="{FF2B5EF4-FFF2-40B4-BE49-F238E27FC236}">
                    <a16:creationId xmlns:a16="http://schemas.microsoft.com/office/drawing/2014/main" id="{CBCED9EA-A073-4587-8F80-F18EB55A00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18098" y="5844226"/>
                <a:ext cx="181570" cy="140068"/>
              </a:xfrm>
              <a:custGeom>
                <a:avLst/>
                <a:gdLst>
                  <a:gd name="T0" fmla="*/ 56 w 74"/>
                  <a:gd name="T1" fmla="*/ 57 h 57"/>
                  <a:gd name="T2" fmla="*/ 55 w 74"/>
                  <a:gd name="T3" fmla="*/ 57 h 57"/>
                  <a:gd name="T4" fmla="*/ 1 w 74"/>
                  <a:gd name="T5" fmla="*/ 25 h 57"/>
                  <a:gd name="T6" fmla="*/ 0 w 74"/>
                  <a:gd name="T7" fmla="*/ 24 h 57"/>
                  <a:gd name="T8" fmla="*/ 1 w 74"/>
                  <a:gd name="T9" fmla="*/ 22 h 57"/>
                  <a:gd name="T10" fmla="*/ 39 w 74"/>
                  <a:gd name="T11" fmla="*/ 0 h 57"/>
                  <a:gd name="T12" fmla="*/ 41 w 74"/>
                  <a:gd name="T13" fmla="*/ 0 h 57"/>
                  <a:gd name="T14" fmla="*/ 73 w 74"/>
                  <a:gd name="T15" fmla="*/ 18 h 57"/>
                  <a:gd name="T16" fmla="*/ 74 w 74"/>
                  <a:gd name="T17" fmla="*/ 20 h 57"/>
                  <a:gd name="T18" fmla="*/ 74 w 74"/>
                  <a:gd name="T19" fmla="*/ 46 h 57"/>
                  <a:gd name="T20" fmla="*/ 73 w 74"/>
                  <a:gd name="T21" fmla="*/ 47 h 57"/>
                  <a:gd name="T22" fmla="*/ 57 w 74"/>
                  <a:gd name="T23" fmla="*/ 57 h 57"/>
                  <a:gd name="T24" fmla="*/ 56 w 74"/>
                  <a:gd name="T25" fmla="*/ 57 h 57"/>
                  <a:gd name="T26" fmla="*/ 6 w 74"/>
                  <a:gd name="T27" fmla="*/ 24 h 57"/>
                  <a:gd name="T28" fmla="*/ 56 w 74"/>
                  <a:gd name="T29" fmla="*/ 52 h 57"/>
                  <a:gd name="T30" fmla="*/ 70 w 74"/>
                  <a:gd name="T31" fmla="*/ 45 h 57"/>
                  <a:gd name="T32" fmla="*/ 70 w 74"/>
                  <a:gd name="T33" fmla="*/ 21 h 57"/>
                  <a:gd name="T34" fmla="*/ 40 w 74"/>
                  <a:gd name="T35" fmla="*/ 4 h 57"/>
                  <a:gd name="T36" fmla="*/ 6 w 74"/>
                  <a:gd name="T37" fmla="*/ 2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57">
                    <a:moveTo>
                      <a:pt x="56" y="57"/>
                    </a:moveTo>
                    <a:cubicBezTo>
                      <a:pt x="56" y="57"/>
                      <a:pt x="55" y="57"/>
                      <a:pt x="55" y="57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0" y="24"/>
                      <a:pt x="0" y="24"/>
                    </a:cubicBezTo>
                    <a:cubicBezTo>
                      <a:pt x="0" y="23"/>
                      <a:pt x="1" y="22"/>
                      <a:pt x="1" y="22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0" y="0"/>
                      <a:pt x="40" y="0"/>
                      <a:pt x="41" y="0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4" y="19"/>
                      <a:pt x="74" y="19"/>
                      <a:pt x="74" y="20"/>
                    </a:cubicBezTo>
                    <a:cubicBezTo>
                      <a:pt x="74" y="46"/>
                      <a:pt x="74" y="46"/>
                      <a:pt x="74" y="46"/>
                    </a:cubicBezTo>
                    <a:cubicBezTo>
                      <a:pt x="74" y="46"/>
                      <a:pt x="74" y="47"/>
                      <a:pt x="73" y="47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7"/>
                      <a:pt x="57" y="57"/>
                      <a:pt x="56" y="57"/>
                    </a:cubicBezTo>
                    <a:close/>
                    <a:moveTo>
                      <a:pt x="6" y="24"/>
                    </a:moveTo>
                    <a:cubicBezTo>
                      <a:pt x="56" y="52"/>
                      <a:pt x="56" y="52"/>
                      <a:pt x="56" y="52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70" y="21"/>
                      <a:pt x="70" y="21"/>
                      <a:pt x="70" y="21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9" name="Freeform 667">
                <a:extLst>
                  <a:ext uri="{FF2B5EF4-FFF2-40B4-BE49-F238E27FC236}">
                    <a16:creationId xmlns:a16="http://schemas.microsoft.com/office/drawing/2014/main" id="{FA55ABB2-363D-4C8F-A3A5-E281A43F20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53319" y="6437699"/>
                <a:ext cx="26976" cy="32164"/>
              </a:xfrm>
              <a:custGeom>
                <a:avLst/>
                <a:gdLst>
                  <a:gd name="T0" fmla="*/ 9 w 11"/>
                  <a:gd name="T1" fmla="*/ 13 h 13"/>
                  <a:gd name="T2" fmla="*/ 8 w 11"/>
                  <a:gd name="T3" fmla="*/ 13 h 13"/>
                  <a:gd name="T4" fmla="*/ 1 w 11"/>
                  <a:gd name="T5" fmla="*/ 8 h 13"/>
                  <a:gd name="T6" fmla="*/ 0 w 11"/>
                  <a:gd name="T7" fmla="*/ 7 h 13"/>
                  <a:gd name="T8" fmla="*/ 1 w 11"/>
                  <a:gd name="T9" fmla="*/ 5 h 13"/>
                  <a:gd name="T10" fmla="*/ 8 w 11"/>
                  <a:gd name="T11" fmla="*/ 1 h 13"/>
                  <a:gd name="T12" fmla="*/ 10 w 11"/>
                  <a:gd name="T13" fmla="*/ 1 h 13"/>
                  <a:gd name="T14" fmla="*/ 11 w 11"/>
                  <a:gd name="T15" fmla="*/ 2 h 13"/>
                  <a:gd name="T16" fmla="*/ 11 w 11"/>
                  <a:gd name="T17" fmla="*/ 11 h 13"/>
                  <a:gd name="T18" fmla="*/ 10 w 11"/>
                  <a:gd name="T19" fmla="*/ 13 h 13"/>
                  <a:gd name="T20" fmla="*/ 9 w 11"/>
                  <a:gd name="T21" fmla="*/ 13 h 13"/>
                  <a:gd name="T22" fmla="*/ 6 w 11"/>
                  <a:gd name="T23" fmla="*/ 7 h 13"/>
                  <a:gd name="T24" fmla="*/ 7 w 11"/>
                  <a:gd name="T25" fmla="*/ 7 h 13"/>
                  <a:gd name="T26" fmla="*/ 7 w 11"/>
                  <a:gd name="T27" fmla="*/ 6 h 13"/>
                  <a:gd name="T28" fmla="*/ 6 w 11"/>
                  <a:gd name="T2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9" y="13"/>
                    </a:moveTo>
                    <a:cubicBezTo>
                      <a:pt x="9" y="13"/>
                      <a:pt x="8" y="13"/>
                      <a:pt x="8" y="1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9" y="0"/>
                      <a:pt x="10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0" y="13"/>
                    </a:cubicBezTo>
                    <a:cubicBezTo>
                      <a:pt x="10" y="13"/>
                      <a:pt x="9" y="13"/>
                      <a:pt x="9" y="13"/>
                    </a:cubicBezTo>
                    <a:close/>
                    <a:moveTo>
                      <a:pt x="6" y="7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0" name="Freeform 671">
                <a:extLst>
                  <a:ext uri="{FF2B5EF4-FFF2-40B4-BE49-F238E27FC236}">
                    <a16:creationId xmlns:a16="http://schemas.microsoft.com/office/drawing/2014/main" id="{E52B9A48-598C-4BD5-96AD-D4F0EDD930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6921192"/>
                <a:ext cx="62252" cy="156668"/>
              </a:xfrm>
              <a:custGeom>
                <a:avLst/>
                <a:gdLst>
                  <a:gd name="T0" fmla="*/ 2 w 25"/>
                  <a:gd name="T1" fmla="*/ 64 h 64"/>
                  <a:gd name="T2" fmla="*/ 1 w 25"/>
                  <a:gd name="T3" fmla="*/ 64 h 64"/>
                  <a:gd name="T4" fmla="*/ 0 w 25"/>
                  <a:gd name="T5" fmla="*/ 62 h 64"/>
                  <a:gd name="T6" fmla="*/ 0 w 25"/>
                  <a:gd name="T7" fmla="*/ 2 h 64"/>
                  <a:gd name="T8" fmla="*/ 1 w 25"/>
                  <a:gd name="T9" fmla="*/ 0 h 64"/>
                  <a:gd name="T10" fmla="*/ 3 w 25"/>
                  <a:gd name="T11" fmla="*/ 0 h 64"/>
                  <a:gd name="T12" fmla="*/ 24 w 25"/>
                  <a:gd name="T13" fmla="*/ 13 h 64"/>
                  <a:gd name="T14" fmla="*/ 25 w 25"/>
                  <a:gd name="T15" fmla="*/ 14 h 64"/>
                  <a:gd name="T16" fmla="*/ 25 w 25"/>
                  <a:gd name="T17" fmla="*/ 50 h 64"/>
                  <a:gd name="T18" fmla="*/ 24 w 25"/>
                  <a:gd name="T19" fmla="*/ 52 h 64"/>
                  <a:gd name="T20" fmla="*/ 3 w 25"/>
                  <a:gd name="T21" fmla="*/ 64 h 64"/>
                  <a:gd name="T22" fmla="*/ 2 w 25"/>
                  <a:gd name="T23" fmla="*/ 64 h 64"/>
                  <a:gd name="T24" fmla="*/ 4 w 25"/>
                  <a:gd name="T25" fmla="*/ 6 h 64"/>
                  <a:gd name="T26" fmla="*/ 4 w 25"/>
                  <a:gd name="T27" fmla="*/ 59 h 64"/>
                  <a:gd name="T28" fmla="*/ 21 w 25"/>
                  <a:gd name="T29" fmla="*/ 49 h 64"/>
                  <a:gd name="T30" fmla="*/ 21 w 25"/>
                  <a:gd name="T31" fmla="*/ 16 h 64"/>
                  <a:gd name="T32" fmla="*/ 4 w 25"/>
                  <a:gd name="T33" fmla="*/ 6 h 64"/>
                  <a:gd name="T34" fmla="*/ 23 w 25"/>
                  <a:gd name="T35" fmla="*/ 50 h 64"/>
                  <a:gd name="T36" fmla="*/ 23 w 25"/>
                  <a:gd name="T37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64">
                    <a:moveTo>
                      <a:pt x="2" y="64"/>
                    </a:moveTo>
                    <a:cubicBezTo>
                      <a:pt x="1" y="64"/>
                      <a:pt x="1" y="64"/>
                      <a:pt x="1" y="64"/>
                    </a:cubicBezTo>
                    <a:cubicBezTo>
                      <a:pt x="0" y="64"/>
                      <a:pt x="0" y="63"/>
                      <a:pt x="0" y="6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5" y="14"/>
                      <a:pt x="25" y="14"/>
                    </a:cubicBezTo>
                    <a:cubicBezTo>
                      <a:pt x="25" y="50"/>
                      <a:pt x="25" y="50"/>
                      <a:pt x="25" y="50"/>
                    </a:cubicBezTo>
                    <a:cubicBezTo>
                      <a:pt x="25" y="51"/>
                      <a:pt x="24" y="52"/>
                      <a:pt x="24" y="52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2" y="64"/>
                      <a:pt x="2" y="64"/>
                      <a:pt x="2" y="64"/>
                    </a:cubicBezTo>
                    <a:close/>
                    <a:moveTo>
                      <a:pt x="4" y="6"/>
                    </a:moveTo>
                    <a:cubicBezTo>
                      <a:pt x="4" y="59"/>
                      <a:pt x="4" y="59"/>
                      <a:pt x="4" y="59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16"/>
                      <a:pt x="21" y="16"/>
                      <a:pt x="21" y="16"/>
                    </a:cubicBezTo>
                    <a:lnTo>
                      <a:pt x="4" y="6"/>
                    </a:lnTo>
                    <a:close/>
                    <a:moveTo>
                      <a:pt x="23" y="50"/>
                    </a:moveTo>
                    <a:cubicBezTo>
                      <a:pt x="23" y="50"/>
                      <a:pt x="23" y="50"/>
                      <a:pt x="23" y="5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1" name="Freeform 673">
                <a:extLst>
                  <a:ext uri="{FF2B5EF4-FFF2-40B4-BE49-F238E27FC236}">
                    <a16:creationId xmlns:a16="http://schemas.microsoft.com/office/drawing/2014/main" id="{E5F828CE-3601-448F-BAFC-E436F773F5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387217" y="6851677"/>
                <a:ext cx="158744" cy="242784"/>
              </a:xfrm>
              <a:custGeom>
                <a:avLst/>
                <a:gdLst>
                  <a:gd name="T0" fmla="*/ 2 w 65"/>
                  <a:gd name="T1" fmla="*/ 99 h 99"/>
                  <a:gd name="T2" fmla="*/ 1 w 65"/>
                  <a:gd name="T3" fmla="*/ 99 h 99"/>
                  <a:gd name="T4" fmla="*/ 0 w 65"/>
                  <a:gd name="T5" fmla="*/ 97 h 99"/>
                  <a:gd name="T6" fmla="*/ 0 w 65"/>
                  <a:gd name="T7" fmla="*/ 37 h 99"/>
                  <a:gd name="T8" fmla="*/ 1 w 65"/>
                  <a:gd name="T9" fmla="*/ 35 h 99"/>
                  <a:gd name="T10" fmla="*/ 62 w 65"/>
                  <a:gd name="T11" fmla="*/ 0 h 99"/>
                  <a:gd name="T12" fmla="*/ 64 w 65"/>
                  <a:gd name="T13" fmla="*/ 0 h 99"/>
                  <a:gd name="T14" fmla="*/ 65 w 65"/>
                  <a:gd name="T15" fmla="*/ 2 h 99"/>
                  <a:gd name="T16" fmla="*/ 65 w 65"/>
                  <a:gd name="T17" fmla="*/ 57 h 99"/>
                  <a:gd name="T18" fmla="*/ 64 w 65"/>
                  <a:gd name="T19" fmla="*/ 58 h 99"/>
                  <a:gd name="T20" fmla="*/ 63 w 65"/>
                  <a:gd name="T21" fmla="*/ 59 h 99"/>
                  <a:gd name="T22" fmla="*/ 64 w 65"/>
                  <a:gd name="T23" fmla="*/ 60 h 99"/>
                  <a:gd name="T24" fmla="*/ 65 w 65"/>
                  <a:gd name="T25" fmla="*/ 61 h 99"/>
                  <a:gd name="T26" fmla="*/ 65 w 65"/>
                  <a:gd name="T27" fmla="*/ 62 h 99"/>
                  <a:gd name="T28" fmla="*/ 64 w 65"/>
                  <a:gd name="T29" fmla="*/ 64 h 99"/>
                  <a:gd name="T30" fmla="*/ 15 w 65"/>
                  <a:gd name="T31" fmla="*/ 92 h 99"/>
                  <a:gd name="T32" fmla="*/ 14 w 65"/>
                  <a:gd name="T33" fmla="*/ 93 h 99"/>
                  <a:gd name="T34" fmla="*/ 3 w 65"/>
                  <a:gd name="T35" fmla="*/ 99 h 99"/>
                  <a:gd name="T36" fmla="*/ 2 w 65"/>
                  <a:gd name="T37" fmla="*/ 99 h 99"/>
                  <a:gd name="T38" fmla="*/ 4 w 65"/>
                  <a:gd name="T39" fmla="*/ 38 h 99"/>
                  <a:gd name="T40" fmla="*/ 4 w 65"/>
                  <a:gd name="T41" fmla="*/ 94 h 99"/>
                  <a:gd name="T42" fmla="*/ 13 w 65"/>
                  <a:gd name="T43" fmla="*/ 89 h 99"/>
                  <a:gd name="T44" fmla="*/ 14 w 65"/>
                  <a:gd name="T45" fmla="*/ 88 h 99"/>
                  <a:gd name="T46" fmla="*/ 60 w 65"/>
                  <a:gd name="T47" fmla="*/ 62 h 99"/>
                  <a:gd name="T48" fmla="*/ 58 w 65"/>
                  <a:gd name="T49" fmla="*/ 61 h 99"/>
                  <a:gd name="T50" fmla="*/ 57 w 65"/>
                  <a:gd name="T51" fmla="*/ 59 h 99"/>
                  <a:gd name="T52" fmla="*/ 58 w 65"/>
                  <a:gd name="T53" fmla="*/ 57 h 99"/>
                  <a:gd name="T54" fmla="*/ 61 w 65"/>
                  <a:gd name="T55" fmla="*/ 56 h 99"/>
                  <a:gd name="T56" fmla="*/ 61 w 65"/>
                  <a:gd name="T57" fmla="*/ 5 h 99"/>
                  <a:gd name="T58" fmla="*/ 4 w 65"/>
                  <a:gd name="T59" fmla="*/ 3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" h="99">
                    <a:moveTo>
                      <a:pt x="2" y="99"/>
                    </a:moveTo>
                    <a:cubicBezTo>
                      <a:pt x="2" y="99"/>
                      <a:pt x="1" y="99"/>
                      <a:pt x="1" y="99"/>
                    </a:cubicBezTo>
                    <a:cubicBezTo>
                      <a:pt x="1" y="99"/>
                      <a:pt x="0" y="98"/>
                      <a:pt x="0" y="9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3" y="0"/>
                      <a:pt x="63" y="0"/>
                      <a:pt x="64" y="0"/>
                    </a:cubicBezTo>
                    <a:cubicBezTo>
                      <a:pt x="65" y="0"/>
                      <a:pt x="65" y="1"/>
                      <a:pt x="65" y="2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5" y="57"/>
                      <a:pt x="65" y="58"/>
                      <a:pt x="64" y="58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5" y="60"/>
                      <a:pt x="65" y="61"/>
                      <a:pt x="65" y="61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5" y="63"/>
                      <a:pt x="65" y="64"/>
                      <a:pt x="64" y="64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3"/>
                      <a:pt x="14" y="93"/>
                      <a:pt x="14" y="93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3" y="99"/>
                      <a:pt x="3" y="99"/>
                      <a:pt x="2" y="99"/>
                    </a:cubicBezTo>
                    <a:close/>
                    <a:moveTo>
                      <a:pt x="4" y="38"/>
                    </a:moveTo>
                    <a:cubicBezTo>
                      <a:pt x="4" y="94"/>
                      <a:pt x="4" y="94"/>
                      <a:pt x="4" y="94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89"/>
                      <a:pt x="13" y="89"/>
                      <a:pt x="14" y="88"/>
                    </a:cubicBezTo>
                    <a:cubicBezTo>
                      <a:pt x="60" y="62"/>
                      <a:pt x="60" y="62"/>
                      <a:pt x="60" y="62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7" y="60"/>
                      <a:pt x="57" y="60"/>
                      <a:pt x="57" y="59"/>
                    </a:cubicBezTo>
                    <a:cubicBezTo>
                      <a:pt x="57" y="58"/>
                      <a:pt x="57" y="58"/>
                      <a:pt x="58" y="57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1" y="5"/>
                      <a:pt x="61" y="5"/>
                      <a:pt x="61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2" name="Freeform 674">
                <a:extLst>
                  <a:ext uri="{FF2B5EF4-FFF2-40B4-BE49-F238E27FC236}">
                    <a16:creationId xmlns:a16="http://schemas.microsoft.com/office/drawing/2014/main" id="{532F32B8-B58C-48DE-A9C0-AC9544885D3F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161033" y="6916004"/>
                <a:ext cx="62252" cy="39426"/>
              </a:xfrm>
              <a:custGeom>
                <a:avLst/>
                <a:gdLst>
                  <a:gd name="T0" fmla="*/ 23 w 25"/>
                  <a:gd name="T1" fmla="*/ 16 h 16"/>
                  <a:gd name="T2" fmla="*/ 22 w 25"/>
                  <a:gd name="T3" fmla="*/ 16 h 16"/>
                  <a:gd name="T4" fmla="*/ 1 w 25"/>
                  <a:gd name="T5" fmla="*/ 4 h 16"/>
                  <a:gd name="T6" fmla="*/ 0 w 25"/>
                  <a:gd name="T7" fmla="*/ 2 h 16"/>
                  <a:gd name="T8" fmla="*/ 0 w 25"/>
                  <a:gd name="T9" fmla="*/ 2 h 16"/>
                  <a:gd name="T10" fmla="*/ 1 w 25"/>
                  <a:gd name="T11" fmla="*/ 0 h 16"/>
                  <a:gd name="T12" fmla="*/ 3 w 25"/>
                  <a:gd name="T13" fmla="*/ 0 h 16"/>
                  <a:gd name="T14" fmla="*/ 24 w 25"/>
                  <a:gd name="T15" fmla="*/ 12 h 16"/>
                  <a:gd name="T16" fmla="*/ 25 w 25"/>
                  <a:gd name="T17" fmla="*/ 14 h 16"/>
                  <a:gd name="T18" fmla="*/ 25 w 25"/>
                  <a:gd name="T19" fmla="*/ 14 h 16"/>
                  <a:gd name="T20" fmla="*/ 24 w 25"/>
                  <a:gd name="T21" fmla="*/ 16 h 16"/>
                  <a:gd name="T22" fmla="*/ 23 w 25"/>
                  <a:gd name="T2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16">
                    <a:moveTo>
                      <a:pt x="23" y="16"/>
                    </a:moveTo>
                    <a:cubicBezTo>
                      <a:pt x="22" y="16"/>
                      <a:pt x="22" y="16"/>
                      <a:pt x="22" y="1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3"/>
                      <a:pt x="25" y="13"/>
                      <a:pt x="25" y="14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5"/>
                      <a:pt x="24" y="16"/>
                      <a:pt x="24" y="16"/>
                    </a:cubicBezTo>
                    <a:cubicBezTo>
                      <a:pt x="24" y="16"/>
                      <a:pt x="23" y="16"/>
                      <a:pt x="23" y="1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3" name="Freeform 675">
                <a:extLst>
                  <a:ext uri="{FF2B5EF4-FFF2-40B4-BE49-F238E27FC236}">
                    <a16:creationId xmlns:a16="http://schemas.microsoft.com/office/drawing/2014/main" id="{5758443D-0892-452D-A129-D5D31E55F9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311476" y="6948168"/>
                <a:ext cx="80928" cy="85078"/>
              </a:xfrm>
              <a:custGeom>
                <a:avLst/>
                <a:gdLst>
                  <a:gd name="T0" fmla="*/ 31 w 33"/>
                  <a:gd name="T1" fmla="*/ 35 h 35"/>
                  <a:gd name="T2" fmla="*/ 30 w 33"/>
                  <a:gd name="T3" fmla="*/ 35 h 35"/>
                  <a:gd name="T4" fmla="*/ 7 w 33"/>
                  <a:gd name="T5" fmla="*/ 21 h 35"/>
                  <a:gd name="T6" fmla="*/ 3 w 33"/>
                  <a:gd name="T7" fmla="*/ 24 h 35"/>
                  <a:gd name="T8" fmla="*/ 1 w 33"/>
                  <a:gd name="T9" fmla="*/ 24 h 35"/>
                  <a:gd name="T10" fmla="*/ 1 w 33"/>
                  <a:gd name="T11" fmla="*/ 23 h 35"/>
                  <a:gd name="T12" fmla="*/ 0 w 33"/>
                  <a:gd name="T13" fmla="*/ 21 h 35"/>
                  <a:gd name="T14" fmla="*/ 0 w 33"/>
                  <a:gd name="T15" fmla="*/ 19 h 35"/>
                  <a:gd name="T16" fmla="*/ 1 w 33"/>
                  <a:gd name="T17" fmla="*/ 17 h 35"/>
                  <a:gd name="T18" fmla="*/ 30 w 33"/>
                  <a:gd name="T19" fmla="*/ 0 h 35"/>
                  <a:gd name="T20" fmla="*/ 32 w 33"/>
                  <a:gd name="T21" fmla="*/ 0 h 35"/>
                  <a:gd name="T22" fmla="*/ 33 w 33"/>
                  <a:gd name="T23" fmla="*/ 2 h 35"/>
                  <a:gd name="T24" fmla="*/ 33 w 33"/>
                  <a:gd name="T25" fmla="*/ 33 h 35"/>
                  <a:gd name="T26" fmla="*/ 32 w 33"/>
                  <a:gd name="T27" fmla="*/ 35 h 35"/>
                  <a:gd name="T28" fmla="*/ 31 w 33"/>
                  <a:gd name="T29" fmla="*/ 35 h 35"/>
                  <a:gd name="T30" fmla="*/ 8 w 33"/>
                  <a:gd name="T31" fmla="*/ 17 h 35"/>
                  <a:gd name="T32" fmla="*/ 8 w 33"/>
                  <a:gd name="T33" fmla="*/ 17 h 35"/>
                  <a:gd name="T34" fmla="*/ 29 w 33"/>
                  <a:gd name="T35" fmla="*/ 29 h 35"/>
                  <a:gd name="T36" fmla="*/ 29 w 33"/>
                  <a:gd name="T37" fmla="*/ 5 h 35"/>
                  <a:gd name="T38" fmla="*/ 8 w 33"/>
                  <a:gd name="T3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3" h="35">
                    <a:moveTo>
                      <a:pt x="31" y="35"/>
                    </a:moveTo>
                    <a:cubicBezTo>
                      <a:pt x="31" y="35"/>
                      <a:pt x="31" y="35"/>
                      <a:pt x="30" y="35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3" y="24"/>
                      <a:pt x="2" y="24"/>
                      <a:pt x="1" y="24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8"/>
                      <a:pt x="0" y="17"/>
                      <a:pt x="1" y="17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33" y="0"/>
                      <a:pt x="33" y="1"/>
                      <a:pt x="33" y="2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3" y="34"/>
                      <a:pt x="33" y="34"/>
                      <a:pt x="32" y="35"/>
                    </a:cubicBezTo>
                    <a:cubicBezTo>
                      <a:pt x="32" y="35"/>
                      <a:pt x="32" y="35"/>
                      <a:pt x="31" y="35"/>
                    </a:cubicBezTo>
                    <a:close/>
                    <a:moveTo>
                      <a:pt x="8" y="17"/>
                    </a:moveTo>
                    <a:cubicBezTo>
                      <a:pt x="8" y="17"/>
                      <a:pt x="8" y="17"/>
                      <a:pt x="8" y="17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5"/>
                      <a:pt x="29" y="5"/>
                      <a:pt x="29" y="5"/>
                    </a:cubicBezTo>
                    <a:lnTo>
                      <a:pt x="8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4" name="Freeform 678">
                <a:extLst>
                  <a:ext uri="{FF2B5EF4-FFF2-40B4-BE49-F238E27FC236}">
                    <a16:creationId xmlns:a16="http://schemas.microsoft.com/office/drawing/2014/main" id="{0DA8DFB0-B9F7-4DAB-8950-F00CD253AF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234698" y="6993820"/>
                <a:ext cx="152519" cy="96491"/>
              </a:xfrm>
              <a:custGeom>
                <a:avLst/>
                <a:gdLst>
                  <a:gd name="T0" fmla="*/ 60 w 62"/>
                  <a:gd name="T1" fmla="*/ 39 h 39"/>
                  <a:gd name="T2" fmla="*/ 59 w 62"/>
                  <a:gd name="T3" fmla="*/ 39 h 39"/>
                  <a:gd name="T4" fmla="*/ 1 w 62"/>
                  <a:gd name="T5" fmla="*/ 6 h 39"/>
                  <a:gd name="T6" fmla="*/ 0 w 62"/>
                  <a:gd name="T7" fmla="*/ 4 h 39"/>
                  <a:gd name="T8" fmla="*/ 1 w 62"/>
                  <a:gd name="T9" fmla="*/ 2 h 39"/>
                  <a:gd name="T10" fmla="*/ 4 w 62"/>
                  <a:gd name="T11" fmla="*/ 0 h 39"/>
                  <a:gd name="T12" fmla="*/ 6 w 62"/>
                  <a:gd name="T13" fmla="*/ 0 h 39"/>
                  <a:gd name="T14" fmla="*/ 30 w 62"/>
                  <a:gd name="T15" fmla="*/ 14 h 39"/>
                  <a:gd name="T16" fmla="*/ 31 w 62"/>
                  <a:gd name="T17" fmla="*/ 16 h 39"/>
                  <a:gd name="T18" fmla="*/ 31 w 62"/>
                  <a:gd name="T19" fmla="*/ 18 h 39"/>
                  <a:gd name="T20" fmla="*/ 61 w 62"/>
                  <a:gd name="T21" fmla="*/ 36 h 39"/>
                  <a:gd name="T22" fmla="*/ 62 w 62"/>
                  <a:gd name="T23" fmla="*/ 37 h 39"/>
                  <a:gd name="T24" fmla="*/ 61 w 62"/>
                  <a:gd name="T25" fmla="*/ 39 h 39"/>
                  <a:gd name="T26" fmla="*/ 60 w 62"/>
                  <a:gd name="T2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2" h="39">
                    <a:moveTo>
                      <a:pt x="60" y="39"/>
                    </a:moveTo>
                    <a:cubicBezTo>
                      <a:pt x="60" y="39"/>
                      <a:pt x="59" y="39"/>
                      <a:pt x="59" y="3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4"/>
                      <a:pt x="31" y="15"/>
                      <a:pt x="31" y="16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61" y="36"/>
                      <a:pt x="61" y="36"/>
                      <a:pt x="61" y="36"/>
                    </a:cubicBezTo>
                    <a:cubicBezTo>
                      <a:pt x="62" y="36"/>
                      <a:pt x="62" y="37"/>
                      <a:pt x="62" y="37"/>
                    </a:cubicBezTo>
                    <a:cubicBezTo>
                      <a:pt x="62" y="38"/>
                      <a:pt x="62" y="39"/>
                      <a:pt x="61" y="39"/>
                    </a:cubicBezTo>
                    <a:cubicBezTo>
                      <a:pt x="61" y="39"/>
                      <a:pt x="60" y="39"/>
                      <a:pt x="60" y="3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5" name="Freeform 680">
                <a:extLst>
                  <a:ext uri="{FF2B5EF4-FFF2-40B4-BE49-F238E27FC236}">
                    <a16:creationId xmlns:a16="http://schemas.microsoft.com/office/drawing/2014/main" id="{C03C4623-182C-48CB-9468-5EA5403305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18098" y="6905629"/>
                <a:ext cx="97529" cy="179494"/>
              </a:xfrm>
              <a:custGeom>
                <a:avLst/>
                <a:gdLst>
                  <a:gd name="T0" fmla="*/ 36 w 40"/>
                  <a:gd name="T1" fmla="*/ 73 h 73"/>
                  <a:gd name="T2" fmla="*/ 35 w 40"/>
                  <a:gd name="T3" fmla="*/ 72 h 73"/>
                  <a:gd name="T4" fmla="*/ 1 w 40"/>
                  <a:gd name="T5" fmla="*/ 53 h 73"/>
                  <a:gd name="T6" fmla="*/ 0 w 40"/>
                  <a:gd name="T7" fmla="*/ 51 h 73"/>
                  <a:gd name="T8" fmla="*/ 0 w 40"/>
                  <a:gd name="T9" fmla="*/ 18 h 73"/>
                  <a:gd name="T10" fmla="*/ 1 w 40"/>
                  <a:gd name="T11" fmla="*/ 16 h 73"/>
                  <a:gd name="T12" fmla="*/ 28 w 40"/>
                  <a:gd name="T13" fmla="*/ 0 h 73"/>
                  <a:gd name="T14" fmla="*/ 30 w 40"/>
                  <a:gd name="T15" fmla="*/ 0 h 73"/>
                  <a:gd name="T16" fmla="*/ 39 w 40"/>
                  <a:gd name="T17" fmla="*/ 5 h 73"/>
                  <a:gd name="T18" fmla="*/ 40 w 40"/>
                  <a:gd name="T19" fmla="*/ 7 h 73"/>
                  <a:gd name="T20" fmla="*/ 40 w 40"/>
                  <a:gd name="T21" fmla="*/ 69 h 73"/>
                  <a:gd name="T22" fmla="*/ 39 w 40"/>
                  <a:gd name="T23" fmla="*/ 71 h 73"/>
                  <a:gd name="T24" fmla="*/ 37 w 40"/>
                  <a:gd name="T25" fmla="*/ 72 h 73"/>
                  <a:gd name="T26" fmla="*/ 36 w 40"/>
                  <a:gd name="T27" fmla="*/ 73 h 73"/>
                  <a:gd name="T28" fmla="*/ 4 w 40"/>
                  <a:gd name="T29" fmla="*/ 50 h 73"/>
                  <a:gd name="T30" fmla="*/ 36 w 40"/>
                  <a:gd name="T31" fmla="*/ 68 h 73"/>
                  <a:gd name="T32" fmla="*/ 36 w 40"/>
                  <a:gd name="T33" fmla="*/ 68 h 73"/>
                  <a:gd name="T34" fmla="*/ 36 w 40"/>
                  <a:gd name="T35" fmla="*/ 8 h 73"/>
                  <a:gd name="T36" fmla="*/ 29 w 40"/>
                  <a:gd name="T37" fmla="*/ 4 h 73"/>
                  <a:gd name="T38" fmla="*/ 4 w 40"/>
                  <a:gd name="T39" fmla="*/ 19 h 73"/>
                  <a:gd name="T40" fmla="*/ 4 w 40"/>
                  <a:gd name="T41" fmla="*/ 5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73">
                    <a:moveTo>
                      <a:pt x="36" y="73"/>
                    </a:moveTo>
                    <a:cubicBezTo>
                      <a:pt x="36" y="73"/>
                      <a:pt x="35" y="72"/>
                      <a:pt x="35" y="72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2"/>
                      <a:pt x="0" y="52"/>
                      <a:pt x="0" y="5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0" y="16"/>
                      <a:pt x="1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30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40" y="6"/>
                      <a:pt x="40" y="6"/>
                      <a:pt x="40" y="7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0" y="70"/>
                      <a:pt x="40" y="71"/>
                      <a:pt x="39" y="71"/>
                    </a:cubicBezTo>
                    <a:cubicBezTo>
                      <a:pt x="37" y="72"/>
                      <a:pt x="37" y="72"/>
                      <a:pt x="37" y="72"/>
                    </a:cubicBezTo>
                    <a:cubicBezTo>
                      <a:pt x="37" y="72"/>
                      <a:pt x="36" y="73"/>
                      <a:pt x="36" y="73"/>
                    </a:cubicBezTo>
                    <a:close/>
                    <a:moveTo>
                      <a:pt x="4" y="50"/>
                    </a:moveTo>
                    <a:cubicBezTo>
                      <a:pt x="36" y="68"/>
                      <a:pt x="36" y="68"/>
                      <a:pt x="36" y="68"/>
                    </a:cubicBezTo>
                    <a:cubicBezTo>
                      <a:pt x="36" y="68"/>
                      <a:pt x="36" y="68"/>
                      <a:pt x="36" y="68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4" y="19"/>
                      <a:pt x="4" y="19"/>
                      <a:pt x="4" y="19"/>
                    </a:cubicBezTo>
                    <a:lnTo>
                      <a:pt x="4" y="5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6" name="Freeform 681">
                <a:extLst>
                  <a:ext uri="{FF2B5EF4-FFF2-40B4-BE49-F238E27FC236}">
                    <a16:creationId xmlns:a16="http://schemas.microsoft.com/office/drawing/2014/main" id="{4AA941E7-8A53-4E9D-8493-7D649AE47F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45074" y="6867240"/>
                <a:ext cx="70553" cy="83003"/>
              </a:xfrm>
              <a:custGeom>
                <a:avLst/>
                <a:gdLst>
                  <a:gd name="T0" fmla="*/ 2 w 29"/>
                  <a:gd name="T1" fmla="*/ 34 h 34"/>
                  <a:gd name="T2" fmla="*/ 1 w 29"/>
                  <a:gd name="T3" fmla="*/ 34 h 34"/>
                  <a:gd name="T4" fmla="*/ 0 w 29"/>
                  <a:gd name="T5" fmla="*/ 32 h 34"/>
                  <a:gd name="T6" fmla="*/ 0 w 29"/>
                  <a:gd name="T7" fmla="*/ 2 h 34"/>
                  <a:gd name="T8" fmla="*/ 1 w 29"/>
                  <a:gd name="T9" fmla="*/ 1 h 34"/>
                  <a:gd name="T10" fmla="*/ 3 w 29"/>
                  <a:gd name="T11" fmla="*/ 1 h 34"/>
                  <a:gd name="T12" fmla="*/ 28 w 29"/>
                  <a:gd name="T13" fmla="*/ 15 h 34"/>
                  <a:gd name="T14" fmla="*/ 29 w 29"/>
                  <a:gd name="T15" fmla="*/ 17 h 34"/>
                  <a:gd name="T16" fmla="*/ 28 w 29"/>
                  <a:gd name="T17" fmla="*/ 19 h 34"/>
                  <a:gd name="T18" fmla="*/ 3 w 29"/>
                  <a:gd name="T19" fmla="*/ 34 h 34"/>
                  <a:gd name="T20" fmla="*/ 2 w 29"/>
                  <a:gd name="T21" fmla="*/ 34 h 34"/>
                  <a:gd name="T22" fmla="*/ 4 w 29"/>
                  <a:gd name="T23" fmla="*/ 6 h 34"/>
                  <a:gd name="T24" fmla="*/ 4 w 29"/>
                  <a:gd name="T25" fmla="*/ 28 h 34"/>
                  <a:gd name="T26" fmla="*/ 23 w 29"/>
                  <a:gd name="T27" fmla="*/ 17 h 34"/>
                  <a:gd name="T28" fmla="*/ 4 w 29"/>
                  <a:gd name="T2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34">
                    <a:moveTo>
                      <a:pt x="2" y="34"/>
                    </a:moveTo>
                    <a:cubicBezTo>
                      <a:pt x="1" y="34"/>
                      <a:pt x="1" y="34"/>
                      <a:pt x="1" y="34"/>
                    </a:cubicBezTo>
                    <a:cubicBezTo>
                      <a:pt x="0" y="33"/>
                      <a:pt x="0" y="33"/>
                      <a:pt x="0" y="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6"/>
                      <a:pt x="29" y="16"/>
                      <a:pt x="29" y="17"/>
                    </a:cubicBezTo>
                    <a:cubicBezTo>
                      <a:pt x="29" y="18"/>
                      <a:pt x="29" y="18"/>
                      <a:pt x="28" y="19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4"/>
                      <a:pt x="2" y="34"/>
                      <a:pt x="2" y="34"/>
                    </a:cubicBezTo>
                    <a:close/>
                    <a:moveTo>
                      <a:pt x="4" y="6"/>
                    </a:moveTo>
                    <a:cubicBezTo>
                      <a:pt x="4" y="28"/>
                      <a:pt x="4" y="28"/>
                      <a:pt x="4" y="28"/>
                    </a:cubicBezTo>
                    <a:cubicBezTo>
                      <a:pt x="23" y="17"/>
                      <a:pt x="23" y="17"/>
                      <a:pt x="23" y="1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7" name="Freeform 682">
                <a:extLst>
                  <a:ext uri="{FF2B5EF4-FFF2-40B4-BE49-F238E27FC236}">
                    <a16:creationId xmlns:a16="http://schemas.microsoft.com/office/drawing/2014/main" id="{4575F0B3-3F78-4F6D-8E60-04E43C804672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218098" y="6903554"/>
                <a:ext cx="26976" cy="19713"/>
              </a:xfrm>
              <a:custGeom>
                <a:avLst/>
                <a:gdLst>
                  <a:gd name="T0" fmla="*/ 9 w 11"/>
                  <a:gd name="T1" fmla="*/ 8 h 8"/>
                  <a:gd name="T2" fmla="*/ 8 w 11"/>
                  <a:gd name="T3" fmla="*/ 8 h 8"/>
                  <a:gd name="T4" fmla="*/ 1 w 11"/>
                  <a:gd name="T5" fmla="*/ 4 h 8"/>
                  <a:gd name="T6" fmla="*/ 0 w 11"/>
                  <a:gd name="T7" fmla="*/ 2 h 8"/>
                  <a:gd name="T8" fmla="*/ 1 w 11"/>
                  <a:gd name="T9" fmla="*/ 0 h 8"/>
                  <a:gd name="T10" fmla="*/ 1 w 11"/>
                  <a:gd name="T11" fmla="*/ 0 h 8"/>
                  <a:gd name="T12" fmla="*/ 3 w 11"/>
                  <a:gd name="T13" fmla="*/ 0 h 8"/>
                  <a:gd name="T14" fmla="*/ 10 w 11"/>
                  <a:gd name="T15" fmla="*/ 4 h 8"/>
                  <a:gd name="T16" fmla="*/ 11 w 11"/>
                  <a:gd name="T17" fmla="*/ 6 h 8"/>
                  <a:gd name="T18" fmla="*/ 11 w 11"/>
                  <a:gd name="T19" fmla="*/ 6 h 8"/>
                  <a:gd name="T20" fmla="*/ 10 w 11"/>
                  <a:gd name="T21" fmla="*/ 8 h 8"/>
                  <a:gd name="T22" fmla="*/ 9 w 11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cubicBezTo>
                      <a:pt x="9" y="8"/>
                      <a:pt x="8" y="8"/>
                      <a:pt x="8" y="8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7"/>
                      <a:pt x="11" y="8"/>
                      <a:pt x="10" y="8"/>
                    </a:cubicBezTo>
                    <a:cubicBezTo>
                      <a:pt x="10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8" name="Freeform 687">
                <a:extLst>
                  <a:ext uri="{FF2B5EF4-FFF2-40B4-BE49-F238E27FC236}">
                    <a16:creationId xmlns:a16="http://schemas.microsoft.com/office/drawing/2014/main" id="{CF1F07AD-9BA6-4FDB-940B-BA281959FD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862411" y="6999007"/>
                <a:ext cx="284286" cy="277023"/>
              </a:xfrm>
              <a:custGeom>
                <a:avLst/>
                <a:gdLst>
                  <a:gd name="T0" fmla="*/ 114 w 116"/>
                  <a:gd name="T1" fmla="*/ 113 h 113"/>
                  <a:gd name="T2" fmla="*/ 113 w 116"/>
                  <a:gd name="T3" fmla="*/ 112 h 113"/>
                  <a:gd name="T4" fmla="*/ 48 w 116"/>
                  <a:gd name="T5" fmla="*/ 75 h 113"/>
                  <a:gd name="T6" fmla="*/ 39 w 116"/>
                  <a:gd name="T7" fmla="*/ 80 h 113"/>
                  <a:gd name="T8" fmla="*/ 37 w 116"/>
                  <a:gd name="T9" fmla="*/ 80 h 113"/>
                  <a:gd name="T10" fmla="*/ 36 w 116"/>
                  <a:gd name="T11" fmla="*/ 78 h 113"/>
                  <a:gd name="T12" fmla="*/ 36 w 116"/>
                  <a:gd name="T13" fmla="*/ 53 h 113"/>
                  <a:gd name="T14" fmla="*/ 1 w 116"/>
                  <a:gd name="T15" fmla="*/ 32 h 113"/>
                  <a:gd name="T16" fmla="*/ 0 w 116"/>
                  <a:gd name="T17" fmla="*/ 31 h 113"/>
                  <a:gd name="T18" fmla="*/ 1 w 116"/>
                  <a:gd name="T19" fmla="*/ 29 h 113"/>
                  <a:gd name="T20" fmla="*/ 50 w 116"/>
                  <a:gd name="T21" fmla="*/ 0 h 113"/>
                  <a:gd name="T22" fmla="*/ 52 w 116"/>
                  <a:gd name="T23" fmla="*/ 0 h 113"/>
                  <a:gd name="T24" fmla="*/ 112 w 116"/>
                  <a:gd name="T25" fmla="*/ 35 h 113"/>
                  <a:gd name="T26" fmla="*/ 113 w 116"/>
                  <a:gd name="T27" fmla="*/ 34 h 113"/>
                  <a:gd name="T28" fmla="*/ 115 w 116"/>
                  <a:gd name="T29" fmla="*/ 34 h 113"/>
                  <a:gd name="T30" fmla="*/ 116 w 116"/>
                  <a:gd name="T31" fmla="*/ 36 h 113"/>
                  <a:gd name="T32" fmla="*/ 116 w 116"/>
                  <a:gd name="T33" fmla="*/ 111 h 113"/>
                  <a:gd name="T34" fmla="*/ 115 w 116"/>
                  <a:gd name="T35" fmla="*/ 112 h 113"/>
                  <a:gd name="T36" fmla="*/ 114 w 116"/>
                  <a:gd name="T37" fmla="*/ 113 h 113"/>
                  <a:gd name="T38" fmla="*/ 48 w 116"/>
                  <a:gd name="T39" fmla="*/ 71 h 113"/>
                  <a:gd name="T40" fmla="*/ 49 w 116"/>
                  <a:gd name="T41" fmla="*/ 71 h 113"/>
                  <a:gd name="T42" fmla="*/ 112 w 116"/>
                  <a:gd name="T43" fmla="*/ 107 h 113"/>
                  <a:gd name="T44" fmla="*/ 112 w 116"/>
                  <a:gd name="T45" fmla="*/ 39 h 113"/>
                  <a:gd name="T46" fmla="*/ 111 w 116"/>
                  <a:gd name="T47" fmla="*/ 39 h 113"/>
                  <a:gd name="T48" fmla="*/ 51 w 116"/>
                  <a:gd name="T49" fmla="*/ 4 h 113"/>
                  <a:gd name="T50" fmla="*/ 6 w 116"/>
                  <a:gd name="T51" fmla="*/ 31 h 113"/>
                  <a:gd name="T52" fmla="*/ 39 w 116"/>
                  <a:gd name="T53" fmla="*/ 50 h 113"/>
                  <a:gd name="T54" fmla="*/ 40 w 116"/>
                  <a:gd name="T55" fmla="*/ 51 h 113"/>
                  <a:gd name="T56" fmla="*/ 40 w 116"/>
                  <a:gd name="T57" fmla="*/ 75 h 113"/>
                  <a:gd name="T58" fmla="*/ 47 w 116"/>
                  <a:gd name="T59" fmla="*/ 71 h 113"/>
                  <a:gd name="T60" fmla="*/ 48 w 116"/>
                  <a:gd name="T61" fmla="*/ 7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6" h="113">
                    <a:moveTo>
                      <a:pt x="114" y="113"/>
                    </a:moveTo>
                    <a:cubicBezTo>
                      <a:pt x="114" y="113"/>
                      <a:pt x="113" y="113"/>
                      <a:pt x="113" y="112"/>
                    </a:cubicBezTo>
                    <a:cubicBezTo>
                      <a:pt x="48" y="75"/>
                      <a:pt x="48" y="75"/>
                      <a:pt x="48" y="75"/>
                    </a:cubicBezTo>
                    <a:cubicBezTo>
                      <a:pt x="39" y="80"/>
                      <a:pt x="39" y="80"/>
                      <a:pt x="39" y="80"/>
                    </a:cubicBezTo>
                    <a:cubicBezTo>
                      <a:pt x="38" y="80"/>
                      <a:pt x="37" y="80"/>
                      <a:pt x="37" y="80"/>
                    </a:cubicBezTo>
                    <a:cubicBezTo>
                      <a:pt x="36" y="80"/>
                      <a:pt x="36" y="79"/>
                      <a:pt x="36" y="78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1" y="0"/>
                      <a:pt x="52" y="0"/>
                      <a:pt x="52" y="0"/>
                    </a:cubicBezTo>
                    <a:cubicBezTo>
                      <a:pt x="112" y="35"/>
                      <a:pt x="112" y="35"/>
                      <a:pt x="112" y="35"/>
                    </a:cubicBezTo>
                    <a:cubicBezTo>
                      <a:pt x="113" y="34"/>
                      <a:pt x="113" y="34"/>
                      <a:pt x="113" y="34"/>
                    </a:cubicBezTo>
                    <a:cubicBezTo>
                      <a:pt x="114" y="34"/>
                      <a:pt x="114" y="34"/>
                      <a:pt x="115" y="34"/>
                    </a:cubicBezTo>
                    <a:cubicBezTo>
                      <a:pt x="116" y="35"/>
                      <a:pt x="116" y="35"/>
                      <a:pt x="116" y="36"/>
                    </a:cubicBezTo>
                    <a:cubicBezTo>
                      <a:pt x="116" y="111"/>
                      <a:pt x="116" y="111"/>
                      <a:pt x="116" y="111"/>
                    </a:cubicBezTo>
                    <a:cubicBezTo>
                      <a:pt x="116" y="111"/>
                      <a:pt x="116" y="112"/>
                      <a:pt x="115" y="112"/>
                    </a:cubicBezTo>
                    <a:cubicBezTo>
                      <a:pt x="115" y="113"/>
                      <a:pt x="114" y="113"/>
                      <a:pt x="114" y="113"/>
                    </a:cubicBezTo>
                    <a:close/>
                    <a:moveTo>
                      <a:pt x="48" y="71"/>
                    </a:moveTo>
                    <a:cubicBezTo>
                      <a:pt x="48" y="71"/>
                      <a:pt x="49" y="71"/>
                      <a:pt x="49" y="71"/>
                    </a:cubicBezTo>
                    <a:cubicBezTo>
                      <a:pt x="112" y="107"/>
                      <a:pt x="112" y="107"/>
                      <a:pt x="112" y="107"/>
                    </a:cubicBezTo>
                    <a:cubicBezTo>
                      <a:pt x="112" y="39"/>
                      <a:pt x="112" y="39"/>
                      <a:pt x="112" y="39"/>
                    </a:cubicBezTo>
                    <a:cubicBezTo>
                      <a:pt x="112" y="39"/>
                      <a:pt x="112" y="39"/>
                      <a:pt x="111" y="39"/>
                    </a:cubicBezTo>
                    <a:cubicBezTo>
                      <a:pt x="51" y="4"/>
                      <a:pt x="51" y="4"/>
                      <a:pt x="51" y="4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39" y="50"/>
                      <a:pt x="39" y="50"/>
                      <a:pt x="39" y="50"/>
                    </a:cubicBezTo>
                    <a:cubicBezTo>
                      <a:pt x="39" y="50"/>
                      <a:pt x="40" y="51"/>
                      <a:pt x="40" y="51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7" y="71"/>
                      <a:pt x="48" y="71"/>
                      <a:pt x="48" y="7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9" name="Freeform 689">
                <a:extLst>
                  <a:ext uri="{FF2B5EF4-FFF2-40B4-BE49-F238E27FC236}">
                    <a16:creationId xmlns:a16="http://schemas.microsoft.com/office/drawing/2014/main" id="{DE0CA587-8934-4060-83AA-56FDBA22D3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53319" y="6802912"/>
                <a:ext cx="301925" cy="179494"/>
              </a:xfrm>
              <a:custGeom>
                <a:avLst/>
                <a:gdLst>
                  <a:gd name="T0" fmla="*/ 17 w 123"/>
                  <a:gd name="T1" fmla="*/ 73 h 73"/>
                  <a:gd name="T2" fmla="*/ 16 w 123"/>
                  <a:gd name="T3" fmla="*/ 72 h 73"/>
                  <a:gd name="T4" fmla="*/ 1 w 123"/>
                  <a:gd name="T5" fmla="*/ 64 h 73"/>
                  <a:gd name="T6" fmla="*/ 0 w 123"/>
                  <a:gd name="T7" fmla="*/ 62 h 73"/>
                  <a:gd name="T8" fmla="*/ 1 w 123"/>
                  <a:gd name="T9" fmla="*/ 60 h 73"/>
                  <a:gd name="T10" fmla="*/ 105 w 123"/>
                  <a:gd name="T11" fmla="*/ 0 h 73"/>
                  <a:gd name="T12" fmla="*/ 107 w 123"/>
                  <a:gd name="T13" fmla="*/ 0 h 73"/>
                  <a:gd name="T14" fmla="*/ 122 w 123"/>
                  <a:gd name="T15" fmla="*/ 9 h 73"/>
                  <a:gd name="T16" fmla="*/ 123 w 123"/>
                  <a:gd name="T17" fmla="*/ 10 h 73"/>
                  <a:gd name="T18" fmla="*/ 122 w 123"/>
                  <a:gd name="T19" fmla="*/ 12 h 73"/>
                  <a:gd name="T20" fmla="*/ 18 w 123"/>
                  <a:gd name="T21" fmla="*/ 72 h 73"/>
                  <a:gd name="T22" fmla="*/ 17 w 123"/>
                  <a:gd name="T23" fmla="*/ 73 h 73"/>
                  <a:gd name="T24" fmla="*/ 6 w 123"/>
                  <a:gd name="T25" fmla="*/ 62 h 73"/>
                  <a:gd name="T26" fmla="*/ 17 w 123"/>
                  <a:gd name="T27" fmla="*/ 68 h 73"/>
                  <a:gd name="T28" fmla="*/ 117 w 123"/>
                  <a:gd name="T29" fmla="*/ 10 h 73"/>
                  <a:gd name="T30" fmla="*/ 106 w 123"/>
                  <a:gd name="T31" fmla="*/ 4 h 73"/>
                  <a:gd name="T32" fmla="*/ 6 w 123"/>
                  <a:gd name="T33" fmla="*/ 6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3" h="73">
                    <a:moveTo>
                      <a:pt x="17" y="73"/>
                    </a:moveTo>
                    <a:cubicBezTo>
                      <a:pt x="17" y="73"/>
                      <a:pt x="17" y="72"/>
                      <a:pt x="16" y="72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6" y="0"/>
                      <a:pt x="107" y="0"/>
                      <a:pt x="107" y="0"/>
                    </a:cubicBezTo>
                    <a:cubicBezTo>
                      <a:pt x="122" y="9"/>
                      <a:pt x="122" y="9"/>
                      <a:pt x="122" y="9"/>
                    </a:cubicBezTo>
                    <a:cubicBezTo>
                      <a:pt x="123" y="9"/>
                      <a:pt x="123" y="10"/>
                      <a:pt x="123" y="10"/>
                    </a:cubicBezTo>
                    <a:cubicBezTo>
                      <a:pt x="123" y="11"/>
                      <a:pt x="123" y="12"/>
                      <a:pt x="122" y="12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8" y="72"/>
                      <a:pt x="18" y="73"/>
                      <a:pt x="17" y="73"/>
                    </a:cubicBezTo>
                    <a:close/>
                    <a:moveTo>
                      <a:pt x="6" y="62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17" y="10"/>
                      <a:pt x="117" y="10"/>
                      <a:pt x="117" y="10"/>
                    </a:cubicBezTo>
                    <a:cubicBezTo>
                      <a:pt x="106" y="4"/>
                      <a:pt x="106" y="4"/>
                      <a:pt x="106" y="4"/>
                    </a:cubicBez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0" name="Freeform 690">
                <a:extLst>
                  <a:ext uri="{FF2B5EF4-FFF2-40B4-BE49-F238E27FC236}">
                    <a16:creationId xmlns:a16="http://schemas.microsoft.com/office/drawing/2014/main" id="{937E6906-DF45-4B6D-A486-4F26C194CB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78220" y="6401385"/>
                <a:ext cx="93379" cy="104791"/>
              </a:xfrm>
              <a:custGeom>
                <a:avLst/>
                <a:gdLst>
                  <a:gd name="T0" fmla="*/ 2 w 38"/>
                  <a:gd name="T1" fmla="*/ 43 h 43"/>
                  <a:gd name="T2" fmla="*/ 1 w 38"/>
                  <a:gd name="T3" fmla="*/ 43 h 43"/>
                  <a:gd name="T4" fmla="*/ 0 w 38"/>
                  <a:gd name="T5" fmla="*/ 41 h 43"/>
                  <a:gd name="T6" fmla="*/ 0 w 38"/>
                  <a:gd name="T7" fmla="*/ 2 h 43"/>
                  <a:gd name="T8" fmla="*/ 1 w 38"/>
                  <a:gd name="T9" fmla="*/ 1 h 43"/>
                  <a:gd name="T10" fmla="*/ 3 w 38"/>
                  <a:gd name="T11" fmla="*/ 1 h 43"/>
                  <a:gd name="T12" fmla="*/ 37 w 38"/>
                  <a:gd name="T13" fmla="*/ 20 h 43"/>
                  <a:gd name="T14" fmla="*/ 38 w 38"/>
                  <a:gd name="T15" fmla="*/ 22 h 43"/>
                  <a:gd name="T16" fmla="*/ 37 w 38"/>
                  <a:gd name="T17" fmla="*/ 23 h 43"/>
                  <a:gd name="T18" fmla="*/ 3 w 38"/>
                  <a:gd name="T19" fmla="*/ 43 h 43"/>
                  <a:gd name="T20" fmla="*/ 2 w 38"/>
                  <a:gd name="T21" fmla="*/ 43 h 43"/>
                  <a:gd name="T22" fmla="*/ 4 w 38"/>
                  <a:gd name="T23" fmla="*/ 6 h 43"/>
                  <a:gd name="T24" fmla="*/ 4 w 38"/>
                  <a:gd name="T25" fmla="*/ 37 h 43"/>
                  <a:gd name="T26" fmla="*/ 32 w 38"/>
                  <a:gd name="T27" fmla="*/ 22 h 43"/>
                  <a:gd name="T28" fmla="*/ 4 w 38"/>
                  <a:gd name="T29" fmla="*/ 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43">
                    <a:moveTo>
                      <a:pt x="2" y="43"/>
                    </a:moveTo>
                    <a:cubicBezTo>
                      <a:pt x="2" y="43"/>
                      <a:pt x="1" y="43"/>
                      <a:pt x="1" y="43"/>
                    </a:cubicBezTo>
                    <a:cubicBezTo>
                      <a:pt x="0" y="42"/>
                      <a:pt x="0" y="42"/>
                      <a:pt x="0" y="4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0"/>
                      <a:pt x="38" y="21"/>
                      <a:pt x="38" y="22"/>
                    </a:cubicBezTo>
                    <a:cubicBezTo>
                      <a:pt x="38" y="22"/>
                      <a:pt x="37" y="23"/>
                      <a:pt x="37" y="2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3"/>
                      <a:pt x="2" y="43"/>
                      <a:pt x="2" y="43"/>
                    </a:cubicBezTo>
                    <a:close/>
                    <a:moveTo>
                      <a:pt x="4" y="6"/>
                    </a:moveTo>
                    <a:cubicBezTo>
                      <a:pt x="4" y="37"/>
                      <a:pt x="4" y="37"/>
                      <a:pt x="4" y="37"/>
                    </a:cubicBezTo>
                    <a:cubicBezTo>
                      <a:pt x="32" y="22"/>
                      <a:pt x="32" y="22"/>
                      <a:pt x="32" y="22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1" name="Freeform 697">
                <a:extLst>
                  <a:ext uri="{FF2B5EF4-FFF2-40B4-BE49-F238E27FC236}">
                    <a16:creationId xmlns:a16="http://schemas.microsoft.com/office/drawing/2014/main" id="{5590EF89-B379-4EDE-BE52-2128C25A02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511722" y="6239529"/>
                <a:ext cx="203358" cy="144218"/>
              </a:xfrm>
              <a:custGeom>
                <a:avLst/>
                <a:gdLst>
                  <a:gd name="T0" fmla="*/ 81 w 83"/>
                  <a:gd name="T1" fmla="*/ 59 h 59"/>
                  <a:gd name="T2" fmla="*/ 80 w 83"/>
                  <a:gd name="T3" fmla="*/ 59 h 59"/>
                  <a:gd name="T4" fmla="*/ 70 w 83"/>
                  <a:gd name="T5" fmla="*/ 53 h 59"/>
                  <a:gd name="T6" fmla="*/ 69 w 83"/>
                  <a:gd name="T7" fmla="*/ 51 h 59"/>
                  <a:gd name="T8" fmla="*/ 69 w 83"/>
                  <a:gd name="T9" fmla="*/ 49 h 59"/>
                  <a:gd name="T10" fmla="*/ 67 w 83"/>
                  <a:gd name="T11" fmla="*/ 50 h 59"/>
                  <a:gd name="T12" fmla="*/ 65 w 83"/>
                  <a:gd name="T13" fmla="*/ 50 h 59"/>
                  <a:gd name="T14" fmla="*/ 1 w 83"/>
                  <a:gd name="T15" fmla="*/ 13 h 59"/>
                  <a:gd name="T16" fmla="*/ 0 w 83"/>
                  <a:gd name="T17" fmla="*/ 11 h 59"/>
                  <a:gd name="T18" fmla="*/ 1 w 83"/>
                  <a:gd name="T19" fmla="*/ 10 h 59"/>
                  <a:gd name="T20" fmla="*/ 18 w 83"/>
                  <a:gd name="T21" fmla="*/ 0 h 59"/>
                  <a:gd name="T22" fmla="*/ 20 w 83"/>
                  <a:gd name="T23" fmla="*/ 0 h 59"/>
                  <a:gd name="T24" fmla="*/ 82 w 83"/>
                  <a:gd name="T25" fmla="*/ 36 h 59"/>
                  <a:gd name="T26" fmla="*/ 83 w 83"/>
                  <a:gd name="T27" fmla="*/ 38 h 59"/>
                  <a:gd name="T28" fmla="*/ 83 w 83"/>
                  <a:gd name="T29" fmla="*/ 57 h 59"/>
                  <a:gd name="T30" fmla="*/ 82 w 83"/>
                  <a:gd name="T31" fmla="*/ 59 h 59"/>
                  <a:gd name="T32" fmla="*/ 81 w 83"/>
                  <a:gd name="T33" fmla="*/ 59 h 59"/>
                  <a:gd name="T34" fmla="*/ 73 w 83"/>
                  <a:gd name="T35" fmla="*/ 50 h 59"/>
                  <a:gd name="T36" fmla="*/ 79 w 83"/>
                  <a:gd name="T37" fmla="*/ 54 h 59"/>
                  <a:gd name="T38" fmla="*/ 79 w 83"/>
                  <a:gd name="T39" fmla="*/ 39 h 59"/>
                  <a:gd name="T40" fmla="*/ 19 w 83"/>
                  <a:gd name="T41" fmla="*/ 4 h 59"/>
                  <a:gd name="T42" fmla="*/ 6 w 83"/>
                  <a:gd name="T43" fmla="*/ 11 h 59"/>
                  <a:gd name="T44" fmla="*/ 66 w 83"/>
                  <a:gd name="T45" fmla="*/ 46 h 59"/>
                  <a:gd name="T46" fmla="*/ 70 w 83"/>
                  <a:gd name="T47" fmla="*/ 44 h 59"/>
                  <a:gd name="T48" fmla="*/ 72 w 83"/>
                  <a:gd name="T49" fmla="*/ 44 h 59"/>
                  <a:gd name="T50" fmla="*/ 73 w 83"/>
                  <a:gd name="T51" fmla="*/ 45 h 59"/>
                  <a:gd name="T52" fmla="*/ 73 w 83"/>
                  <a:gd name="T53" fmla="*/ 5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59">
                    <a:moveTo>
                      <a:pt x="81" y="59"/>
                    </a:moveTo>
                    <a:cubicBezTo>
                      <a:pt x="81" y="59"/>
                      <a:pt x="81" y="59"/>
                      <a:pt x="80" y="59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70" y="53"/>
                      <a:pt x="69" y="52"/>
                      <a:pt x="69" y="51"/>
                    </a:cubicBezTo>
                    <a:cubicBezTo>
                      <a:pt x="69" y="49"/>
                      <a:pt x="69" y="49"/>
                      <a:pt x="69" y="49"/>
                    </a:cubicBezTo>
                    <a:cubicBezTo>
                      <a:pt x="67" y="50"/>
                      <a:pt x="67" y="50"/>
                      <a:pt x="67" y="50"/>
                    </a:cubicBezTo>
                    <a:cubicBezTo>
                      <a:pt x="66" y="50"/>
                      <a:pt x="66" y="50"/>
                      <a:pt x="65" y="50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0" y="12"/>
                      <a:pt x="0" y="11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0"/>
                      <a:pt x="19" y="0"/>
                      <a:pt x="20" y="0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3" y="36"/>
                      <a:pt x="83" y="37"/>
                      <a:pt x="83" y="38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83" y="58"/>
                      <a:pt x="83" y="58"/>
                      <a:pt x="82" y="59"/>
                    </a:cubicBezTo>
                    <a:cubicBezTo>
                      <a:pt x="82" y="59"/>
                      <a:pt x="82" y="59"/>
                      <a:pt x="81" y="59"/>
                    </a:cubicBezTo>
                    <a:close/>
                    <a:moveTo>
                      <a:pt x="73" y="50"/>
                    </a:moveTo>
                    <a:cubicBezTo>
                      <a:pt x="79" y="54"/>
                      <a:pt x="79" y="54"/>
                      <a:pt x="79" y="54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6" y="46"/>
                      <a:pt x="66" y="46"/>
                      <a:pt x="66" y="46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71" y="43"/>
                      <a:pt x="72" y="43"/>
                      <a:pt x="72" y="44"/>
                    </a:cubicBezTo>
                    <a:cubicBezTo>
                      <a:pt x="73" y="44"/>
                      <a:pt x="73" y="45"/>
                      <a:pt x="73" y="45"/>
                    </a:cubicBezTo>
                    <a:lnTo>
                      <a:pt x="73" y="5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2" name="Freeform 714">
                <a:extLst>
                  <a:ext uri="{FF2B5EF4-FFF2-40B4-BE49-F238E27FC236}">
                    <a16:creationId xmlns:a16="http://schemas.microsoft.com/office/drawing/2014/main" id="{E48744DE-EE33-4EFA-9BB8-658FF65499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7409" y="5937605"/>
                <a:ext cx="34239" cy="46689"/>
              </a:xfrm>
              <a:custGeom>
                <a:avLst/>
                <a:gdLst>
                  <a:gd name="T0" fmla="*/ 2 w 14"/>
                  <a:gd name="T1" fmla="*/ 19 h 19"/>
                  <a:gd name="T2" fmla="*/ 1 w 14"/>
                  <a:gd name="T3" fmla="*/ 18 h 19"/>
                  <a:gd name="T4" fmla="*/ 0 w 14"/>
                  <a:gd name="T5" fmla="*/ 17 h 19"/>
                  <a:gd name="T6" fmla="*/ 0 w 14"/>
                  <a:gd name="T7" fmla="*/ 2 h 19"/>
                  <a:gd name="T8" fmla="*/ 1 w 14"/>
                  <a:gd name="T9" fmla="*/ 0 h 19"/>
                  <a:gd name="T10" fmla="*/ 3 w 14"/>
                  <a:gd name="T11" fmla="*/ 0 h 19"/>
                  <a:gd name="T12" fmla="*/ 10 w 14"/>
                  <a:gd name="T13" fmla="*/ 4 h 19"/>
                  <a:gd name="T14" fmla="*/ 11 w 14"/>
                  <a:gd name="T15" fmla="*/ 6 h 19"/>
                  <a:gd name="T16" fmla="*/ 10 w 14"/>
                  <a:gd name="T17" fmla="*/ 8 h 19"/>
                  <a:gd name="T18" fmla="*/ 13 w 14"/>
                  <a:gd name="T19" fmla="*/ 9 h 19"/>
                  <a:gd name="T20" fmla="*/ 14 w 14"/>
                  <a:gd name="T21" fmla="*/ 11 h 19"/>
                  <a:gd name="T22" fmla="*/ 13 w 14"/>
                  <a:gd name="T23" fmla="*/ 13 h 19"/>
                  <a:gd name="T24" fmla="*/ 3 w 14"/>
                  <a:gd name="T25" fmla="*/ 18 h 19"/>
                  <a:gd name="T26" fmla="*/ 2 w 14"/>
                  <a:gd name="T27" fmla="*/ 19 h 19"/>
                  <a:gd name="T28" fmla="*/ 4 w 14"/>
                  <a:gd name="T29" fmla="*/ 6 h 19"/>
                  <a:gd name="T30" fmla="*/ 4 w 14"/>
                  <a:gd name="T31" fmla="*/ 13 h 19"/>
                  <a:gd name="T32" fmla="*/ 8 w 14"/>
                  <a:gd name="T33" fmla="*/ 11 h 19"/>
                  <a:gd name="T34" fmla="*/ 5 w 14"/>
                  <a:gd name="T35" fmla="*/ 10 h 19"/>
                  <a:gd name="T36" fmla="*/ 4 w 14"/>
                  <a:gd name="T37" fmla="*/ 8 h 19"/>
                  <a:gd name="T38" fmla="*/ 5 w 14"/>
                  <a:gd name="T39" fmla="*/ 6 h 19"/>
                  <a:gd name="T40" fmla="*/ 4 w 14"/>
                  <a:gd name="T41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9">
                    <a:moveTo>
                      <a:pt x="2" y="19"/>
                    </a:moveTo>
                    <a:cubicBezTo>
                      <a:pt x="2" y="19"/>
                      <a:pt x="1" y="18"/>
                      <a:pt x="1" y="18"/>
                    </a:cubicBezTo>
                    <a:cubicBezTo>
                      <a:pt x="0" y="18"/>
                      <a:pt x="0" y="17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5"/>
                      <a:pt x="11" y="5"/>
                      <a:pt x="11" y="6"/>
                    </a:cubicBezTo>
                    <a:cubicBezTo>
                      <a:pt x="11" y="7"/>
                      <a:pt x="11" y="7"/>
                      <a:pt x="10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10"/>
                      <a:pt x="14" y="10"/>
                      <a:pt x="14" y="11"/>
                    </a:cubicBezTo>
                    <a:cubicBezTo>
                      <a:pt x="14" y="12"/>
                      <a:pt x="13" y="12"/>
                      <a:pt x="13" y="13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2" y="19"/>
                      <a:pt x="2" y="19"/>
                    </a:cubicBezTo>
                    <a:close/>
                    <a:moveTo>
                      <a:pt x="4" y="6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9"/>
                      <a:pt x="4" y="9"/>
                      <a:pt x="4" y="8"/>
                    </a:cubicBezTo>
                    <a:cubicBezTo>
                      <a:pt x="4" y="7"/>
                      <a:pt x="4" y="6"/>
                      <a:pt x="5" y="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3" name="Freeform 715">
                <a:extLst>
                  <a:ext uri="{FF2B5EF4-FFF2-40B4-BE49-F238E27FC236}">
                    <a16:creationId xmlns:a16="http://schemas.microsoft.com/office/drawing/2014/main" id="{DE4A5183-2220-4794-8EE5-804BC3CB042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865333" y="5947980"/>
                <a:ext cx="11413" cy="11413"/>
              </a:xfrm>
              <a:custGeom>
                <a:avLst/>
                <a:gdLst>
                  <a:gd name="T0" fmla="*/ 3 w 5"/>
                  <a:gd name="T1" fmla="*/ 5 h 5"/>
                  <a:gd name="T2" fmla="*/ 2 w 5"/>
                  <a:gd name="T3" fmla="*/ 4 h 5"/>
                  <a:gd name="T4" fmla="*/ 1 w 5"/>
                  <a:gd name="T5" fmla="*/ 4 h 5"/>
                  <a:gd name="T6" fmla="*/ 0 w 5"/>
                  <a:gd name="T7" fmla="*/ 2 h 5"/>
                  <a:gd name="T8" fmla="*/ 1 w 5"/>
                  <a:gd name="T9" fmla="*/ 0 h 5"/>
                  <a:gd name="T10" fmla="*/ 2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5 w 5"/>
                  <a:gd name="T17" fmla="*/ 3 h 5"/>
                  <a:gd name="T18" fmla="*/ 4 w 5"/>
                  <a:gd name="T19" fmla="*/ 4 h 5"/>
                  <a:gd name="T20" fmla="*/ 3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5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4"/>
                      <a:pt x="4" y="4"/>
                    </a:cubicBezTo>
                    <a:cubicBezTo>
                      <a:pt x="4" y="4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4" name="Freeform 716">
                <a:extLst>
                  <a:ext uri="{FF2B5EF4-FFF2-40B4-BE49-F238E27FC236}">
                    <a16:creationId xmlns:a16="http://schemas.microsoft.com/office/drawing/2014/main" id="{0916860F-2749-403D-B306-FBACE2F0CB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81934" y="5675107"/>
                <a:ext cx="149406" cy="174307"/>
              </a:xfrm>
              <a:custGeom>
                <a:avLst/>
                <a:gdLst>
                  <a:gd name="T0" fmla="*/ 2 w 61"/>
                  <a:gd name="T1" fmla="*/ 71 h 71"/>
                  <a:gd name="T2" fmla="*/ 1 w 61"/>
                  <a:gd name="T3" fmla="*/ 70 h 71"/>
                  <a:gd name="T4" fmla="*/ 0 w 61"/>
                  <a:gd name="T5" fmla="*/ 69 h 71"/>
                  <a:gd name="T6" fmla="*/ 0 w 61"/>
                  <a:gd name="T7" fmla="*/ 2 h 71"/>
                  <a:gd name="T8" fmla="*/ 1 w 61"/>
                  <a:gd name="T9" fmla="*/ 0 h 71"/>
                  <a:gd name="T10" fmla="*/ 3 w 61"/>
                  <a:gd name="T11" fmla="*/ 0 h 71"/>
                  <a:gd name="T12" fmla="*/ 60 w 61"/>
                  <a:gd name="T13" fmla="*/ 34 h 71"/>
                  <a:gd name="T14" fmla="*/ 61 w 61"/>
                  <a:gd name="T15" fmla="*/ 35 h 71"/>
                  <a:gd name="T16" fmla="*/ 60 w 61"/>
                  <a:gd name="T17" fmla="*/ 37 h 71"/>
                  <a:gd name="T18" fmla="*/ 3 w 61"/>
                  <a:gd name="T19" fmla="*/ 70 h 71"/>
                  <a:gd name="T20" fmla="*/ 2 w 61"/>
                  <a:gd name="T21" fmla="*/ 71 h 71"/>
                  <a:gd name="T22" fmla="*/ 4 w 61"/>
                  <a:gd name="T23" fmla="*/ 6 h 71"/>
                  <a:gd name="T24" fmla="*/ 4 w 61"/>
                  <a:gd name="T25" fmla="*/ 65 h 71"/>
                  <a:gd name="T26" fmla="*/ 55 w 61"/>
                  <a:gd name="T27" fmla="*/ 35 h 71"/>
                  <a:gd name="T28" fmla="*/ 4 w 61"/>
                  <a:gd name="T29" fmla="*/ 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1" h="71">
                    <a:moveTo>
                      <a:pt x="2" y="71"/>
                    </a:moveTo>
                    <a:cubicBezTo>
                      <a:pt x="1" y="71"/>
                      <a:pt x="1" y="71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1" y="34"/>
                      <a:pt x="61" y="35"/>
                      <a:pt x="61" y="35"/>
                    </a:cubicBezTo>
                    <a:cubicBezTo>
                      <a:pt x="61" y="36"/>
                      <a:pt x="61" y="37"/>
                      <a:pt x="60" y="3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2" y="71"/>
                      <a:pt x="2" y="71"/>
                      <a:pt x="2" y="71"/>
                    </a:cubicBezTo>
                    <a:close/>
                    <a:moveTo>
                      <a:pt x="4" y="6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55" y="35"/>
                      <a:pt x="55" y="35"/>
                      <a:pt x="55" y="3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5" name="Freeform 717">
                <a:extLst>
                  <a:ext uri="{FF2B5EF4-FFF2-40B4-BE49-F238E27FC236}">
                    <a16:creationId xmlns:a16="http://schemas.microsoft.com/office/drawing/2014/main" id="{1B7D1305-FBBD-4E3D-9F21-D00BB389C9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5775749"/>
                <a:ext cx="36314" cy="179494"/>
              </a:xfrm>
              <a:custGeom>
                <a:avLst/>
                <a:gdLst>
                  <a:gd name="T0" fmla="*/ 11 w 15"/>
                  <a:gd name="T1" fmla="*/ 73 h 73"/>
                  <a:gd name="T2" fmla="*/ 10 w 15"/>
                  <a:gd name="T3" fmla="*/ 73 h 73"/>
                  <a:gd name="T4" fmla="*/ 1 w 15"/>
                  <a:gd name="T5" fmla="*/ 68 h 73"/>
                  <a:gd name="T6" fmla="*/ 0 w 15"/>
                  <a:gd name="T7" fmla="*/ 66 h 73"/>
                  <a:gd name="T8" fmla="*/ 0 w 15"/>
                  <a:gd name="T9" fmla="*/ 9 h 73"/>
                  <a:gd name="T10" fmla="*/ 1 w 15"/>
                  <a:gd name="T11" fmla="*/ 7 h 73"/>
                  <a:gd name="T12" fmla="*/ 12 w 15"/>
                  <a:gd name="T13" fmla="*/ 0 h 73"/>
                  <a:gd name="T14" fmla="*/ 14 w 15"/>
                  <a:gd name="T15" fmla="*/ 0 h 73"/>
                  <a:gd name="T16" fmla="*/ 15 w 15"/>
                  <a:gd name="T17" fmla="*/ 2 h 73"/>
                  <a:gd name="T18" fmla="*/ 15 w 15"/>
                  <a:gd name="T19" fmla="*/ 70 h 73"/>
                  <a:gd name="T20" fmla="*/ 14 w 15"/>
                  <a:gd name="T21" fmla="*/ 72 h 73"/>
                  <a:gd name="T22" fmla="*/ 12 w 15"/>
                  <a:gd name="T23" fmla="*/ 73 h 73"/>
                  <a:gd name="T24" fmla="*/ 11 w 15"/>
                  <a:gd name="T25" fmla="*/ 73 h 73"/>
                  <a:gd name="T26" fmla="*/ 4 w 15"/>
                  <a:gd name="T27" fmla="*/ 65 h 73"/>
                  <a:gd name="T28" fmla="*/ 11 w 15"/>
                  <a:gd name="T29" fmla="*/ 69 h 73"/>
                  <a:gd name="T30" fmla="*/ 11 w 15"/>
                  <a:gd name="T31" fmla="*/ 69 h 73"/>
                  <a:gd name="T32" fmla="*/ 11 w 15"/>
                  <a:gd name="T33" fmla="*/ 6 h 73"/>
                  <a:gd name="T34" fmla="*/ 4 w 15"/>
                  <a:gd name="T35" fmla="*/ 10 h 73"/>
                  <a:gd name="T36" fmla="*/ 4 w 15"/>
                  <a:gd name="T37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" h="73">
                    <a:moveTo>
                      <a:pt x="11" y="73"/>
                    </a:moveTo>
                    <a:cubicBezTo>
                      <a:pt x="10" y="73"/>
                      <a:pt x="10" y="73"/>
                      <a:pt x="10" y="73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0" y="68"/>
                      <a:pt x="0" y="67"/>
                      <a:pt x="0" y="6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4" y="0"/>
                    </a:cubicBezTo>
                    <a:cubicBezTo>
                      <a:pt x="15" y="1"/>
                      <a:pt x="15" y="1"/>
                      <a:pt x="15" y="2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5" y="71"/>
                      <a:pt x="15" y="71"/>
                      <a:pt x="14" y="72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1" y="73"/>
                      <a:pt x="11" y="73"/>
                      <a:pt x="11" y="73"/>
                    </a:cubicBezTo>
                    <a:close/>
                    <a:moveTo>
                      <a:pt x="4" y="65"/>
                    </a:move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6" name="Freeform 718">
                <a:extLst>
                  <a:ext uri="{FF2B5EF4-FFF2-40B4-BE49-F238E27FC236}">
                    <a16:creationId xmlns:a16="http://schemas.microsoft.com/office/drawing/2014/main" id="{36EA5F9C-AE95-44FC-B063-58E1ABDBC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56241" y="5863939"/>
                <a:ext cx="48764" cy="39426"/>
              </a:xfrm>
              <a:custGeom>
                <a:avLst/>
                <a:gdLst>
                  <a:gd name="T0" fmla="*/ 9 w 20"/>
                  <a:gd name="T1" fmla="*/ 16 h 16"/>
                  <a:gd name="T2" fmla="*/ 8 w 20"/>
                  <a:gd name="T3" fmla="*/ 16 h 16"/>
                  <a:gd name="T4" fmla="*/ 1 w 20"/>
                  <a:gd name="T5" fmla="*/ 12 h 16"/>
                  <a:gd name="T6" fmla="*/ 0 w 20"/>
                  <a:gd name="T7" fmla="*/ 11 h 16"/>
                  <a:gd name="T8" fmla="*/ 1 w 20"/>
                  <a:gd name="T9" fmla="*/ 9 h 16"/>
                  <a:gd name="T10" fmla="*/ 17 w 20"/>
                  <a:gd name="T11" fmla="*/ 0 h 16"/>
                  <a:gd name="T12" fmla="*/ 19 w 20"/>
                  <a:gd name="T13" fmla="*/ 0 h 16"/>
                  <a:gd name="T14" fmla="*/ 20 w 20"/>
                  <a:gd name="T15" fmla="*/ 2 h 16"/>
                  <a:gd name="T16" fmla="*/ 20 w 20"/>
                  <a:gd name="T17" fmla="*/ 10 h 16"/>
                  <a:gd name="T18" fmla="*/ 19 w 20"/>
                  <a:gd name="T19" fmla="*/ 11 h 16"/>
                  <a:gd name="T20" fmla="*/ 10 w 20"/>
                  <a:gd name="T21" fmla="*/ 16 h 16"/>
                  <a:gd name="T22" fmla="*/ 9 w 20"/>
                  <a:gd name="T23" fmla="*/ 16 h 16"/>
                  <a:gd name="T24" fmla="*/ 6 w 20"/>
                  <a:gd name="T25" fmla="*/ 11 h 16"/>
                  <a:gd name="T26" fmla="*/ 9 w 20"/>
                  <a:gd name="T27" fmla="*/ 12 h 16"/>
                  <a:gd name="T28" fmla="*/ 16 w 20"/>
                  <a:gd name="T29" fmla="*/ 8 h 16"/>
                  <a:gd name="T30" fmla="*/ 16 w 20"/>
                  <a:gd name="T31" fmla="*/ 5 h 16"/>
                  <a:gd name="T32" fmla="*/ 6 w 20"/>
                  <a:gd name="T33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16">
                    <a:moveTo>
                      <a:pt x="9" y="16"/>
                    </a:moveTo>
                    <a:cubicBezTo>
                      <a:pt x="9" y="16"/>
                      <a:pt x="8" y="16"/>
                      <a:pt x="8" y="1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19" y="0"/>
                      <a:pt x="20" y="1"/>
                      <a:pt x="20" y="2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19" y="11"/>
                      <a:pt x="19" y="11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9" y="16"/>
                      <a:pt x="9" y="16"/>
                    </a:cubicBezTo>
                    <a:close/>
                    <a:moveTo>
                      <a:pt x="6" y="11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5"/>
                      <a:pt x="16" y="5"/>
                      <a:pt x="16" y="5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7" name="Freeform 719">
                <a:extLst>
                  <a:ext uri="{FF2B5EF4-FFF2-40B4-BE49-F238E27FC236}">
                    <a16:creationId xmlns:a16="http://schemas.microsoft.com/office/drawing/2014/main" id="{C9D1BFED-2616-47D4-9BA3-7EAE7F138C23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896460" y="6153413"/>
                <a:ext cx="30089" cy="29051"/>
              </a:xfrm>
              <a:custGeom>
                <a:avLst/>
                <a:gdLst>
                  <a:gd name="T0" fmla="*/ 2 w 12"/>
                  <a:gd name="T1" fmla="*/ 12 h 12"/>
                  <a:gd name="T2" fmla="*/ 1 w 12"/>
                  <a:gd name="T3" fmla="*/ 12 h 12"/>
                  <a:gd name="T4" fmla="*/ 0 w 12"/>
                  <a:gd name="T5" fmla="*/ 10 h 12"/>
                  <a:gd name="T6" fmla="*/ 0 w 12"/>
                  <a:gd name="T7" fmla="*/ 7 h 12"/>
                  <a:gd name="T8" fmla="*/ 1 w 12"/>
                  <a:gd name="T9" fmla="*/ 5 h 12"/>
                  <a:gd name="T10" fmla="*/ 9 w 12"/>
                  <a:gd name="T11" fmla="*/ 0 h 12"/>
                  <a:gd name="T12" fmla="*/ 11 w 12"/>
                  <a:gd name="T13" fmla="*/ 0 h 12"/>
                  <a:gd name="T14" fmla="*/ 12 w 12"/>
                  <a:gd name="T15" fmla="*/ 2 h 12"/>
                  <a:gd name="T16" fmla="*/ 12 w 12"/>
                  <a:gd name="T17" fmla="*/ 5 h 12"/>
                  <a:gd name="T18" fmla="*/ 11 w 12"/>
                  <a:gd name="T19" fmla="*/ 7 h 12"/>
                  <a:gd name="T20" fmla="*/ 3 w 12"/>
                  <a:gd name="T21" fmla="*/ 12 h 12"/>
                  <a:gd name="T22" fmla="*/ 2 w 12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2">
                    <a:moveTo>
                      <a:pt x="2" y="12"/>
                    </a:moveTo>
                    <a:cubicBezTo>
                      <a:pt x="2" y="12"/>
                      <a:pt x="2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2" y="1"/>
                      <a:pt x="12" y="1"/>
                      <a:pt x="12" y="2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6"/>
                      <a:pt x="12" y="7"/>
                      <a:pt x="11" y="7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8" name="Freeform 720">
                <a:extLst>
                  <a:ext uri="{FF2B5EF4-FFF2-40B4-BE49-F238E27FC236}">
                    <a16:creationId xmlns:a16="http://schemas.microsoft.com/office/drawing/2014/main" id="{D62B0E45-6173-4593-B89A-B1939CEA31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96460" y="6040321"/>
                <a:ext cx="30089" cy="130730"/>
              </a:xfrm>
              <a:custGeom>
                <a:avLst/>
                <a:gdLst>
                  <a:gd name="T0" fmla="*/ 2 w 12"/>
                  <a:gd name="T1" fmla="*/ 53 h 53"/>
                  <a:gd name="T2" fmla="*/ 1 w 12"/>
                  <a:gd name="T3" fmla="*/ 53 h 53"/>
                  <a:gd name="T4" fmla="*/ 0 w 12"/>
                  <a:gd name="T5" fmla="*/ 51 h 53"/>
                  <a:gd name="T6" fmla="*/ 0 w 12"/>
                  <a:gd name="T7" fmla="*/ 3 h 53"/>
                  <a:gd name="T8" fmla="*/ 1 w 12"/>
                  <a:gd name="T9" fmla="*/ 1 h 53"/>
                  <a:gd name="T10" fmla="*/ 3 w 12"/>
                  <a:gd name="T11" fmla="*/ 1 h 53"/>
                  <a:gd name="T12" fmla="*/ 11 w 12"/>
                  <a:gd name="T13" fmla="*/ 5 h 53"/>
                  <a:gd name="T14" fmla="*/ 12 w 12"/>
                  <a:gd name="T15" fmla="*/ 7 h 53"/>
                  <a:gd name="T16" fmla="*/ 12 w 12"/>
                  <a:gd name="T17" fmla="*/ 46 h 53"/>
                  <a:gd name="T18" fmla="*/ 11 w 12"/>
                  <a:gd name="T19" fmla="*/ 48 h 53"/>
                  <a:gd name="T20" fmla="*/ 3 w 12"/>
                  <a:gd name="T21" fmla="*/ 53 h 53"/>
                  <a:gd name="T22" fmla="*/ 2 w 12"/>
                  <a:gd name="T23" fmla="*/ 53 h 53"/>
                  <a:gd name="T24" fmla="*/ 4 w 12"/>
                  <a:gd name="T25" fmla="*/ 6 h 53"/>
                  <a:gd name="T26" fmla="*/ 4 w 12"/>
                  <a:gd name="T27" fmla="*/ 47 h 53"/>
                  <a:gd name="T28" fmla="*/ 8 w 12"/>
                  <a:gd name="T29" fmla="*/ 45 h 53"/>
                  <a:gd name="T30" fmla="*/ 8 w 12"/>
                  <a:gd name="T31" fmla="*/ 8 h 53"/>
                  <a:gd name="T32" fmla="*/ 4 w 12"/>
                  <a:gd name="T33" fmla="*/ 6 h 53"/>
                  <a:gd name="T34" fmla="*/ 10 w 12"/>
                  <a:gd name="T35" fmla="*/ 46 h 53"/>
                  <a:gd name="T36" fmla="*/ 10 w 12"/>
                  <a:gd name="T37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53">
                    <a:moveTo>
                      <a:pt x="2" y="53"/>
                    </a:moveTo>
                    <a:cubicBezTo>
                      <a:pt x="2" y="53"/>
                      <a:pt x="2" y="53"/>
                      <a:pt x="1" y="53"/>
                    </a:cubicBezTo>
                    <a:cubicBezTo>
                      <a:pt x="1" y="52"/>
                      <a:pt x="0" y="52"/>
                      <a:pt x="0" y="5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7"/>
                      <a:pt x="12" y="7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7"/>
                      <a:pt x="12" y="48"/>
                      <a:pt x="11" y="48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2" y="53"/>
                    </a:cubicBezTo>
                    <a:close/>
                    <a:moveTo>
                      <a:pt x="4" y="6"/>
                    </a:moveTo>
                    <a:cubicBezTo>
                      <a:pt x="4" y="47"/>
                      <a:pt x="4" y="47"/>
                      <a:pt x="4" y="47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4" y="6"/>
                    </a:lnTo>
                    <a:close/>
                    <a:moveTo>
                      <a:pt x="10" y="46"/>
                    </a:moveTo>
                    <a:cubicBezTo>
                      <a:pt x="10" y="46"/>
                      <a:pt x="10" y="46"/>
                      <a:pt x="10" y="4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9" name="Freeform 721">
                <a:extLst>
                  <a:ext uri="{FF2B5EF4-FFF2-40B4-BE49-F238E27FC236}">
                    <a16:creationId xmlns:a16="http://schemas.microsoft.com/office/drawing/2014/main" id="{2EDEAAFB-8129-4A29-A97E-7398C09BBA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7" y="5964581"/>
                <a:ext cx="117242" cy="134880"/>
              </a:xfrm>
              <a:custGeom>
                <a:avLst/>
                <a:gdLst>
                  <a:gd name="T0" fmla="*/ 46 w 48"/>
                  <a:gd name="T1" fmla="*/ 55 h 55"/>
                  <a:gd name="T2" fmla="*/ 45 w 48"/>
                  <a:gd name="T3" fmla="*/ 54 h 55"/>
                  <a:gd name="T4" fmla="*/ 1 w 48"/>
                  <a:gd name="T5" fmla="*/ 29 h 55"/>
                  <a:gd name="T6" fmla="*/ 0 w 48"/>
                  <a:gd name="T7" fmla="*/ 27 h 55"/>
                  <a:gd name="T8" fmla="*/ 1 w 48"/>
                  <a:gd name="T9" fmla="*/ 25 h 55"/>
                  <a:gd name="T10" fmla="*/ 45 w 48"/>
                  <a:gd name="T11" fmla="*/ 0 h 55"/>
                  <a:gd name="T12" fmla="*/ 47 w 48"/>
                  <a:gd name="T13" fmla="*/ 0 h 55"/>
                  <a:gd name="T14" fmla="*/ 48 w 48"/>
                  <a:gd name="T15" fmla="*/ 2 h 55"/>
                  <a:gd name="T16" fmla="*/ 48 w 48"/>
                  <a:gd name="T17" fmla="*/ 53 h 55"/>
                  <a:gd name="T18" fmla="*/ 47 w 48"/>
                  <a:gd name="T19" fmla="*/ 54 h 55"/>
                  <a:gd name="T20" fmla="*/ 46 w 48"/>
                  <a:gd name="T21" fmla="*/ 55 h 55"/>
                  <a:gd name="T22" fmla="*/ 6 w 48"/>
                  <a:gd name="T23" fmla="*/ 27 h 55"/>
                  <a:gd name="T24" fmla="*/ 44 w 48"/>
                  <a:gd name="T25" fmla="*/ 49 h 55"/>
                  <a:gd name="T26" fmla="*/ 44 w 48"/>
                  <a:gd name="T27" fmla="*/ 5 h 55"/>
                  <a:gd name="T28" fmla="*/ 6 w 48"/>
                  <a:gd name="T29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5">
                    <a:moveTo>
                      <a:pt x="46" y="55"/>
                    </a:moveTo>
                    <a:cubicBezTo>
                      <a:pt x="46" y="55"/>
                      <a:pt x="46" y="54"/>
                      <a:pt x="45" y="54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6"/>
                      <a:pt x="1" y="26"/>
                      <a:pt x="1" y="2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7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4"/>
                      <a:pt x="47" y="54"/>
                    </a:cubicBezTo>
                    <a:cubicBezTo>
                      <a:pt x="47" y="54"/>
                      <a:pt x="47" y="55"/>
                      <a:pt x="46" y="55"/>
                    </a:cubicBezTo>
                    <a:close/>
                    <a:moveTo>
                      <a:pt x="6" y="27"/>
                    </a:moveTo>
                    <a:cubicBezTo>
                      <a:pt x="44" y="49"/>
                      <a:pt x="44" y="49"/>
                      <a:pt x="44" y="49"/>
                    </a:cubicBezTo>
                    <a:cubicBezTo>
                      <a:pt x="44" y="5"/>
                      <a:pt x="44" y="5"/>
                      <a:pt x="44" y="5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0" name="Freeform 723">
                <a:extLst>
                  <a:ext uri="{FF2B5EF4-FFF2-40B4-BE49-F238E27FC236}">
                    <a16:creationId xmlns:a16="http://schemas.microsoft.com/office/drawing/2014/main" id="{09DCBF55-616C-4BDE-909C-81FC5B247F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18003" y="6212553"/>
                <a:ext cx="51877" cy="56027"/>
              </a:xfrm>
              <a:custGeom>
                <a:avLst/>
                <a:gdLst>
                  <a:gd name="T0" fmla="*/ 2 w 21"/>
                  <a:gd name="T1" fmla="*/ 23 h 23"/>
                  <a:gd name="T2" fmla="*/ 1 w 21"/>
                  <a:gd name="T3" fmla="*/ 23 h 23"/>
                  <a:gd name="T4" fmla="*/ 0 w 21"/>
                  <a:gd name="T5" fmla="*/ 21 h 23"/>
                  <a:gd name="T6" fmla="*/ 0 w 21"/>
                  <a:gd name="T7" fmla="*/ 2 h 23"/>
                  <a:gd name="T8" fmla="*/ 1 w 21"/>
                  <a:gd name="T9" fmla="*/ 0 h 23"/>
                  <a:gd name="T10" fmla="*/ 3 w 21"/>
                  <a:gd name="T11" fmla="*/ 0 h 23"/>
                  <a:gd name="T12" fmla="*/ 20 w 21"/>
                  <a:gd name="T13" fmla="*/ 10 h 23"/>
                  <a:gd name="T14" fmla="*/ 21 w 21"/>
                  <a:gd name="T15" fmla="*/ 12 h 23"/>
                  <a:gd name="T16" fmla="*/ 20 w 21"/>
                  <a:gd name="T17" fmla="*/ 13 h 23"/>
                  <a:gd name="T18" fmla="*/ 3 w 21"/>
                  <a:gd name="T19" fmla="*/ 23 h 23"/>
                  <a:gd name="T20" fmla="*/ 2 w 21"/>
                  <a:gd name="T21" fmla="*/ 23 h 23"/>
                  <a:gd name="T22" fmla="*/ 4 w 21"/>
                  <a:gd name="T23" fmla="*/ 5 h 23"/>
                  <a:gd name="T24" fmla="*/ 4 w 21"/>
                  <a:gd name="T25" fmla="*/ 18 h 23"/>
                  <a:gd name="T26" fmla="*/ 15 w 21"/>
                  <a:gd name="T27" fmla="*/ 12 h 23"/>
                  <a:gd name="T28" fmla="*/ 4 w 21"/>
                  <a:gd name="T2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3">
                    <a:moveTo>
                      <a:pt x="2" y="23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1" y="11"/>
                      <a:pt x="21" y="12"/>
                    </a:cubicBezTo>
                    <a:cubicBezTo>
                      <a:pt x="21" y="12"/>
                      <a:pt x="20" y="13"/>
                      <a:pt x="20" y="1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  <a:moveTo>
                      <a:pt x="4" y="5"/>
                    </a:moveTo>
                    <a:cubicBezTo>
                      <a:pt x="4" y="18"/>
                      <a:pt x="4" y="18"/>
                      <a:pt x="4" y="18"/>
                    </a:cubicBezTo>
                    <a:cubicBezTo>
                      <a:pt x="15" y="12"/>
                      <a:pt x="15" y="12"/>
                      <a:pt x="15" y="12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1" name="Freeform 726">
                <a:extLst>
                  <a:ext uri="{FF2B5EF4-FFF2-40B4-BE49-F238E27FC236}">
                    <a16:creationId xmlns:a16="http://schemas.microsoft.com/office/drawing/2014/main" id="{4004D245-8A7C-4E13-B7A3-CB695DAE55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7" y="6094273"/>
                <a:ext cx="154594" cy="147331"/>
              </a:xfrm>
              <a:custGeom>
                <a:avLst/>
                <a:gdLst>
                  <a:gd name="T0" fmla="*/ 2 w 63"/>
                  <a:gd name="T1" fmla="*/ 60 h 60"/>
                  <a:gd name="T2" fmla="*/ 1 w 63"/>
                  <a:gd name="T3" fmla="*/ 60 h 60"/>
                  <a:gd name="T4" fmla="*/ 0 w 63"/>
                  <a:gd name="T5" fmla="*/ 58 h 60"/>
                  <a:gd name="T6" fmla="*/ 0 w 63"/>
                  <a:gd name="T7" fmla="*/ 36 h 60"/>
                  <a:gd name="T8" fmla="*/ 1 w 63"/>
                  <a:gd name="T9" fmla="*/ 35 h 60"/>
                  <a:gd name="T10" fmla="*/ 60 w 63"/>
                  <a:gd name="T11" fmla="*/ 1 h 60"/>
                  <a:gd name="T12" fmla="*/ 62 w 63"/>
                  <a:gd name="T13" fmla="*/ 1 h 60"/>
                  <a:gd name="T14" fmla="*/ 63 w 63"/>
                  <a:gd name="T15" fmla="*/ 2 h 60"/>
                  <a:gd name="T16" fmla="*/ 63 w 63"/>
                  <a:gd name="T17" fmla="*/ 24 h 60"/>
                  <a:gd name="T18" fmla="*/ 62 w 63"/>
                  <a:gd name="T19" fmla="*/ 26 h 60"/>
                  <a:gd name="T20" fmla="*/ 3 w 63"/>
                  <a:gd name="T21" fmla="*/ 60 h 60"/>
                  <a:gd name="T22" fmla="*/ 2 w 63"/>
                  <a:gd name="T23" fmla="*/ 60 h 60"/>
                  <a:gd name="T24" fmla="*/ 4 w 63"/>
                  <a:gd name="T25" fmla="*/ 38 h 60"/>
                  <a:gd name="T26" fmla="*/ 4 w 63"/>
                  <a:gd name="T27" fmla="*/ 55 h 60"/>
                  <a:gd name="T28" fmla="*/ 59 w 63"/>
                  <a:gd name="T29" fmla="*/ 23 h 60"/>
                  <a:gd name="T30" fmla="*/ 59 w 63"/>
                  <a:gd name="T31" fmla="*/ 6 h 60"/>
                  <a:gd name="T32" fmla="*/ 4 w 63"/>
                  <a:gd name="T33" fmla="*/ 38 h 60"/>
                  <a:gd name="T34" fmla="*/ 61 w 63"/>
                  <a:gd name="T35" fmla="*/ 24 h 60"/>
                  <a:gd name="T36" fmla="*/ 61 w 63"/>
                  <a:gd name="T37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60">
                    <a:moveTo>
                      <a:pt x="2" y="60"/>
                    </a:moveTo>
                    <a:cubicBezTo>
                      <a:pt x="2" y="60"/>
                      <a:pt x="2" y="60"/>
                      <a:pt x="1" y="60"/>
                    </a:cubicBezTo>
                    <a:cubicBezTo>
                      <a:pt x="1" y="59"/>
                      <a:pt x="0" y="59"/>
                      <a:pt x="0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2" y="0"/>
                      <a:pt x="62" y="1"/>
                    </a:cubicBezTo>
                    <a:cubicBezTo>
                      <a:pt x="63" y="1"/>
                      <a:pt x="63" y="2"/>
                      <a:pt x="63" y="2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63" y="25"/>
                      <a:pt x="63" y="25"/>
                      <a:pt x="62" y="26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3" y="60"/>
                      <a:pt x="3" y="60"/>
                      <a:pt x="2" y="60"/>
                    </a:cubicBezTo>
                    <a:close/>
                    <a:moveTo>
                      <a:pt x="4" y="38"/>
                    </a:moveTo>
                    <a:cubicBezTo>
                      <a:pt x="4" y="55"/>
                      <a:pt x="4" y="55"/>
                      <a:pt x="4" y="55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"/>
                      <a:pt x="59" y="6"/>
                      <a:pt x="59" y="6"/>
                    </a:cubicBezTo>
                    <a:lnTo>
                      <a:pt x="4" y="38"/>
                    </a:lnTo>
                    <a:close/>
                    <a:moveTo>
                      <a:pt x="61" y="24"/>
                    </a:moveTo>
                    <a:cubicBezTo>
                      <a:pt x="61" y="24"/>
                      <a:pt x="61" y="24"/>
                      <a:pt x="61" y="2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2" name="Freeform 727">
                <a:extLst>
                  <a:ext uri="{FF2B5EF4-FFF2-40B4-BE49-F238E27FC236}">
                    <a16:creationId xmlns:a16="http://schemas.microsoft.com/office/drawing/2014/main" id="{447AB79A-977C-463F-8533-2BA32A7DA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7" y="6153413"/>
                <a:ext cx="154594" cy="203358"/>
              </a:xfrm>
              <a:custGeom>
                <a:avLst/>
                <a:gdLst>
                  <a:gd name="T0" fmla="*/ 2 w 63"/>
                  <a:gd name="T1" fmla="*/ 83 h 83"/>
                  <a:gd name="T2" fmla="*/ 1 w 63"/>
                  <a:gd name="T3" fmla="*/ 82 h 83"/>
                  <a:gd name="T4" fmla="*/ 0 w 63"/>
                  <a:gd name="T5" fmla="*/ 81 h 83"/>
                  <a:gd name="T6" fmla="*/ 0 w 63"/>
                  <a:gd name="T7" fmla="*/ 36 h 83"/>
                  <a:gd name="T8" fmla="*/ 1 w 63"/>
                  <a:gd name="T9" fmla="*/ 34 h 83"/>
                  <a:gd name="T10" fmla="*/ 60 w 63"/>
                  <a:gd name="T11" fmla="*/ 0 h 83"/>
                  <a:gd name="T12" fmla="*/ 62 w 63"/>
                  <a:gd name="T13" fmla="*/ 0 h 83"/>
                  <a:gd name="T14" fmla="*/ 63 w 63"/>
                  <a:gd name="T15" fmla="*/ 2 h 83"/>
                  <a:gd name="T16" fmla="*/ 63 w 63"/>
                  <a:gd name="T17" fmla="*/ 46 h 83"/>
                  <a:gd name="T18" fmla="*/ 62 w 63"/>
                  <a:gd name="T19" fmla="*/ 48 h 83"/>
                  <a:gd name="T20" fmla="*/ 3 w 63"/>
                  <a:gd name="T21" fmla="*/ 82 h 83"/>
                  <a:gd name="T22" fmla="*/ 2 w 63"/>
                  <a:gd name="T23" fmla="*/ 83 h 83"/>
                  <a:gd name="T24" fmla="*/ 4 w 63"/>
                  <a:gd name="T25" fmla="*/ 37 h 83"/>
                  <a:gd name="T26" fmla="*/ 4 w 63"/>
                  <a:gd name="T27" fmla="*/ 77 h 83"/>
                  <a:gd name="T28" fmla="*/ 59 w 63"/>
                  <a:gd name="T29" fmla="*/ 45 h 83"/>
                  <a:gd name="T30" fmla="*/ 59 w 63"/>
                  <a:gd name="T31" fmla="*/ 5 h 83"/>
                  <a:gd name="T32" fmla="*/ 4 w 63"/>
                  <a:gd name="T33" fmla="*/ 3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83">
                    <a:moveTo>
                      <a:pt x="2" y="83"/>
                    </a:moveTo>
                    <a:cubicBezTo>
                      <a:pt x="2" y="83"/>
                      <a:pt x="2" y="82"/>
                      <a:pt x="1" y="82"/>
                    </a:cubicBezTo>
                    <a:cubicBezTo>
                      <a:pt x="1" y="82"/>
                      <a:pt x="0" y="81"/>
                      <a:pt x="0" y="8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5"/>
                      <a:pt x="1" y="35"/>
                      <a:pt x="1" y="34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1" y="0"/>
                      <a:pt x="62" y="0"/>
                      <a:pt x="62" y="0"/>
                    </a:cubicBezTo>
                    <a:cubicBezTo>
                      <a:pt x="63" y="1"/>
                      <a:pt x="63" y="1"/>
                      <a:pt x="63" y="2"/>
                    </a:cubicBezTo>
                    <a:cubicBezTo>
                      <a:pt x="63" y="46"/>
                      <a:pt x="63" y="46"/>
                      <a:pt x="63" y="46"/>
                    </a:cubicBezTo>
                    <a:cubicBezTo>
                      <a:pt x="63" y="47"/>
                      <a:pt x="63" y="48"/>
                      <a:pt x="62" y="48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3" y="82"/>
                      <a:pt x="3" y="83"/>
                      <a:pt x="2" y="83"/>
                    </a:cubicBezTo>
                    <a:close/>
                    <a:moveTo>
                      <a:pt x="4" y="37"/>
                    </a:moveTo>
                    <a:cubicBezTo>
                      <a:pt x="4" y="77"/>
                      <a:pt x="4" y="77"/>
                      <a:pt x="4" y="77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5"/>
                      <a:pt x="59" y="5"/>
                      <a:pt x="59" y="5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3" name="Freeform 728">
                <a:extLst>
                  <a:ext uri="{FF2B5EF4-FFF2-40B4-BE49-F238E27FC236}">
                    <a16:creationId xmlns:a16="http://schemas.microsoft.com/office/drawing/2014/main" id="{005D864F-E8E3-4581-A778-444C8B898D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852693" y="5545415"/>
                <a:ext cx="83003" cy="95454"/>
              </a:xfrm>
              <a:custGeom>
                <a:avLst/>
                <a:gdLst>
                  <a:gd name="T0" fmla="*/ 2 w 34"/>
                  <a:gd name="T1" fmla="*/ 39 h 39"/>
                  <a:gd name="T2" fmla="*/ 1 w 34"/>
                  <a:gd name="T3" fmla="*/ 39 h 39"/>
                  <a:gd name="T4" fmla="*/ 0 w 34"/>
                  <a:gd name="T5" fmla="*/ 37 h 39"/>
                  <a:gd name="T6" fmla="*/ 0 w 34"/>
                  <a:gd name="T7" fmla="*/ 2 h 39"/>
                  <a:gd name="T8" fmla="*/ 1 w 34"/>
                  <a:gd name="T9" fmla="*/ 1 h 39"/>
                  <a:gd name="T10" fmla="*/ 3 w 34"/>
                  <a:gd name="T11" fmla="*/ 1 h 39"/>
                  <a:gd name="T12" fmla="*/ 33 w 34"/>
                  <a:gd name="T13" fmla="*/ 18 h 39"/>
                  <a:gd name="T14" fmla="*/ 34 w 34"/>
                  <a:gd name="T15" fmla="*/ 20 h 39"/>
                  <a:gd name="T16" fmla="*/ 33 w 34"/>
                  <a:gd name="T17" fmla="*/ 21 h 39"/>
                  <a:gd name="T18" fmla="*/ 3 w 34"/>
                  <a:gd name="T19" fmla="*/ 39 h 39"/>
                  <a:gd name="T20" fmla="*/ 2 w 34"/>
                  <a:gd name="T21" fmla="*/ 39 h 39"/>
                  <a:gd name="T22" fmla="*/ 4 w 34"/>
                  <a:gd name="T23" fmla="*/ 6 h 39"/>
                  <a:gd name="T24" fmla="*/ 4 w 34"/>
                  <a:gd name="T25" fmla="*/ 34 h 39"/>
                  <a:gd name="T26" fmla="*/ 28 w 34"/>
                  <a:gd name="T27" fmla="*/ 20 h 39"/>
                  <a:gd name="T28" fmla="*/ 4 w 34"/>
                  <a:gd name="T29" fmla="*/ 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8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4" y="18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3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6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28" y="20"/>
                      <a:pt x="28" y="20"/>
                      <a:pt x="28" y="20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4" name="Freeform 733">
                <a:extLst>
                  <a:ext uri="{FF2B5EF4-FFF2-40B4-BE49-F238E27FC236}">
                    <a16:creationId xmlns:a16="http://schemas.microsoft.com/office/drawing/2014/main" id="{957FD2CD-64AC-4512-93F5-F892582C0B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350056" y="6636906"/>
                <a:ext cx="311262" cy="356914"/>
              </a:xfrm>
              <a:custGeom>
                <a:avLst/>
                <a:gdLst>
                  <a:gd name="T0" fmla="*/ 125 w 127"/>
                  <a:gd name="T1" fmla="*/ 146 h 146"/>
                  <a:gd name="T2" fmla="*/ 124 w 127"/>
                  <a:gd name="T3" fmla="*/ 145 h 146"/>
                  <a:gd name="T4" fmla="*/ 1 w 127"/>
                  <a:gd name="T5" fmla="*/ 74 h 146"/>
                  <a:gd name="T6" fmla="*/ 0 w 127"/>
                  <a:gd name="T7" fmla="*/ 73 h 146"/>
                  <a:gd name="T8" fmla="*/ 1 w 127"/>
                  <a:gd name="T9" fmla="*/ 71 h 146"/>
                  <a:gd name="T10" fmla="*/ 124 w 127"/>
                  <a:gd name="T11" fmla="*/ 0 h 146"/>
                  <a:gd name="T12" fmla="*/ 126 w 127"/>
                  <a:gd name="T13" fmla="*/ 0 h 146"/>
                  <a:gd name="T14" fmla="*/ 127 w 127"/>
                  <a:gd name="T15" fmla="*/ 2 h 146"/>
                  <a:gd name="T16" fmla="*/ 127 w 127"/>
                  <a:gd name="T17" fmla="*/ 144 h 146"/>
                  <a:gd name="T18" fmla="*/ 126 w 127"/>
                  <a:gd name="T19" fmla="*/ 145 h 146"/>
                  <a:gd name="T20" fmla="*/ 125 w 127"/>
                  <a:gd name="T21" fmla="*/ 146 h 146"/>
                  <a:gd name="T22" fmla="*/ 6 w 127"/>
                  <a:gd name="T23" fmla="*/ 73 h 146"/>
                  <a:gd name="T24" fmla="*/ 123 w 127"/>
                  <a:gd name="T25" fmla="*/ 140 h 146"/>
                  <a:gd name="T26" fmla="*/ 123 w 127"/>
                  <a:gd name="T27" fmla="*/ 5 h 146"/>
                  <a:gd name="T28" fmla="*/ 6 w 127"/>
                  <a:gd name="T29" fmla="*/ 7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46">
                    <a:moveTo>
                      <a:pt x="125" y="146"/>
                    </a:moveTo>
                    <a:cubicBezTo>
                      <a:pt x="125" y="146"/>
                      <a:pt x="124" y="146"/>
                      <a:pt x="124" y="145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4"/>
                      <a:pt x="0" y="73"/>
                      <a:pt x="0" y="73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5" y="0"/>
                      <a:pt x="126" y="0"/>
                    </a:cubicBezTo>
                    <a:cubicBezTo>
                      <a:pt x="126" y="0"/>
                      <a:pt x="127" y="1"/>
                      <a:pt x="127" y="2"/>
                    </a:cubicBezTo>
                    <a:cubicBezTo>
                      <a:pt x="127" y="144"/>
                      <a:pt x="127" y="144"/>
                      <a:pt x="127" y="144"/>
                    </a:cubicBezTo>
                    <a:cubicBezTo>
                      <a:pt x="127" y="144"/>
                      <a:pt x="126" y="145"/>
                      <a:pt x="126" y="145"/>
                    </a:cubicBezTo>
                    <a:cubicBezTo>
                      <a:pt x="126" y="146"/>
                      <a:pt x="125" y="146"/>
                      <a:pt x="125" y="146"/>
                    </a:cubicBezTo>
                    <a:close/>
                    <a:moveTo>
                      <a:pt x="6" y="73"/>
                    </a:move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3" y="5"/>
                      <a:pt x="123" y="5"/>
                      <a:pt x="123" y="5"/>
                    </a:cubicBezTo>
                    <a:lnTo>
                      <a:pt x="6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5" name="Freeform 737">
                <a:extLst>
                  <a:ext uri="{FF2B5EF4-FFF2-40B4-BE49-F238E27FC236}">
                    <a16:creationId xmlns:a16="http://schemas.microsoft.com/office/drawing/2014/main" id="{38ECBE22-2BF4-4A67-A472-4E2279872FFA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919286" y="6167938"/>
                <a:ext cx="126580" cy="80928"/>
              </a:xfrm>
              <a:custGeom>
                <a:avLst/>
                <a:gdLst>
                  <a:gd name="T0" fmla="*/ 4 w 52"/>
                  <a:gd name="T1" fmla="*/ 33 h 33"/>
                  <a:gd name="T2" fmla="*/ 3 w 52"/>
                  <a:gd name="T3" fmla="*/ 33 h 33"/>
                  <a:gd name="T4" fmla="*/ 1 w 52"/>
                  <a:gd name="T5" fmla="*/ 31 h 33"/>
                  <a:gd name="T6" fmla="*/ 0 w 52"/>
                  <a:gd name="T7" fmla="*/ 30 h 33"/>
                  <a:gd name="T8" fmla="*/ 1 w 52"/>
                  <a:gd name="T9" fmla="*/ 28 h 33"/>
                  <a:gd name="T10" fmla="*/ 49 w 52"/>
                  <a:gd name="T11" fmla="*/ 0 h 33"/>
                  <a:gd name="T12" fmla="*/ 51 w 52"/>
                  <a:gd name="T13" fmla="*/ 0 h 33"/>
                  <a:gd name="T14" fmla="*/ 52 w 52"/>
                  <a:gd name="T15" fmla="*/ 2 h 33"/>
                  <a:gd name="T16" fmla="*/ 52 w 52"/>
                  <a:gd name="T17" fmla="*/ 5 h 33"/>
                  <a:gd name="T18" fmla="*/ 51 w 52"/>
                  <a:gd name="T19" fmla="*/ 7 h 33"/>
                  <a:gd name="T20" fmla="*/ 5 w 52"/>
                  <a:gd name="T21" fmla="*/ 33 h 33"/>
                  <a:gd name="T22" fmla="*/ 4 w 52"/>
                  <a:gd name="T2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4" y="33"/>
                    </a:moveTo>
                    <a:cubicBezTo>
                      <a:pt x="4" y="33"/>
                      <a:pt x="4" y="33"/>
                      <a:pt x="3" y="33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30"/>
                    </a:cubicBezTo>
                    <a:cubicBezTo>
                      <a:pt x="0" y="29"/>
                      <a:pt x="0" y="28"/>
                      <a:pt x="1" y="28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1" y="0"/>
                      <a:pt x="52" y="1"/>
                      <a:pt x="52" y="2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2" y="6"/>
                      <a:pt x="51" y="6"/>
                      <a:pt x="51" y="7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3"/>
                      <a:pt x="5" y="33"/>
                      <a:pt x="4" y="3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6" name="Freeform 740">
                <a:extLst>
                  <a:ext uri="{FF2B5EF4-FFF2-40B4-BE49-F238E27FC236}">
                    <a16:creationId xmlns:a16="http://schemas.microsoft.com/office/drawing/2014/main" id="{DA4ECA85-3B42-4BB0-9CE7-20DDB84285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44693" y="5575503"/>
                <a:ext cx="649501" cy="383890"/>
              </a:xfrm>
              <a:custGeom>
                <a:avLst/>
                <a:gdLst>
                  <a:gd name="T0" fmla="*/ 131 w 265"/>
                  <a:gd name="T1" fmla="*/ 157 h 157"/>
                  <a:gd name="T2" fmla="*/ 130 w 265"/>
                  <a:gd name="T3" fmla="*/ 157 h 157"/>
                  <a:gd name="T4" fmla="*/ 1 w 265"/>
                  <a:gd name="T5" fmla="*/ 82 h 157"/>
                  <a:gd name="T6" fmla="*/ 0 w 265"/>
                  <a:gd name="T7" fmla="*/ 81 h 157"/>
                  <a:gd name="T8" fmla="*/ 1 w 265"/>
                  <a:gd name="T9" fmla="*/ 79 h 157"/>
                  <a:gd name="T10" fmla="*/ 115 w 265"/>
                  <a:gd name="T11" fmla="*/ 14 h 157"/>
                  <a:gd name="T12" fmla="*/ 115 w 265"/>
                  <a:gd name="T13" fmla="*/ 11 h 157"/>
                  <a:gd name="T14" fmla="*/ 116 w 265"/>
                  <a:gd name="T15" fmla="*/ 9 h 157"/>
                  <a:gd name="T16" fmla="*/ 130 w 265"/>
                  <a:gd name="T17" fmla="*/ 1 h 157"/>
                  <a:gd name="T18" fmla="*/ 132 w 265"/>
                  <a:gd name="T19" fmla="*/ 1 h 157"/>
                  <a:gd name="T20" fmla="*/ 264 w 265"/>
                  <a:gd name="T21" fmla="*/ 77 h 157"/>
                  <a:gd name="T22" fmla="*/ 265 w 265"/>
                  <a:gd name="T23" fmla="*/ 79 h 157"/>
                  <a:gd name="T24" fmla="*/ 264 w 265"/>
                  <a:gd name="T25" fmla="*/ 80 h 157"/>
                  <a:gd name="T26" fmla="*/ 132 w 265"/>
                  <a:gd name="T27" fmla="*/ 157 h 157"/>
                  <a:gd name="T28" fmla="*/ 131 w 265"/>
                  <a:gd name="T29" fmla="*/ 157 h 157"/>
                  <a:gd name="T30" fmla="*/ 6 w 265"/>
                  <a:gd name="T31" fmla="*/ 81 h 157"/>
                  <a:gd name="T32" fmla="*/ 131 w 265"/>
                  <a:gd name="T33" fmla="*/ 153 h 157"/>
                  <a:gd name="T34" fmla="*/ 259 w 265"/>
                  <a:gd name="T35" fmla="*/ 79 h 157"/>
                  <a:gd name="T36" fmla="*/ 131 w 265"/>
                  <a:gd name="T37" fmla="*/ 5 h 157"/>
                  <a:gd name="T38" fmla="*/ 119 w 265"/>
                  <a:gd name="T39" fmla="*/ 12 h 157"/>
                  <a:gd name="T40" fmla="*/ 119 w 265"/>
                  <a:gd name="T41" fmla="*/ 15 h 157"/>
                  <a:gd name="T42" fmla="*/ 118 w 265"/>
                  <a:gd name="T43" fmla="*/ 16 h 157"/>
                  <a:gd name="T44" fmla="*/ 6 w 265"/>
                  <a:gd name="T45" fmla="*/ 8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5" h="157">
                    <a:moveTo>
                      <a:pt x="131" y="157"/>
                    </a:moveTo>
                    <a:cubicBezTo>
                      <a:pt x="131" y="157"/>
                      <a:pt x="130" y="157"/>
                      <a:pt x="130" y="15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0" y="81"/>
                      <a:pt x="0" y="81"/>
                    </a:cubicBezTo>
                    <a:cubicBezTo>
                      <a:pt x="0" y="80"/>
                      <a:pt x="1" y="79"/>
                      <a:pt x="1" y="79"/>
                    </a:cubicBezTo>
                    <a:cubicBezTo>
                      <a:pt x="115" y="14"/>
                      <a:pt x="115" y="14"/>
                      <a:pt x="115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5" y="10"/>
                      <a:pt x="115" y="9"/>
                      <a:pt x="116" y="9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2" y="0"/>
                      <a:pt x="132" y="1"/>
                    </a:cubicBezTo>
                    <a:cubicBezTo>
                      <a:pt x="264" y="77"/>
                      <a:pt x="264" y="77"/>
                      <a:pt x="264" y="77"/>
                    </a:cubicBezTo>
                    <a:cubicBezTo>
                      <a:pt x="265" y="77"/>
                      <a:pt x="265" y="78"/>
                      <a:pt x="265" y="79"/>
                    </a:cubicBezTo>
                    <a:cubicBezTo>
                      <a:pt x="265" y="79"/>
                      <a:pt x="265" y="80"/>
                      <a:pt x="264" y="80"/>
                    </a:cubicBezTo>
                    <a:cubicBezTo>
                      <a:pt x="132" y="157"/>
                      <a:pt x="132" y="157"/>
                      <a:pt x="132" y="157"/>
                    </a:cubicBezTo>
                    <a:cubicBezTo>
                      <a:pt x="132" y="157"/>
                      <a:pt x="131" y="157"/>
                      <a:pt x="131" y="157"/>
                    </a:cubicBezTo>
                    <a:close/>
                    <a:moveTo>
                      <a:pt x="6" y="81"/>
                    </a:moveTo>
                    <a:cubicBezTo>
                      <a:pt x="131" y="153"/>
                      <a:pt x="131" y="153"/>
                      <a:pt x="131" y="153"/>
                    </a:cubicBezTo>
                    <a:cubicBezTo>
                      <a:pt x="259" y="79"/>
                      <a:pt x="259" y="79"/>
                      <a:pt x="259" y="79"/>
                    </a:cubicBezTo>
                    <a:cubicBezTo>
                      <a:pt x="131" y="5"/>
                      <a:pt x="131" y="5"/>
                      <a:pt x="131" y="5"/>
                    </a:cubicBezTo>
                    <a:cubicBezTo>
                      <a:pt x="119" y="12"/>
                      <a:pt x="119" y="12"/>
                      <a:pt x="119" y="12"/>
                    </a:cubicBezTo>
                    <a:cubicBezTo>
                      <a:pt x="119" y="15"/>
                      <a:pt x="119" y="15"/>
                      <a:pt x="119" y="15"/>
                    </a:cubicBezTo>
                    <a:cubicBezTo>
                      <a:pt x="119" y="15"/>
                      <a:pt x="118" y="16"/>
                      <a:pt x="118" y="16"/>
                    </a:cubicBezTo>
                    <a:lnTo>
                      <a:pt x="6" y="8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7" name="Freeform 741">
                <a:extLst>
                  <a:ext uri="{FF2B5EF4-FFF2-40B4-BE49-F238E27FC236}">
                    <a16:creationId xmlns:a16="http://schemas.microsoft.com/office/drawing/2014/main" id="{324B473D-225B-4B3E-A46E-020633C2D6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607833" y="5237266"/>
                <a:ext cx="327863" cy="561309"/>
              </a:xfrm>
              <a:custGeom>
                <a:avLst/>
                <a:gdLst>
                  <a:gd name="T0" fmla="*/ 2 w 134"/>
                  <a:gd name="T1" fmla="*/ 229 h 229"/>
                  <a:gd name="T2" fmla="*/ 1 w 134"/>
                  <a:gd name="T3" fmla="*/ 228 h 229"/>
                  <a:gd name="T4" fmla="*/ 0 w 134"/>
                  <a:gd name="T5" fmla="*/ 227 h 229"/>
                  <a:gd name="T6" fmla="*/ 0 w 134"/>
                  <a:gd name="T7" fmla="*/ 165 h 229"/>
                  <a:gd name="T8" fmla="*/ 1 w 134"/>
                  <a:gd name="T9" fmla="*/ 163 h 229"/>
                  <a:gd name="T10" fmla="*/ 31 w 134"/>
                  <a:gd name="T11" fmla="*/ 146 h 229"/>
                  <a:gd name="T12" fmla="*/ 1 w 134"/>
                  <a:gd name="T13" fmla="*/ 128 h 229"/>
                  <a:gd name="T14" fmla="*/ 0 w 134"/>
                  <a:gd name="T15" fmla="*/ 126 h 229"/>
                  <a:gd name="T16" fmla="*/ 0 w 134"/>
                  <a:gd name="T17" fmla="*/ 77 h 229"/>
                  <a:gd name="T18" fmla="*/ 1 w 134"/>
                  <a:gd name="T19" fmla="*/ 75 h 229"/>
                  <a:gd name="T20" fmla="*/ 131 w 134"/>
                  <a:gd name="T21" fmla="*/ 0 h 229"/>
                  <a:gd name="T22" fmla="*/ 133 w 134"/>
                  <a:gd name="T23" fmla="*/ 0 h 229"/>
                  <a:gd name="T24" fmla="*/ 134 w 134"/>
                  <a:gd name="T25" fmla="*/ 2 h 229"/>
                  <a:gd name="T26" fmla="*/ 134 w 134"/>
                  <a:gd name="T27" fmla="*/ 148 h 229"/>
                  <a:gd name="T28" fmla="*/ 133 w 134"/>
                  <a:gd name="T29" fmla="*/ 150 h 229"/>
                  <a:gd name="T30" fmla="*/ 17 w 134"/>
                  <a:gd name="T31" fmla="*/ 217 h 229"/>
                  <a:gd name="T32" fmla="*/ 17 w 134"/>
                  <a:gd name="T33" fmla="*/ 217 h 229"/>
                  <a:gd name="T34" fmla="*/ 18 w 134"/>
                  <a:gd name="T35" fmla="*/ 219 h 229"/>
                  <a:gd name="T36" fmla="*/ 17 w 134"/>
                  <a:gd name="T37" fmla="*/ 220 h 229"/>
                  <a:gd name="T38" fmla="*/ 3 w 134"/>
                  <a:gd name="T39" fmla="*/ 228 h 229"/>
                  <a:gd name="T40" fmla="*/ 2 w 134"/>
                  <a:gd name="T41" fmla="*/ 229 h 229"/>
                  <a:gd name="T42" fmla="*/ 4 w 134"/>
                  <a:gd name="T43" fmla="*/ 166 h 229"/>
                  <a:gd name="T44" fmla="*/ 4 w 134"/>
                  <a:gd name="T45" fmla="*/ 223 h 229"/>
                  <a:gd name="T46" fmla="*/ 12 w 134"/>
                  <a:gd name="T47" fmla="*/ 219 h 229"/>
                  <a:gd name="T48" fmla="*/ 12 w 134"/>
                  <a:gd name="T49" fmla="*/ 218 h 229"/>
                  <a:gd name="T50" fmla="*/ 11 w 134"/>
                  <a:gd name="T51" fmla="*/ 217 h 229"/>
                  <a:gd name="T52" fmla="*/ 12 w 134"/>
                  <a:gd name="T53" fmla="*/ 215 h 229"/>
                  <a:gd name="T54" fmla="*/ 130 w 134"/>
                  <a:gd name="T55" fmla="*/ 147 h 229"/>
                  <a:gd name="T56" fmla="*/ 130 w 134"/>
                  <a:gd name="T57" fmla="*/ 5 h 229"/>
                  <a:gd name="T58" fmla="*/ 4 w 134"/>
                  <a:gd name="T59" fmla="*/ 78 h 229"/>
                  <a:gd name="T60" fmla="*/ 4 w 134"/>
                  <a:gd name="T61" fmla="*/ 125 h 229"/>
                  <a:gd name="T62" fmla="*/ 36 w 134"/>
                  <a:gd name="T63" fmla="*/ 144 h 229"/>
                  <a:gd name="T64" fmla="*/ 37 w 134"/>
                  <a:gd name="T65" fmla="*/ 146 h 229"/>
                  <a:gd name="T66" fmla="*/ 36 w 134"/>
                  <a:gd name="T67" fmla="*/ 147 h 229"/>
                  <a:gd name="T68" fmla="*/ 4 w 134"/>
                  <a:gd name="T69" fmla="*/ 16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229">
                    <a:moveTo>
                      <a:pt x="2" y="229"/>
                    </a:moveTo>
                    <a:cubicBezTo>
                      <a:pt x="2" y="229"/>
                      <a:pt x="2" y="229"/>
                      <a:pt x="1" y="228"/>
                    </a:cubicBezTo>
                    <a:cubicBezTo>
                      <a:pt x="1" y="228"/>
                      <a:pt x="0" y="227"/>
                      <a:pt x="0" y="227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0" y="164"/>
                      <a:pt x="1" y="163"/>
                      <a:pt x="1" y="163"/>
                    </a:cubicBezTo>
                    <a:cubicBezTo>
                      <a:pt x="31" y="146"/>
                      <a:pt x="31" y="146"/>
                      <a:pt x="31" y="146"/>
                    </a:cubicBezTo>
                    <a:cubicBezTo>
                      <a:pt x="1" y="128"/>
                      <a:pt x="1" y="128"/>
                      <a:pt x="1" y="128"/>
                    </a:cubicBezTo>
                    <a:cubicBezTo>
                      <a:pt x="1" y="128"/>
                      <a:pt x="0" y="127"/>
                      <a:pt x="0" y="126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6"/>
                      <a:pt x="1" y="75"/>
                      <a:pt x="1" y="75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2" y="0"/>
                      <a:pt x="133" y="0"/>
                    </a:cubicBezTo>
                    <a:cubicBezTo>
                      <a:pt x="134" y="1"/>
                      <a:pt x="134" y="1"/>
                      <a:pt x="134" y="2"/>
                    </a:cubicBezTo>
                    <a:cubicBezTo>
                      <a:pt x="134" y="148"/>
                      <a:pt x="134" y="148"/>
                      <a:pt x="134" y="148"/>
                    </a:cubicBezTo>
                    <a:cubicBezTo>
                      <a:pt x="134" y="149"/>
                      <a:pt x="134" y="149"/>
                      <a:pt x="133" y="150"/>
                    </a:cubicBezTo>
                    <a:cubicBezTo>
                      <a:pt x="17" y="217"/>
                      <a:pt x="17" y="217"/>
                      <a:pt x="17" y="217"/>
                    </a:cubicBezTo>
                    <a:cubicBezTo>
                      <a:pt x="17" y="217"/>
                      <a:pt x="17" y="217"/>
                      <a:pt x="17" y="217"/>
                    </a:cubicBezTo>
                    <a:cubicBezTo>
                      <a:pt x="18" y="217"/>
                      <a:pt x="18" y="218"/>
                      <a:pt x="18" y="219"/>
                    </a:cubicBezTo>
                    <a:cubicBezTo>
                      <a:pt x="18" y="219"/>
                      <a:pt x="18" y="220"/>
                      <a:pt x="17" y="220"/>
                    </a:cubicBezTo>
                    <a:cubicBezTo>
                      <a:pt x="3" y="228"/>
                      <a:pt x="3" y="228"/>
                      <a:pt x="3" y="228"/>
                    </a:cubicBezTo>
                    <a:cubicBezTo>
                      <a:pt x="3" y="229"/>
                      <a:pt x="3" y="229"/>
                      <a:pt x="2" y="229"/>
                    </a:cubicBezTo>
                    <a:close/>
                    <a:moveTo>
                      <a:pt x="4" y="166"/>
                    </a:moveTo>
                    <a:cubicBezTo>
                      <a:pt x="4" y="223"/>
                      <a:pt x="4" y="223"/>
                      <a:pt x="4" y="223"/>
                    </a:cubicBezTo>
                    <a:cubicBezTo>
                      <a:pt x="12" y="219"/>
                      <a:pt x="12" y="219"/>
                      <a:pt x="12" y="219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18"/>
                      <a:pt x="11" y="217"/>
                      <a:pt x="11" y="217"/>
                    </a:cubicBezTo>
                    <a:cubicBezTo>
                      <a:pt x="11" y="216"/>
                      <a:pt x="11" y="215"/>
                      <a:pt x="12" y="215"/>
                    </a:cubicBezTo>
                    <a:cubicBezTo>
                      <a:pt x="130" y="147"/>
                      <a:pt x="130" y="147"/>
                      <a:pt x="130" y="147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6" y="144"/>
                      <a:pt x="36" y="144"/>
                      <a:pt x="36" y="144"/>
                    </a:cubicBezTo>
                    <a:cubicBezTo>
                      <a:pt x="37" y="144"/>
                      <a:pt x="37" y="145"/>
                      <a:pt x="37" y="146"/>
                    </a:cubicBezTo>
                    <a:cubicBezTo>
                      <a:pt x="37" y="146"/>
                      <a:pt x="37" y="147"/>
                      <a:pt x="36" y="147"/>
                    </a:cubicBezTo>
                    <a:lnTo>
                      <a:pt x="4" y="16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8" name="Freeform 742">
                <a:extLst>
                  <a:ext uri="{FF2B5EF4-FFF2-40B4-BE49-F238E27FC236}">
                    <a16:creationId xmlns:a16="http://schemas.microsoft.com/office/drawing/2014/main" id="{49854166-768C-4D49-85B5-4E43E12B9E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01006" y="5444773"/>
                <a:ext cx="68478" cy="78853"/>
              </a:xfrm>
              <a:custGeom>
                <a:avLst/>
                <a:gdLst>
                  <a:gd name="T0" fmla="*/ 2 w 28"/>
                  <a:gd name="T1" fmla="*/ 32 h 32"/>
                  <a:gd name="T2" fmla="*/ 1 w 28"/>
                  <a:gd name="T3" fmla="*/ 32 h 32"/>
                  <a:gd name="T4" fmla="*/ 0 w 28"/>
                  <a:gd name="T5" fmla="*/ 30 h 32"/>
                  <a:gd name="T6" fmla="*/ 0 w 28"/>
                  <a:gd name="T7" fmla="*/ 2 h 32"/>
                  <a:gd name="T8" fmla="*/ 1 w 28"/>
                  <a:gd name="T9" fmla="*/ 0 h 32"/>
                  <a:gd name="T10" fmla="*/ 3 w 28"/>
                  <a:gd name="T11" fmla="*/ 0 h 32"/>
                  <a:gd name="T12" fmla="*/ 27 w 28"/>
                  <a:gd name="T13" fmla="*/ 14 h 32"/>
                  <a:gd name="T14" fmla="*/ 28 w 28"/>
                  <a:gd name="T15" fmla="*/ 16 h 32"/>
                  <a:gd name="T16" fmla="*/ 27 w 28"/>
                  <a:gd name="T17" fmla="*/ 18 h 32"/>
                  <a:gd name="T18" fmla="*/ 3 w 28"/>
                  <a:gd name="T19" fmla="*/ 32 h 32"/>
                  <a:gd name="T20" fmla="*/ 2 w 28"/>
                  <a:gd name="T21" fmla="*/ 32 h 32"/>
                  <a:gd name="T22" fmla="*/ 4 w 28"/>
                  <a:gd name="T23" fmla="*/ 5 h 32"/>
                  <a:gd name="T24" fmla="*/ 4 w 28"/>
                  <a:gd name="T25" fmla="*/ 27 h 32"/>
                  <a:gd name="T26" fmla="*/ 22 w 28"/>
                  <a:gd name="T27" fmla="*/ 16 h 32"/>
                  <a:gd name="T28" fmla="*/ 4 w 28"/>
                  <a:gd name="T29" fmla="*/ 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2">
                    <a:moveTo>
                      <a:pt x="2" y="32"/>
                    </a:move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8" y="15"/>
                      <a:pt x="28" y="15"/>
                      <a:pt x="28" y="16"/>
                    </a:cubicBezTo>
                    <a:cubicBezTo>
                      <a:pt x="28" y="17"/>
                      <a:pt x="28" y="17"/>
                      <a:pt x="27" y="18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lose/>
                    <a:moveTo>
                      <a:pt x="4" y="5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22" y="16"/>
                      <a:pt x="22" y="16"/>
                      <a:pt x="22" y="1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9" name="Freeform 743">
                <a:extLst>
                  <a:ext uri="{FF2B5EF4-FFF2-40B4-BE49-F238E27FC236}">
                    <a16:creationId xmlns:a16="http://schemas.microsoft.com/office/drawing/2014/main" id="{38BB050E-5324-4137-ABF9-0BF0050FA25B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607833" y="5599367"/>
                <a:ext cx="293624" cy="176382"/>
              </a:xfrm>
              <a:custGeom>
                <a:avLst/>
                <a:gdLst>
                  <a:gd name="T0" fmla="*/ 4 w 120"/>
                  <a:gd name="T1" fmla="*/ 72 h 72"/>
                  <a:gd name="T2" fmla="*/ 3 w 120"/>
                  <a:gd name="T3" fmla="*/ 71 h 72"/>
                  <a:gd name="T4" fmla="*/ 1 w 120"/>
                  <a:gd name="T5" fmla="*/ 70 h 72"/>
                  <a:gd name="T6" fmla="*/ 0 w 120"/>
                  <a:gd name="T7" fmla="*/ 69 h 72"/>
                  <a:gd name="T8" fmla="*/ 1 w 120"/>
                  <a:gd name="T9" fmla="*/ 67 h 72"/>
                  <a:gd name="T10" fmla="*/ 117 w 120"/>
                  <a:gd name="T11" fmla="*/ 0 h 72"/>
                  <a:gd name="T12" fmla="*/ 119 w 120"/>
                  <a:gd name="T13" fmla="*/ 0 h 72"/>
                  <a:gd name="T14" fmla="*/ 120 w 120"/>
                  <a:gd name="T15" fmla="*/ 2 h 72"/>
                  <a:gd name="T16" fmla="*/ 120 w 120"/>
                  <a:gd name="T17" fmla="*/ 4 h 72"/>
                  <a:gd name="T18" fmla="*/ 119 w 120"/>
                  <a:gd name="T19" fmla="*/ 5 h 72"/>
                  <a:gd name="T20" fmla="*/ 5 w 120"/>
                  <a:gd name="T21" fmla="*/ 71 h 72"/>
                  <a:gd name="T22" fmla="*/ 4 w 120"/>
                  <a:gd name="T2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0" h="72">
                    <a:moveTo>
                      <a:pt x="4" y="72"/>
                    </a:moveTo>
                    <a:cubicBezTo>
                      <a:pt x="3" y="72"/>
                      <a:pt x="3" y="72"/>
                      <a:pt x="3" y="71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8"/>
                      <a:pt x="1" y="67"/>
                      <a:pt x="1" y="67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20" y="0"/>
                      <a:pt x="120" y="1"/>
                      <a:pt x="120" y="2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4"/>
                      <a:pt x="120" y="5"/>
                      <a:pt x="119" y="5"/>
                    </a:cubicBezTo>
                    <a:cubicBezTo>
                      <a:pt x="5" y="71"/>
                      <a:pt x="5" y="71"/>
                      <a:pt x="5" y="71"/>
                    </a:cubicBezTo>
                    <a:cubicBezTo>
                      <a:pt x="5" y="72"/>
                      <a:pt x="4" y="72"/>
                      <a:pt x="4" y="7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0" name="Freeform 760">
                <a:extLst>
                  <a:ext uri="{FF2B5EF4-FFF2-40B4-BE49-F238E27FC236}">
                    <a16:creationId xmlns:a16="http://schemas.microsoft.com/office/drawing/2014/main" id="{3F54DF86-F767-4C36-9E78-0CA31865E7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52146" y="6351583"/>
                <a:ext cx="26976" cy="30089"/>
              </a:xfrm>
              <a:custGeom>
                <a:avLst/>
                <a:gdLst>
                  <a:gd name="T0" fmla="*/ 9 w 11"/>
                  <a:gd name="T1" fmla="*/ 12 h 12"/>
                  <a:gd name="T2" fmla="*/ 8 w 11"/>
                  <a:gd name="T3" fmla="*/ 12 h 12"/>
                  <a:gd name="T4" fmla="*/ 1 w 11"/>
                  <a:gd name="T5" fmla="*/ 8 h 12"/>
                  <a:gd name="T6" fmla="*/ 0 w 11"/>
                  <a:gd name="T7" fmla="*/ 6 h 12"/>
                  <a:gd name="T8" fmla="*/ 1 w 11"/>
                  <a:gd name="T9" fmla="*/ 4 h 12"/>
                  <a:gd name="T10" fmla="*/ 8 w 11"/>
                  <a:gd name="T11" fmla="*/ 0 h 12"/>
                  <a:gd name="T12" fmla="*/ 10 w 11"/>
                  <a:gd name="T13" fmla="*/ 0 h 12"/>
                  <a:gd name="T14" fmla="*/ 11 w 11"/>
                  <a:gd name="T15" fmla="*/ 2 h 12"/>
                  <a:gd name="T16" fmla="*/ 11 w 11"/>
                  <a:gd name="T17" fmla="*/ 10 h 12"/>
                  <a:gd name="T18" fmla="*/ 10 w 11"/>
                  <a:gd name="T19" fmla="*/ 12 h 12"/>
                  <a:gd name="T20" fmla="*/ 9 w 11"/>
                  <a:gd name="T21" fmla="*/ 12 h 12"/>
                  <a:gd name="T22" fmla="*/ 6 w 11"/>
                  <a:gd name="T23" fmla="*/ 6 h 12"/>
                  <a:gd name="T24" fmla="*/ 7 w 11"/>
                  <a:gd name="T25" fmla="*/ 7 h 12"/>
                  <a:gd name="T26" fmla="*/ 7 w 11"/>
                  <a:gd name="T27" fmla="*/ 6 h 12"/>
                  <a:gd name="T28" fmla="*/ 6 w 11"/>
                  <a:gd name="T2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9" y="12"/>
                    </a:moveTo>
                    <a:cubicBezTo>
                      <a:pt x="9" y="12"/>
                      <a:pt x="8" y="12"/>
                      <a:pt x="8" y="1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5"/>
                      <a:pt x="1" y="5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1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lose/>
                    <a:moveTo>
                      <a:pt x="6" y="6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1" name="Freeform 761">
                <a:extLst>
                  <a:ext uri="{FF2B5EF4-FFF2-40B4-BE49-F238E27FC236}">
                    <a16:creationId xmlns:a16="http://schemas.microsoft.com/office/drawing/2014/main" id="{2B15FF26-64FA-4D56-B72F-CE97AF24FEE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252146" y="6229153"/>
                <a:ext cx="147331" cy="91303"/>
              </a:xfrm>
              <a:custGeom>
                <a:avLst/>
                <a:gdLst>
                  <a:gd name="T0" fmla="*/ 58 w 60"/>
                  <a:gd name="T1" fmla="*/ 37 h 37"/>
                  <a:gd name="T2" fmla="*/ 57 w 60"/>
                  <a:gd name="T3" fmla="*/ 37 h 37"/>
                  <a:gd name="T4" fmla="*/ 1 w 60"/>
                  <a:gd name="T5" fmla="*/ 5 h 37"/>
                  <a:gd name="T6" fmla="*/ 0 w 60"/>
                  <a:gd name="T7" fmla="*/ 3 h 37"/>
                  <a:gd name="T8" fmla="*/ 1 w 60"/>
                  <a:gd name="T9" fmla="*/ 1 h 37"/>
                  <a:gd name="T10" fmla="*/ 3 w 60"/>
                  <a:gd name="T11" fmla="*/ 1 h 37"/>
                  <a:gd name="T12" fmla="*/ 5 w 60"/>
                  <a:gd name="T13" fmla="*/ 1 h 37"/>
                  <a:gd name="T14" fmla="*/ 59 w 60"/>
                  <a:gd name="T15" fmla="*/ 32 h 37"/>
                  <a:gd name="T16" fmla="*/ 60 w 60"/>
                  <a:gd name="T17" fmla="*/ 34 h 37"/>
                  <a:gd name="T18" fmla="*/ 60 w 60"/>
                  <a:gd name="T19" fmla="*/ 35 h 37"/>
                  <a:gd name="T20" fmla="*/ 59 w 60"/>
                  <a:gd name="T21" fmla="*/ 37 h 37"/>
                  <a:gd name="T22" fmla="*/ 58 w 60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37">
                    <a:moveTo>
                      <a:pt x="58" y="37"/>
                    </a:moveTo>
                    <a:cubicBezTo>
                      <a:pt x="58" y="37"/>
                      <a:pt x="57" y="37"/>
                      <a:pt x="57" y="3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9" y="32"/>
                      <a:pt x="59" y="32"/>
                      <a:pt x="59" y="32"/>
                    </a:cubicBezTo>
                    <a:cubicBezTo>
                      <a:pt x="60" y="32"/>
                      <a:pt x="60" y="33"/>
                      <a:pt x="60" y="34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6"/>
                      <a:pt x="60" y="37"/>
                      <a:pt x="59" y="37"/>
                    </a:cubicBezTo>
                    <a:cubicBezTo>
                      <a:pt x="59" y="37"/>
                      <a:pt x="59" y="37"/>
                      <a:pt x="58" y="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2" name="Freeform 762">
                <a:extLst>
                  <a:ext uri="{FF2B5EF4-FFF2-40B4-BE49-F238E27FC236}">
                    <a16:creationId xmlns:a16="http://schemas.microsoft.com/office/drawing/2014/main" id="{02966117-7386-4BC5-8B5B-224A5FA27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52146" y="6153413"/>
                <a:ext cx="140068" cy="159781"/>
              </a:xfrm>
              <a:custGeom>
                <a:avLst/>
                <a:gdLst>
                  <a:gd name="T0" fmla="*/ 55 w 57"/>
                  <a:gd name="T1" fmla="*/ 65 h 65"/>
                  <a:gd name="T2" fmla="*/ 54 w 57"/>
                  <a:gd name="T3" fmla="*/ 65 h 65"/>
                  <a:gd name="T4" fmla="*/ 1 w 57"/>
                  <a:gd name="T5" fmla="*/ 34 h 65"/>
                  <a:gd name="T6" fmla="*/ 0 w 57"/>
                  <a:gd name="T7" fmla="*/ 32 h 65"/>
                  <a:gd name="T8" fmla="*/ 1 w 57"/>
                  <a:gd name="T9" fmla="*/ 31 h 65"/>
                  <a:gd name="T10" fmla="*/ 54 w 57"/>
                  <a:gd name="T11" fmla="*/ 0 h 65"/>
                  <a:gd name="T12" fmla="*/ 56 w 57"/>
                  <a:gd name="T13" fmla="*/ 0 h 65"/>
                  <a:gd name="T14" fmla="*/ 57 w 57"/>
                  <a:gd name="T15" fmla="*/ 2 h 65"/>
                  <a:gd name="T16" fmla="*/ 57 w 57"/>
                  <a:gd name="T17" fmla="*/ 63 h 65"/>
                  <a:gd name="T18" fmla="*/ 56 w 57"/>
                  <a:gd name="T19" fmla="*/ 65 h 65"/>
                  <a:gd name="T20" fmla="*/ 55 w 57"/>
                  <a:gd name="T21" fmla="*/ 65 h 65"/>
                  <a:gd name="T22" fmla="*/ 6 w 57"/>
                  <a:gd name="T23" fmla="*/ 32 h 65"/>
                  <a:gd name="T24" fmla="*/ 53 w 57"/>
                  <a:gd name="T25" fmla="*/ 59 h 65"/>
                  <a:gd name="T26" fmla="*/ 53 w 57"/>
                  <a:gd name="T27" fmla="*/ 5 h 65"/>
                  <a:gd name="T28" fmla="*/ 6 w 57"/>
                  <a:gd name="T29" fmla="*/ 3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65">
                    <a:moveTo>
                      <a:pt x="55" y="65"/>
                    </a:moveTo>
                    <a:cubicBezTo>
                      <a:pt x="55" y="65"/>
                      <a:pt x="54" y="65"/>
                      <a:pt x="54" y="6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2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0"/>
                      <a:pt x="56" y="0"/>
                    </a:cubicBezTo>
                    <a:cubicBezTo>
                      <a:pt x="57" y="0"/>
                      <a:pt x="57" y="1"/>
                      <a:pt x="57" y="2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7" y="64"/>
                      <a:pt x="57" y="64"/>
                      <a:pt x="56" y="65"/>
                    </a:cubicBezTo>
                    <a:cubicBezTo>
                      <a:pt x="56" y="65"/>
                      <a:pt x="56" y="65"/>
                      <a:pt x="55" y="65"/>
                    </a:cubicBezTo>
                    <a:close/>
                    <a:moveTo>
                      <a:pt x="6" y="32"/>
                    </a:move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3" name="Freeform 763">
                <a:extLst>
                  <a:ext uri="{FF2B5EF4-FFF2-40B4-BE49-F238E27FC236}">
                    <a16:creationId xmlns:a16="http://schemas.microsoft.com/office/drawing/2014/main" id="{B647D5B4-BAD1-430E-B218-6BEC40C45C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134904" y="6732360"/>
                <a:ext cx="142143" cy="109979"/>
              </a:xfrm>
              <a:custGeom>
                <a:avLst/>
                <a:gdLst>
                  <a:gd name="T0" fmla="*/ 41 w 58"/>
                  <a:gd name="T1" fmla="*/ 45 h 45"/>
                  <a:gd name="T2" fmla="*/ 40 w 58"/>
                  <a:gd name="T3" fmla="*/ 44 h 45"/>
                  <a:gd name="T4" fmla="*/ 1 w 58"/>
                  <a:gd name="T5" fmla="*/ 22 h 45"/>
                  <a:gd name="T6" fmla="*/ 0 w 58"/>
                  <a:gd name="T7" fmla="*/ 20 h 45"/>
                  <a:gd name="T8" fmla="*/ 0 w 58"/>
                  <a:gd name="T9" fmla="*/ 2 h 45"/>
                  <a:gd name="T10" fmla="*/ 1 w 58"/>
                  <a:gd name="T11" fmla="*/ 1 h 45"/>
                  <a:gd name="T12" fmla="*/ 3 w 58"/>
                  <a:gd name="T13" fmla="*/ 1 h 45"/>
                  <a:gd name="T14" fmla="*/ 57 w 58"/>
                  <a:gd name="T15" fmla="*/ 32 h 45"/>
                  <a:gd name="T16" fmla="*/ 58 w 58"/>
                  <a:gd name="T17" fmla="*/ 34 h 45"/>
                  <a:gd name="T18" fmla="*/ 57 w 58"/>
                  <a:gd name="T19" fmla="*/ 35 h 45"/>
                  <a:gd name="T20" fmla="*/ 42 w 58"/>
                  <a:gd name="T21" fmla="*/ 44 h 45"/>
                  <a:gd name="T22" fmla="*/ 41 w 58"/>
                  <a:gd name="T23" fmla="*/ 45 h 45"/>
                  <a:gd name="T24" fmla="*/ 4 w 58"/>
                  <a:gd name="T25" fmla="*/ 19 h 45"/>
                  <a:gd name="T26" fmla="*/ 41 w 58"/>
                  <a:gd name="T27" fmla="*/ 40 h 45"/>
                  <a:gd name="T28" fmla="*/ 52 w 58"/>
                  <a:gd name="T29" fmla="*/ 34 h 45"/>
                  <a:gd name="T30" fmla="*/ 4 w 58"/>
                  <a:gd name="T31" fmla="*/ 6 h 45"/>
                  <a:gd name="T32" fmla="*/ 4 w 58"/>
                  <a:gd name="T33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8" h="45">
                    <a:moveTo>
                      <a:pt x="41" y="45"/>
                    </a:moveTo>
                    <a:cubicBezTo>
                      <a:pt x="40" y="45"/>
                      <a:pt x="40" y="45"/>
                      <a:pt x="40" y="44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0" y="21"/>
                      <a:pt x="0" y="2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8" y="32"/>
                      <a:pt x="58" y="33"/>
                      <a:pt x="58" y="34"/>
                    </a:cubicBezTo>
                    <a:cubicBezTo>
                      <a:pt x="58" y="34"/>
                      <a:pt x="58" y="35"/>
                      <a:pt x="57" y="3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1" y="45"/>
                      <a:pt x="41" y="45"/>
                      <a:pt x="41" y="45"/>
                    </a:cubicBezTo>
                    <a:close/>
                    <a:moveTo>
                      <a:pt x="4" y="19"/>
                    </a:moveTo>
                    <a:cubicBezTo>
                      <a:pt x="41" y="40"/>
                      <a:pt x="41" y="40"/>
                      <a:pt x="41" y="40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4" name="Freeform 764">
                <a:extLst>
                  <a:ext uri="{FF2B5EF4-FFF2-40B4-BE49-F238E27FC236}">
                    <a16:creationId xmlns:a16="http://schemas.microsoft.com/office/drawing/2014/main" id="{6031325E-526D-43FE-892C-775871C63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176406" y="6734435"/>
                <a:ext cx="367290" cy="240709"/>
              </a:xfrm>
              <a:custGeom>
                <a:avLst/>
                <a:gdLst>
                  <a:gd name="T0" fmla="*/ 57 w 150"/>
                  <a:gd name="T1" fmla="*/ 98 h 98"/>
                  <a:gd name="T2" fmla="*/ 56 w 150"/>
                  <a:gd name="T3" fmla="*/ 97 h 98"/>
                  <a:gd name="T4" fmla="*/ 1 w 150"/>
                  <a:gd name="T5" fmla="*/ 66 h 98"/>
                  <a:gd name="T6" fmla="*/ 0 w 150"/>
                  <a:gd name="T7" fmla="*/ 64 h 98"/>
                  <a:gd name="T8" fmla="*/ 1 w 150"/>
                  <a:gd name="T9" fmla="*/ 62 h 98"/>
                  <a:gd name="T10" fmla="*/ 109 w 150"/>
                  <a:gd name="T11" fmla="*/ 1 h 98"/>
                  <a:gd name="T12" fmla="*/ 111 w 150"/>
                  <a:gd name="T13" fmla="*/ 1 h 98"/>
                  <a:gd name="T14" fmla="*/ 112 w 150"/>
                  <a:gd name="T15" fmla="*/ 2 h 98"/>
                  <a:gd name="T16" fmla="*/ 112 w 150"/>
                  <a:gd name="T17" fmla="*/ 19 h 98"/>
                  <a:gd name="T18" fmla="*/ 149 w 150"/>
                  <a:gd name="T19" fmla="*/ 41 h 98"/>
                  <a:gd name="T20" fmla="*/ 150 w 150"/>
                  <a:gd name="T21" fmla="*/ 43 h 98"/>
                  <a:gd name="T22" fmla="*/ 149 w 150"/>
                  <a:gd name="T23" fmla="*/ 44 h 98"/>
                  <a:gd name="T24" fmla="*/ 58 w 150"/>
                  <a:gd name="T25" fmla="*/ 97 h 98"/>
                  <a:gd name="T26" fmla="*/ 57 w 150"/>
                  <a:gd name="T27" fmla="*/ 98 h 98"/>
                  <a:gd name="T28" fmla="*/ 6 w 150"/>
                  <a:gd name="T29" fmla="*/ 64 h 98"/>
                  <a:gd name="T30" fmla="*/ 57 w 150"/>
                  <a:gd name="T31" fmla="*/ 93 h 98"/>
                  <a:gd name="T32" fmla="*/ 144 w 150"/>
                  <a:gd name="T33" fmla="*/ 43 h 98"/>
                  <a:gd name="T34" fmla="*/ 109 w 150"/>
                  <a:gd name="T35" fmla="*/ 22 h 98"/>
                  <a:gd name="T36" fmla="*/ 108 w 150"/>
                  <a:gd name="T37" fmla="*/ 20 h 98"/>
                  <a:gd name="T38" fmla="*/ 108 w 150"/>
                  <a:gd name="T39" fmla="*/ 6 h 98"/>
                  <a:gd name="T40" fmla="*/ 6 w 150"/>
                  <a:gd name="T41" fmla="*/ 6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98">
                    <a:moveTo>
                      <a:pt x="57" y="98"/>
                    </a:moveTo>
                    <a:cubicBezTo>
                      <a:pt x="56" y="98"/>
                      <a:pt x="56" y="97"/>
                      <a:pt x="56" y="9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1" y="66"/>
                      <a:pt x="0" y="65"/>
                      <a:pt x="0" y="64"/>
                    </a:cubicBezTo>
                    <a:cubicBezTo>
                      <a:pt x="0" y="63"/>
                      <a:pt x="1" y="63"/>
                      <a:pt x="1" y="62"/>
                    </a:cubicBezTo>
                    <a:cubicBezTo>
                      <a:pt x="109" y="1"/>
                      <a:pt x="109" y="1"/>
                      <a:pt x="109" y="1"/>
                    </a:cubicBezTo>
                    <a:cubicBezTo>
                      <a:pt x="109" y="0"/>
                      <a:pt x="110" y="0"/>
                      <a:pt x="111" y="1"/>
                    </a:cubicBezTo>
                    <a:cubicBezTo>
                      <a:pt x="111" y="1"/>
                      <a:pt x="112" y="2"/>
                      <a:pt x="112" y="2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50" y="41"/>
                      <a:pt x="150" y="42"/>
                      <a:pt x="150" y="43"/>
                    </a:cubicBezTo>
                    <a:cubicBezTo>
                      <a:pt x="150" y="43"/>
                      <a:pt x="150" y="44"/>
                      <a:pt x="149" y="44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7" y="97"/>
                      <a:pt x="57" y="98"/>
                      <a:pt x="57" y="98"/>
                    </a:cubicBezTo>
                    <a:close/>
                    <a:moveTo>
                      <a:pt x="6" y="64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09" y="22"/>
                      <a:pt x="109" y="22"/>
                      <a:pt x="109" y="22"/>
                    </a:cubicBezTo>
                    <a:cubicBezTo>
                      <a:pt x="108" y="22"/>
                      <a:pt x="108" y="21"/>
                      <a:pt x="108" y="20"/>
                    </a:cubicBezTo>
                    <a:cubicBezTo>
                      <a:pt x="108" y="6"/>
                      <a:pt x="108" y="6"/>
                      <a:pt x="108" y="6"/>
                    </a:cubicBezTo>
                    <a:lnTo>
                      <a:pt x="6" y="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5" name="Freeform 765">
                <a:extLst>
                  <a:ext uri="{FF2B5EF4-FFF2-40B4-BE49-F238E27FC236}">
                    <a16:creationId xmlns:a16="http://schemas.microsoft.com/office/drawing/2014/main" id="{B1E14E18-59A4-4870-8B5F-2359F9A064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52146" y="6437699"/>
                <a:ext cx="24901" cy="298811"/>
              </a:xfrm>
              <a:custGeom>
                <a:avLst/>
                <a:gdLst>
                  <a:gd name="T0" fmla="*/ 2 w 10"/>
                  <a:gd name="T1" fmla="*/ 122 h 122"/>
                  <a:gd name="T2" fmla="*/ 1 w 10"/>
                  <a:gd name="T3" fmla="*/ 122 h 122"/>
                  <a:gd name="T4" fmla="*/ 0 w 10"/>
                  <a:gd name="T5" fmla="*/ 120 h 122"/>
                  <a:gd name="T6" fmla="*/ 0 w 10"/>
                  <a:gd name="T7" fmla="*/ 2 h 122"/>
                  <a:gd name="T8" fmla="*/ 1 w 10"/>
                  <a:gd name="T9" fmla="*/ 1 h 122"/>
                  <a:gd name="T10" fmla="*/ 3 w 10"/>
                  <a:gd name="T11" fmla="*/ 1 h 122"/>
                  <a:gd name="T12" fmla="*/ 9 w 10"/>
                  <a:gd name="T13" fmla="*/ 4 h 122"/>
                  <a:gd name="T14" fmla="*/ 10 w 10"/>
                  <a:gd name="T15" fmla="*/ 6 h 122"/>
                  <a:gd name="T16" fmla="*/ 10 w 10"/>
                  <a:gd name="T17" fmla="*/ 117 h 122"/>
                  <a:gd name="T18" fmla="*/ 9 w 10"/>
                  <a:gd name="T19" fmla="*/ 119 h 122"/>
                  <a:gd name="T20" fmla="*/ 3 w 10"/>
                  <a:gd name="T21" fmla="*/ 122 h 122"/>
                  <a:gd name="T22" fmla="*/ 2 w 10"/>
                  <a:gd name="T23" fmla="*/ 122 h 122"/>
                  <a:gd name="T24" fmla="*/ 4 w 10"/>
                  <a:gd name="T25" fmla="*/ 6 h 122"/>
                  <a:gd name="T26" fmla="*/ 4 w 10"/>
                  <a:gd name="T27" fmla="*/ 117 h 122"/>
                  <a:gd name="T28" fmla="*/ 6 w 10"/>
                  <a:gd name="T29" fmla="*/ 116 h 122"/>
                  <a:gd name="T30" fmla="*/ 6 w 10"/>
                  <a:gd name="T31" fmla="*/ 7 h 122"/>
                  <a:gd name="T32" fmla="*/ 4 w 10"/>
                  <a:gd name="T33" fmla="*/ 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2">
                    <a:moveTo>
                      <a:pt x="2" y="122"/>
                    </a:moveTo>
                    <a:cubicBezTo>
                      <a:pt x="2" y="122"/>
                      <a:pt x="1" y="122"/>
                      <a:pt x="1" y="122"/>
                    </a:cubicBezTo>
                    <a:cubicBezTo>
                      <a:pt x="1" y="122"/>
                      <a:pt x="0" y="121"/>
                      <a:pt x="0" y="12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117"/>
                      <a:pt x="10" y="117"/>
                      <a:pt x="10" y="117"/>
                    </a:cubicBezTo>
                    <a:cubicBezTo>
                      <a:pt x="10" y="118"/>
                      <a:pt x="10" y="118"/>
                      <a:pt x="9" y="119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2"/>
                      <a:pt x="3" y="122"/>
                      <a:pt x="2" y="122"/>
                    </a:cubicBezTo>
                    <a:close/>
                    <a:moveTo>
                      <a:pt x="4" y="6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6" name="Freeform 766">
                <a:extLst>
                  <a:ext uri="{FF2B5EF4-FFF2-40B4-BE49-F238E27FC236}">
                    <a16:creationId xmlns:a16="http://schemas.microsoft.com/office/drawing/2014/main" id="{BE2121EE-1E5B-4BAB-B4F2-A0847891B9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423341" y="5768486"/>
                <a:ext cx="123467" cy="142143"/>
              </a:xfrm>
              <a:custGeom>
                <a:avLst/>
                <a:gdLst>
                  <a:gd name="T0" fmla="*/ 2 w 50"/>
                  <a:gd name="T1" fmla="*/ 58 h 58"/>
                  <a:gd name="T2" fmla="*/ 1 w 50"/>
                  <a:gd name="T3" fmla="*/ 58 h 58"/>
                  <a:gd name="T4" fmla="*/ 0 w 50"/>
                  <a:gd name="T5" fmla="*/ 56 h 58"/>
                  <a:gd name="T6" fmla="*/ 0 w 50"/>
                  <a:gd name="T7" fmla="*/ 2 h 58"/>
                  <a:gd name="T8" fmla="*/ 1 w 50"/>
                  <a:gd name="T9" fmla="*/ 0 h 58"/>
                  <a:gd name="T10" fmla="*/ 3 w 50"/>
                  <a:gd name="T11" fmla="*/ 0 h 58"/>
                  <a:gd name="T12" fmla="*/ 49 w 50"/>
                  <a:gd name="T13" fmla="*/ 28 h 58"/>
                  <a:gd name="T14" fmla="*/ 50 w 50"/>
                  <a:gd name="T15" fmla="*/ 29 h 58"/>
                  <a:gd name="T16" fmla="*/ 49 w 50"/>
                  <a:gd name="T17" fmla="*/ 31 h 58"/>
                  <a:gd name="T18" fmla="*/ 3 w 50"/>
                  <a:gd name="T19" fmla="*/ 58 h 58"/>
                  <a:gd name="T20" fmla="*/ 2 w 50"/>
                  <a:gd name="T21" fmla="*/ 58 h 58"/>
                  <a:gd name="T22" fmla="*/ 4 w 50"/>
                  <a:gd name="T23" fmla="*/ 6 h 58"/>
                  <a:gd name="T24" fmla="*/ 4 w 50"/>
                  <a:gd name="T25" fmla="*/ 53 h 58"/>
                  <a:gd name="T26" fmla="*/ 44 w 50"/>
                  <a:gd name="T27" fmla="*/ 29 h 58"/>
                  <a:gd name="T28" fmla="*/ 4 w 50"/>
                  <a:gd name="T29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" h="58">
                    <a:moveTo>
                      <a:pt x="2" y="58"/>
                    </a:move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9"/>
                      <a:pt x="50" y="29"/>
                    </a:cubicBezTo>
                    <a:cubicBezTo>
                      <a:pt x="50" y="30"/>
                      <a:pt x="50" y="31"/>
                      <a:pt x="49" y="31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8"/>
                      <a:pt x="2" y="58"/>
                      <a:pt x="2" y="58"/>
                    </a:cubicBezTo>
                    <a:close/>
                    <a:moveTo>
                      <a:pt x="4" y="6"/>
                    </a:moveTo>
                    <a:cubicBezTo>
                      <a:pt x="4" y="53"/>
                      <a:pt x="4" y="53"/>
                      <a:pt x="4" y="53"/>
                    </a:cubicBezTo>
                    <a:cubicBezTo>
                      <a:pt x="44" y="29"/>
                      <a:pt x="44" y="29"/>
                      <a:pt x="44" y="29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7" name="Freeform 768">
                <a:extLst>
                  <a:ext uri="{FF2B5EF4-FFF2-40B4-BE49-F238E27FC236}">
                    <a16:creationId xmlns:a16="http://schemas.microsoft.com/office/drawing/2014/main" id="{098DF5A7-D1EC-4190-9DD3-A1C734C21E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404665" y="6889028"/>
                <a:ext cx="142143" cy="109979"/>
              </a:xfrm>
              <a:custGeom>
                <a:avLst/>
                <a:gdLst>
                  <a:gd name="T0" fmla="*/ 39 w 58"/>
                  <a:gd name="T1" fmla="*/ 45 h 45"/>
                  <a:gd name="T2" fmla="*/ 38 w 58"/>
                  <a:gd name="T3" fmla="*/ 45 h 45"/>
                  <a:gd name="T4" fmla="*/ 1 w 58"/>
                  <a:gd name="T5" fmla="*/ 23 h 45"/>
                  <a:gd name="T6" fmla="*/ 0 w 58"/>
                  <a:gd name="T7" fmla="*/ 21 h 45"/>
                  <a:gd name="T8" fmla="*/ 0 w 58"/>
                  <a:gd name="T9" fmla="*/ 2 h 45"/>
                  <a:gd name="T10" fmla="*/ 1 w 58"/>
                  <a:gd name="T11" fmla="*/ 0 h 45"/>
                  <a:gd name="T12" fmla="*/ 3 w 58"/>
                  <a:gd name="T13" fmla="*/ 0 h 45"/>
                  <a:gd name="T14" fmla="*/ 57 w 58"/>
                  <a:gd name="T15" fmla="*/ 32 h 45"/>
                  <a:gd name="T16" fmla="*/ 58 w 58"/>
                  <a:gd name="T17" fmla="*/ 34 h 45"/>
                  <a:gd name="T18" fmla="*/ 57 w 58"/>
                  <a:gd name="T19" fmla="*/ 35 h 45"/>
                  <a:gd name="T20" fmla="*/ 40 w 58"/>
                  <a:gd name="T21" fmla="*/ 45 h 45"/>
                  <a:gd name="T22" fmla="*/ 39 w 58"/>
                  <a:gd name="T23" fmla="*/ 45 h 45"/>
                  <a:gd name="T24" fmla="*/ 4 w 58"/>
                  <a:gd name="T25" fmla="*/ 20 h 45"/>
                  <a:gd name="T26" fmla="*/ 39 w 58"/>
                  <a:gd name="T27" fmla="*/ 41 h 45"/>
                  <a:gd name="T28" fmla="*/ 52 w 58"/>
                  <a:gd name="T29" fmla="*/ 34 h 45"/>
                  <a:gd name="T30" fmla="*/ 4 w 58"/>
                  <a:gd name="T31" fmla="*/ 6 h 45"/>
                  <a:gd name="T32" fmla="*/ 4 w 58"/>
                  <a:gd name="T33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8" h="45">
                    <a:moveTo>
                      <a:pt x="39" y="45"/>
                    </a:moveTo>
                    <a:cubicBezTo>
                      <a:pt x="39" y="45"/>
                      <a:pt x="39" y="45"/>
                      <a:pt x="38" y="45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8" y="32"/>
                      <a:pt x="58" y="33"/>
                      <a:pt x="58" y="34"/>
                    </a:cubicBezTo>
                    <a:cubicBezTo>
                      <a:pt x="58" y="34"/>
                      <a:pt x="58" y="35"/>
                      <a:pt x="57" y="35"/>
                    </a:cubicBezTo>
                    <a:cubicBezTo>
                      <a:pt x="40" y="45"/>
                      <a:pt x="40" y="45"/>
                      <a:pt x="40" y="45"/>
                    </a:cubicBezTo>
                    <a:cubicBezTo>
                      <a:pt x="40" y="45"/>
                      <a:pt x="40" y="45"/>
                      <a:pt x="39" y="45"/>
                    </a:cubicBezTo>
                    <a:close/>
                    <a:moveTo>
                      <a:pt x="4" y="20"/>
                    </a:moveTo>
                    <a:cubicBezTo>
                      <a:pt x="39" y="41"/>
                      <a:pt x="39" y="41"/>
                      <a:pt x="39" y="41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8" name="Freeform 770">
                <a:extLst>
                  <a:ext uri="{FF2B5EF4-FFF2-40B4-BE49-F238E27FC236}">
                    <a16:creationId xmlns:a16="http://schemas.microsoft.com/office/drawing/2014/main" id="{4A608645-01F5-4435-A04B-7926FB095D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17907" y="5959393"/>
                <a:ext cx="39427" cy="196095"/>
              </a:xfrm>
              <a:custGeom>
                <a:avLst/>
                <a:gdLst>
                  <a:gd name="T0" fmla="*/ 2 w 16"/>
                  <a:gd name="T1" fmla="*/ 80 h 80"/>
                  <a:gd name="T2" fmla="*/ 1 w 16"/>
                  <a:gd name="T3" fmla="*/ 80 h 80"/>
                  <a:gd name="T4" fmla="*/ 0 w 16"/>
                  <a:gd name="T5" fmla="*/ 78 h 80"/>
                  <a:gd name="T6" fmla="*/ 0 w 16"/>
                  <a:gd name="T7" fmla="*/ 9 h 80"/>
                  <a:gd name="T8" fmla="*/ 1 w 16"/>
                  <a:gd name="T9" fmla="*/ 8 h 80"/>
                  <a:gd name="T10" fmla="*/ 13 w 16"/>
                  <a:gd name="T11" fmla="*/ 1 h 80"/>
                  <a:gd name="T12" fmla="*/ 15 w 16"/>
                  <a:gd name="T13" fmla="*/ 1 h 80"/>
                  <a:gd name="T14" fmla="*/ 16 w 16"/>
                  <a:gd name="T15" fmla="*/ 2 h 80"/>
                  <a:gd name="T16" fmla="*/ 16 w 16"/>
                  <a:gd name="T17" fmla="*/ 71 h 80"/>
                  <a:gd name="T18" fmla="*/ 15 w 16"/>
                  <a:gd name="T19" fmla="*/ 73 h 80"/>
                  <a:gd name="T20" fmla="*/ 3 w 16"/>
                  <a:gd name="T21" fmla="*/ 80 h 80"/>
                  <a:gd name="T22" fmla="*/ 2 w 16"/>
                  <a:gd name="T23" fmla="*/ 80 h 80"/>
                  <a:gd name="T24" fmla="*/ 4 w 16"/>
                  <a:gd name="T25" fmla="*/ 11 h 80"/>
                  <a:gd name="T26" fmla="*/ 4 w 16"/>
                  <a:gd name="T27" fmla="*/ 75 h 80"/>
                  <a:gd name="T28" fmla="*/ 12 w 16"/>
                  <a:gd name="T29" fmla="*/ 70 h 80"/>
                  <a:gd name="T30" fmla="*/ 12 w 16"/>
                  <a:gd name="T31" fmla="*/ 6 h 80"/>
                  <a:gd name="T32" fmla="*/ 4 w 16"/>
                  <a:gd name="T33" fmla="*/ 1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80">
                    <a:moveTo>
                      <a:pt x="2" y="80"/>
                    </a:move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15" y="1"/>
                      <a:pt x="16" y="2"/>
                      <a:pt x="16" y="2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2"/>
                      <a:pt x="15" y="72"/>
                      <a:pt x="15" y="73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2" y="80"/>
                      <a:pt x="2" y="80"/>
                      <a:pt x="2" y="80"/>
                    </a:cubicBezTo>
                    <a:close/>
                    <a:moveTo>
                      <a:pt x="4" y="11"/>
                    </a:moveTo>
                    <a:cubicBezTo>
                      <a:pt x="4" y="75"/>
                      <a:pt x="4" y="75"/>
                      <a:pt x="4" y="75"/>
                    </a:cubicBezTo>
                    <a:cubicBezTo>
                      <a:pt x="12" y="70"/>
                      <a:pt x="12" y="70"/>
                      <a:pt x="12" y="70"/>
                    </a:cubicBezTo>
                    <a:cubicBezTo>
                      <a:pt x="12" y="6"/>
                      <a:pt x="12" y="6"/>
                      <a:pt x="12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9" name="Freeform 773">
                <a:extLst>
                  <a:ext uri="{FF2B5EF4-FFF2-40B4-BE49-F238E27FC236}">
                    <a16:creationId xmlns:a16="http://schemas.microsoft.com/office/drawing/2014/main" id="{260C3230-B089-4752-85D8-1EE66D28F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17907" y="6133699"/>
                <a:ext cx="39427" cy="199208"/>
              </a:xfrm>
              <a:custGeom>
                <a:avLst/>
                <a:gdLst>
                  <a:gd name="T0" fmla="*/ 14 w 16"/>
                  <a:gd name="T1" fmla="*/ 81 h 81"/>
                  <a:gd name="T2" fmla="*/ 13 w 16"/>
                  <a:gd name="T3" fmla="*/ 81 h 81"/>
                  <a:gd name="T4" fmla="*/ 1 w 16"/>
                  <a:gd name="T5" fmla="*/ 74 h 81"/>
                  <a:gd name="T6" fmla="*/ 0 w 16"/>
                  <a:gd name="T7" fmla="*/ 72 h 81"/>
                  <a:gd name="T8" fmla="*/ 0 w 16"/>
                  <a:gd name="T9" fmla="*/ 9 h 81"/>
                  <a:gd name="T10" fmla="*/ 1 w 16"/>
                  <a:gd name="T11" fmla="*/ 7 h 81"/>
                  <a:gd name="T12" fmla="*/ 13 w 16"/>
                  <a:gd name="T13" fmla="*/ 0 h 81"/>
                  <a:gd name="T14" fmla="*/ 15 w 16"/>
                  <a:gd name="T15" fmla="*/ 0 h 81"/>
                  <a:gd name="T16" fmla="*/ 16 w 16"/>
                  <a:gd name="T17" fmla="*/ 2 h 81"/>
                  <a:gd name="T18" fmla="*/ 16 w 16"/>
                  <a:gd name="T19" fmla="*/ 79 h 81"/>
                  <a:gd name="T20" fmla="*/ 15 w 16"/>
                  <a:gd name="T21" fmla="*/ 81 h 81"/>
                  <a:gd name="T22" fmla="*/ 14 w 16"/>
                  <a:gd name="T23" fmla="*/ 81 h 81"/>
                  <a:gd name="T24" fmla="*/ 4 w 16"/>
                  <a:gd name="T25" fmla="*/ 71 h 81"/>
                  <a:gd name="T26" fmla="*/ 12 w 16"/>
                  <a:gd name="T27" fmla="*/ 75 h 81"/>
                  <a:gd name="T28" fmla="*/ 12 w 16"/>
                  <a:gd name="T29" fmla="*/ 5 h 81"/>
                  <a:gd name="T30" fmla="*/ 4 w 16"/>
                  <a:gd name="T31" fmla="*/ 10 h 81"/>
                  <a:gd name="T32" fmla="*/ 4 w 16"/>
                  <a:gd name="T33" fmla="*/ 7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81">
                    <a:moveTo>
                      <a:pt x="14" y="81"/>
                    </a:moveTo>
                    <a:cubicBezTo>
                      <a:pt x="14" y="81"/>
                      <a:pt x="13" y="81"/>
                      <a:pt x="13" y="81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3"/>
                      <a:pt x="0" y="73"/>
                      <a:pt x="0" y="72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8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5" y="1"/>
                      <a:pt x="16" y="1"/>
                      <a:pt x="16" y="2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6" y="80"/>
                      <a:pt x="15" y="80"/>
                      <a:pt x="15" y="81"/>
                    </a:cubicBezTo>
                    <a:cubicBezTo>
                      <a:pt x="15" y="81"/>
                      <a:pt x="14" y="81"/>
                      <a:pt x="14" y="81"/>
                    </a:cubicBezTo>
                    <a:close/>
                    <a:moveTo>
                      <a:pt x="4" y="71"/>
                    </a:move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7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0" name="Freeform 795">
                <a:extLst>
                  <a:ext uri="{FF2B5EF4-FFF2-40B4-BE49-F238E27FC236}">
                    <a16:creationId xmlns:a16="http://schemas.microsoft.com/office/drawing/2014/main" id="{D415CDE8-51B6-450E-890B-053F34AB78D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975123" y="6945055"/>
                <a:ext cx="17638" cy="17638"/>
              </a:xfrm>
              <a:custGeom>
                <a:avLst/>
                <a:gdLst>
                  <a:gd name="T0" fmla="*/ 2 w 7"/>
                  <a:gd name="T1" fmla="*/ 7 h 7"/>
                  <a:gd name="T2" fmla="*/ 1 w 7"/>
                  <a:gd name="T3" fmla="*/ 7 h 7"/>
                  <a:gd name="T4" fmla="*/ 0 w 7"/>
                  <a:gd name="T5" fmla="*/ 5 h 7"/>
                  <a:gd name="T6" fmla="*/ 0 w 7"/>
                  <a:gd name="T7" fmla="*/ 2 h 7"/>
                  <a:gd name="T8" fmla="*/ 1 w 7"/>
                  <a:gd name="T9" fmla="*/ 1 h 7"/>
                  <a:gd name="T10" fmla="*/ 3 w 7"/>
                  <a:gd name="T11" fmla="*/ 1 h 7"/>
                  <a:gd name="T12" fmla="*/ 6 w 7"/>
                  <a:gd name="T13" fmla="*/ 2 h 7"/>
                  <a:gd name="T14" fmla="*/ 7 w 7"/>
                  <a:gd name="T15" fmla="*/ 4 h 7"/>
                  <a:gd name="T16" fmla="*/ 6 w 7"/>
                  <a:gd name="T17" fmla="*/ 6 h 7"/>
                  <a:gd name="T18" fmla="*/ 3 w 7"/>
                  <a:gd name="T19" fmla="*/ 7 h 7"/>
                  <a:gd name="T20" fmla="*/ 2 w 7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cubicBezTo>
                      <a:pt x="2" y="7"/>
                      <a:pt x="2" y="7"/>
                      <a:pt x="1" y="7"/>
                    </a:cubicBezTo>
                    <a:cubicBezTo>
                      <a:pt x="1" y="7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3"/>
                      <a:pt x="7" y="3"/>
                      <a:pt x="7" y="4"/>
                    </a:cubicBezTo>
                    <a:cubicBezTo>
                      <a:pt x="7" y="5"/>
                      <a:pt x="7" y="5"/>
                      <a:pt x="6" y="6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2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1" name="Freeform 798">
                <a:extLst>
                  <a:ext uri="{FF2B5EF4-FFF2-40B4-BE49-F238E27FC236}">
                    <a16:creationId xmlns:a16="http://schemas.microsoft.com/office/drawing/2014/main" id="{77CC65B4-5292-43DC-B31E-99FD80B7B7D4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973048" y="6939868"/>
                <a:ext cx="19713" cy="17638"/>
              </a:xfrm>
              <a:custGeom>
                <a:avLst/>
                <a:gdLst>
                  <a:gd name="T0" fmla="*/ 6 w 8"/>
                  <a:gd name="T1" fmla="*/ 7 h 7"/>
                  <a:gd name="T2" fmla="*/ 5 w 8"/>
                  <a:gd name="T3" fmla="*/ 6 h 7"/>
                  <a:gd name="T4" fmla="*/ 1 w 8"/>
                  <a:gd name="T5" fmla="*/ 4 h 7"/>
                  <a:gd name="T6" fmla="*/ 0 w 8"/>
                  <a:gd name="T7" fmla="*/ 3 h 7"/>
                  <a:gd name="T8" fmla="*/ 1 w 8"/>
                  <a:gd name="T9" fmla="*/ 1 h 7"/>
                  <a:gd name="T10" fmla="*/ 3 w 8"/>
                  <a:gd name="T11" fmla="*/ 1 h 7"/>
                  <a:gd name="T12" fmla="*/ 7 w 8"/>
                  <a:gd name="T13" fmla="*/ 3 h 7"/>
                  <a:gd name="T14" fmla="*/ 8 w 8"/>
                  <a:gd name="T15" fmla="*/ 4 h 7"/>
                  <a:gd name="T16" fmla="*/ 8 w 8"/>
                  <a:gd name="T17" fmla="*/ 5 h 7"/>
                  <a:gd name="T18" fmla="*/ 7 w 8"/>
                  <a:gd name="T19" fmla="*/ 6 h 7"/>
                  <a:gd name="T20" fmla="*/ 6 w 8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5" y="7"/>
                      <a:pt x="5" y="6"/>
                      <a:pt x="5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4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6"/>
                      <a:pt x="7" y="6"/>
                    </a:cubicBezTo>
                    <a:cubicBezTo>
                      <a:pt x="6" y="6"/>
                      <a:pt x="6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2" name="Freeform 799">
                <a:extLst>
                  <a:ext uri="{FF2B5EF4-FFF2-40B4-BE49-F238E27FC236}">
                    <a16:creationId xmlns:a16="http://schemas.microsoft.com/office/drawing/2014/main" id="{597FF2D6-7612-4027-8EBB-66B6E578E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75954" y="6263392"/>
                <a:ext cx="43577" cy="51877"/>
              </a:xfrm>
              <a:custGeom>
                <a:avLst/>
                <a:gdLst>
                  <a:gd name="T0" fmla="*/ 16 w 18"/>
                  <a:gd name="T1" fmla="*/ 21 h 21"/>
                  <a:gd name="T2" fmla="*/ 15 w 18"/>
                  <a:gd name="T3" fmla="*/ 20 h 21"/>
                  <a:gd name="T4" fmla="*/ 1 w 18"/>
                  <a:gd name="T5" fmla="*/ 12 h 21"/>
                  <a:gd name="T6" fmla="*/ 0 w 18"/>
                  <a:gd name="T7" fmla="*/ 10 h 21"/>
                  <a:gd name="T8" fmla="*/ 1 w 18"/>
                  <a:gd name="T9" fmla="*/ 9 h 21"/>
                  <a:gd name="T10" fmla="*/ 15 w 18"/>
                  <a:gd name="T11" fmla="*/ 0 h 21"/>
                  <a:gd name="T12" fmla="*/ 17 w 18"/>
                  <a:gd name="T13" fmla="*/ 0 h 21"/>
                  <a:gd name="T14" fmla="*/ 18 w 18"/>
                  <a:gd name="T15" fmla="*/ 2 h 21"/>
                  <a:gd name="T16" fmla="*/ 18 w 18"/>
                  <a:gd name="T17" fmla="*/ 19 h 21"/>
                  <a:gd name="T18" fmla="*/ 17 w 18"/>
                  <a:gd name="T19" fmla="*/ 20 h 21"/>
                  <a:gd name="T20" fmla="*/ 16 w 18"/>
                  <a:gd name="T21" fmla="*/ 21 h 21"/>
                  <a:gd name="T22" fmla="*/ 6 w 18"/>
                  <a:gd name="T23" fmla="*/ 10 h 21"/>
                  <a:gd name="T24" fmla="*/ 14 w 18"/>
                  <a:gd name="T25" fmla="*/ 15 h 21"/>
                  <a:gd name="T26" fmla="*/ 14 w 18"/>
                  <a:gd name="T27" fmla="*/ 6 h 21"/>
                  <a:gd name="T28" fmla="*/ 6 w 18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21">
                    <a:moveTo>
                      <a:pt x="16" y="21"/>
                    </a:moveTo>
                    <a:cubicBezTo>
                      <a:pt x="16" y="21"/>
                      <a:pt x="15" y="21"/>
                      <a:pt x="15" y="20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6" y="0"/>
                      <a:pt x="17" y="0"/>
                    </a:cubicBezTo>
                    <a:cubicBezTo>
                      <a:pt x="18" y="1"/>
                      <a:pt x="18" y="1"/>
                      <a:pt x="18" y="2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19"/>
                      <a:pt x="18" y="20"/>
                      <a:pt x="17" y="20"/>
                    </a:cubicBezTo>
                    <a:cubicBezTo>
                      <a:pt x="17" y="21"/>
                      <a:pt x="16" y="21"/>
                      <a:pt x="16" y="21"/>
                    </a:cubicBezTo>
                    <a:close/>
                    <a:moveTo>
                      <a:pt x="6" y="10"/>
                    </a:move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6"/>
                      <a:pt x="14" y="6"/>
                      <a:pt x="14" y="6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3" name="Freeform 800">
                <a:extLst>
                  <a:ext uri="{FF2B5EF4-FFF2-40B4-BE49-F238E27FC236}">
                    <a16:creationId xmlns:a16="http://schemas.microsoft.com/office/drawing/2014/main" id="{C63D6391-4FAD-4DB2-A12A-5B11A53A93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64692" y="6144075"/>
                <a:ext cx="161856" cy="149406"/>
              </a:xfrm>
              <a:custGeom>
                <a:avLst/>
                <a:gdLst>
                  <a:gd name="T0" fmla="*/ 49 w 66"/>
                  <a:gd name="T1" fmla="*/ 61 h 61"/>
                  <a:gd name="T2" fmla="*/ 48 w 66"/>
                  <a:gd name="T3" fmla="*/ 61 h 61"/>
                  <a:gd name="T4" fmla="*/ 1 w 66"/>
                  <a:gd name="T5" fmla="*/ 34 h 61"/>
                  <a:gd name="T6" fmla="*/ 0 w 66"/>
                  <a:gd name="T7" fmla="*/ 32 h 61"/>
                  <a:gd name="T8" fmla="*/ 0 w 66"/>
                  <a:gd name="T9" fmla="*/ 16 h 61"/>
                  <a:gd name="T10" fmla="*/ 1 w 66"/>
                  <a:gd name="T11" fmla="*/ 14 h 61"/>
                  <a:gd name="T12" fmla="*/ 10 w 66"/>
                  <a:gd name="T13" fmla="*/ 9 h 61"/>
                  <a:gd name="T14" fmla="*/ 10 w 66"/>
                  <a:gd name="T15" fmla="*/ 5 h 61"/>
                  <a:gd name="T16" fmla="*/ 11 w 66"/>
                  <a:gd name="T17" fmla="*/ 3 h 61"/>
                  <a:gd name="T18" fmla="*/ 17 w 66"/>
                  <a:gd name="T19" fmla="*/ 0 h 61"/>
                  <a:gd name="T20" fmla="*/ 19 w 66"/>
                  <a:gd name="T21" fmla="*/ 0 h 61"/>
                  <a:gd name="T22" fmla="*/ 65 w 66"/>
                  <a:gd name="T23" fmla="*/ 27 h 61"/>
                  <a:gd name="T24" fmla="*/ 66 w 66"/>
                  <a:gd name="T25" fmla="*/ 29 h 61"/>
                  <a:gd name="T26" fmla="*/ 66 w 66"/>
                  <a:gd name="T27" fmla="*/ 50 h 61"/>
                  <a:gd name="T28" fmla="*/ 65 w 66"/>
                  <a:gd name="T29" fmla="*/ 52 h 61"/>
                  <a:gd name="T30" fmla="*/ 50 w 66"/>
                  <a:gd name="T31" fmla="*/ 61 h 61"/>
                  <a:gd name="T32" fmla="*/ 49 w 66"/>
                  <a:gd name="T33" fmla="*/ 61 h 61"/>
                  <a:gd name="T34" fmla="*/ 4 w 66"/>
                  <a:gd name="T35" fmla="*/ 31 h 61"/>
                  <a:gd name="T36" fmla="*/ 49 w 66"/>
                  <a:gd name="T37" fmla="*/ 57 h 61"/>
                  <a:gd name="T38" fmla="*/ 62 w 66"/>
                  <a:gd name="T39" fmla="*/ 49 h 61"/>
                  <a:gd name="T40" fmla="*/ 62 w 66"/>
                  <a:gd name="T41" fmla="*/ 30 h 61"/>
                  <a:gd name="T42" fmla="*/ 18 w 66"/>
                  <a:gd name="T43" fmla="*/ 4 h 61"/>
                  <a:gd name="T44" fmla="*/ 14 w 66"/>
                  <a:gd name="T45" fmla="*/ 6 h 61"/>
                  <a:gd name="T46" fmla="*/ 14 w 66"/>
                  <a:gd name="T47" fmla="*/ 10 h 61"/>
                  <a:gd name="T48" fmla="*/ 13 w 66"/>
                  <a:gd name="T49" fmla="*/ 12 h 61"/>
                  <a:gd name="T50" fmla="*/ 4 w 66"/>
                  <a:gd name="T51" fmla="*/ 17 h 61"/>
                  <a:gd name="T52" fmla="*/ 4 w 66"/>
                  <a:gd name="T53" fmla="*/ 3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" h="61">
                    <a:moveTo>
                      <a:pt x="49" y="61"/>
                    </a:moveTo>
                    <a:cubicBezTo>
                      <a:pt x="49" y="61"/>
                      <a:pt x="48" y="61"/>
                      <a:pt x="48" y="61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3"/>
                      <a:pt x="0" y="33"/>
                      <a:pt x="0" y="3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1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65" y="27"/>
                      <a:pt x="65" y="27"/>
                      <a:pt x="65" y="27"/>
                    </a:cubicBezTo>
                    <a:cubicBezTo>
                      <a:pt x="66" y="27"/>
                      <a:pt x="66" y="28"/>
                      <a:pt x="66" y="2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51"/>
                      <a:pt x="66" y="52"/>
                      <a:pt x="65" y="52"/>
                    </a:cubicBezTo>
                    <a:cubicBezTo>
                      <a:pt x="50" y="61"/>
                      <a:pt x="50" y="61"/>
                      <a:pt x="50" y="61"/>
                    </a:cubicBezTo>
                    <a:cubicBezTo>
                      <a:pt x="50" y="61"/>
                      <a:pt x="49" y="61"/>
                      <a:pt x="49" y="61"/>
                    </a:cubicBezTo>
                    <a:close/>
                    <a:moveTo>
                      <a:pt x="4" y="31"/>
                    </a:moveTo>
                    <a:cubicBezTo>
                      <a:pt x="49" y="57"/>
                      <a:pt x="49" y="57"/>
                      <a:pt x="49" y="57"/>
                    </a:cubicBezTo>
                    <a:cubicBezTo>
                      <a:pt x="62" y="49"/>
                      <a:pt x="62" y="49"/>
                      <a:pt x="62" y="49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1"/>
                      <a:pt x="14" y="12"/>
                      <a:pt x="13" y="12"/>
                    </a:cubicBezTo>
                    <a:cubicBezTo>
                      <a:pt x="4" y="17"/>
                      <a:pt x="4" y="17"/>
                      <a:pt x="4" y="17"/>
                    </a:cubicBez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4" name="Freeform 802">
                <a:extLst>
                  <a:ext uri="{FF2B5EF4-FFF2-40B4-BE49-F238E27FC236}">
                    <a16:creationId xmlns:a16="http://schemas.microsoft.com/office/drawing/2014/main" id="{7F80A514-20FE-4B4F-824A-646C098354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64692" y="6055884"/>
                <a:ext cx="136955" cy="158744"/>
              </a:xfrm>
              <a:custGeom>
                <a:avLst/>
                <a:gdLst>
                  <a:gd name="T0" fmla="*/ 54 w 56"/>
                  <a:gd name="T1" fmla="*/ 65 h 65"/>
                  <a:gd name="T2" fmla="*/ 53 w 56"/>
                  <a:gd name="T3" fmla="*/ 65 h 65"/>
                  <a:gd name="T4" fmla="*/ 8 w 56"/>
                  <a:gd name="T5" fmla="*/ 38 h 65"/>
                  <a:gd name="T6" fmla="*/ 3 w 56"/>
                  <a:gd name="T7" fmla="*/ 41 h 65"/>
                  <a:gd name="T8" fmla="*/ 1 w 56"/>
                  <a:gd name="T9" fmla="*/ 41 h 65"/>
                  <a:gd name="T10" fmla="*/ 0 w 56"/>
                  <a:gd name="T11" fmla="*/ 39 h 65"/>
                  <a:gd name="T12" fmla="*/ 0 w 56"/>
                  <a:gd name="T13" fmla="*/ 2 h 65"/>
                  <a:gd name="T14" fmla="*/ 1 w 56"/>
                  <a:gd name="T15" fmla="*/ 0 h 65"/>
                  <a:gd name="T16" fmla="*/ 3 w 56"/>
                  <a:gd name="T17" fmla="*/ 0 h 65"/>
                  <a:gd name="T18" fmla="*/ 55 w 56"/>
                  <a:gd name="T19" fmla="*/ 31 h 65"/>
                  <a:gd name="T20" fmla="*/ 56 w 56"/>
                  <a:gd name="T21" fmla="*/ 32 h 65"/>
                  <a:gd name="T22" fmla="*/ 56 w 56"/>
                  <a:gd name="T23" fmla="*/ 63 h 65"/>
                  <a:gd name="T24" fmla="*/ 55 w 56"/>
                  <a:gd name="T25" fmla="*/ 65 h 65"/>
                  <a:gd name="T26" fmla="*/ 54 w 56"/>
                  <a:gd name="T27" fmla="*/ 65 h 65"/>
                  <a:gd name="T28" fmla="*/ 8 w 56"/>
                  <a:gd name="T29" fmla="*/ 34 h 65"/>
                  <a:gd name="T30" fmla="*/ 9 w 56"/>
                  <a:gd name="T31" fmla="*/ 34 h 65"/>
                  <a:gd name="T32" fmla="*/ 52 w 56"/>
                  <a:gd name="T33" fmla="*/ 59 h 65"/>
                  <a:gd name="T34" fmla="*/ 52 w 56"/>
                  <a:gd name="T35" fmla="*/ 33 h 65"/>
                  <a:gd name="T36" fmla="*/ 4 w 56"/>
                  <a:gd name="T37" fmla="*/ 6 h 65"/>
                  <a:gd name="T38" fmla="*/ 4 w 56"/>
                  <a:gd name="T39" fmla="*/ 36 h 65"/>
                  <a:gd name="T40" fmla="*/ 7 w 56"/>
                  <a:gd name="T41" fmla="*/ 34 h 65"/>
                  <a:gd name="T42" fmla="*/ 8 w 56"/>
                  <a:gd name="T43" fmla="*/ 3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65">
                    <a:moveTo>
                      <a:pt x="54" y="65"/>
                    </a:moveTo>
                    <a:cubicBezTo>
                      <a:pt x="54" y="65"/>
                      <a:pt x="53" y="65"/>
                      <a:pt x="53" y="65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2" y="41"/>
                      <a:pt x="2" y="41"/>
                      <a:pt x="1" y="41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6" y="31"/>
                      <a:pt x="56" y="32"/>
                      <a:pt x="56" y="32"/>
                    </a:cubicBezTo>
                    <a:cubicBezTo>
                      <a:pt x="56" y="63"/>
                      <a:pt x="56" y="63"/>
                      <a:pt x="56" y="63"/>
                    </a:cubicBezTo>
                    <a:cubicBezTo>
                      <a:pt x="56" y="64"/>
                      <a:pt x="56" y="64"/>
                      <a:pt x="55" y="65"/>
                    </a:cubicBezTo>
                    <a:cubicBezTo>
                      <a:pt x="55" y="65"/>
                      <a:pt x="54" y="65"/>
                      <a:pt x="54" y="65"/>
                    </a:cubicBezTo>
                    <a:close/>
                    <a:moveTo>
                      <a:pt x="8" y="34"/>
                    </a:moveTo>
                    <a:cubicBezTo>
                      <a:pt x="8" y="34"/>
                      <a:pt x="8" y="34"/>
                      <a:pt x="9" y="34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7" y="34"/>
                      <a:pt x="8" y="3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5" name="Freeform 803">
                <a:extLst>
                  <a:ext uri="{FF2B5EF4-FFF2-40B4-BE49-F238E27FC236}">
                    <a16:creationId xmlns:a16="http://schemas.microsoft.com/office/drawing/2014/main" id="{1308AE94-E039-4CCC-8BE9-43DE3B5A05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64692" y="6266504"/>
                <a:ext cx="41502" cy="48764"/>
              </a:xfrm>
              <a:custGeom>
                <a:avLst/>
                <a:gdLst>
                  <a:gd name="T0" fmla="*/ 15 w 17"/>
                  <a:gd name="T1" fmla="*/ 20 h 20"/>
                  <a:gd name="T2" fmla="*/ 14 w 17"/>
                  <a:gd name="T3" fmla="*/ 19 h 20"/>
                  <a:gd name="T4" fmla="*/ 1 w 17"/>
                  <a:gd name="T5" fmla="*/ 12 h 20"/>
                  <a:gd name="T6" fmla="*/ 0 w 17"/>
                  <a:gd name="T7" fmla="*/ 10 h 20"/>
                  <a:gd name="T8" fmla="*/ 1 w 17"/>
                  <a:gd name="T9" fmla="*/ 8 h 20"/>
                  <a:gd name="T10" fmla="*/ 14 w 17"/>
                  <a:gd name="T11" fmla="*/ 1 h 20"/>
                  <a:gd name="T12" fmla="*/ 16 w 17"/>
                  <a:gd name="T13" fmla="*/ 1 h 20"/>
                  <a:gd name="T14" fmla="*/ 17 w 17"/>
                  <a:gd name="T15" fmla="*/ 2 h 20"/>
                  <a:gd name="T16" fmla="*/ 17 w 17"/>
                  <a:gd name="T17" fmla="*/ 18 h 20"/>
                  <a:gd name="T18" fmla="*/ 16 w 17"/>
                  <a:gd name="T19" fmla="*/ 19 h 20"/>
                  <a:gd name="T20" fmla="*/ 15 w 17"/>
                  <a:gd name="T21" fmla="*/ 20 h 20"/>
                  <a:gd name="T22" fmla="*/ 6 w 17"/>
                  <a:gd name="T23" fmla="*/ 10 h 20"/>
                  <a:gd name="T24" fmla="*/ 13 w 17"/>
                  <a:gd name="T25" fmla="*/ 14 h 20"/>
                  <a:gd name="T26" fmla="*/ 13 w 17"/>
                  <a:gd name="T27" fmla="*/ 6 h 20"/>
                  <a:gd name="T28" fmla="*/ 6 w 17"/>
                  <a:gd name="T2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20">
                    <a:moveTo>
                      <a:pt x="15" y="20"/>
                    </a:moveTo>
                    <a:cubicBezTo>
                      <a:pt x="15" y="20"/>
                      <a:pt x="14" y="20"/>
                      <a:pt x="14" y="19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6" y="1"/>
                    </a:cubicBezTo>
                    <a:cubicBezTo>
                      <a:pt x="17" y="1"/>
                      <a:pt x="17" y="2"/>
                      <a:pt x="17" y="2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7" y="18"/>
                      <a:pt x="17" y="19"/>
                      <a:pt x="16" y="19"/>
                    </a:cubicBezTo>
                    <a:cubicBezTo>
                      <a:pt x="16" y="20"/>
                      <a:pt x="15" y="20"/>
                      <a:pt x="15" y="20"/>
                    </a:cubicBezTo>
                    <a:close/>
                    <a:moveTo>
                      <a:pt x="6" y="10"/>
                    </a:move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6"/>
                      <a:pt x="13" y="6"/>
                      <a:pt x="13" y="6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6" name="Freeform 804">
                <a:extLst>
                  <a:ext uri="{FF2B5EF4-FFF2-40B4-BE49-F238E27FC236}">
                    <a16:creationId xmlns:a16="http://schemas.microsoft.com/office/drawing/2014/main" id="{681020B6-CE08-4FB4-9B1A-993023F570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06193" y="6180389"/>
                <a:ext cx="230334" cy="156668"/>
              </a:xfrm>
              <a:custGeom>
                <a:avLst/>
                <a:gdLst>
                  <a:gd name="T0" fmla="*/ 63 w 94"/>
                  <a:gd name="T1" fmla="*/ 64 h 64"/>
                  <a:gd name="T2" fmla="*/ 62 w 94"/>
                  <a:gd name="T3" fmla="*/ 64 h 64"/>
                  <a:gd name="T4" fmla="*/ 1 w 94"/>
                  <a:gd name="T5" fmla="*/ 29 h 64"/>
                  <a:gd name="T6" fmla="*/ 0 w 94"/>
                  <a:gd name="T7" fmla="*/ 27 h 64"/>
                  <a:gd name="T8" fmla="*/ 1 w 94"/>
                  <a:gd name="T9" fmla="*/ 25 h 64"/>
                  <a:gd name="T10" fmla="*/ 45 w 94"/>
                  <a:gd name="T11" fmla="*/ 0 h 64"/>
                  <a:gd name="T12" fmla="*/ 47 w 94"/>
                  <a:gd name="T13" fmla="*/ 0 h 64"/>
                  <a:gd name="T14" fmla="*/ 48 w 94"/>
                  <a:gd name="T15" fmla="*/ 2 h 64"/>
                  <a:gd name="T16" fmla="*/ 48 w 94"/>
                  <a:gd name="T17" fmla="*/ 17 h 64"/>
                  <a:gd name="T18" fmla="*/ 93 w 94"/>
                  <a:gd name="T19" fmla="*/ 43 h 64"/>
                  <a:gd name="T20" fmla="*/ 94 w 94"/>
                  <a:gd name="T21" fmla="*/ 45 h 64"/>
                  <a:gd name="T22" fmla="*/ 93 w 94"/>
                  <a:gd name="T23" fmla="*/ 47 h 64"/>
                  <a:gd name="T24" fmla="*/ 64 w 94"/>
                  <a:gd name="T25" fmla="*/ 64 h 64"/>
                  <a:gd name="T26" fmla="*/ 63 w 94"/>
                  <a:gd name="T27" fmla="*/ 64 h 64"/>
                  <a:gd name="T28" fmla="*/ 6 w 94"/>
                  <a:gd name="T29" fmla="*/ 27 h 64"/>
                  <a:gd name="T30" fmla="*/ 63 w 94"/>
                  <a:gd name="T31" fmla="*/ 60 h 64"/>
                  <a:gd name="T32" fmla="*/ 88 w 94"/>
                  <a:gd name="T33" fmla="*/ 45 h 64"/>
                  <a:gd name="T34" fmla="*/ 45 w 94"/>
                  <a:gd name="T35" fmla="*/ 20 h 64"/>
                  <a:gd name="T36" fmla="*/ 44 w 94"/>
                  <a:gd name="T37" fmla="*/ 18 h 64"/>
                  <a:gd name="T38" fmla="*/ 44 w 94"/>
                  <a:gd name="T39" fmla="*/ 5 h 64"/>
                  <a:gd name="T40" fmla="*/ 6 w 94"/>
                  <a:gd name="T41" fmla="*/ 2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4" h="64">
                    <a:moveTo>
                      <a:pt x="63" y="64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28"/>
                      <a:pt x="0" y="28"/>
                      <a:pt x="0" y="27"/>
                    </a:cubicBezTo>
                    <a:cubicBezTo>
                      <a:pt x="0" y="26"/>
                      <a:pt x="0" y="26"/>
                      <a:pt x="1" y="2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6" y="0"/>
                      <a:pt x="47" y="0"/>
                    </a:cubicBezTo>
                    <a:cubicBezTo>
                      <a:pt x="47" y="0"/>
                      <a:pt x="48" y="1"/>
                      <a:pt x="48" y="2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4" y="44"/>
                      <a:pt x="94" y="44"/>
                      <a:pt x="94" y="45"/>
                    </a:cubicBezTo>
                    <a:cubicBezTo>
                      <a:pt x="94" y="46"/>
                      <a:pt x="94" y="46"/>
                      <a:pt x="93" y="4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3" y="64"/>
                      <a:pt x="63" y="64"/>
                      <a:pt x="63" y="64"/>
                    </a:cubicBezTo>
                    <a:close/>
                    <a:moveTo>
                      <a:pt x="6" y="27"/>
                    </a:moveTo>
                    <a:cubicBezTo>
                      <a:pt x="63" y="60"/>
                      <a:pt x="63" y="60"/>
                      <a:pt x="63" y="60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45" y="20"/>
                      <a:pt x="45" y="20"/>
                      <a:pt x="45" y="20"/>
                    </a:cubicBezTo>
                    <a:cubicBezTo>
                      <a:pt x="44" y="19"/>
                      <a:pt x="44" y="19"/>
                      <a:pt x="44" y="18"/>
                    </a:cubicBezTo>
                    <a:cubicBezTo>
                      <a:pt x="44" y="5"/>
                      <a:pt x="44" y="5"/>
                      <a:pt x="44" y="5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7" name="Freeform 811">
                <a:extLst>
                  <a:ext uri="{FF2B5EF4-FFF2-40B4-BE49-F238E27FC236}">
                    <a16:creationId xmlns:a16="http://schemas.microsoft.com/office/drawing/2014/main" id="{D3BBB74A-BAD1-49FC-8B21-31F44A19F3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56241" y="6817438"/>
                <a:ext cx="46689" cy="51877"/>
              </a:xfrm>
              <a:custGeom>
                <a:avLst/>
                <a:gdLst>
                  <a:gd name="T0" fmla="*/ 17 w 19"/>
                  <a:gd name="T1" fmla="*/ 21 h 21"/>
                  <a:gd name="T2" fmla="*/ 16 w 19"/>
                  <a:gd name="T3" fmla="*/ 21 h 21"/>
                  <a:gd name="T4" fmla="*/ 1 w 19"/>
                  <a:gd name="T5" fmla="*/ 12 h 21"/>
                  <a:gd name="T6" fmla="*/ 0 w 19"/>
                  <a:gd name="T7" fmla="*/ 10 h 21"/>
                  <a:gd name="T8" fmla="*/ 1 w 19"/>
                  <a:gd name="T9" fmla="*/ 9 h 21"/>
                  <a:gd name="T10" fmla="*/ 16 w 19"/>
                  <a:gd name="T11" fmla="*/ 0 h 21"/>
                  <a:gd name="T12" fmla="*/ 18 w 19"/>
                  <a:gd name="T13" fmla="*/ 0 h 21"/>
                  <a:gd name="T14" fmla="*/ 19 w 19"/>
                  <a:gd name="T15" fmla="*/ 2 h 21"/>
                  <a:gd name="T16" fmla="*/ 19 w 19"/>
                  <a:gd name="T17" fmla="*/ 19 h 21"/>
                  <a:gd name="T18" fmla="*/ 18 w 19"/>
                  <a:gd name="T19" fmla="*/ 21 h 21"/>
                  <a:gd name="T20" fmla="*/ 17 w 19"/>
                  <a:gd name="T21" fmla="*/ 21 h 21"/>
                  <a:gd name="T22" fmla="*/ 6 w 19"/>
                  <a:gd name="T23" fmla="*/ 10 h 21"/>
                  <a:gd name="T24" fmla="*/ 15 w 19"/>
                  <a:gd name="T25" fmla="*/ 15 h 21"/>
                  <a:gd name="T26" fmla="*/ 15 w 19"/>
                  <a:gd name="T27" fmla="*/ 5 h 21"/>
                  <a:gd name="T28" fmla="*/ 6 w 19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21">
                    <a:moveTo>
                      <a:pt x="17" y="21"/>
                    </a:moveTo>
                    <a:cubicBezTo>
                      <a:pt x="16" y="21"/>
                      <a:pt x="16" y="21"/>
                      <a:pt x="16" y="2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0"/>
                      <a:pt x="19" y="1"/>
                      <a:pt x="19" y="2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9" y="20"/>
                      <a:pt x="18" y="20"/>
                      <a:pt x="18" y="21"/>
                    </a:cubicBezTo>
                    <a:cubicBezTo>
                      <a:pt x="17" y="21"/>
                      <a:pt x="17" y="21"/>
                      <a:pt x="17" y="21"/>
                    </a:cubicBezTo>
                    <a:close/>
                    <a:moveTo>
                      <a:pt x="6" y="10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8" name="Freeform 818">
                <a:extLst>
                  <a:ext uri="{FF2B5EF4-FFF2-40B4-BE49-F238E27FC236}">
                    <a16:creationId xmlns:a16="http://schemas.microsoft.com/office/drawing/2014/main" id="{4E0D1D75-BF20-4C09-84AE-20CBD8E8E8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96460" y="5979106"/>
                <a:ext cx="167044" cy="282211"/>
              </a:xfrm>
              <a:custGeom>
                <a:avLst/>
                <a:gdLst>
                  <a:gd name="T0" fmla="*/ 2 w 68"/>
                  <a:gd name="T1" fmla="*/ 115 h 115"/>
                  <a:gd name="T2" fmla="*/ 1 w 68"/>
                  <a:gd name="T3" fmla="*/ 115 h 115"/>
                  <a:gd name="T4" fmla="*/ 0 w 68"/>
                  <a:gd name="T5" fmla="*/ 113 h 115"/>
                  <a:gd name="T6" fmla="*/ 0 w 68"/>
                  <a:gd name="T7" fmla="*/ 39 h 115"/>
                  <a:gd name="T8" fmla="*/ 1 w 68"/>
                  <a:gd name="T9" fmla="*/ 38 h 115"/>
                  <a:gd name="T10" fmla="*/ 65 w 68"/>
                  <a:gd name="T11" fmla="*/ 1 h 115"/>
                  <a:gd name="T12" fmla="*/ 67 w 68"/>
                  <a:gd name="T13" fmla="*/ 1 h 115"/>
                  <a:gd name="T14" fmla="*/ 68 w 68"/>
                  <a:gd name="T15" fmla="*/ 2 h 115"/>
                  <a:gd name="T16" fmla="*/ 68 w 68"/>
                  <a:gd name="T17" fmla="*/ 30 h 115"/>
                  <a:gd name="T18" fmla="*/ 67 w 68"/>
                  <a:gd name="T19" fmla="*/ 32 h 115"/>
                  <a:gd name="T20" fmla="*/ 65 w 68"/>
                  <a:gd name="T21" fmla="*/ 32 h 115"/>
                  <a:gd name="T22" fmla="*/ 59 w 68"/>
                  <a:gd name="T23" fmla="*/ 28 h 115"/>
                  <a:gd name="T24" fmla="*/ 59 w 68"/>
                  <a:gd name="T25" fmla="*/ 77 h 115"/>
                  <a:gd name="T26" fmla="*/ 58 w 68"/>
                  <a:gd name="T27" fmla="*/ 79 h 115"/>
                  <a:gd name="T28" fmla="*/ 9 w 68"/>
                  <a:gd name="T29" fmla="*/ 107 h 115"/>
                  <a:gd name="T30" fmla="*/ 11 w 68"/>
                  <a:gd name="T31" fmla="*/ 107 h 115"/>
                  <a:gd name="T32" fmla="*/ 12 w 68"/>
                  <a:gd name="T33" fmla="*/ 109 h 115"/>
                  <a:gd name="T34" fmla="*/ 11 w 68"/>
                  <a:gd name="T35" fmla="*/ 111 h 115"/>
                  <a:gd name="T36" fmla="*/ 3 w 68"/>
                  <a:gd name="T37" fmla="*/ 115 h 115"/>
                  <a:gd name="T38" fmla="*/ 2 w 68"/>
                  <a:gd name="T39" fmla="*/ 115 h 115"/>
                  <a:gd name="T40" fmla="*/ 4 w 68"/>
                  <a:gd name="T41" fmla="*/ 108 h 115"/>
                  <a:gd name="T42" fmla="*/ 4 w 68"/>
                  <a:gd name="T43" fmla="*/ 110 h 115"/>
                  <a:gd name="T44" fmla="*/ 6 w 68"/>
                  <a:gd name="T45" fmla="*/ 109 h 115"/>
                  <a:gd name="T46" fmla="*/ 4 w 68"/>
                  <a:gd name="T47" fmla="*/ 108 h 115"/>
                  <a:gd name="T48" fmla="*/ 4 w 68"/>
                  <a:gd name="T49" fmla="*/ 41 h 115"/>
                  <a:gd name="T50" fmla="*/ 4 w 68"/>
                  <a:gd name="T51" fmla="*/ 105 h 115"/>
                  <a:gd name="T52" fmla="*/ 55 w 68"/>
                  <a:gd name="T53" fmla="*/ 76 h 115"/>
                  <a:gd name="T54" fmla="*/ 55 w 68"/>
                  <a:gd name="T55" fmla="*/ 25 h 115"/>
                  <a:gd name="T56" fmla="*/ 56 w 68"/>
                  <a:gd name="T57" fmla="*/ 23 h 115"/>
                  <a:gd name="T58" fmla="*/ 58 w 68"/>
                  <a:gd name="T59" fmla="*/ 23 h 115"/>
                  <a:gd name="T60" fmla="*/ 64 w 68"/>
                  <a:gd name="T61" fmla="*/ 27 h 115"/>
                  <a:gd name="T62" fmla="*/ 64 w 68"/>
                  <a:gd name="T63" fmla="*/ 6 h 115"/>
                  <a:gd name="T64" fmla="*/ 4 w 68"/>
                  <a:gd name="T65" fmla="*/ 4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8" h="115">
                    <a:moveTo>
                      <a:pt x="2" y="115"/>
                    </a:moveTo>
                    <a:cubicBezTo>
                      <a:pt x="2" y="115"/>
                      <a:pt x="2" y="115"/>
                      <a:pt x="1" y="115"/>
                    </a:cubicBezTo>
                    <a:cubicBezTo>
                      <a:pt x="1" y="115"/>
                      <a:pt x="0" y="114"/>
                      <a:pt x="0" y="113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7" y="0"/>
                      <a:pt x="67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8" y="30"/>
                      <a:pt x="68" y="30"/>
                      <a:pt x="68" y="30"/>
                    </a:cubicBezTo>
                    <a:cubicBezTo>
                      <a:pt x="68" y="31"/>
                      <a:pt x="68" y="32"/>
                      <a:pt x="67" y="32"/>
                    </a:cubicBezTo>
                    <a:cubicBezTo>
                      <a:pt x="67" y="32"/>
                      <a:pt x="66" y="32"/>
                      <a:pt x="65" y="32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77"/>
                      <a:pt x="59" y="77"/>
                      <a:pt x="59" y="77"/>
                    </a:cubicBezTo>
                    <a:cubicBezTo>
                      <a:pt x="59" y="78"/>
                      <a:pt x="58" y="78"/>
                      <a:pt x="58" y="79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1" y="108"/>
                      <a:pt x="12" y="108"/>
                      <a:pt x="12" y="109"/>
                    </a:cubicBezTo>
                    <a:cubicBezTo>
                      <a:pt x="12" y="110"/>
                      <a:pt x="11" y="110"/>
                      <a:pt x="11" y="111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3" y="115"/>
                      <a:pt x="3" y="115"/>
                      <a:pt x="2" y="115"/>
                    </a:cubicBezTo>
                    <a:close/>
                    <a:moveTo>
                      <a:pt x="4" y="108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6" y="109"/>
                      <a:pt x="6" y="109"/>
                      <a:pt x="6" y="109"/>
                    </a:cubicBezTo>
                    <a:lnTo>
                      <a:pt x="4" y="108"/>
                    </a:lnTo>
                    <a:close/>
                    <a:moveTo>
                      <a:pt x="4" y="41"/>
                    </a:moveTo>
                    <a:cubicBezTo>
                      <a:pt x="4" y="105"/>
                      <a:pt x="4" y="105"/>
                      <a:pt x="4" y="105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55" y="24"/>
                      <a:pt x="55" y="23"/>
                      <a:pt x="56" y="23"/>
                    </a:cubicBezTo>
                    <a:cubicBezTo>
                      <a:pt x="56" y="23"/>
                      <a:pt x="57" y="23"/>
                      <a:pt x="58" y="23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4" y="6"/>
                      <a:pt x="64" y="6"/>
                      <a:pt x="64" y="6"/>
                    </a:cubicBezTo>
                    <a:lnTo>
                      <a:pt x="4" y="4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9" name="Freeform 822">
                <a:extLst>
                  <a:ext uri="{FF2B5EF4-FFF2-40B4-BE49-F238E27FC236}">
                    <a16:creationId xmlns:a16="http://schemas.microsoft.com/office/drawing/2014/main" id="{21A3BF86-5CBB-4959-A20B-D8F3C808F0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67844" y="6732360"/>
                <a:ext cx="103754" cy="75740"/>
              </a:xfrm>
              <a:custGeom>
                <a:avLst/>
                <a:gdLst>
                  <a:gd name="T0" fmla="*/ 31 w 42"/>
                  <a:gd name="T1" fmla="*/ 31 h 31"/>
                  <a:gd name="T2" fmla="*/ 30 w 42"/>
                  <a:gd name="T3" fmla="*/ 31 h 31"/>
                  <a:gd name="T4" fmla="*/ 1 w 42"/>
                  <a:gd name="T5" fmla="*/ 14 h 31"/>
                  <a:gd name="T6" fmla="*/ 0 w 42"/>
                  <a:gd name="T7" fmla="*/ 12 h 31"/>
                  <a:gd name="T8" fmla="*/ 0 w 42"/>
                  <a:gd name="T9" fmla="*/ 2 h 31"/>
                  <a:gd name="T10" fmla="*/ 1 w 42"/>
                  <a:gd name="T11" fmla="*/ 1 h 31"/>
                  <a:gd name="T12" fmla="*/ 3 w 42"/>
                  <a:gd name="T13" fmla="*/ 1 h 31"/>
                  <a:gd name="T14" fmla="*/ 41 w 42"/>
                  <a:gd name="T15" fmla="*/ 22 h 31"/>
                  <a:gd name="T16" fmla="*/ 42 w 42"/>
                  <a:gd name="T17" fmla="*/ 24 h 31"/>
                  <a:gd name="T18" fmla="*/ 41 w 42"/>
                  <a:gd name="T19" fmla="*/ 26 h 31"/>
                  <a:gd name="T20" fmla="*/ 32 w 42"/>
                  <a:gd name="T21" fmla="*/ 31 h 31"/>
                  <a:gd name="T22" fmla="*/ 31 w 42"/>
                  <a:gd name="T23" fmla="*/ 31 h 31"/>
                  <a:gd name="T24" fmla="*/ 4 w 42"/>
                  <a:gd name="T25" fmla="*/ 11 h 31"/>
                  <a:gd name="T26" fmla="*/ 31 w 42"/>
                  <a:gd name="T27" fmla="*/ 27 h 31"/>
                  <a:gd name="T28" fmla="*/ 36 w 42"/>
                  <a:gd name="T29" fmla="*/ 24 h 31"/>
                  <a:gd name="T30" fmla="*/ 4 w 42"/>
                  <a:gd name="T31" fmla="*/ 6 h 31"/>
                  <a:gd name="T32" fmla="*/ 4 w 42"/>
                  <a:gd name="T33" fmla="*/ 1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31">
                    <a:moveTo>
                      <a:pt x="31" y="31"/>
                    </a:moveTo>
                    <a:cubicBezTo>
                      <a:pt x="31" y="31"/>
                      <a:pt x="31" y="31"/>
                      <a:pt x="30" y="3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3"/>
                      <a:pt x="42" y="23"/>
                      <a:pt x="42" y="24"/>
                    </a:cubicBezTo>
                    <a:cubicBezTo>
                      <a:pt x="42" y="25"/>
                      <a:pt x="41" y="25"/>
                      <a:pt x="41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2" y="31"/>
                      <a:pt x="32" y="31"/>
                      <a:pt x="31" y="31"/>
                    </a:cubicBezTo>
                    <a:close/>
                    <a:moveTo>
                      <a:pt x="4" y="11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0" name="Freeform 823">
                <a:extLst>
                  <a:ext uri="{FF2B5EF4-FFF2-40B4-BE49-F238E27FC236}">
                    <a16:creationId xmlns:a16="http://schemas.microsoft.com/office/drawing/2014/main" id="{2435BBD4-1CE6-465B-ADE3-21AF614583C2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278932" y="6496838"/>
                <a:ext cx="12450" cy="12450"/>
              </a:xfrm>
              <a:custGeom>
                <a:avLst/>
                <a:gdLst>
                  <a:gd name="T0" fmla="*/ 2 w 5"/>
                  <a:gd name="T1" fmla="*/ 5 h 5"/>
                  <a:gd name="T2" fmla="*/ 1 w 5"/>
                  <a:gd name="T3" fmla="*/ 5 h 5"/>
                  <a:gd name="T4" fmla="*/ 0 w 5"/>
                  <a:gd name="T5" fmla="*/ 3 h 5"/>
                  <a:gd name="T6" fmla="*/ 0 w 5"/>
                  <a:gd name="T7" fmla="*/ 3 h 5"/>
                  <a:gd name="T8" fmla="*/ 1 w 5"/>
                  <a:gd name="T9" fmla="*/ 1 h 5"/>
                  <a:gd name="T10" fmla="*/ 3 w 5"/>
                  <a:gd name="T11" fmla="*/ 1 h 5"/>
                  <a:gd name="T12" fmla="*/ 4 w 5"/>
                  <a:gd name="T13" fmla="*/ 1 h 5"/>
                  <a:gd name="T14" fmla="*/ 5 w 5"/>
                  <a:gd name="T15" fmla="*/ 3 h 5"/>
                  <a:gd name="T16" fmla="*/ 4 w 5"/>
                  <a:gd name="T17" fmla="*/ 5 h 5"/>
                  <a:gd name="T18" fmla="*/ 3 w 5"/>
                  <a:gd name="T19" fmla="*/ 5 h 5"/>
                  <a:gd name="T20" fmla="*/ 2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5" y="2"/>
                      <a:pt x="5" y="3"/>
                    </a:cubicBezTo>
                    <a:cubicBezTo>
                      <a:pt x="5" y="4"/>
                      <a:pt x="4" y="4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1" name="Freeform 824">
                <a:extLst>
                  <a:ext uri="{FF2B5EF4-FFF2-40B4-BE49-F238E27FC236}">
                    <a16:creationId xmlns:a16="http://schemas.microsoft.com/office/drawing/2014/main" id="{1015EADD-17AD-470B-893B-333701E7F2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79574" y="5923079"/>
                <a:ext cx="301925" cy="519807"/>
              </a:xfrm>
              <a:custGeom>
                <a:avLst/>
                <a:gdLst>
                  <a:gd name="T0" fmla="*/ 2 w 123"/>
                  <a:gd name="T1" fmla="*/ 212 h 212"/>
                  <a:gd name="T2" fmla="*/ 1 w 123"/>
                  <a:gd name="T3" fmla="*/ 211 h 212"/>
                  <a:gd name="T4" fmla="*/ 0 w 123"/>
                  <a:gd name="T5" fmla="*/ 210 h 212"/>
                  <a:gd name="T6" fmla="*/ 0 w 123"/>
                  <a:gd name="T7" fmla="*/ 197 h 212"/>
                  <a:gd name="T8" fmla="*/ 0 w 123"/>
                  <a:gd name="T9" fmla="*/ 195 h 212"/>
                  <a:gd name="T10" fmla="*/ 0 w 123"/>
                  <a:gd name="T11" fmla="*/ 71 h 212"/>
                  <a:gd name="T12" fmla="*/ 1 w 123"/>
                  <a:gd name="T13" fmla="*/ 69 h 212"/>
                  <a:gd name="T14" fmla="*/ 120 w 123"/>
                  <a:gd name="T15" fmla="*/ 1 h 212"/>
                  <a:gd name="T16" fmla="*/ 122 w 123"/>
                  <a:gd name="T17" fmla="*/ 1 h 212"/>
                  <a:gd name="T18" fmla="*/ 123 w 123"/>
                  <a:gd name="T19" fmla="*/ 2 h 212"/>
                  <a:gd name="T20" fmla="*/ 123 w 123"/>
                  <a:gd name="T21" fmla="*/ 123 h 212"/>
                  <a:gd name="T22" fmla="*/ 122 w 123"/>
                  <a:gd name="T23" fmla="*/ 124 h 212"/>
                  <a:gd name="T24" fmla="*/ 113 w 123"/>
                  <a:gd name="T25" fmla="*/ 130 h 212"/>
                  <a:gd name="T26" fmla="*/ 122 w 123"/>
                  <a:gd name="T27" fmla="*/ 135 h 212"/>
                  <a:gd name="T28" fmla="*/ 123 w 123"/>
                  <a:gd name="T29" fmla="*/ 136 h 212"/>
                  <a:gd name="T30" fmla="*/ 123 w 123"/>
                  <a:gd name="T31" fmla="*/ 140 h 212"/>
                  <a:gd name="T32" fmla="*/ 122 w 123"/>
                  <a:gd name="T33" fmla="*/ 142 h 212"/>
                  <a:gd name="T34" fmla="*/ 79 w 123"/>
                  <a:gd name="T35" fmla="*/ 167 h 212"/>
                  <a:gd name="T36" fmla="*/ 77 w 123"/>
                  <a:gd name="T37" fmla="*/ 167 h 212"/>
                  <a:gd name="T38" fmla="*/ 66 w 123"/>
                  <a:gd name="T39" fmla="*/ 161 h 212"/>
                  <a:gd name="T40" fmla="*/ 66 w 123"/>
                  <a:gd name="T41" fmla="*/ 173 h 212"/>
                  <a:gd name="T42" fmla="*/ 65 w 123"/>
                  <a:gd name="T43" fmla="*/ 175 h 212"/>
                  <a:gd name="T44" fmla="*/ 3 w 123"/>
                  <a:gd name="T45" fmla="*/ 211 h 212"/>
                  <a:gd name="T46" fmla="*/ 2 w 123"/>
                  <a:gd name="T47" fmla="*/ 212 h 212"/>
                  <a:gd name="T48" fmla="*/ 4 w 123"/>
                  <a:gd name="T49" fmla="*/ 199 h 212"/>
                  <a:gd name="T50" fmla="*/ 4 w 123"/>
                  <a:gd name="T51" fmla="*/ 206 h 212"/>
                  <a:gd name="T52" fmla="*/ 62 w 123"/>
                  <a:gd name="T53" fmla="*/ 172 h 212"/>
                  <a:gd name="T54" fmla="*/ 62 w 123"/>
                  <a:gd name="T55" fmla="*/ 158 h 212"/>
                  <a:gd name="T56" fmla="*/ 63 w 123"/>
                  <a:gd name="T57" fmla="*/ 156 h 212"/>
                  <a:gd name="T58" fmla="*/ 65 w 123"/>
                  <a:gd name="T59" fmla="*/ 156 h 212"/>
                  <a:gd name="T60" fmla="*/ 78 w 123"/>
                  <a:gd name="T61" fmla="*/ 163 h 212"/>
                  <a:gd name="T62" fmla="*/ 119 w 123"/>
                  <a:gd name="T63" fmla="*/ 139 h 212"/>
                  <a:gd name="T64" fmla="*/ 119 w 123"/>
                  <a:gd name="T65" fmla="*/ 138 h 212"/>
                  <a:gd name="T66" fmla="*/ 108 w 123"/>
                  <a:gd name="T67" fmla="*/ 131 h 212"/>
                  <a:gd name="T68" fmla="*/ 107 w 123"/>
                  <a:gd name="T69" fmla="*/ 130 h 212"/>
                  <a:gd name="T70" fmla="*/ 108 w 123"/>
                  <a:gd name="T71" fmla="*/ 128 h 212"/>
                  <a:gd name="T72" fmla="*/ 119 w 123"/>
                  <a:gd name="T73" fmla="*/ 121 h 212"/>
                  <a:gd name="T74" fmla="*/ 119 w 123"/>
                  <a:gd name="T75" fmla="*/ 6 h 212"/>
                  <a:gd name="T76" fmla="*/ 4 w 123"/>
                  <a:gd name="T77" fmla="*/ 72 h 212"/>
                  <a:gd name="T78" fmla="*/ 4 w 123"/>
                  <a:gd name="T79" fmla="*/ 197 h 212"/>
                  <a:gd name="T80" fmla="*/ 4 w 123"/>
                  <a:gd name="T81" fmla="*/ 199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3" h="212">
                    <a:moveTo>
                      <a:pt x="2" y="212"/>
                    </a:moveTo>
                    <a:cubicBezTo>
                      <a:pt x="1" y="212"/>
                      <a:pt x="1" y="211"/>
                      <a:pt x="1" y="211"/>
                    </a:cubicBezTo>
                    <a:cubicBezTo>
                      <a:pt x="0" y="211"/>
                      <a:pt x="0" y="210"/>
                      <a:pt x="0" y="210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196"/>
                      <a:pt x="0" y="196"/>
                      <a:pt x="0" y="19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0"/>
                      <a:pt x="1" y="70"/>
                      <a:pt x="1" y="69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1" y="0"/>
                      <a:pt x="122" y="0"/>
                      <a:pt x="122" y="1"/>
                    </a:cubicBezTo>
                    <a:cubicBezTo>
                      <a:pt x="123" y="1"/>
                      <a:pt x="123" y="2"/>
                      <a:pt x="123" y="2"/>
                    </a:cubicBezTo>
                    <a:cubicBezTo>
                      <a:pt x="123" y="123"/>
                      <a:pt x="123" y="123"/>
                      <a:pt x="123" y="123"/>
                    </a:cubicBezTo>
                    <a:cubicBezTo>
                      <a:pt x="123" y="123"/>
                      <a:pt x="123" y="124"/>
                      <a:pt x="122" y="124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22" y="135"/>
                      <a:pt x="122" y="135"/>
                      <a:pt x="122" y="135"/>
                    </a:cubicBezTo>
                    <a:cubicBezTo>
                      <a:pt x="123" y="135"/>
                      <a:pt x="123" y="136"/>
                      <a:pt x="123" y="136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3" y="141"/>
                      <a:pt x="123" y="142"/>
                      <a:pt x="122" y="142"/>
                    </a:cubicBezTo>
                    <a:cubicBezTo>
                      <a:pt x="79" y="167"/>
                      <a:pt x="79" y="167"/>
                      <a:pt x="79" y="167"/>
                    </a:cubicBezTo>
                    <a:cubicBezTo>
                      <a:pt x="78" y="168"/>
                      <a:pt x="77" y="168"/>
                      <a:pt x="77" y="167"/>
                    </a:cubicBezTo>
                    <a:cubicBezTo>
                      <a:pt x="66" y="161"/>
                      <a:pt x="66" y="161"/>
                      <a:pt x="66" y="161"/>
                    </a:cubicBezTo>
                    <a:cubicBezTo>
                      <a:pt x="66" y="173"/>
                      <a:pt x="66" y="173"/>
                      <a:pt x="66" y="173"/>
                    </a:cubicBezTo>
                    <a:cubicBezTo>
                      <a:pt x="66" y="174"/>
                      <a:pt x="66" y="175"/>
                      <a:pt x="65" y="175"/>
                    </a:cubicBezTo>
                    <a:cubicBezTo>
                      <a:pt x="3" y="211"/>
                      <a:pt x="3" y="211"/>
                      <a:pt x="3" y="211"/>
                    </a:cubicBezTo>
                    <a:cubicBezTo>
                      <a:pt x="2" y="211"/>
                      <a:pt x="2" y="212"/>
                      <a:pt x="2" y="212"/>
                    </a:cubicBezTo>
                    <a:close/>
                    <a:moveTo>
                      <a:pt x="4" y="199"/>
                    </a:moveTo>
                    <a:cubicBezTo>
                      <a:pt x="4" y="206"/>
                      <a:pt x="4" y="206"/>
                      <a:pt x="4" y="206"/>
                    </a:cubicBezTo>
                    <a:cubicBezTo>
                      <a:pt x="62" y="172"/>
                      <a:pt x="62" y="172"/>
                      <a:pt x="62" y="172"/>
                    </a:cubicBezTo>
                    <a:cubicBezTo>
                      <a:pt x="62" y="158"/>
                      <a:pt x="62" y="158"/>
                      <a:pt x="62" y="158"/>
                    </a:cubicBezTo>
                    <a:cubicBezTo>
                      <a:pt x="62" y="157"/>
                      <a:pt x="63" y="156"/>
                      <a:pt x="63" y="156"/>
                    </a:cubicBezTo>
                    <a:cubicBezTo>
                      <a:pt x="64" y="156"/>
                      <a:pt x="65" y="156"/>
                      <a:pt x="65" y="156"/>
                    </a:cubicBezTo>
                    <a:cubicBezTo>
                      <a:pt x="78" y="163"/>
                      <a:pt x="78" y="163"/>
                      <a:pt x="78" y="163"/>
                    </a:cubicBezTo>
                    <a:cubicBezTo>
                      <a:pt x="119" y="139"/>
                      <a:pt x="119" y="139"/>
                      <a:pt x="119" y="139"/>
                    </a:cubicBezTo>
                    <a:cubicBezTo>
                      <a:pt x="119" y="138"/>
                      <a:pt x="119" y="138"/>
                      <a:pt x="119" y="138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08" y="131"/>
                      <a:pt x="107" y="130"/>
                      <a:pt x="107" y="130"/>
                    </a:cubicBezTo>
                    <a:cubicBezTo>
                      <a:pt x="107" y="129"/>
                      <a:pt x="108" y="128"/>
                      <a:pt x="108" y="128"/>
                    </a:cubicBezTo>
                    <a:cubicBezTo>
                      <a:pt x="119" y="121"/>
                      <a:pt x="119" y="121"/>
                      <a:pt x="119" y="121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4" y="197"/>
                      <a:pt x="4" y="197"/>
                      <a:pt x="4" y="197"/>
                    </a:cubicBezTo>
                    <a:cubicBezTo>
                      <a:pt x="4" y="198"/>
                      <a:pt x="4" y="198"/>
                      <a:pt x="4" y="19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2" name="Freeform 825">
                <a:extLst>
                  <a:ext uri="{FF2B5EF4-FFF2-40B4-BE49-F238E27FC236}">
                    <a16:creationId xmlns:a16="http://schemas.microsoft.com/office/drawing/2014/main" id="{9E6A6864-7E99-483C-8543-08EC2BAA73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51956" y="6502026"/>
                <a:ext cx="39427" cy="38389"/>
              </a:xfrm>
              <a:custGeom>
                <a:avLst/>
                <a:gdLst>
                  <a:gd name="T0" fmla="*/ 2 w 16"/>
                  <a:gd name="T1" fmla="*/ 16 h 16"/>
                  <a:gd name="T2" fmla="*/ 1 w 16"/>
                  <a:gd name="T3" fmla="*/ 16 h 16"/>
                  <a:gd name="T4" fmla="*/ 0 w 16"/>
                  <a:gd name="T5" fmla="*/ 14 h 16"/>
                  <a:gd name="T6" fmla="*/ 0 w 16"/>
                  <a:gd name="T7" fmla="*/ 3 h 16"/>
                  <a:gd name="T8" fmla="*/ 1 w 16"/>
                  <a:gd name="T9" fmla="*/ 2 h 16"/>
                  <a:gd name="T10" fmla="*/ 3 w 16"/>
                  <a:gd name="T11" fmla="*/ 0 h 16"/>
                  <a:gd name="T12" fmla="*/ 5 w 16"/>
                  <a:gd name="T13" fmla="*/ 0 h 16"/>
                  <a:gd name="T14" fmla="*/ 15 w 16"/>
                  <a:gd name="T15" fmla="*/ 6 h 16"/>
                  <a:gd name="T16" fmla="*/ 16 w 16"/>
                  <a:gd name="T17" fmla="*/ 7 h 16"/>
                  <a:gd name="T18" fmla="*/ 15 w 16"/>
                  <a:gd name="T19" fmla="*/ 9 h 16"/>
                  <a:gd name="T20" fmla="*/ 3 w 16"/>
                  <a:gd name="T21" fmla="*/ 16 h 16"/>
                  <a:gd name="T22" fmla="*/ 2 w 16"/>
                  <a:gd name="T23" fmla="*/ 16 h 16"/>
                  <a:gd name="T24" fmla="*/ 4 w 16"/>
                  <a:gd name="T25" fmla="*/ 4 h 16"/>
                  <a:gd name="T26" fmla="*/ 4 w 16"/>
                  <a:gd name="T27" fmla="*/ 11 h 16"/>
                  <a:gd name="T28" fmla="*/ 10 w 16"/>
                  <a:gd name="T29" fmla="*/ 7 h 16"/>
                  <a:gd name="T30" fmla="*/ 4 w 16"/>
                  <a:gd name="T31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6">
                    <a:moveTo>
                      <a:pt x="2" y="16"/>
                    </a:moveTo>
                    <a:cubicBezTo>
                      <a:pt x="2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6" y="7"/>
                      <a:pt x="16" y="7"/>
                    </a:cubicBezTo>
                    <a:cubicBezTo>
                      <a:pt x="16" y="8"/>
                      <a:pt x="15" y="9"/>
                      <a:pt x="15" y="9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  <a:moveTo>
                      <a:pt x="4" y="4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3" name="Freeform 826">
                <a:extLst>
                  <a:ext uri="{FF2B5EF4-FFF2-40B4-BE49-F238E27FC236}">
                    <a16:creationId xmlns:a16="http://schemas.microsoft.com/office/drawing/2014/main" id="{AF43B8EB-E1CF-48BC-BF66-29D307F038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186591" y="6435623"/>
                <a:ext cx="26976" cy="29051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2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8 h 12"/>
                  <a:gd name="T18" fmla="*/ 3 w 11"/>
                  <a:gd name="T19" fmla="*/ 12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7"/>
                      <a:pt x="11" y="7"/>
                      <a:pt x="1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4" name="Freeform 827">
                <a:extLst>
                  <a:ext uri="{FF2B5EF4-FFF2-40B4-BE49-F238E27FC236}">
                    <a16:creationId xmlns:a16="http://schemas.microsoft.com/office/drawing/2014/main" id="{61B3CCF1-15BB-4B68-984D-9FF29B98EF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125376" y="6310081"/>
                <a:ext cx="88191" cy="186757"/>
              </a:xfrm>
              <a:custGeom>
                <a:avLst/>
                <a:gdLst>
                  <a:gd name="T0" fmla="*/ 2 w 36"/>
                  <a:gd name="T1" fmla="*/ 76 h 76"/>
                  <a:gd name="T2" fmla="*/ 1 w 36"/>
                  <a:gd name="T3" fmla="*/ 75 h 76"/>
                  <a:gd name="T4" fmla="*/ 0 w 36"/>
                  <a:gd name="T5" fmla="*/ 74 h 76"/>
                  <a:gd name="T6" fmla="*/ 0 w 36"/>
                  <a:gd name="T7" fmla="*/ 63 h 76"/>
                  <a:gd name="T8" fmla="*/ 1 w 36"/>
                  <a:gd name="T9" fmla="*/ 61 h 76"/>
                  <a:gd name="T10" fmla="*/ 8 w 36"/>
                  <a:gd name="T11" fmla="*/ 57 h 76"/>
                  <a:gd name="T12" fmla="*/ 1 w 36"/>
                  <a:gd name="T13" fmla="*/ 53 h 76"/>
                  <a:gd name="T14" fmla="*/ 0 w 36"/>
                  <a:gd name="T15" fmla="*/ 51 h 76"/>
                  <a:gd name="T16" fmla="*/ 0 w 36"/>
                  <a:gd name="T17" fmla="*/ 3 h 76"/>
                  <a:gd name="T18" fmla="*/ 1 w 36"/>
                  <a:gd name="T19" fmla="*/ 1 h 76"/>
                  <a:gd name="T20" fmla="*/ 3 w 36"/>
                  <a:gd name="T21" fmla="*/ 1 h 76"/>
                  <a:gd name="T22" fmla="*/ 35 w 36"/>
                  <a:gd name="T23" fmla="*/ 19 h 76"/>
                  <a:gd name="T24" fmla="*/ 36 w 36"/>
                  <a:gd name="T25" fmla="*/ 21 h 76"/>
                  <a:gd name="T26" fmla="*/ 36 w 36"/>
                  <a:gd name="T27" fmla="*/ 55 h 76"/>
                  <a:gd name="T28" fmla="*/ 35 w 36"/>
                  <a:gd name="T29" fmla="*/ 57 h 76"/>
                  <a:gd name="T30" fmla="*/ 3 w 36"/>
                  <a:gd name="T31" fmla="*/ 75 h 76"/>
                  <a:gd name="T32" fmla="*/ 2 w 36"/>
                  <a:gd name="T33" fmla="*/ 76 h 76"/>
                  <a:gd name="T34" fmla="*/ 4 w 36"/>
                  <a:gd name="T35" fmla="*/ 64 h 76"/>
                  <a:gd name="T36" fmla="*/ 4 w 36"/>
                  <a:gd name="T37" fmla="*/ 70 h 76"/>
                  <a:gd name="T38" fmla="*/ 32 w 36"/>
                  <a:gd name="T39" fmla="*/ 54 h 76"/>
                  <a:gd name="T40" fmla="*/ 32 w 36"/>
                  <a:gd name="T41" fmla="*/ 22 h 76"/>
                  <a:gd name="T42" fmla="*/ 4 w 36"/>
                  <a:gd name="T43" fmla="*/ 6 h 76"/>
                  <a:gd name="T44" fmla="*/ 4 w 36"/>
                  <a:gd name="T45" fmla="*/ 50 h 76"/>
                  <a:gd name="T46" fmla="*/ 13 w 36"/>
                  <a:gd name="T47" fmla="*/ 55 h 76"/>
                  <a:gd name="T48" fmla="*/ 14 w 36"/>
                  <a:gd name="T49" fmla="*/ 57 h 76"/>
                  <a:gd name="T50" fmla="*/ 13 w 36"/>
                  <a:gd name="T51" fmla="*/ 59 h 76"/>
                  <a:gd name="T52" fmla="*/ 4 w 36"/>
                  <a:gd name="T53" fmla="*/ 6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76">
                    <a:moveTo>
                      <a:pt x="2" y="76"/>
                    </a:moveTo>
                    <a:cubicBezTo>
                      <a:pt x="2" y="76"/>
                      <a:pt x="1" y="76"/>
                      <a:pt x="1" y="75"/>
                    </a:cubicBezTo>
                    <a:cubicBezTo>
                      <a:pt x="0" y="75"/>
                      <a:pt x="0" y="74"/>
                      <a:pt x="0" y="7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2"/>
                      <a:pt x="0" y="61"/>
                      <a:pt x="1" y="61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2"/>
                      <a:pt x="0" y="52"/>
                      <a:pt x="0" y="5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6" y="20"/>
                      <a:pt x="36" y="20"/>
                      <a:pt x="36" y="21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36" y="56"/>
                      <a:pt x="36" y="57"/>
                      <a:pt x="35" y="57"/>
                    </a:cubicBezTo>
                    <a:cubicBezTo>
                      <a:pt x="3" y="75"/>
                      <a:pt x="3" y="75"/>
                      <a:pt x="3" y="75"/>
                    </a:cubicBezTo>
                    <a:cubicBezTo>
                      <a:pt x="3" y="76"/>
                      <a:pt x="2" y="76"/>
                      <a:pt x="2" y="76"/>
                    </a:cubicBezTo>
                    <a:close/>
                    <a:moveTo>
                      <a:pt x="4" y="64"/>
                    </a:moveTo>
                    <a:cubicBezTo>
                      <a:pt x="4" y="70"/>
                      <a:pt x="4" y="70"/>
                      <a:pt x="4" y="70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4" y="55"/>
                      <a:pt x="14" y="56"/>
                      <a:pt x="14" y="57"/>
                    </a:cubicBezTo>
                    <a:cubicBezTo>
                      <a:pt x="14" y="58"/>
                      <a:pt x="14" y="58"/>
                      <a:pt x="13" y="59"/>
                    </a:cubicBezTo>
                    <a:lnTo>
                      <a:pt x="4" y="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5" name="Freeform 828">
                <a:extLst>
                  <a:ext uri="{FF2B5EF4-FFF2-40B4-BE49-F238E27FC236}">
                    <a16:creationId xmlns:a16="http://schemas.microsoft.com/office/drawing/2014/main" id="{92ECFFAF-F9C3-4798-A03A-84B4C99517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51711" y="6359883"/>
                <a:ext cx="158744" cy="225146"/>
              </a:xfrm>
              <a:custGeom>
                <a:avLst/>
                <a:gdLst>
                  <a:gd name="T0" fmla="*/ 63 w 65"/>
                  <a:gd name="T1" fmla="*/ 92 h 92"/>
                  <a:gd name="T2" fmla="*/ 62 w 65"/>
                  <a:gd name="T3" fmla="*/ 91 h 92"/>
                  <a:gd name="T4" fmla="*/ 1 w 65"/>
                  <a:gd name="T5" fmla="*/ 57 h 92"/>
                  <a:gd name="T6" fmla="*/ 0 w 65"/>
                  <a:gd name="T7" fmla="*/ 55 h 92"/>
                  <a:gd name="T8" fmla="*/ 1 w 65"/>
                  <a:gd name="T9" fmla="*/ 53 h 92"/>
                  <a:gd name="T10" fmla="*/ 33 w 65"/>
                  <a:gd name="T11" fmla="*/ 35 h 92"/>
                  <a:gd name="T12" fmla="*/ 33 w 65"/>
                  <a:gd name="T13" fmla="*/ 2 h 92"/>
                  <a:gd name="T14" fmla="*/ 34 w 65"/>
                  <a:gd name="T15" fmla="*/ 0 h 92"/>
                  <a:gd name="T16" fmla="*/ 36 w 65"/>
                  <a:gd name="T17" fmla="*/ 0 h 92"/>
                  <a:gd name="T18" fmla="*/ 64 w 65"/>
                  <a:gd name="T19" fmla="*/ 17 h 92"/>
                  <a:gd name="T20" fmla="*/ 65 w 65"/>
                  <a:gd name="T21" fmla="*/ 18 h 92"/>
                  <a:gd name="T22" fmla="*/ 65 w 65"/>
                  <a:gd name="T23" fmla="*/ 90 h 92"/>
                  <a:gd name="T24" fmla="*/ 64 w 65"/>
                  <a:gd name="T25" fmla="*/ 91 h 92"/>
                  <a:gd name="T26" fmla="*/ 63 w 65"/>
                  <a:gd name="T27" fmla="*/ 92 h 92"/>
                  <a:gd name="T28" fmla="*/ 6 w 65"/>
                  <a:gd name="T29" fmla="*/ 55 h 92"/>
                  <a:gd name="T30" fmla="*/ 61 w 65"/>
                  <a:gd name="T31" fmla="*/ 86 h 92"/>
                  <a:gd name="T32" fmla="*/ 61 w 65"/>
                  <a:gd name="T33" fmla="*/ 19 h 92"/>
                  <a:gd name="T34" fmla="*/ 37 w 65"/>
                  <a:gd name="T35" fmla="*/ 5 h 92"/>
                  <a:gd name="T36" fmla="*/ 37 w 65"/>
                  <a:gd name="T37" fmla="*/ 36 h 92"/>
                  <a:gd name="T38" fmla="*/ 36 w 65"/>
                  <a:gd name="T39" fmla="*/ 38 h 92"/>
                  <a:gd name="T40" fmla="*/ 6 w 65"/>
                  <a:gd name="T4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92">
                    <a:moveTo>
                      <a:pt x="63" y="92"/>
                    </a:moveTo>
                    <a:cubicBezTo>
                      <a:pt x="63" y="92"/>
                      <a:pt x="62" y="92"/>
                      <a:pt x="62" y="91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6"/>
                      <a:pt x="0" y="56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3" y="1"/>
                      <a:pt x="33" y="1"/>
                      <a:pt x="34" y="0"/>
                    </a:cubicBezTo>
                    <a:cubicBezTo>
                      <a:pt x="34" y="0"/>
                      <a:pt x="35" y="0"/>
                      <a:pt x="36" y="0"/>
                    </a:cubicBezTo>
                    <a:cubicBezTo>
                      <a:pt x="64" y="17"/>
                      <a:pt x="64" y="17"/>
                      <a:pt x="64" y="17"/>
                    </a:cubicBezTo>
                    <a:cubicBezTo>
                      <a:pt x="65" y="17"/>
                      <a:pt x="65" y="18"/>
                      <a:pt x="65" y="18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1"/>
                      <a:pt x="64" y="91"/>
                    </a:cubicBezTo>
                    <a:cubicBezTo>
                      <a:pt x="64" y="92"/>
                      <a:pt x="63" y="92"/>
                      <a:pt x="63" y="92"/>
                    </a:cubicBezTo>
                    <a:close/>
                    <a:moveTo>
                      <a:pt x="6" y="55"/>
                    </a:moveTo>
                    <a:cubicBezTo>
                      <a:pt x="61" y="86"/>
                      <a:pt x="61" y="86"/>
                      <a:pt x="61" y="86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7" y="37"/>
                      <a:pt x="36" y="37"/>
                      <a:pt x="36" y="38"/>
                    </a:cubicBezTo>
                    <a:lnTo>
                      <a:pt x="6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6" name="Freeform 829">
                <a:extLst>
                  <a:ext uri="{FF2B5EF4-FFF2-40B4-BE49-F238E27FC236}">
                    <a16:creationId xmlns:a16="http://schemas.microsoft.com/office/drawing/2014/main" id="{E7655CB5-E643-4CD5-99A1-A4B4882281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125376" y="6266504"/>
                <a:ext cx="85078" cy="95454"/>
              </a:xfrm>
              <a:custGeom>
                <a:avLst/>
                <a:gdLst>
                  <a:gd name="T0" fmla="*/ 33 w 35"/>
                  <a:gd name="T1" fmla="*/ 39 h 39"/>
                  <a:gd name="T2" fmla="*/ 32 w 35"/>
                  <a:gd name="T3" fmla="*/ 39 h 39"/>
                  <a:gd name="T4" fmla="*/ 1 w 35"/>
                  <a:gd name="T5" fmla="*/ 21 h 39"/>
                  <a:gd name="T6" fmla="*/ 0 w 35"/>
                  <a:gd name="T7" fmla="*/ 19 h 39"/>
                  <a:gd name="T8" fmla="*/ 1 w 35"/>
                  <a:gd name="T9" fmla="*/ 18 h 39"/>
                  <a:gd name="T10" fmla="*/ 32 w 35"/>
                  <a:gd name="T11" fmla="*/ 0 h 39"/>
                  <a:gd name="T12" fmla="*/ 34 w 35"/>
                  <a:gd name="T13" fmla="*/ 0 h 39"/>
                  <a:gd name="T14" fmla="*/ 35 w 35"/>
                  <a:gd name="T15" fmla="*/ 2 h 39"/>
                  <a:gd name="T16" fmla="*/ 35 w 35"/>
                  <a:gd name="T17" fmla="*/ 37 h 39"/>
                  <a:gd name="T18" fmla="*/ 34 w 35"/>
                  <a:gd name="T19" fmla="*/ 39 h 39"/>
                  <a:gd name="T20" fmla="*/ 33 w 35"/>
                  <a:gd name="T21" fmla="*/ 39 h 39"/>
                  <a:gd name="T22" fmla="*/ 6 w 35"/>
                  <a:gd name="T23" fmla="*/ 19 h 39"/>
                  <a:gd name="T24" fmla="*/ 31 w 35"/>
                  <a:gd name="T25" fmla="*/ 34 h 39"/>
                  <a:gd name="T26" fmla="*/ 31 w 35"/>
                  <a:gd name="T27" fmla="*/ 5 h 39"/>
                  <a:gd name="T28" fmla="*/ 6 w 35"/>
                  <a:gd name="T2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9">
                    <a:moveTo>
                      <a:pt x="33" y="39"/>
                    </a:moveTo>
                    <a:cubicBezTo>
                      <a:pt x="33" y="39"/>
                      <a:pt x="32" y="39"/>
                      <a:pt x="32" y="39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0" y="20"/>
                      <a:pt x="0" y="19"/>
                    </a:cubicBezTo>
                    <a:cubicBezTo>
                      <a:pt x="0" y="19"/>
                      <a:pt x="1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3" y="0"/>
                      <a:pt x="33" y="0"/>
                      <a:pt x="34" y="0"/>
                    </a:cubicBezTo>
                    <a:cubicBezTo>
                      <a:pt x="35" y="0"/>
                      <a:pt x="35" y="1"/>
                      <a:pt x="35" y="2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35" y="38"/>
                      <a:pt x="35" y="39"/>
                      <a:pt x="34" y="39"/>
                    </a:cubicBezTo>
                    <a:cubicBezTo>
                      <a:pt x="34" y="39"/>
                      <a:pt x="33" y="39"/>
                      <a:pt x="33" y="39"/>
                    </a:cubicBezTo>
                    <a:close/>
                    <a:moveTo>
                      <a:pt x="6" y="19"/>
                    </a:moveTo>
                    <a:cubicBezTo>
                      <a:pt x="31" y="34"/>
                      <a:pt x="31" y="34"/>
                      <a:pt x="31" y="34"/>
                    </a:cubicBezTo>
                    <a:cubicBezTo>
                      <a:pt x="31" y="5"/>
                      <a:pt x="31" y="5"/>
                      <a:pt x="31" y="5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7" name="Freeform 830">
                <a:extLst>
                  <a:ext uri="{FF2B5EF4-FFF2-40B4-BE49-F238E27FC236}">
                    <a16:creationId xmlns:a16="http://schemas.microsoft.com/office/drawing/2014/main" id="{C6307470-86E8-4812-B58A-5D0C81BB8E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526905" y="6351583"/>
                <a:ext cx="154594" cy="262497"/>
              </a:xfrm>
              <a:custGeom>
                <a:avLst/>
                <a:gdLst>
                  <a:gd name="T0" fmla="*/ 2 w 63"/>
                  <a:gd name="T1" fmla="*/ 107 h 107"/>
                  <a:gd name="T2" fmla="*/ 1 w 63"/>
                  <a:gd name="T3" fmla="*/ 106 h 107"/>
                  <a:gd name="T4" fmla="*/ 0 w 63"/>
                  <a:gd name="T5" fmla="*/ 105 h 107"/>
                  <a:gd name="T6" fmla="*/ 0 w 63"/>
                  <a:gd name="T7" fmla="*/ 36 h 107"/>
                  <a:gd name="T8" fmla="*/ 1 w 63"/>
                  <a:gd name="T9" fmla="*/ 35 h 107"/>
                  <a:gd name="T10" fmla="*/ 60 w 63"/>
                  <a:gd name="T11" fmla="*/ 1 h 107"/>
                  <a:gd name="T12" fmla="*/ 62 w 63"/>
                  <a:gd name="T13" fmla="*/ 1 h 107"/>
                  <a:gd name="T14" fmla="*/ 63 w 63"/>
                  <a:gd name="T15" fmla="*/ 2 h 107"/>
                  <a:gd name="T16" fmla="*/ 63 w 63"/>
                  <a:gd name="T17" fmla="*/ 60 h 107"/>
                  <a:gd name="T18" fmla="*/ 62 w 63"/>
                  <a:gd name="T19" fmla="*/ 61 h 107"/>
                  <a:gd name="T20" fmla="*/ 46 w 63"/>
                  <a:gd name="T21" fmla="*/ 70 h 107"/>
                  <a:gd name="T22" fmla="*/ 53 w 63"/>
                  <a:gd name="T23" fmla="*/ 74 h 107"/>
                  <a:gd name="T24" fmla="*/ 54 w 63"/>
                  <a:gd name="T25" fmla="*/ 76 h 107"/>
                  <a:gd name="T26" fmla="*/ 53 w 63"/>
                  <a:gd name="T27" fmla="*/ 77 h 107"/>
                  <a:gd name="T28" fmla="*/ 3 w 63"/>
                  <a:gd name="T29" fmla="*/ 106 h 107"/>
                  <a:gd name="T30" fmla="*/ 2 w 63"/>
                  <a:gd name="T31" fmla="*/ 107 h 107"/>
                  <a:gd name="T32" fmla="*/ 4 w 63"/>
                  <a:gd name="T33" fmla="*/ 38 h 107"/>
                  <a:gd name="T34" fmla="*/ 4 w 63"/>
                  <a:gd name="T35" fmla="*/ 101 h 107"/>
                  <a:gd name="T36" fmla="*/ 48 w 63"/>
                  <a:gd name="T37" fmla="*/ 76 h 107"/>
                  <a:gd name="T38" fmla="*/ 41 w 63"/>
                  <a:gd name="T39" fmla="*/ 72 h 107"/>
                  <a:gd name="T40" fmla="*/ 40 w 63"/>
                  <a:gd name="T41" fmla="*/ 70 h 107"/>
                  <a:gd name="T42" fmla="*/ 41 w 63"/>
                  <a:gd name="T43" fmla="*/ 69 h 107"/>
                  <a:gd name="T44" fmla="*/ 59 w 63"/>
                  <a:gd name="T45" fmla="*/ 59 h 107"/>
                  <a:gd name="T46" fmla="*/ 59 w 63"/>
                  <a:gd name="T47" fmla="*/ 6 h 107"/>
                  <a:gd name="T48" fmla="*/ 4 w 63"/>
                  <a:gd name="T49" fmla="*/ 3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107">
                    <a:moveTo>
                      <a:pt x="2" y="107"/>
                    </a:moveTo>
                    <a:cubicBezTo>
                      <a:pt x="1" y="107"/>
                      <a:pt x="1" y="106"/>
                      <a:pt x="1" y="106"/>
                    </a:cubicBezTo>
                    <a:cubicBezTo>
                      <a:pt x="0" y="106"/>
                      <a:pt x="0" y="105"/>
                      <a:pt x="0" y="105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0" y="0"/>
                      <a:pt x="61" y="0"/>
                      <a:pt x="62" y="1"/>
                    </a:cubicBezTo>
                    <a:cubicBezTo>
                      <a:pt x="62" y="1"/>
                      <a:pt x="63" y="2"/>
                      <a:pt x="63" y="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60"/>
                      <a:pt x="62" y="61"/>
                      <a:pt x="62" y="61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74"/>
                      <a:pt x="54" y="75"/>
                      <a:pt x="54" y="76"/>
                    </a:cubicBezTo>
                    <a:cubicBezTo>
                      <a:pt x="54" y="76"/>
                      <a:pt x="53" y="77"/>
                      <a:pt x="53" y="77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2" y="106"/>
                      <a:pt x="2" y="107"/>
                      <a:pt x="2" y="107"/>
                    </a:cubicBezTo>
                    <a:close/>
                    <a:moveTo>
                      <a:pt x="4" y="38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1" y="72"/>
                      <a:pt x="41" y="72"/>
                      <a:pt x="41" y="72"/>
                    </a:cubicBezTo>
                    <a:cubicBezTo>
                      <a:pt x="41" y="72"/>
                      <a:pt x="40" y="71"/>
                      <a:pt x="40" y="70"/>
                    </a:cubicBezTo>
                    <a:cubicBezTo>
                      <a:pt x="40" y="70"/>
                      <a:pt x="41" y="69"/>
                      <a:pt x="41" y="69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6"/>
                      <a:pt x="59" y="6"/>
                      <a:pt x="59" y="6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8" name="Freeform 831">
                <a:extLst>
                  <a:ext uri="{FF2B5EF4-FFF2-40B4-BE49-F238E27FC236}">
                    <a16:creationId xmlns:a16="http://schemas.microsoft.com/office/drawing/2014/main" id="{97E0651F-7227-471E-8CEE-E563F6A45F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419000" y="6783199"/>
                <a:ext cx="34239" cy="37351"/>
              </a:xfrm>
              <a:custGeom>
                <a:avLst/>
                <a:gdLst>
                  <a:gd name="T0" fmla="*/ 2 w 14"/>
                  <a:gd name="T1" fmla="*/ 15 h 15"/>
                  <a:gd name="T2" fmla="*/ 1 w 14"/>
                  <a:gd name="T3" fmla="*/ 15 h 15"/>
                  <a:gd name="T4" fmla="*/ 0 w 14"/>
                  <a:gd name="T5" fmla="*/ 13 h 15"/>
                  <a:gd name="T6" fmla="*/ 0 w 14"/>
                  <a:gd name="T7" fmla="*/ 2 h 15"/>
                  <a:gd name="T8" fmla="*/ 1 w 14"/>
                  <a:gd name="T9" fmla="*/ 0 h 15"/>
                  <a:gd name="T10" fmla="*/ 3 w 14"/>
                  <a:gd name="T11" fmla="*/ 0 h 15"/>
                  <a:gd name="T12" fmla="*/ 13 w 14"/>
                  <a:gd name="T13" fmla="*/ 6 h 15"/>
                  <a:gd name="T14" fmla="*/ 14 w 14"/>
                  <a:gd name="T15" fmla="*/ 7 h 15"/>
                  <a:gd name="T16" fmla="*/ 13 w 14"/>
                  <a:gd name="T17" fmla="*/ 9 h 15"/>
                  <a:gd name="T18" fmla="*/ 3 w 14"/>
                  <a:gd name="T19" fmla="*/ 15 h 15"/>
                  <a:gd name="T20" fmla="*/ 2 w 14"/>
                  <a:gd name="T21" fmla="*/ 15 h 15"/>
                  <a:gd name="T22" fmla="*/ 4 w 14"/>
                  <a:gd name="T23" fmla="*/ 5 h 15"/>
                  <a:gd name="T24" fmla="*/ 4 w 14"/>
                  <a:gd name="T25" fmla="*/ 9 h 15"/>
                  <a:gd name="T26" fmla="*/ 8 w 14"/>
                  <a:gd name="T27" fmla="*/ 7 h 15"/>
                  <a:gd name="T28" fmla="*/ 4 w 14"/>
                  <a:gd name="T2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2" y="15"/>
                    </a:moveTo>
                    <a:cubicBezTo>
                      <a:pt x="2" y="15"/>
                      <a:pt x="2" y="15"/>
                      <a:pt x="1" y="15"/>
                    </a:cubicBezTo>
                    <a:cubicBezTo>
                      <a:pt x="1" y="14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4" y="6"/>
                      <a:pt x="14" y="7"/>
                      <a:pt x="14" y="7"/>
                    </a:cubicBezTo>
                    <a:cubicBezTo>
                      <a:pt x="14" y="8"/>
                      <a:pt x="14" y="9"/>
                      <a:pt x="13" y="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2" y="15"/>
                    </a:cubicBezTo>
                    <a:close/>
                    <a:moveTo>
                      <a:pt x="4" y="5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8" y="7"/>
                      <a:pt x="8" y="7"/>
                      <a:pt x="8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9" name="Freeform 832">
                <a:extLst>
                  <a:ext uri="{FF2B5EF4-FFF2-40B4-BE49-F238E27FC236}">
                    <a16:creationId xmlns:a16="http://schemas.microsoft.com/office/drawing/2014/main" id="{043BC485-9FFF-48C3-BAAC-20D5F8BAD0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62973" y="6491651"/>
                <a:ext cx="188833" cy="125542"/>
              </a:xfrm>
              <a:custGeom>
                <a:avLst/>
                <a:gdLst>
                  <a:gd name="T0" fmla="*/ 55 w 77"/>
                  <a:gd name="T1" fmla="*/ 51 h 51"/>
                  <a:gd name="T2" fmla="*/ 54 w 77"/>
                  <a:gd name="T3" fmla="*/ 51 h 51"/>
                  <a:gd name="T4" fmla="*/ 1 w 77"/>
                  <a:gd name="T5" fmla="*/ 20 h 51"/>
                  <a:gd name="T6" fmla="*/ 0 w 77"/>
                  <a:gd name="T7" fmla="*/ 19 h 51"/>
                  <a:gd name="T8" fmla="*/ 1 w 77"/>
                  <a:gd name="T9" fmla="*/ 17 h 51"/>
                  <a:gd name="T10" fmla="*/ 7 w 77"/>
                  <a:gd name="T11" fmla="*/ 13 h 51"/>
                  <a:gd name="T12" fmla="*/ 7 w 77"/>
                  <a:gd name="T13" fmla="*/ 4 h 51"/>
                  <a:gd name="T14" fmla="*/ 8 w 77"/>
                  <a:gd name="T15" fmla="*/ 2 h 51"/>
                  <a:gd name="T16" fmla="*/ 12 w 77"/>
                  <a:gd name="T17" fmla="*/ 0 h 51"/>
                  <a:gd name="T18" fmla="*/ 14 w 77"/>
                  <a:gd name="T19" fmla="*/ 0 h 51"/>
                  <a:gd name="T20" fmla="*/ 76 w 77"/>
                  <a:gd name="T21" fmla="*/ 36 h 51"/>
                  <a:gd name="T22" fmla="*/ 77 w 77"/>
                  <a:gd name="T23" fmla="*/ 37 h 51"/>
                  <a:gd name="T24" fmla="*/ 76 w 77"/>
                  <a:gd name="T25" fmla="*/ 39 h 51"/>
                  <a:gd name="T26" fmla="*/ 56 w 77"/>
                  <a:gd name="T27" fmla="*/ 51 h 51"/>
                  <a:gd name="T28" fmla="*/ 55 w 77"/>
                  <a:gd name="T29" fmla="*/ 51 h 51"/>
                  <a:gd name="T30" fmla="*/ 6 w 77"/>
                  <a:gd name="T31" fmla="*/ 19 h 51"/>
                  <a:gd name="T32" fmla="*/ 55 w 77"/>
                  <a:gd name="T33" fmla="*/ 47 h 51"/>
                  <a:gd name="T34" fmla="*/ 71 w 77"/>
                  <a:gd name="T35" fmla="*/ 37 h 51"/>
                  <a:gd name="T36" fmla="*/ 13 w 77"/>
                  <a:gd name="T37" fmla="*/ 4 h 51"/>
                  <a:gd name="T38" fmla="*/ 11 w 77"/>
                  <a:gd name="T39" fmla="*/ 5 h 51"/>
                  <a:gd name="T40" fmla="*/ 11 w 77"/>
                  <a:gd name="T41" fmla="*/ 14 h 51"/>
                  <a:gd name="T42" fmla="*/ 10 w 77"/>
                  <a:gd name="T43" fmla="*/ 16 h 51"/>
                  <a:gd name="T44" fmla="*/ 6 w 77"/>
                  <a:gd name="T45" fmla="*/ 1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51">
                    <a:moveTo>
                      <a:pt x="55" y="51"/>
                    </a:moveTo>
                    <a:cubicBezTo>
                      <a:pt x="54" y="51"/>
                      <a:pt x="54" y="51"/>
                      <a:pt x="54" y="51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9"/>
                      <a:pt x="0" y="19"/>
                    </a:cubicBezTo>
                    <a:cubicBezTo>
                      <a:pt x="0" y="18"/>
                      <a:pt x="0" y="17"/>
                      <a:pt x="1" y="17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3"/>
                      <a:pt x="8" y="2"/>
                      <a:pt x="8" y="2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6" y="36"/>
                      <a:pt x="77" y="37"/>
                      <a:pt x="77" y="37"/>
                    </a:cubicBezTo>
                    <a:cubicBezTo>
                      <a:pt x="77" y="38"/>
                      <a:pt x="76" y="39"/>
                      <a:pt x="76" y="39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5" y="51"/>
                      <a:pt x="55" y="51"/>
                      <a:pt x="55" y="51"/>
                    </a:cubicBezTo>
                    <a:close/>
                    <a:moveTo>
                      <a:pt x="6" y="19"/>
                    </a:moveTo>
                    <a:cubicBezTo>
                      <a:pt x="55" y="47"/>
                      <a:pt x="55" y="47"/>
                      <a:pt x="55" y="47"/>
                    </a:cubicBezTo>
                    <a:cubicBezTo>
                      <a:pt x="71" y="37"/>
                      <a:pt x="71" y="37"/>
                      <a:pt x="71" y="37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5"/>
                      <a:pt x="11" y="16"/>
                      <a:pt x="10" y="16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0" name="Freeform 833">
                <a:extLst>
                  <a:ext uri="{FF2B5EF4-FFF2-40B4-BE49-F238E27FC236}">
                    <a16:creationId xmlns:a16="http://schemas.microsoft.com/office/drawing/2014/main" id="{EC5852CD-1685-4F76-A0E1-B258E39278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62973" y="6464675"/>
                <a:ext cx="158744" cy="120355"/>
              </a:xfrm>
              <a:custGeom>
                <a:avLst/>
                <a:gdLst>
                  <a:gd name="T0" fmla="*/ 63 w 65"/>
                  <a:gd name="T1" fmla="*/ 49 h 49"/>
                  <a:gd name="T2" fmla="*/ 62 w 65"/>
                  <a:gd name="T3" fmla="*/ 48 h 49"/>
                  <a:gd name="T4" fmla="*/ 1 w 65"/>
                  <a:gd name="T5" fmla="*/ 14 h 49"/>
                  <a:gd name="T6" fmla="*/ 0 w 65"/>
                  <a:gd name="T7" fmla="*/ 12 h 49"/>
                  <a:gd name="T8" fmla="*/ 1 w 65"/>
                  <a:gd name="T9" fmla="*/ 10 h 49"/>
                  <a:gd name="T10" fmla="*/ 19 w 65"/>
                  <a:gd name="T11" fmla="*/ 0 h 49"/>
                  <a:gd name="T12" fmla="*/ 21 w 65"/>
                  <a:gd name="T13" fmla="*/ 0 h 49"/>
                  <a:gd name="T14" fmla="*/ 64 w 65"/>
                  <a:gd name="T15" fmla="*/ 25 h 49"/>
                  <a:gd name="T16" fmla="*/ 65 w 65"/>
                  <a:gd name="T17" fmla="*/ 27 h 49"/>
                  <a:gd name="T18" fmla="*/ 65 w 65"/>
                  <a:gd name="T19" fmla="*/ 47 h 49"/>
                  <a:gd name="T20" fmla="*/ 64 w 65"/>
                  <a:gd name="T21" fmla="*/ 48 h 49"/>
                  <a:gd name="T22" fmla="*/ 63 w 65"/>
                  <a:gd name="T23" fmla="*/ 49 h 49"/>
                  <a:gd name="T24" fmla="*/ 6 w 65"/>
                  <a:gd name="T25" fmla="*/ 12 h 49"/>
                  <a:gd name="T26" fmla="*/ 61 w 65"/>
                  <a:gd name="T27" fmla="*/ 43 h 49"/>
                  <a:gd name="T28" fmla="*/ 61 w 65"/>
                  <a:gd name="T29" fmla="*/ 28 h 49"/>
                  <a:gd name="T30" fmla="*/ 20 w 65"/>
                  <a:gd name="T31" fmla="*/ 4 h 49"/>
                  <a:gd name="T32" fmla="*/ 6 w 65"/>
                  <a:gd name="T33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49">
                    <a:moveTo>
                      <a:pt x="63" y="49"/>
                    </a:moveTo>
                    <a:cubicBezTo>
                      <a:pt x="63" y="49"/>
                      <a:pt x="62" y="49"/>
                      <a:pt x="62" y="4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0" y="13"/>
                      <a:pt x="0" y="12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20" y="0"/>
                      <a:pt x="21" y="0"/>
                    </a:cubicBezTo>
                    <a:cubicBezTo>
                      <a:pt x="64" y="25"/>
                      <a:pt x="64" y="25"/>
                      <a:pt x="64" y="25"/>
                    </a:cubicBezTo>
                    <a:cubicBezTo>
                      <a:pt x="64" y="25"/>
                      <a:pt x="65" y="26"/>
                      <a:pt x="65" y="27"/>
                    </a:cubicBezTo>
                    <a:cubicBezTo>
                      <a:pt x="65" y="47"/>
                      <a:pt x="65" y="47"/>
                      <a:pt x="65" y="47"/>
                    </a:cubicBezTo>
                    <a:cubicBezTo>
                      <a:pt x="65" y="47"/>
                      <a:pt x="64" y="48"/>
                      <a:pt x="64" y="48"/>
                    </a:cubicBezTo>
                    <a:cubicBezTo>
                      <a:pt x="64" y="49"/>
                      <a:pt x="63" y="49"/>
                      <a:pt x="63" y="49"/>
                    </a:cubicBezTo>
                    <a:close/>
                    <a:moveTo>
                      <a:pt x="6" y="12"/>
                    </a:moveTo>
                    <a:cubicBezTo>
                      <a:pt x="61" y="43"/>
                      <a:pt x="61" y="43"/>
                      <a:pt x="61" y="43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20" y="4"/>
                      <a:pt x="20" y="4"/>
                      <a:pt x="20" y="4"/>
                    </a:cubicBez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1" name="Freeform 834">
                <a:extLst>
                  <a:ext uri="{FF2B5EF4-FFF2-40B4-BE49-F238E27FC236}">
                    <a16:creationId xmlns:a16="http://schemas.microsoft.com/office/drawing/2014/main" id="{4458BFF4-B34D-4AF0-BB34-9DC2A361D5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526905" y="6609930"/>
                <a:ext cx="154594" cy="166006"/>
              </a:xfrm>
              <a:custGeom>
                <a:avLst/>
                <a:gdLst>
                  <a:gd name="T0" fmla="*/ 2 w 63"/>
                  <a:gd name="T1" fmla="*/ 68 h 68"/>
                  <a:gd name="T2" fmla="*/ 1 w 63"/>
                  <a:gd name="T3" fmla="*/ 68 h 68"/>
                  <a:gd name="T4" fmla="*/ 0 w 63"/>
                  <a:gd name="T5" fmla="*/ 66 h 68"/>
                  <a:gd name="T6" fmla="*/ 0 w 63"/>
                  <a:gd name="T7" fmla="*/ 2 h 68"/>
                  <a:gd name="T8" fmla="*/ 1 w 63"/>
                  <a:gd name="T9" fmla="*/ 1 h 68"/>
                  <a:gd name="T10" fmla="*/ 3 w 63"/>
                  <a:gd name="T11" fmla="*/ 1 h 68"/>
                  <a:gd name="T12" fmla="*/ 62 w 63"/>
                  <a:gd name="T13" fmla="*/ 35 h 68"/>
                  <a:gd name="T14" fmla="*/ 63 w 63"/>
                  <a:gd name="T15" fmla="*/ 36 h 68"/>
                  <a:gd name="T16" fmla="*/ 63 w 63"/>
                  <a:gd name="T17" fmla="*/ 51 h 68"/>
                  <a:gd name="T18" fmla="*/ 62 w 63"/>
                  <a:gd name="T19" fmla="*/ 53 h 68"/>
                  <a:gd name="T20" fmla="*/ 60 w 63"/>
                  <a:gd name="T21" fmla="*/ 53 h 68"/>
                  <a:gd name="T22" fmla="*/ 44 w 63"/>
                  <a:gd name="T23" fmla="*/ 44 h 68"/>
                  <a:gd name="T24" fmla="*/ 3 w 63"/>
                  <a:gd name="T25" fmla="*/ 68 h 68"/>
                  <a:gd name="T26" fmla="*/ 2 w 63"/>
                  <a:gd name="T27" fmla="*/ 68 h 68"/>
                  <a:gd name="T28" fmla="*/ 4 w 63"/>
                  <a:gd name="T29" fmla="*/ 6 h 68"/>
                  <a:gd name="T30" fmla="*/ 4 w 63"/>
                  <a:gd name="T31" fmla="*/ 62 h 68"/>
                  <a:gd name="T32" fmla="*/ 43 w 63"/>
                  <a:gd name="T33" fmla="*/ 40 h 68"/>
                  <a:gd name="T34" fmla="*/ 45 w 63"/>
                  <a:gd name="T35" fmla="*/ 40 h 68"/>
                  <a:gd name="T36" fmla="*/ 59 w 63"/>
                  <a:gd name="T37" fmla="*/ 47 h 68"/>
                  <a:gd name="T38" fmla="*/ 59 w 63"/>
                  <a:gd name="T39" fmla="*/ 38 h 68"/>
                  <a:gd name="T40" fmla="*/ 4 w 63"/>
                  <a:gd name="T41" fmla="*/ 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68">
                    <a:moveTo>
                      <a:pt x="2" y="68"/>
                    </a:moveTo>
                    <a:cubicBezTo>
                      <a:pt x="1" y="68"/>
                      <a:pt x="1" y="68"/>
                      <a:pt x="1" y="68"/>
                    </a:cubicBezTo>
                    <a:cubicBezTo>
                      <a:pt x="0" y="67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5"/>
                      <a:pt x="63" y="36"/>
                      <a:pt x="63" y="36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3" y="52"/>
                      <a:pt x="62" y="52"/>
                      <a:pt x="62" y="53"/>
                    </a:cubicBezTo>
                    <a:cubicBezTo>
                      <a:pt x="61" y="53"/>
                      <a:pt x="60" y="53"/>
                      <a:pt x="60" y="53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2" y="68"/>
                      <a:pt x="2" y="68"/>
                      <a:pt x="2" y="68"/>
                    </a:cubicBezTo>
                    <a:close/>
                    <a:moveTo>
                      <a:pt x="4" y="6"/>
                    </a:moveTo>
                    <a:cubicBezTo>
                      <a:pt x="4" y="62"/>
                      <a:pt x="4" y="62"/>
                      <a:pt x="4" y="62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39"/>
                      <a:pt x="45" y="39"/>
                      <a:pt x="45" y="40"/>
                    </a:cubicBezTo>
                    <a:cubicBezTo>
                      <a:pt x="59" y="47"/>
                      <a:pt x="59" y="47"/>
                      <a:pt x="59" y="47"/>
                    </a:cubicBezTo>
                    <a:cubicBezTo>
                      <a:pt x="59" y="38"/>
                      <a:pt x="59" y="38"/>
                      <a:pt x="59" y="38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2" name="Freeform 835">
                <a:extLst>
                  <a:ext uri="{FF2B5EF4-FFF2-40B4-BE49-F238E27FC236}">
                    <a16:creationId xmlns:a16="http://schemas.microsoft.com/office/drawing/2014/main" id="{6168E0AD-D5A0-4A7F-8BAD-AB3706575199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125376" y="6259242"/>
                <a:ext cx="90266" cy="56027"/>
              </a:xfrm>
              <a:custGeom>
                <a:avLst/>
                <a:gdLst>
                  <a:gd name="T0" fmla="*/ 3 w 37"/>
                  <a:gd name="T1" fmla="*/ 23 h 23"/>
                  <a:gd name="T2" fmla="*/ 2 w 37"/>
                  <a:gd name="T3" fmla="*/ 23 h 23"/>
                  <a:gd name="T4" fmla="*/ 1 w 37"/>
                  <a:gd name="T5" fmla="*/ 23 h 23"/>
                  <a:gd name="T6" fmla="*/ 0 w 37"/>
                  <a:gd name="T7" fmla="*/ 21 h 23"/>
                  <a:gd name="T8" fmla="*/ 1 w 37"/>
                  <a:gd name="T9" fmla="*/ 19 h 23"/>
                  <a:gd name="T10" fmla="*/ 34 w 37"/>
                  <a:gd name="T11" fmla="*/ 0 h 23"/>
                  <a:gd name="T12" fmla="*/ 36 w 37"/>
                  <a:gd name="T13" fmla="*/ 0 h 23"/>
                  <a:gd name="T14" fmla="*/ 37 w 37"/>
                  <a:gd name="T15" fmla="*/ 2 h 23"/>
                  <a:gd name="T16" fmla="*/ 37 w 37"/>
                  <a:gd name="T17" fmla="*/ 3 h 23"/>
                  <a:gd name="T18" fmla="*/ 36 w 37"/>
                  <a:gd name="T19" fmla="*/ 5 h 23"/>
                  <a:gd name="T20" fmla="*/ 4 w 37"/>
                  <a:gd name="T21" fmla="*/ 23 h 23"/>
                  <a:gd name="T22" fmla="*/ 3 w 37"/>
                  <a:gd name="T2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3">
                    <a:moveTo>
                      <a:pt x="3" y="23"/>
                    </a:moveTo>
                    <a:cubicBezTo>
                      <a:pt x="2" y="23"/>
                      <a:pt x="2" y="23"/>
                      <a:pt x="2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0" y="22"/>
                      <a:pt x="0" y="21"/>
                    </a:cubicBezTo>
                    <a:cubicBezTo>
                      <a:pt x="0" y="20"/>
                      <a:pt x="1" y="20"/>
                      <a:pt x="1" y="19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5" y="0"/>
                      <a:pt x="36" y="0"/>
                    </a:cubicBezTo>
                    <a:cubicBezTo>
                      <a:pt x="37" y="1"/>
                      <a:pt x="37" y="1"/>
                      <a:pt x="37" y="2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4"/>
                      <a:pt x="37" y="4"/>
                      <a:pt x="36" y="5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3" y="23"/>
                      <a:pt x="3" y="23"/>
                      <a:pt x="3" y="2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3" name="Freeform 836">
                <a:extLst>
                  <a:ext uri="{FF2B5EF4-FFF2-40B4-BE49-F238E27FC236}">
                    <a16:creationId xmlns:a16="http://schemas.microsoft.com/office/drawing/2014/main" id="{BED46A16-9817-40C1-AA6A-B6E0449F66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416925" y="6533152"/>
                <a:ext cx="264573" cy="253160"/>
              </a:xfrm>
              <a:custGeom>
                <a:avLst/>
                <a:gdLst>
                  <a:gd name="T0" fmla="*/ 94 w 108"/>
                  <a:gd name="T1" fmla="*/ 103 h 103"/>
                  <a:gd name="T2" fmla="*/ 93 w 108"/>
                  <a:gd name="T3" fmla="*/ 103 h 103"/>
                  <a:gd name="T4" fmla="*/ 61 w 108"/>
                  <a:gd name="T5" fmla="*/ 85 h 103"/>
                  <a:gd name="T6" fmla="*/ 60 w 108"/>
                  <a:gd name="T7" fmla="*/ 83 h 103"/>
                  <a:gd name="T8" fmla="*/ 60 w 108"/>
                  <a:gd name="T9" fmla="*/ 68 h 103"/>
                  <a:gd name="T10" fmla="*/ 1 w 108"/>
                  <a:gd name="T11" fmla="*/ 34 h 103"/>
                  <a:gd name="T12" fmla="*/ 0 w 108"/>
                  <a:gd name="T13" fmla="*/ 32 h 103"/>
                  <a:gd name="T14" fmla="*/ 1 w 108"/>
                  <a:gd name="T15" fmla="*/ 30 h 103"/>
                  <a:gd name="T16" fmla="*/ 52 w 108"/>
                  <a:gd name="T17" fmla="*/ 1 h 103"/>
                  <a:gd name="T18" fmla="*/ 54 w 108"/>
                  <a:gd name="T19" fmla="*/ 1 h 103"/>
                  <a:gd name="T20" fmla="*/ 107 w 108"/>
                  <a:gd name="T21" fmla="*/ 31 h 103"/>
                  <a:gd name="T22" fmla="*/ 108 w 108"/>
                  <a:gd name="T23" fmla="*/ 33 h 103"/>
                  <a:gd name="T24" fmla="*/ 107 w 108"/>
                  <a:gd name="T25" fmla="*/ 35 h 103"/>
                  <a:gd name="T26" fmla="*/ 96 w 108"/>
                  <a:gd name="T27" fmla="*/ 41 h 103"/>
                  <a:gd name="T28" fmla="*/ 96 w 108"/>
                  <a:gd name="T29" fmla="*/ 101 h 103"/>
                  <a:gd name="T30" fmla="*/ 95 w 108"/>
                  <a:gd name="T31" fmla="*/ 103 h 103"/>
                  <a:gd name="T32" fmla="*/ 94 w 108"/>
                  <a:gd name="T33" fmla="*/ 103 h 103"/>
                  <a:gd name="T34" fmla="*/ 64 w 108"/>
                  <a:gd name="T35" fmla="*/ 82 h 103"/>
                  <a:gd name="T36" fmla="*/ 92 w 108"/>
                  <a:gd name="T37" fmla="*/ 98 h 103"/>
                  <a:gd name="T38" fmla="*/ 92 w 108"/>
                  <a:gd name="T39" fmla="*/ 40 h 103"/>
                  <a:gd name="T40" fmla="*/ 93 w 108"/>
                  <a:gd name="T41" fmla="*/ 38 h 103"/>
                  <a:gd name="T42" fmla="*/ 102 w 108"/>
                  <a:gd name="T43" fmla="*/ 33 h 103"/>
                  <a:gd name="T44" fmla="*/ 53 w 108"/>
                  <a:gd name="T45" fmla="*/ 5 h 103"/>
                  <a:gd name="T46" fmla="*/ 6 w 108"/>
                  <a:gd name="T47" fmla="*/ 32 h 103"/>
                  <a:gd name="T48" fmla="*/ 63 w 108"/>
                  <a:gd name="T49" fmla="*/ 65 h 103"/>
                  <a:gd name="T50" fmla="*/ 64 w 108"/>
                  <a:gd name="T51" fmla="*/ 66 h 103"/>
                  <a:gd name="T52" fmla="*/ 64 w 108"/>
                  <a:gd name="T5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8" h="103">
                    <a:moveTo>
                      <a:pt x="94" y="103"/>
                    </a:moveTo>
                    <a:cubicBezTo>
                      <a:pt x="93" y="103"/>
                      <a:pt x="93" y="103"/>
                      <a:pt x="93" y="103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61" y="84"/>
                      <a:pt x="60" y="84"/>
                      <a:pt x="60" y="83"/>
                    </a:cubicBezTo>
                    <a:cubicBezTo>
                      <a:pt x="60" y="68"/>
                      <a:pt x="60" y="68"/>
                      <a:pt x="60" y="68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3"/>
                      <a:pt x="0" y="33"/>
                      <a:pt x="0" y="32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3" y="0"/>
                      <a:pt x="54" y="0"/>
                      <a:pt x="54" y="1"/>
                    </a:cubicBezTo>
                    <a:cubicBezTo>
                      <a:pt x="107" y="31"/>
                      <a:pt x="107" y="31"/>
                      <a:pt x="107" y="31"/>
                    </a:cubicBezTo>
                    <a:cubicBezTo>
                      <a:pt x="108" y="32"/>
                      <a:pt x="108" y="32"/>
                      <a:pt x="108" y="33"/>
                    </a:cubicBezTo>
                    <a:cubicBezTo>
                      <a:pt x="108" y="34"/>
                      <a:pt x="108" y="34"/>
                      <a:pt x="107" y="35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6" y="101"/>
                      <a:pt x="96" y="101"/>
                      <a:pt x="96" y="101"/>
                    </a:cubicBezTo>
                    <a:cubicBezTo>
                      <a:pt x="96" y="102"/>
                      <a:pt x="95" y="102"/>
                      <a:pt x="95" y="103"/>
                    </a:cubicBezTo>
                    <a:cubicBezTo>
                      <a:pt x="94" y="103"/>
                      <a:pt x="94" y="103"/>
                      <a:pt x="94" y="103"/>
                    </a:cubicBezTo>
                    <a:close/>
                    <a:moveTo>
                      <a:pt x="64" y="82"/>
                    </a:moveTo>
                    <a:cubicBezTo>
                      <a:pt x="92" y="98"/>
                      <a:pt x="92" y="98"/>
                      <a:pt x="92" y="98"/>
                    </a:cubicBezTo>
                    <a:cubicBezTo>
                      <a:pt x="92" y="40"/>
                      <a:pt x="92" y="40"/>
                      <a:pt x="92" y="40"/>
                    </a:cubicBezTo>
                    <a:cubicBezTo>
                      <a:pt x="92" y="39"/>
                      <a:pt x="92" y="39"/>
                      <a:pt x="93" y="38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3" y="65"/>
                      <a:pt x="63" y="65"/>
                      <a:pt x="63" y="65"/>
                    </a:cubicBezTo>
                    <a:cubicBezTo>
                      <a:pt x="64" y="65"/>
                      <a:pt x="64" y="66"/>
                      <a:pt x="64" y="66"/>
                    </a:cubicBezTo>
                    <a:lnTo>
                      <a:pt x="6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4" name="Freeform 837">
                <a:extLst>
                  <a:ext uri="{FF2B5EF4-FFF2-40B4-BE49-F238E27FC236}">
                    <a16:creationId xmlns:a16="http://schemas.microsoft.com/office/drawing/2014/main" id="{71E15519-CFB2-4367-BA6C-A628FA551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526905" y="6709534"/>
                <a:ext cx="154594" cy="161856"/>
              </a:xfrm>
              <a:custGeom>
                <a:avLst/>
                <a:gdLst>
                  <a:gd name="T0" fmla="*/ 61 w 63"/>
                  <a:gd name="T1" fmla="*/ 66 h 66"/>
                  <a:gd name="T2" fmla="*/ 60 w 63"/>
                  <a:gd name="T3" fmla="*/ 65 h 66"/>
                  <a:gd name="T4" fmla="*/ 1 w 63"/>
                  <a:gd name="T5" fmla="*/ 31 h 66"/>
                  <a:gd name="T6" fmla="*/ 0 w 63"/>
                  <a:gd name="T7" fmla="*/ 29 h 66"/>
                  <a:gd name="T8" fmla="*/ 0 w 63"/>
                  <a:gd name="T9" fmla="*/ 27 h 66"/>
                  <a:gd name="T10" fmla="*/ 1 w 63"/>
                  <a:gd name="T11" fmla="*/ 25 h 66"/>
                  <a:gd name="T12" fmla="*/ 43 w 63"/>
                  <a:gd name="T13" fmla="*/ 1 h 66"/>
                  <a:gd name="T14" fmla="*/ 45 w 63"/>
                  <a:gd name="T15" fmla="*/ 1 h 66"/>
                  <a:gd name="T16" fmla="*/ 62 w 63"/>
                  <a:gd name="T17" fmla="*/ 10 h 66"/>
                  <a:gd name="T18" fmla="*/ 63 w 63"/>
                  <a:gd name="T19" fmla="*/ 12 h 66"/>
                  <a:gd name="T20" fmla="*/ 63 w 63"/>
                  <a:gd name="T21" fmla="*/ 64 h 66"/>
                  <a:gd name="T22" fmla="*/ 62 w 63"/>
                  <a:gd name="T23" fmla="*/ 65 h 66"/>
                  <a:gd name="T24" fmla="*/ 61 w 63"/>
                  <a:gd name="T25" fmla="*/ 66 h 66"/>
                  <a:gd name="T26" fmla="*/ 4 w 63"/>
                  <a:gd name="T27" fmla="*/ 28 h 66"/>
                  <a:gd name="T28" fmla="*/ 59 w 63"/>
                  <a:gd name="T29" fmla="*/ 60 h 66"/>
                  <a:gd name="T30" fmla="*/ 59 w 63"/>
                  <a:gd name="T31" fmla="*/ 13 h 66"/>
                  <a:gd name="T32" fmla="*/ 44 w 63"/>
                  <a:gd name="T33" fmla="*/ 5 h 66"/>
                  <a:gd name="T34" fmla="*/ 4 w 63"/>
                  <a:gd name="T35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cubicBezTo>
                      <a:pt x="60" y="66"/>
                      <a:pt x="60" y="65"/>
                      <a:pt x="60" y="65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5"/>
                      <a:pt x="1" y="25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4" y="0"/>
                      <a:pt x="45" y="0"/>
                      <a:pt x="45" y="1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3" y="11"/>
                      <a:pt x="63" y="12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3" y="64"/>
                      <a:pt x="62" y="65"/>
                      <a:pt x="62" y="65"/>
                    </a:cubicBezTo>
                    <a:cubicBezTo>
                      <a:pt x="61" y="65"/>
                      <a:pt x="61" y="66"/>
                      <a:pt x="61" y="66"/>
                    </a:cubicBezTo>
                    <a:close/>
                    <a:moveTo>
                      <a:pt x="4" y="28"/>
                    </a:moveTo>
                    <a:cubicBezTo>
                      <a:pt x="59" y="60"/>
                      <a:pt x="59" y="60"/>
                      <a:pt x="59" y="60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5" name="Freeform 838">
                <a:extLst>
                  <a:ext uri="{FF2B5EF4-FFF2-40B4-BE49-F238E27FC236}">
                    <a16:creationId xmlns:a16="http://schemas.microsoft.com/office/drawing/2014/main" id="{2E602B69-F88E-415E-BF0B-612C0729F6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85950" y="6609930"/>
                <a:ext cx="43577" cy="99604"/>
              </a:xfrm>
              <a:custGeom>
                <a:avLst/>
                <a:gdLst>
                  <a:gd name="T0" fmla="*/ 2 w 18"/>
                  <a:gd name="T1" fmla="*/ 41 h 41"/>
                  <a:gd name="T2" fmla="*/ 1 w 18"/>
                  <a:gd name="T3" fmla="*/ 40 h 41"/>
                  <a:gd name="T4" fmla="*/ 0 w 18"/>
                  <a:gd name="T5" fmla="*/ 39 h 41"/>
                  <a:gd name="T6" fmla="*/ 0 w 18"/>
                  <a:gd name="T7" fmla="*/ 10 h 41"/>
                  <a:gd name="T8" fmla="*/ 1 w 18"/>
                  <a:gd name="T9" fmla="*/ 8 h 41"/>
                  <a:gd name="T10" fmla="*/ 15 w 18"/>
                  <a:gd name="T11" fmla="*/ 0 h 41"/>
                  <a:gd name="T12" fmla="*/ 17 w 18"/>
                  <a:gd name="T13" fmla="*/ 0 h 41"/>
                  <a:gd name="T14" fmla="*/ 18 w 18"/>
                  <a:gd name="T15" fmla="*/ 2 h 41"/>
                  <a:gd name="T16" fmla="*/ 18 w 18"/>
                  <a:gd name="T17" fmla="*/ 32 h 41"/>
                  <a:gd name="T18" fmla="*/ 17 w 18"/>
                  <a:gd name="T19" fmla="*/ 34 h 41"/>
                  <a:gd name="T20" fmla="*/ 15 w 18"/>
                  <a:gd name="T21" fmla="*/ 34 h 41"/>
                  <a:gd name="T22" fmla="*/ 14 w 18"/>
                  <a:gd name="T23" fmla="*/ 34 h 41"/>
                  <a:gd name="T24" fmla="*/ 3 w 18"/>
                  <a:gd name="T25" fmla="*/ 40 h 41"/>
                  <a:gd name="T26" fmla="*/ 2 w 18"/>
                  <a:gd name="T27" fmla="*/ 41 h 41"/>
                  <a:gd name="T28" fmla="*/ 4 w 18"/>
                  <a:gd name="T29" fmla="*/ 11 h 41"/>
                  <a:gd name="T30" fmla="*/ 4 w 18"/>
                  <a:gd name="T31" fmla="*/ 35 h 41"/>
                  <a:gd name="T32" fmla="*/ 13 w 18"/>
                  <a:gd name="T33" fmla="*/ 30 h 41"/>
                  <a:gd name="T34" fmla="*/ 14 w 18"/>
                  <a:gd name="T35" fmla="*/ 29 h 41"/>
                  <a:gd name="T36" fmla="*/ 14 w 18"/>
                  <a:gd name="T37" fmla="*/ 5 h 41"/>
                  <a:gd name="T38" fmla="*/ 4 w 18"/>
                  <a:gd name="T3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41">
                    <a:moveTo>
                      <a:pt x="2" y="41"/>
                    </a:moveTo>
                    <a:cubicBezTo>
                      <a:pt x="1" y="41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17" y="1"/>
                      <a:pt x="18" y="1"/>
                      <a:pt x="18" y="2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3"/>
                      <a:pt x="17" y="33"/>
                      <a:pt x="17" y="34"/>
                    </a:cubicBezTo>
                    <a:cubicBezTo>
                      <a:pt x="16" y="34"/>
                      <a:pt x="15" y="34"/>
                      <a:pt x="15" y="34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2" y="40"/>
                      <a:pt x="2" y="41"/>
                      <a:pt x="2" y="41"/>
                    </a:cubicBezTo>
                    <a:close/>
                    <a:moveTo>
                      <a:pt x="4" y="11"/>
                    </a:moveTo>
                    <a:cubicBezTo>
                      <a:pt x="4" y="35"/>
                      <a:pt x="4" y="35"/>
                      <a:pt x="4" y="35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3" y="30"/>
                      <a:pt x="13" y="29"/>
                      <a:pt x="14" y="29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6" name="Freeform 839">
                <a:extLst>
                  <a:ext uri="{FF2B5EF4-FFF2-40B4-BE49-F238E27FC236}">
                    <a16:creationId xmlns:a16="http://schemas.microsoft.com/office/drawing/2014/main" id="{53C40997-F9C6-4C23-997B-B9D5D63EAD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88025" y="6518627"/>
                <a:ext cx="167044" cy="225146"/>
              </a:xfrm>
              <a:custGeom>
                <a:avLst/>
                <a:gdLst>
                  <a:gd name="T0" fmla="*/ 28 w 68"/>
                  <a:gd name="T1" fmla="*/ 92 h 92"/>
                  <a:gd name="T2" fmla="*/ 27 w 68"/>
                  <a:gd name="T3" fmla="*/ 92 h 92"/>
                  <a:gd name="T4" fmla="*/ 1 w 68"/>
                  <a:gd name="T5" fmla="*/ 77 h 92"/>
                  <a:gd name="T6" fmla="*/ 0 w 68"/>
                  <a:gd name="T7" fmla="*/ 75 h 92"/>
                  <a:gd name="T8" fmla="*/ 0 w 68"/>
                  <a:gd name="T9" fmla="*/ 4 h 92"/>
                  <a:gd name="T10" fmla="*/ 1 w 68"/>
                  <a:gd name="T11" fmla="*/ 2 h 92"/>
                  <a:gd name="T12" fmla="*/ 4 w 68"/>
                  <a:gd name="T13" fmla="*/ 1 h 92"/>
                  <a:gd name="T14" fmla="*/ 6 w 68"/>
                  <a:gd name="T15" fmla="*/ 1 h 92"/>
                  <a:gd name="T16" fmla="*/ 67 w 68"/>
                  <a:gd name="T17" fmla="*/ 36 h 92"/>
                  <a:gd name="T18" fmla="*/ 68 w 68"/>
                  <a:gd name="T19" fmla="*/ 38 h 92"/>
                  <a:gd name="T20" fmla="*/ 67 w 68"/>
                  <a:gd name="T21" fmla="*/ 39 h 92"/>
                  <a:gd name="T22" fmla="*/ 53 w 68"/>
                  <a:gd name="T23" fmla="*/ 47 h 92"/>
                  <a:gd name="T24" fmla="*/ 53 w 68"/>
                  <a:gd name="T25" fmla="*/ 76 h 92"/>
                  <a:gd name="T26" fmla="*/ 52 w 68"/>
                  <a:gd name="T27" fmla="*/ 78 h 92"/>
                  <a:gd name="T28" fmla="*/ 29 w 68"/>
                  <a:gd name="T29" fmla="*/ 92 h 92"/>
                  <a:gd name="T30" fmla="*/ 28 w 68"/>
                  <a:gd name="T31" fmla="*/ 92 h 92"/>
                  <a:gd name="T32" fmla="*/ 4 w 68"/>
                  <a:gd name="T33" fmla="*/ 74 h 92"/>
                  <a:gd name="T34" fmla="*/ 28 w 68"/>
                  <a:gd name="T35" fmla="*/ 88 h 92"/>
                  <a:gd name="T36" fmla="*/ 49 w 68"/>
                  <a:gd name="T37" fmla="*/ 75 h 92"/>
                  <a:gd name="T38" fmla="*/ 49 w 68"/>
                  <a:gd name="T39" fmla="*/ 46 h 92"/>
                  <a:gd name="T40" fmla="*/ 50 w 68"/>
                  <a:gd name="T41" fmla="*/ 44 h 92"/>
                  <a:gd name="T42" fmla="*/ 62 w 68"/>
                  <a:gd name="T43" fmla="*/ 38 h 92"/>
                  <a:gd name="T44" fmla="*/ 5 w 68"/>
                  <a:gd name="T45" fmla="*/ 5 h 92"/>
                  <a:gd name="T46" fmla="*/ 4 w 68"/>
                  <a:gd name="T47" fmla="*/ 5 h 92"/>
                  <a:gd name="T48" fmla="*/ 4 w 68"/>
                  <a:gd name="T49" fmla="*/ 7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92">
                    <a:moveTo>
                      <a:pt x="28" y="92"/>
                    </a:moveTo>
                    <a:cubicBezTo>
                      <a:pt x="27" y="92"/>
                      <a:pt x="27" y="92"/>
                      <a:pt x="27" y="92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6"/>
                      <a:pt x="0" y="7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3"/>
                      <a:pt x="1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5" y="0"/>
                      <a:pt x="6" y="1"/>
                    </a:cubicBezTo>
                    <a:cubicBezTo>
                      <a:pt x="67" y="36"/>
                      <a:pt x="67" y="36"/>
                      <a:pt x="67" y="36"/>
                    </a:cubicBezTo>
                    <a:cubicBezTo>
                      <a:pt x="67" y="36"/>
                      <a:pt x="68" y="37"/>
                      <a:pt x="68" y="38"/>
                    </a:cubicBezTo>
                    <a:cubicBezTo>
                      <a:pt x="68" y="38"/>
                      <a:pt x="67" y="39"/>
                      <a:pt x="67" y="39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3" y="78"/>
                      <a:pt x="52" y="78"/>
                    </a:cubicBezTo>
                    <a:cubicBezTo>
                      <a:pt x="29" y="92"/>
                      <a:pt x="29" y="92"/>
                      <a:pt x="29" y="92"/>
                    </a:cubicBezTo>
                    <a:cubicBezTo>
                      <a:pt x="29" y="92"/>
                      <a:pt x="28" y="92"/>
                      <a:pt x="28" y="92"/>
                    </a:cubicBezTo>
                    <a:close/>
                    <a:moveTo>
                      <a:pt x="4" y="74"/>
                    </a:moveTo>
                    <a:cubicBezTo>
                      <a:pt x="28" y="88"/>
                      <a:pt x="28" y="88"/>
                      <a:pt x="28" y="88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49" y="45"/>
                      <a:pt x="49" y="45"/>
                      <a:pt x="50" y="44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7" name="Freeform 840">
                <a:extLst>
                  <a:ext uri="{FF2B5EF4-FFF2-40B4-BE49-F238E27FC236}">
                    <a16:creationId xmlns:a16="http://schemas.microsoft.com/office/drawing/2014/main" id="{C2CB0DEC-1DFB-41E3-9AEC-52754C0E7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3904380" y="6739622"/>
                <a:ext cx="381815" cy="171194"/>
              </a:xfrm>
              <a:custGeom>
                <a:avLst/>
                <a:gdLst>
                  <a:gd name="T0" fmla="*/ 78 w 156"/>
                  <a:gd name="T1" fmla="*/ 70 h 70"/>
                  <a:gd name="T2" fmla="*/ 77 w 156"/>
                  <a:gd name="T3" fmla="*/ 69 h 70"/>
                  <a:gd name="T4" fmla="*/ 1 w 156"/>
                  <a:gd name="T5" fmla="*/ 26 h 70"/>
                  <a:gd name="T6" fmla="*/ 0 w 156"/>
                  <a:gd name="T7" fmla="*/ 24 h 70"/>
                  <a:gd name="T8" fmla="*/ 1 w 156"/>
                  <a:gd name="T9" fmla="*/ 22 h 70"/>
                  <a:gd name="T10" fmla="*/ 40 w 156"/>
                  <a:gd name="T11" fmla="*/ 0 h 70"/>
                  <a:gd name="T12" fmla="*/ 42 w 156"/>
                  <a:gd name="T13" fmla="*/ 0 h 70"/>
                  <a:gd name="T14" fmla="*/ 65 w 156"/>
                  <a:gd name="T15" fmla="*/ 13 h 70"/>
                  <a:gd name="T16" fmla="*/ 66 w 156"/>
                  <a:gd name="T17" fmla="*/ 15 h 70"/>
                  <a:gd name="T18" fmla="*/ 66 w 156"/>
                  <a:gd name="T19" fmla="*/ 30 h 70"/>
                  <a:gd name="T20" fmla="*/ 79 w 156"/>
                  <a:gd name="T21" fmla="*/ 23 h 70"/>
                  <a:gd name="T22" fmla="*/ 80 w 156"/>
                  <a:gd name="T23" fmla="*/ 23 h 70"/>
                  <a:gd name="T24" fmla="*/ 80 w 156"/>
                  <a:gd name="T25" fmla="*/ 22 h 70"/>
                  <a:gd name="T26" fmla="*/ 117 w 156"/>
                  <a:gd name="T27" fmla="*/ 1 h 70"/>
                  <a:gd name="T28" fmla="*/ 119 w 156"/>
                  <a:gd name="T29" fmla="*/ 1 h 70"/>
                  <a:gd name="T30" fmla="*/ 155 w 156"/>
                  <a:gd name="T31" fmla="*/ 22 h 70"/>
                  <a:gd name="T32" fmla="*/ 156 w 156"/>
                  <a:gd name="T33" fmla="*/ 24 h 70"/>
                  <a:gd name="T34" fmla="*/ 155 w 156"/>
                  <a:gd name="T35" fmla="*/ 26 h 70"/>
                  <a:gd name="T36" fmla="*/ 79 w 156"/>
                  <a:gd name="T37" fmla="*/ 69 h 70"/>
                  <a:gd name="T38" fmla="*/ 78 w 156"/>
                  <a:gd name="T39" fmla="*/ 70 h 70"/>
                  <a:gd name="T40" fmla="*/ 6 w 156"/>
                  <a:gd name="T41" fmla="*/ 24 h 70"/>
                  <a:gd name="T42" fmla="*/ 78 w 156"/>
                  <a:gd name="T43" fmla="*/ 65 h 70"/>
                  <a:gd name="T44" fmla="*/ 150 w 156"/>
                  <a:gd name="T45" fmla="*/ 24 h 70"/>
                  <a:gd name="T46" fmla="*/ 118 w 156"/>
                  <a:gd name="T47" fmla="*/ 5 h 70"/>
                  <a:gd name="T48" fmla="*/ 83 w 156"/>
                  <a:gd name="T49" fmla="*/ 25 h 70"/>
                  <a:gd name="T50" fmla="*/ 82 w 156"/>
                  <a:gd name="T51" fmla="*/ 27 h 70"/>
                  <a:gd name="T52" fmla="*/ 80 w 156"/>
                  <a:gd name="T53" fmla="*/ 27 h 70"/>
                  <a:gd name="T54" fmla="*/ 80 w 156"/>
                  <a:gd name="T55" fmla="*/ 27 h 70"/>
                  <a:gd name="T56" fmla="*/ 65 w 156"/>
                  <a:gd name="T57" fmla="*/ 36 h 70"/>
                  <a:gd name="T58" fmla="*/ 63 w 156"/>
                  <a:gd name="T59" fmla="*/ 36 h 70"/>
                  <a:gd name="T60" fmla="*/ 62 w 156"/>
                  <a:gd name="T61" fmla="*/ 34 h 70"/>
                  <a:gd name="T62" fmla="*/ 62 w 156"/>
                  <a:gd name="T63" fmla="*/ 16 h 70"/>
                  <a:gd name="T64" fmla="*/ 41 w 156"/>
                  <a:gd name="T65" fmla="*/ 4 h 70"/>
                  <a:gd name="T66" fmla="*/ 6 w 156"/>
                  <a:gd name="T67" fmla="*/ 2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6" h="70">
                    <a:moveTo>
                      <a:pt x="78" y="70"/>
                    </a:moveTo>
                    <a:cubicBezTo>
                      <a:pt x="78" y="70"/>
                      <a:pt x="78" y="70"/>
                      <a:pt x="77" y="69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5"/>
                      <a:pt x="0" y="25"/>
                      <a:pt x="0" y="24"/>
                    </a:cubicBezTo>
                    <a:cubicBezTo>
                      <a:pt x="0" y="23"/>
                      <a:pt x="1" y="23"/>
                      <a:pt x="1" y="22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41" y="0"/>
                      <a:pt x="42" y="0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6" y="14"/>
                      <a:pt x="66" y="15"/>
                      <a:pt x="66" y="15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79" y="23"/>
                      <a:pt x="79" y="23"/>
                      <a:pt x="79" y="23"/>
                    </a:cubicBezTo>
                    <a:cubicBezTo>
                      <a:pt x="79" y="23"/>
                      <a:pt x="80" y="23"/>
                      <a:pt x="80" y="23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7" y="1"/>
                      <a:pt x="118" y="1"/>
                      <a:pt x="119" y="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6" y="23"/>
                      <a:pt x="156" y="23"/>
                      <a:pt x="156" y="24"/>
                    </a:cubicBezTo>
                    <a:cubicBezTo>
                      <a:pt x="156" y="25"/>
                      <a:pt x="156" y="25"/>
                      <a:pt x="155" y="26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79" y="70"/>
                      <a:pt x="79" y="70"/>
                      <a:pt x="78" y="70"/>
                    </a:cubicBezTo>
                    <a:close/>
                    <a:moveTo>
                      <a:pt x="6" y="24"/>
                    </a:moveTo>
                    <a:cubicBezTo>
                      <a:pt x="78" y="65"/>
                      <a:pt x="78" y="65"/>
                      <a:pt x="78" y="65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18" y="5"/>
                      <a:pt x="118" y="5"/>
                      <a:pt x="118" y="5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83" y="26"/>
                      <a:pt x="83" y="26"/>
                      <a:pt x="82" y="27"/>
                    </a:cubicBezTo>
                    <a:cubicBezTo>
                      <a:pt x="82" y="27"/>
                      <a:pt x="81" y="27"/>
                      <a:pt x="80" y="27"/>
                    </a:cubicBezTo>
                    <a:cubicBezTo>
                      <a:pt x="80" y="27"/>
                      <a:pt x="80" y="27"/>
                      <a:pt x="80" y="27"/>
                    </a:cubicBezTo>
                    <a:cubicBezTo>
                      <a:pt x="65" y="36"/>
                      <a:pt x="65" y="36"/>
                      <a:pt x="65" y="36"/>
                    </a:cubicBezTo>
                    <a:cubicBezTo>
                      <a:pt x="64" y="36"/>
                      <a:pt x="64" y="36"/>
                      <a:pt x="63" y="36"/>
                    </a:cubicBezTo>
                    <a:cubicBezTo>
                      <a:pt x="62" y="35"/>
                      <a:pt x="62" y="34"/>
                      <a:pt x="62" y="34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41" y="4"/>
                      <a:pt x="41" y="4"/>
                      <a:pt x="41" y="4"/>
                    </a:cubicBez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8" name="Freeform 841">
                <a:extLst>
                  <a:ext uri="{FF2B5EF4-FFF2-40B4-BE49-F238E27FC236}">
                    <a16:creationId xmlns:a16="http://schemas.microsoft.com/office/drawing/2014/main" id="{9C6D4998-774B-480A-8C6E-C22AC8CD0B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3963520" y="6538340"/>
                <a:ext cx="129693" cy="208545"/>
              </a:xfrm>
              <a:custGeom>
                <a:avLst/>
                <a:gdLst>
                  <a:gd name="T0" fmla="*/ 39 w 53"/>
                  <a:gd name="T1" fmla="*/ 85 h 85"/>
                  <a:gd name="T2" fmla="*/ 38 w 53"/>
                  <a:gd name="T3" fmla="*/ 85 h 85"/>
                  <a:gd name="T4" fmla="*/ 1 w 53"/>
                  <a:gd name="T5" fmla="*/ 64 h 85"/>
                  <a:gd name="T6" fmla="*/ 0 w 53"/>
                  <a:gd name="T7" fmla="*/ 62 h 85"/>
                  <a:gd name="T8" fmla="*/ 0 w 53"/>
                  <a:gd name="T9" fmla="*/ 30 h 85"/>
                  <a:gd name="T10" fmla="*/ 1 w 53"/>
                  <a:gd name="T11" fmla="*/ 28 h 85"/>
                  <a:gd name="T12" fmla="*/ 50 w 53"/>
                  <a:gd name="T13" fmla="*/ 0 h 85"/>
                  <a:gd name="T14" fmla="*/ 52 w 53"/>
                  <a:gd name="T15" fmla="*/ 0 h 85"/>
                  <a:gd name="T16" fmla="*/ 53 w 53"/>
                  <a:gd name="T17" fmla="*/ 2 h 85"/>
                  <a:gd name="T18" fmla="*/ 53 w 53"/>
                  <a:gd name="T19" fmla="*/ 76 h 85"/>
                  <a:gd name="T20" fmla="*/ 52 w 53"/>
                  <a:gd name="T21" fmla="*/ 78 h 85"/>
                  <a:gd name="T22" fmla="*/ 40 w 53"/>
                  <a:gd name="T23" fmla="*/ 85 h 85"/>
                  <a:gd name="T24" fmla="*/ 39 w 53"/>
                  <a:gd name="T25" fmla="*/ 85 h 85"/>
                  <a:gd name="T26" fmla="*/ 4 w 53"/>
                  <a:gd name="T27" fmla="*/ 61 h 85"/>
                  <a:gd name="T28" fmla="*/ 39 w 53"/>
                  <a:gd name="T29" fmla="*/ 81 h 85"/>
                  <a:gd name="T30" fmla="*/ 49 w 53"/>
                  <a:gd name="T31" fmla="*/ 75 h 85"/>
                  <a:gd name="T32" fmla="*/ 49 w 53"/>
                  <a:gd name="T33" fmla="*/ 5 h 85"/>
                  <a:gd name="T34" fmla="*/ 4 w 53"/>
                  <a:gd name="T35" fmla="*/ 31 h 85"/>
                  <a:gd name="T36" fmla="*/ 4 w 53"/>
                  <a:gd name="T37" fmla="*/ 6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3" h="85">
                    <a:moveTo>
                      <a:pt x="39" y="85"/>
                    </a:moveTo>
                    <a:cubicBezTo>
                      <a:pt x="38" y="85"/>
                      <a:pt x="38" y="85"/>
                      <a:pt x="38" y="85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1" y="29"/>
                      <a:pt x="1" y="28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0"/>
                      <a:pt x="51" y="0"/>
                      <a:pt x="52" y="0"/>
                    </a:cubicBezTo>
                    <a:cubicBezTo>
                      <a:pt x="52" y="1"/>
                      <a:pt x="53" y="1"/>
                      <a:pt x="53" y="2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2" y="77"/>
                      <a:pt x="52" y="78"/>
                    </a:cubicBezTo>
                    <a:cubicBezTo>
                      <a:pt x="40" y="85"/>
                      <a:pt x="40" y="85"/>
                      <a:pt x="40" y="85"/>
                    </a:cubicBezTo>
                    <a:cubicBezTo>
                      <a:pt x="39" y="85"/>
                      <a:pt x="39" y="85"/>
                      <a:pt x="39" y="85"/>
                    </a:cubicBezTo>
                    <a:close/>
                    <a:moveTo>
                      <a:pt x="4" y="61"/>
                    </a:moveTo>
                    <a:cubicBezTo>
                      <a:pt x="39" y="81"/>
                      <a:pt x="39" y="81"/>
                      <a:pt x="39" y="81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4" y="6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9" name="Freeform 842">
                <a:extLst>
                  <a:ext uri="{FF2B5EF4-FFF2-40B4-BE49-F238E27FC236}">
                    <a16:creationId xmlns:a16="http://schemas.microsoft.com/office/drawing/2014/main" id="{53A2BDEE-34EA-4C9D-8138-8A7CF4D868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49881" y="6254054"/>
                <a:ext cx="242785" cy="136955"/>
              </a:xfrm>
              <a:custGeom>
                <a:avLst/>
                <a:gdLst>
                  <a:gd name="T0" fmla="*/ 82 w 99"/>
                  <a:gd name="T1" fmla="*/ 56 h 56"/>
                  <a:gd name="T2" fmla="*/ 81 w 99"/>
                  <a:gd name="T3" fmla="*/ 56 h 56"/>
                  <a:gd name="T4" fmla="*/ 60 w 99"/>
                  <a:gd name="T5" fmla="*/ 44 h 56"/>
                  <a:gd name="T6" fmla="*/ 41 w 99"/>
                  <a:gd name="T7" fmla="*/ 55 h 56"/>
                  <a:gd name="T8" fmla="*/ 39 w 99"/>
                  <a:gd name="T9" fmla="*/ 55 h 56"/>
                  <a:gd name="T10" fmla="*/ 1 w 99"/>
                  <a:gd name="T11" fmla="*/ 33 h 56"/>
                  <a:gd name="T12" fmla="*/ 0 w 99"/>
                  <a:gd name="T13" fmla="*/ 31 h 56"/>
                  <a:gd name="T14" fmla="*/ 1 w 99"/>
                  <a:gd name="T15" fmla="*/ 30 h 56"/>
                  <a:gd name="T16" fmla="*/ 44 w 99"/>
                  <a:gd name="T17" fmla="*/ 5 h 56"/>
                  <a:gd name="T18" fmla="*/ 44 w 99"/>
                  <a:gd name="T19" fmla="*/ 2 h 56"/>
                  <a:gd name="T20" fmla="*/ 45 w 99"/>
                  <a:gd name="T21" fmla="*/ 1 h 56"/>
                  <a:gd name="T22" fmla="*/ 47 w 99"/>
                  <a:gd name="T23" fmla="*/ 1 h 56"/>
                  <a:gd name="T24" fmla="*/ 98 w 99"/>
                  <a:gd name="T25" fmla="*/ 30 h 56"/>
                  <a:gd name="T26" fmla="*/ 99 w 99"/>
                  <a:gd name="T27" fmla="*/ 32 h 56"/>
                  <a:gd name="T28" fmla="*/ 98 w 99"/>
                  <a:gd name="T29" fmla="*/ 34 h 56"/>
                  <a:gd name="T30" fmla="*/ 84 w 99"/>
                  <a:gd name="T31" fmla="*/ 41 h 56"/>
                  <a:gd name="T32" fmla="*/ 84 w 99"/>
                  <a:gd name="T33" fmla="*/ 54 h 56"/>
                  <a:gd name="T34" fmla="*/ 83 w 99"/>
                  <a:gd name="T35" fmla="*/ 56 h 56"/>
                  <a:gd name="T36" fmla="*/ 82 w 99"/>
                  <a:gd name="T37" fmla="*/ 56 h 56"/>
                  <a:gd name="T38" fmla="*/ 60 w 99"/>
                  <a:gd name="T39" fmla="*/ 40 h 56"/>
                  <a:gd name="T40" fmla="*/ 61 w 99"/>
                  <a:gd name="T41" fmla="*/ 40 h 56"/>
                  <a:gd name="T42" fmla="*/ 80 w 99"/>
                  <a:gd name="T43" fmla="*/ 51 h 56"/>
                  <a:gd name="T44" fmla="*/ 80 w 99"/>
                  <a:gd name="T45" fmla="*/ 40 h 56"/>
                  <a:gd name="T46" fmla="*/ 81 w 99"/>
                  <a:gd name="T47" fmla="*/ 38 h 56"/>
                  <a:gd name="T48" fmla="*/ 93 w 99"/>
                  <a:gd name="T49" fmla="*/ 32 h 56"/>
                  <a:gd name="T50" fmla="*/ 48 w 99"/>
                  <a:gd name="T51" fmla="*/ 6 h 56"/>
                  <a:gd name="T52" fmla="*/ 48 w 99"/>
                  <a:gd name="T53" fmla="*/ 6 h 56"/>
                  <a:gd name="T54" fmla="*/ 47 w 99"/>
                  <a:gd name="T55" fmla="*/ 8 h 56"/>
                  <a:gd name="T56" fmla="*/ 6 w 99"/>
                  <a:gd name="T57" fmla="*/ 31 h 56"/>
                  <a:gd name="T58" fmla="*/ 40 w 99"/>
                  <a:gd name="T59" fmla="*/ 51 h 56"/>
                  <a:gd name="T60" fmla="*/ 59 w 99"/>
                  <a:gd name="T61" fmla="*/ 40 h 56"/>
                  <a:gd name="T62" fmla="*/ 60 w 99"/>
                  <a:gd name="T63" fmla="*/ 4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" h="56">
                    <a:moveTo>
                      <a:pt x="82" y="56"/>
                    </a:moveTo>
                    <a:cubicBezTo>
                      <a:pt x="82" y="56"/>
                      <a:pt x="82" y="56"/>
                      <a:pt x="81" y="56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1" y="55"/>
                      <a:pt x="40" y="55"/>
                      <a:pt x="39" y="55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3"/>
                      <a:pt x="0" y="32"/>
                      <a:pt x="0" y="31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1"/>
                      <a:pt x="45" y="1"/>
                    </a:cubicBezTo>
                    <a:cubicBezTo>
                      <a:pt x="46" y="0"/>
                      <a:pt x="46" y="0"/>
                      <a:pt x="47" y="1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9" y="30"/>
                      <a:pt x="99" y="31"/>
                      <a:pt x="99" y="32"/>
                    </a:cubicBezTo>
                    <a:cubicBezTo>
                      <a:pt x="99" y="33"/>
                      <a:pt x="99" y="33"/>
                      <a:pt x="98" y="34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4" y="55"/>
                      <a:pt x="84" y="56"/>
                      <a:pt x="83" y="56"/>
                    </a:cubicBezTo>
                    <a:cubicBezTo>
                      <a:pt x="83" y="56"/>
                      <a:pt x="83" y="56"/>
                      <a:pt x="82" y="56"/>
                    </a:cubicBezTo>
                    <a:close/>
                    <a:moveTo>
                      <a:pt x="60" y="40"/>
                    </a:moveTo>
                    <a:cubicBezTo>
                      <a:pt x="61" y="40"/>
                      <a:pt x="61" y="40"/>
                      <a:pt x="61" y="40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80" y="40"/>
                      <a:pt x="81" y="39"/>
                      <a:pt x="81" y="38"/>
                    </a:cubicBezTo>
                    <a:cubicBezTo>
                      <a:pt x="93" y="32"/>
                      <a:pt x="93" y="32"/>
                      <a:pt x="93" y="32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7"/>
                      <a:pt x="48" y="8"/>
                      <a:pt x="47" y="8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60" y="40"/>
                      <a:pt x="60" y="40"/>
                      <a:pt x="60" y="4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0" name="Freeform 843">
                <a:extLst>
                  <a:ext uri="{FF2B5EF4-FFF2-40B4-BE49-F238E27FC236}">
                    <a16:creationId xmlns:a16="http://schemas.microsoft.com/office/drawing/2014/main" id="{9C3161CD-FACB-4151-88D9-8685C406F7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3997759" y="6689821"/>
                <a:ext cx="95454" cy="107904"/>
              </a:xfrm>
              <a:custGeom>
                <a:avLst/>
                <a:gdLst>
                  <a:gd name="T0" fmla="*/ 2 w 39"/>
                  <a:gd name="T1" fmla="*/ 44 h 44"/>
                  <a:gd name="T2" fmla="*/ 1 w 39"/>
                  <a:gd name="T3" fmla="*/ 44 h 44"/>
                  <a:gd name="T4" fmla="*/ 0 w 39"/>
                  <a:gd name="T5" fmla="*/ 42 h 44"/>
                  <a:gd name="T6" fmla="*/ 0 w 39"/>
                  <a:gd name="T7" fmla="*/ 2 h 44"/>
                  <a:gd name="T8" fmla="*/ 1 w 39"/>
                  <a:gd name="T9" fmla="*/ 0 h 44"/>
                  <a:gd name="T10" fmla="*/ 3 w 39"/>
                  <a:gd name="T11" fmla="*/ 0 h 44"/>
                  <a:gd name="T12" fmla="*/ 38 w 39"/>
                  <a:gd name="T13" fmla="*/ 20 h 44"/>
                  <a:gd name="T14" fmla="*/ 39 w 39"/>
                  <a:gd name="T15" fmla="*/ 22 h 44"/>
                  <a:gd name="T16" fmla="*/ 38 w 39"/>
                  <a:gd name="T17" fmla="*/ 24 h 44"/>
                  <a:gd name="T18" fmla="*/ 3 w 39"/>
                  <a:gd name="T19" fmla="*/ 44 h 44"/>
                  <a:gd name="T20" fmla="*/ 2 w 39"/>
                  <a:gd name="T21" fmla="*/ 44 h 44"/>
                  <a:gd name="T22" fmla="*/ 4 w 39"/>
                  <a:gd name="T23" fmla="*/ 5 h 44"/>
                  <a:gd name="T24" fmla="*/ 4 w 39"/>
                  <a:gd name="T25" fmla="*/ 39 h 44"/>
                  <a:gd name="T26" fmla="*/ 33 w 39"/>
                  <a:gd name="T27" fmla="*/ 22 h 44"/>
                  <a:gd name="T28" fmla="*/ 4 w 39"/>
                  <a:gd name="T2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44">
                    <a:moveTo>
                      <a:pt x="2" y="44"/>
                    </a:moveTo>
                    <a:cubicBezTo>
                      <a:pt x="2" y="44"/>
                      <a:pt x="1" y="44"/>
                      <a:pt x="1" y="44"/>
                    </a:cubicBezTo>
                    <a:cubicBezTo>
                      <a:pt x="1" y="43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9" y="21"/>
                      <a:pt x="39" y="21"/>
                      <a:pt x="39" y="22"/>
                    </a:cubicBezTo>
                    <a:cubicBezTo>
                      <a:pt x="39" y="23"/>
                      <a:pt x="39" y="23"/>
                      <a:pt x="38" y="2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3" y="44"/>
                      <a:pt x="3" y="44"/>
                      <a:pt x="2" y="44"/>
                    </a:cubicBezTo>
                    <a:close/>
                    <a:moveTo>
                      <a:pt x="4" y="5"/>
                    </a:moveTo>
                    <a:cubicBezTo>
                      <a:pt x="4" y="39"/>
                      <a:pt x="4" y="39"/>
                      <a:pt x="4" y="39"/>
                    </a:cubicBezTo>
                    <a:cubicBezTo>
                      <a:pt x="33" y="22"/>
                      <a:pt x="33" y="22"/>
                      <a:pt x="33" y="22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1" name="Freeform 844">
                <a:extLst>
                  <a:ext uri="{FF2B5EF4-FFF2-40B4-BE49-F238E27FC236}">
                    <a16:creationId xmlns:a16="http://schemas.microsoft.com/office/drawing/2014/main" id="{9155725A-87AF-4284-B17C-173990573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08380" y="6462599"/>
                <a:ext cx="73665" cy="58102"/>
              </a:xfrm>
              <a:custGeom>
                <a:avLst/>
                <a:gdLst>
                  <a:gd name="T0" fmla="*/ 11 w 30"/>
                  <a:gd name="T1" fmla="*/ 24 h 24"/>
                  <a:gd name="T2" fmla="*/ 10 w 30"/>
                  <a:gd name="T3" fmla="*/ 24 h 24"/>
                  <a:gd name="T4" fmla="*/ 1 w 30"/>
                  <a:gd name="T5" fmla="*/ 19 h 24"/>
                  <a:gd name="T6" fmla="*/ 0 w 30"/>
                  <a:gd name="T7" fmla="*/ 17 h 24"/>
                  <a:gd name="T8" fmla="*/ 1 w 30"/>
                  <a:gd name="T9" fmla="*/ 15 h 24"/>
                  <a:gd name="T10" fmla="*/ 27 w 30"/>
                  <a:gd name="T11" fmla="*/ 0 h 24"/>
                  <a:gd name="T12" fmla="*/ 29 w 30"/>
                  <a:gd name="T13" fmla="*/ 0 h 24"/>
                  <a:gd name="T14" fmla="*/ 30 w 30"/>
                  <a:gd name="T15" fmla="*/ 2 h 24"/>
                  <a:gd name="T16" fmla="*/ 30 w 30"/>
                  <a:gd name="T17" fmla="*/ 13 h 24"/>
                  <a:gd name="T18" fmla="*/ 29 w 30"/>
                  <a:gd name="T19" fmla="*/ 14 h 24"/>
                  <a:gd name="T20" fmla="*/ 14 w 30"/>
                  <a:gd name="T21" fmla="*/ 23 h 24"/>
                  <a:gd name="T22" fmla="*/ 13 w 30"/>
                  <a:gd name="T23" fmla="*/ 24 h 24"/>
                  <a:gd name="T24" fmla="*/ 13 w 30"/>
                  <a:gd name="T25" fmla="*/ 24 h 24"/>
                  <a:gd name="T26" fmla="*/ 12 w 30"/>
                  <a:gd name="T27" fmla="*/ 24 h 24"/>
                  <a:gd name="T28" fmla="*/ 11 w 30"/>
                  <a:gd name="T29" fmla="*/ 24 h 24"/>
                  <a:gd name="T30" fmla="*/ 6 w 30"/>
                  <a:gd name="T31" fmla="*/ 17 h 24"/>
                  <a:gd name="T32" fmla="*/ 10 w 30"/>
                  <a:gd name="T33" fmla="*/ 19 h 24"/>
                  <a:gd name="T34" fmla="*/ 11 w 30"/>
                  <a:gd name="T35" fmla="*/ 19 h 24"/>
                  <a:gd name="T36" fmla="*/ 13 w 30"/>
                  <a:gd name="T37" fmla="*/ 19 h 24"/>
                  <a:gd name="T38" fmla="*/ 13 w 30"/>
                  <a:gd name="T39" fmla="*/ 19 h 24"/>
                  <a:gd name="T40" fmla="*/ 26 w 30"/>
                  <a:gd name="T41" fmla="*/ 11 h 24"/>
                  <a:gd name="T42" fmla="*/ 26 w 30"/>
                  <a:gd name="T43" fmla="*/ 5 h 24"/>
                  <a:gd name="T44" fmla="*/ 6 w 30"/>
                  <a:gd name="T45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4">
                    <a:moveTo>
                      <a:pt x="11" y="24"/>
                    </a:moveTo>
                    <a:cubicBezTo>
                      <a:pt x="11" y="24"/>
                      <a:pt x="11" y="24"/>
                      <a:pt x="10" y="24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8" y="0"/>
                      <a:pt x="29" y="0"/>
                      <a:pt x="29" y="0"/>
                    </a:cubicBezTo>
                    <a:cubicBezTo>
                      <a:pt x="30" y="0"/>
                      <a:pt x="30" y="1"/>
                      <a:pt x="30" y="2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3"/>
                      <a:pt x="30" y="14"/>
                      <a:pt x="29" y="14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4"/>
                      <a:pt x="13" y="24"/>
                      <a:pt x="13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2" y="24"/>
                      <a:pt x="11" y="24"/>
                    </a:cubicBezTo>
                    <a:close/>
                    <a:moveTo>
                      <a:pt x="6" y="17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9"/>
                    </a:cubicBezTo>
                    <a:cubicBezTo>
                      <a:pt x="11" y="19"/>
                      <a:pt x="12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5"/>
                      <a:pt x="26" y="5"/>
                      <a:pt x="26" y="5"/>
                    </a:cubicBez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2" name="Freeform 845">
                <a:extLst>
                  <a:ext uri="{FF2B5EF4-FFF2-40B4-BE49-F238E27FC236}">
                    <a16:creationId xmlns:a16="http://schemas.microsoft.com/office/drawing/2014/main" id="{AE40CC8D-3B98-4A77-9E6C-A3673C63D0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80762" y="6144075"/>
                <a:ext cx="304000" cy="190907"/>
              </a:xfrm>
              <a:custGeom>
                <a:avLst/>
                <a:gdLst>
                  <a:gd name="T0" fmla="*/ 55 w 124"/>
                  <a:gd name="T1" fmla="*/ 78 h 78"/>
                  <a:gd name="T2" fmla="*/ 54 w 124"/>
                  <a:gd name="T3" fmla="*/ 78 h 78"/>
                  <a:gd name="T4" fmla="*/ 1 w 124"/>
                  <a:gd name="T5" fmla="*/ 47 h 78"/>
                  <a:gd name="T6" fmla="*/ 0 w 124"/>
                  <a:gd name="T7" fmla="*/ 46 h 78"/>
                  <a:gd name="T8" fmla="*/ 0 w 124"/>
                  <a:gd name="T9" fmla="*/ 34 h 78"/>
                  <a:gd name="T10" fmla="*/ 1 w 124"/>
                  <a:gd name="T11" fmla="*/ 32 h 78"/>
                  <a:gd name="T12" fmla="*/ 56 w 124"/>
                  <a:gd name="T13" fmla="*/ 0 h 78"/>
                  <a:gd name="T14" fmla="*/ 58 w 124"/>
                  <a:gd name="T15" fmla="*/ 0 h 78"/>
                  <a:gd name="T16" fmla="*/ 123 w 124"/>
                  <a:gd name="T17" fmla="*/ 38 h 78"/>
                  <a:gd name="T18" fmla="*/ 124 w 124"/>
                  <a:gd name="T19" fmla="*/ 40 h 78"/>
                  <a:gd name="T20" fmla="*/ 123 w 124"/>
                  <a:gd name="T21" fmla="*/ 41 h 78"/>
                  <a:gd name="T22" fmla="*/ 107 w 124"/>
                  <a:gd name="T23" fmla="*/ 51 h 78"/>
                  <a:gd name="T24" fmla="*/ 105 w 124"/>
                  <a:gd name="T25" fmla="*/ 51 h 78"/>
                  <a:gd name="T26" fmla="*/ 104 w 124"/>
                  <a:gd name="T27" fmla="*/ 50 h 78"/>
                  <a:gd name="T28" fmla="*/ 56 w 124"/>
                  <a:gd name="T29" fmla="*/ 78 h 78"/>
                  <a:gd name="T30" fmla="*/ 55 w 124"/>
                  <a:gd name="T31" fmla="*/ 78 h 78"/>
                  <a:gd name="T32" fmla="*/ 4 w 124"/>
                  <a:gd name="T33" fmla="*/ 44 h 78"/>
                  <a:gd name="T34" fmla="*/ 55 w 124"/>
                  <a:gd name="T35" fmla="*/ 74 h 78"/>
                  <a:gd name="T36" fmla="*/ 105 w 124"/>
                  <a:gd name="T37" fmla="*/ 45 h 78"/>
                  <a:gd name="T38" fmla="*/ 107 w 124"/>
                  <a:gd name="T39" fmla="*/ 45 h 78"/>
                  <a:gd name="T40" fmla="*/ 108 w 124"/>
                  <a:gd name="T41" fmla="*/ 45 h 78"/>
                  <a:gd name="T42" fmla="*/ 118 w 124"/>
                  <a:gd name="T43" fmla="*/ 40 h 78"/>
                  <a:gd name="T44" fmla="*/ 57 w 124"/>
                  <a:gd name="T45" fmla="*/ 4 h 78"/>
                  <a:gd name="T46" fmla="*/ 4 w 124"/>
                  <a:gd name="T47" fmla="*/ 35 h 78"/>
                  <a:gd name="T48" fmla="*/ 4 w 124"/>
                  <a:gd name="T49" fmla="*/ 4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78">
                    <a:moveTo>
                      <a:pt x="55" y="78"/>
                    </a:moveTo>
                    <a:cubicBezTo>
                      <a:pt x="54" y="78"/>
                      <a:pt x="54" y="78"/>
                      <a:pt x="54" y="78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7"/>
                      <a:pt x="0" y="46"/>
                      <a:pt x="0" y="4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7" y="0"/>
                      <a:pt x="58" y="0"/>
                    </a:cubicBezTo>
                    <a:cubicBezTo>
                      <a:pt x="123" y="38"/>
                      <a:pt x="123" y="38"/>
                      <a:pt x="123" y="38"/>
                    </a:cubicBezTo>
                    <a:cubicBezTo>
                      <a:pt x="124" y="38"/>
                      <a:pt x="124" y="39"/>
                      <a:pt x="124" y="40"/>
                    </a:cubicBezTo>
                    <a:cubicBezTo>
                      <a:pt x="124" y="40"/>
                      <a:pt x="124" y="41"/>
                      <a:pt x="123" y="41"/>
                    </a:cubicBezTo>
                    <a:cubicBezTo>
                      <a:pt x="107" y="51"/>
                      <a:pt x="107" y="51"/>
                      <a:pt x="107" y="51"/>
                    </a:cubicBezTo>
                    <a:cubicBezTo>
                      <a:pt x="106" y="51"/>
                      <a:pt x="105" y="51"/>
                      <a:pt x="105" y="51"/>
                    </a:cubicBezTo>
                    <a:cubicBezTo>
                      <a:pt x="104" y="50"/>
                      <a:pt x="104" y="50"/>
                      <a:pt x="104" y="50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5" y="78"/>
                      <a:pt x="55" y="78"/>
                      <a:pt x="55" y="78"/>
                    </a:cubicBezTo>
                    <a:close/>
                    <a:moveTo>
                      <a:pt x="4" y="44"/>
                    </a:moveTo>
                    <a:cubicBezTo>
                      <a:pt x="55" y="74"/>
                      <a:pt x="55" y="74"/>
                      <a:pt x="55" y="74"/>
                    </a:cubicBezTo>
                    <a:cubicBezTo>
                      <a:pt x="105" y="45"/>
                      <a:pt x="105" y="45"/>
                      <a:pt x="105" y="45"/>
                    </a:cubicBezTo>
                    <a:cubicBezTo>
                      <a:pt x="105" y="44"/>
                      <a:pt x="106" y="44"/>
                      <a:pt x="107" y="45"/>
                    </a:cubicBezTo>
                    <a:cubicBezTo>
                      <a:pt x="107" y="45"/>
                      <a:pt x="107" y="45"/>
                      <a:pt x="108" y="45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4" y="35"/>
                      <a:pt x="4" y="35"/>
                      <a:pt x="4" y="35"/>
                    </a:cubicBezTo>
                    <a:lnTo>
                      <a:pt x="4" y="4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3" name="Freeform 846">
                <a:extLst>
                  <a:ext uri="{FF2B5EF4-FFF2-40B4-BE49-F238E27FC236}">
                    <a16:creationId xmlns:a16="http://schemas.microsoft.com/office/drawing/2014/main" id="{244D7085-29A4-4456-87B1-BB6633685B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83217" y="5886765"/>
                <a:ext cx="86116" cy="63290"/>
              </a:xfrm>
              <a:custGeom>
                <a:avLst/>
                <a:gdLst>
                  <a:gd name="T0" fmla="*/ 2 w 35"/>
                  <a:gd name="T1" fmla="*/ 26 h 26"/>
                  <a:gd name="T2" fmla="*/ 1 w 35"/>
                  <a:gd name="T3" fmla="*/ 26 h 26"/>
                  <a:gd name="T4" fmla="*/ 0 w 35"/>
                  <a:gd name="T5" fmla="*/ 24 h 26"/>
                  <a:gd name="T6" fmla="*/ 0 w 35"/>
                  <a:gd name="T7" fmla="*/ 16 h 26"/>
                  <a:gd name="T8" fmla="*/ 1 w 35"/>
                  <a:gd name="T9" fmla="*/ 15 h 26"/>
                  <a:gd name="T10" fmla="*/ 26 w 35"/>
                  <a:gd name="T11" fmla="*/ 1 h 26"/>
                  <a:gd name="T12" fmla="*/ 28 w 35"/>
                  <a:gd name="T13" fmla="*/ 1 h 26"/>
                  <a:gd name="T14" fmla="*/ 34 w 35"/>
                  <a:gd name="T15" fmla="*/ 5 h 26"/>
                  <a:gd name="T16" fmla="*/ 35 w 35"/>
                  <a:gd name="T17" fmla="*/ 6 h 26"/>
                  <a:gd name="T18" fmla="*/ 34 w 35"/>
                  <a:gd name="T19" fmla="*/ 8 h 26"/>
                  <a:gd name="T20" fmla="*/ 3 w 35"/>
                  <a:gd name="T21" fmla="*/ 26 h 26"/>
                  <a:gd name="T22" fmla="*/ 2 w 35"/>
                  <a:gd name="T23" fmla="*/ 26 h 26"/>
                  <a:gd name="T24" fmla="*/ 4 w 35"/>
                  <a:gd name="T25" fmla="*/ 18 h 26"/>
                  <a:gd name="T26" fmla="*/ 4 w 35"/>
                  <a:gd name="T27" fmla="*/ 21 h 26"/>
                  <a:gd name="T28" fmla="*/ 29 w 35"/>
                  <a:gd name="T29" fmla="*/ 6 h 26"/>
                  <a:gd name="T30" fmla="*/ 27 w 35"/>
                  <a:gd name="T31" fmla="*/ 5 h 26"/>
                  <a:gd name="T32" fmla="*/ 4 w 35"/>
                  <a:gd name="T33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6">
                    <a:moveTo>
                      <a:pt x="2" y="26"/>
                    </a:moveTo>
                    <a:cubicBezTo>
                      <a:pt x="2" y="26"/>
                      <a:pt x="2" y="26"/>
                      <a:pt x="1" y="26"/>
                    </a:cubicBezTo>
                    <a:cubicBezTo>
                      <a:pt x="1" y="26"/>
                      <a:pt x="0" y="25"/>
                      <a:pt x="0" y="2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0"/>
                      <a:pt x="27" y="0"/>
                      <a:pt x="28" y="1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5" y="5"/>
                      <a:pt x="35" y="6"/>
                      <a:pt x="35" y="6"/>
                    </a:cubicBezTo>
                    <a:cubicBezTo>
                      <a:pt x="35" y="7"/>
                      <a:pt x="35" y="8"/>
                      <a:pt x="34" y="8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2" y="26"/>
                    </a:cubicBezTo>
                    <a:close/>
                    <a:moveTo>
                      <a:pt x="4" y="18"/>
                    </a:moveTo>
                    <a:cubicBezTo>
                      <a:pt x="4" y="21"/>
                      <a:pt x="4" y="21"/>
                      <a:pt x="4" y="21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4" name="Freeform 847">
                <a:extLst>
                  <a:ext uri="{FF2B5EF4-FFF2-40B4-BE49-F238E27FC236}">
                    <a16:creationId xmlns:a16="http://schemas.microsoft.com/office/drawing/2014/main" id="{02C95BC1-588A-49E4-A9D9-BEAD11255A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62973" y="6428361"/>
                <a:ext cx="112054" cy="102716"/>
              </a:xfrm>
              <a:custGeom>
                <a:avLst/>
                <a:gdLst>
                  <a:gd name="T0" fmla="*/ 44 w 46"/>
                  <a:gd name="T1" fmla="*/ 42 h 42"/>
                  <a:gd name="T2" fmla="*/ 43 w 46"/>
                  <a:gd name="T3" fmla="*/ 41 h 42"/>
                  <a:gd name="T4" fmla="*/ 1 w 46"/>
                  <a:gd name="T5" fmla="*/ 17 h 42"/>
                  <a:gd name="T6" fmla="*/ 0 w 46"/>
                  <a:gd name="T7" fmla="*/ 16 h 42"/>
                  <a:gd name="T8" fmla="*/ 1 w 46"/>
                  <a:gd name="T9" fmla="*/ 14 h 42"/>
                  <a:gd name="T10" fmla="*/ 26 w 46"/>
                  <a:gd name="T11" fmla="*/ 0 h 42"/>
                  <a:gd name="T12" fmla="*/ 28 w 46"/>
                  <a:gd name="T13" fmla="*/ 0 h 42"/>
                  <a:gd name="T14" fmla="*/ 45 w 46"/>
                  <a:gd name="T15" fmla="*/ 10 h 42"/>
                  <a:gd name="T16" fmla="*/ 46 w 46"/>
                  <a:gd name="T17" fmla="*/ 11 h 42"/>
                  <a:gd name="T18" fmla="*/ 46 w 46"/>
                  <a:gd name="T19" fmla="*/ 40 h 42"/>
                  <a:gd name="T20" fmla="*/ 45 w 46"/>
                  <a:gd name="T21" fmla="*/ 41 h 42"/>
                  <a:gd name="T22" fmla="*/ 44 w 46"/>
                  <a:gd name="T23" fmla="*/ 42 h 42"/>
                  <a:gd name="T24" fmla="*/ 6 w 46"/>
                  <a:gd name="T25" fmla="*/ 16 h 42"/>
                  <a:gd name="T26" fmla="*/ 42 w 46"/>
                  <a:gd name="T27" fmla="*/ 36 h 42"/>
                  <a:gd name="T28" fmla="*/ 42 w 46"/>
                  <a:gd name="T29" fmla="*/ 13 h 42"/>
                  <a:gd name="T30" fmla="*/ 27 w 46"/>
                  <a:gd name="T31" fmla="*/ 4 h 42"/>
                  <a:gd name="T32" fmla="*/ 6 w 46"/>
                  <a:gd name="T33" fmla="*/ 1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42">
                    <a:moveTo>
                      <a:pt x="44" y="42"/>
                    </a:moveTo>
                    <a:cubicBezTo>
                      <a:pt x="44" y="42"/>
                      <a:pt x="43" y="42"/>
                      <a:pt x="43" y="4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0" y="16"/>
                      <a:pt x="0" y="16"/>
                    </a:cubicBezTo>
                    <a:cubicBezTo>
                      <a:pt x="0" y="15"/>
                      <a:pt x="1" y="14"/>
                      <a:pt x="1" y="14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7" y="0"/>
                      <a:pt x="27" y="0"/>
                      <a:pt x="28" y="0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1"/>
                    </a:cubicBezTo>
                    <a:cubicBezTo>
                      <a:pt x="46" y="40"/>
                      <a:pt x="46" y="40"/>
                      <a:pt x="46" y="40"/>
                    </a:cubicBezTo>
                    <a:cubicBezTo>
                      <a:pt x="46" y="40"/>
                      <a:pt x="45" y="41"/>
                      <a:pt x="45" y="41"/>
                    </a:cubicBezTo>
                    <a:cubicBezTo>
                      <a:pt x="45" y="42"/>
                      <a:pt x="44" y="42"/>
                      <a:pt x="44" y="42"/>
                    </a:cubicBezTo>
                    <a:close/>
                    <a:moveTo>
                      <a:pt x="6" y="16"/>
                    </a:moveTo>
                    <a:cubicBezTo>
                      <a:pt x="42" y="36"/>
                      <a:pt x="42" y="36"/>
                      <a:pt x="42" y="3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4"/>
                      <a:pt x="27" y="4"/>
                      <a:pt x="27" y="4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5" name="Freeform 848">
                <a:extLst>
                  <a:ext uri="{FF2B5EF4-FFF2-40B4-BE49-F238E27FC236}">
                    <a16:creationId xmlns:a16="http://schemas.microsoft.com/office/drawing/2014/main" id="{8D0C7AEC-E07F-402F-B67B-BCDF40521E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08380" y="6388934"/>
                <a:ext cx="83003" cy="117242"/>
              </a:xfrm>
              <a:custGeom>
                <a:avLst/>
                <a:gdLst>
                  <a:gd name="T0" fmla="*/ 4 w 34"/>
                  <a:gd name="T1" fmla="*/ 48 h 48"/>
                  <a:gd name="T2" fmla="*/ 3 w 34"/>
                  <a:gd name="T3" fmla="*/ 48 h 48"/>
                  <a:gd name="T4" fmla="*/ 1 w 34"/>
                  <a:gd name="T5" fmla="*/ 46 h 48"/>
                  <a:gd name="T6" fmla="*/ 0 w 34"/>
                  <a:gd name="T7" fmla="*/ 45 h 48"/>
                  <a:gd name="T8" fmla="*/ 0 w 34"/>
                  <a:gd name="T9" fmla="*/ 2 h 48"/>
                  <a:gd name="T10" fmla="*/ 1 w 34"/>
                  <a:gd name="T11" fmla="*/ 1 h 48"/>
                  <a:gd name="T12" fmla="*/ 3 w 34"/>
                  <a:gd name="T13" fmla="*/ 1 h 48"/>
                  <a:gd name="T14" fmla="*/ 33 w 34"/>
                  <a:gd name="T15" fmla="*/ 18 h 48"/>
                  <a:gd name="T16" fmla="*/ 34 w 34"/>
                  <a:gd name="T17" fmla="*/ 20 h 48"/>
                  <a:gd name="T18" fmla="*/ 34 w 34"/>
                  <a:gd name="T19" fmla="*/ 30 h 48"/>
                  <a:gd name="T20" fmla="*/ 33 w 34"/>
                  <a:gd name="T21" fmla="*/ 32 h 48"/>
                  <a:gd name="T22" fmla="*/ 5 w 34"/>
                  <a:gd name="T23" fmla="*/ 48 h 48"/>
                  <a:gd name="T24" fmla="*/ 4 w 34"/>
                  <a:gd name="T25" fmla="*/ 48 h 48"/>
                  <a:gd name="T26" fmla="*/ 4 w 34"/>
                  <a:gd name="T27" fmla="*/ 44 h 48"/>
                  <a:gd name="T28" fmla="*/ 4 w 34"/>
                  <a:gd name="T29" fmla="*/ 44 h 48"/>
                  <a:gd name="T30" fmla="*/ 30 w 34"/>
                  <a:gd name="T31" fmla="*/ 29 h 48"/>
                  <a:gd name="T32" fmla="*/ 30 w 34"/>
                  <a:gd name="T33" fmla="*/ 21 h 48"/>
                  <a:gd name="T34" fmla="*/ 4 w 34"/>
                  <a:gd name="T35" fmla="*/ 6 h 48"/>
                  <a:gd name="T36" fmla="*/ 4 w 34"/>
                  <a:gd name="T37" fmla="*/ 44 h 48"/>
                  <a:gd name="T38" fmla="*/ 32 w 34"/>
                  <a:gd name="T39" fmla="*/ 30 h 48"/>
                  <a:gd name="T40" fmla="*/ 32 w 34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48">
                    <a:moveTo>
                      <a:pt x="4" y="48"/>
                    </a:moveTo>
                    <a:cubicBezTo>
                      <a:pt x="4" y="48"/>
                      <a:pt x="4" y="48"/>
                      <a:pt x="3" y="48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6"/>
                      <a:pt x="0" y="45"/>
                      <a:pt x="0" y="4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4" y="18"/>
                      <a:pt x="34" y="19"/>
                      <a:pt x="34" y="2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1"/>
                      <a:pt x="34" y="31"/>
                      <a:pt x="33" y="32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4" y="48"/>
                    </a:cubicBezTo>
                    <a:close/>
                    <a:moveTo>
                      <a:pt x="4" y="44"/>
                    </a:moveTo>
                    <a:cubicBezTo>
                      <a:pt x="4" y="44"/>
                      <a:pt x="4" y="44"/>
                      <a:pt x="4" y="44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44"/>
                    </a:lnTo>
                    <a:close/>
                    <a:moveTo>
                      <a:pt x="32" y="30"/>
                    </a:moveTo>
                    <a:cubicBezTo>
                      <a:pt x="32" y="30"/>
                      <a:pt x="32" y="30"/>
                      <a:pt x="32" y="3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6" name="Freeform 849">
                <a:extLst>
                  <a:ext uri="{FF2B5EF4-FFF2-40B4-BE49-F238E27FC236}">
                    <a16:creationId xmlns:a16="http://schemas.microsoft.com/office/drawing/2014/main" id="{8CE6DAB6-0425-40DD-B751-00336C7750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86195" y="6356770"/>
                <a:ext cx="107904" cy="145256"/>
              </a:xfrm>
              <a:custGeom>
                <a:avLst/>
                <a:gdLst>
                  <a:gd name="T0" fmla="*/ 42 w 44"/>
                  <a:gd name="T1" fmla="*/ 59 h 59"/>
                  <a:gd name="T2" fmla="*/ 41 w 44"/>
                  <a:gd name="T3" fmla="*/ 58 h 59"/>
                  <a:gd name="T4" fmla="*/ 12 w 44"/>
                  <a:gd name="T5" fmla="*/ 41 h 59"/>
                  <a:gd name="T6" fmla="*/ 11 w 44"/>
                  <a:gd name="T7" fmla="*/ 39 h 59"/>
                  <a:gd name="T8" fmla="*/ 11 w 44"/>
                  <a:gd name="T9" fmla="*/ 20 h 59"/>
                  <a:gd name="T10" fmla="*/ 1 w 44"/>
                  <a:gd name="T11" fmla="*/ 14 h 59"/>
                  <a:gd name="T12" fmla="*/ 0 w 44"/>
                  <a:gd name="T13" fmla="*/ 12 h 59"/>
                  <a:gd name="T14" fmla="*/ 1 w 44"/>
                  <a:gd name="T15" fmla="*/ 10 h 59"/>
                  <a:gd name="T16" fmla="*/ 19 w 44"/>
                  <a:gd name="T17" fmla="*/ 0 h 59"/>
                  <a:gd name="T18" fmla="*/ 21 w 44"/>
                  <a:gd name="T19" fmla="*/ 0 h 59"/>
                  <a:gd name="T20" fmla="*/ 43 w 44"/>
                  <a:gd name="T21" fmla="*/ 13 h 59"/>
                  <a:gd name="T22" fmla="*/ 44 w 44"/>
                  <a:gd name="T23" fmla="*/ 14 h 59"/>
                  <a:gd name="T24" fmla="*/ 44 w 44"/>
                  <a:gd name="T25" fmla="*/ 57 h 59"/>
                  <a:gd name="T26" fmla="*/ 43 w 44"/>
                  <a:gd name="T27" fmla="*/ 58 h 59"/>
                  <a:gd name="T28" fmla="*/ 42 w 44"/>
                  <a:gd name="T29" fmla="*/ 59 h 59"/>
                  <a:gd name="T30" fmla="*/ 15 w 44"/>
                  <a:gd name="T31" fmla="*/ 38 h 59"/>
                  <a:gd name="T32" fmla="*/ 40 w 44"/>
                  <a:gd name="T33" fmla="*/ 53 h 59"/>
                  <a:gd name="T34" fmla="*/ 40 w 44"/>
                  <a:gd name="T35" fmla="*/ 16 h 59"/>
                  <a:gd name="T36" fmla="*/ 20 w 44"/>
                  <a:gd name="T37" fmla="*/ 4 h 59"/>
                  <a:gd name="T38" fmla="*/ 6 w 44"/>
                  <a:gd name="T39" fmla="*/ 12 h 59"/>
                  <a:gd name="T40" fmla="*/ 14 w 44"/>
                  <a:gd name="T41" fmla="*/ 17 h 59"/>
                  <a:gd name="T42" fmla="*/ 15 w 44"/>
                  <a:gd name="T43" fmla="*/ 18 h 59"/>
                  <a:gd name="T44" fmla="*/ 15 w 44"/>
                  <a:gd name="T45" fmla="*/ 3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4" h="59">
                    <a:moveTo>
                      <a:pt x="42" y="59"/>
                    </a:moveTo>
                    <a:cubicBezTo>
                      <a:pt x="42" y="59"/>
                      <a:pt x="42" y="59"/>
                      <a:pt x="41" y="58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1" y="41"/>
                      <a:pt x="11" y="40"/>
                      <a:pt x="11" y="39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2"/>
                      <a:pt x="0" y="11"/>
                      <a:pt x="1" y="1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1" y="0"/>
                      <a:pt x="21" y="0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4" y="13"/>
                      <a:pt x="44" y="14"/>
                      <a:pt x="44" y="14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44" y="57"/>
                      <a:pt x="44" y="58"/>
                      <a:pt x="43" y="58"/>
                    </a:cubicBezTo>
                    <a:cubicBezTo>
                      <a:pt x="43" y="59"/>
                      <a:pt x="43" y="59"/>
                      <a:pt x="42" y="59"/>
                    </a:cubicBezTo>
                    <a:close/>
                    <a:moveTo>
                      <a:pt x="15" y="38"/>
                    </a:moveTo>
                    <a:cubicBezTo>
                      <a:pt x="40" y="53"/>
                      <a:pt x="40" y="53"/>
                      <a:pt x="40" y="53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4" y="17"/>
                      <a:pt x="15" y="18"/>
                      <a:pt x="15" y="18"/>
                    </a:cubicBezTo>
                    <a:lnTo>
                      <a:pt x="15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7" name="Freeform 850">
                <a:extLst>
                  <a:ext uri="{FF2B5EF4-FFF2-40B4-BE49-F238E27FC236}">
                    <a16:creationId xmlns:a16="http://schemas.microsoft.com/office/drawing/2014/main" id="{DDE1C54F-1913-4D17-ADC4-693D78202F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08380" y="6313194"/>
                <a:ext cx="83003" cy="124505"/>
              </a:xfrm>
              <a:custGeom>
                <a:avLst/>
                <a:gdLst>
                  <a:gd name="T0" fmla="*/ 32 w 34"/>
                  <a:gd name="T1" fmla="*/ 51 h 51"/>
                  <a:gd name="T2" fmla="*/ 31 w 34"/>
                  <a:gd name="T3" fmla="*/ 51 h 51"/>
                  <a:gd name="T4" fmla="*/ 1 w 34"/>
                  <a:gd name="T5" fmla="*/ 33 h 51"/>
                  <a:gd name="T6" fmla="*/ 0 w 34"/>
                  <a:gd name="T7" fmla="*/ 31 h 51"/>
                  <a:gd name="T8" fmla="*/ 0 w 34"/>
                  <a:gd name="T9" fmla="*/ 17 h 51"/>
                  <a:gd name="T10" fmla="*/ 1 w 34"/>
                  <a:gd name="T11" fmla="*/ 15 h 51"/>
                  <a:gd name="T12" fmla="*/ 16 w 34"/>
                  <a:gd name="T13" fmla="*/ 7 h 51"/>
                  <a:gd name="T14" fmla="*/ 18 w 34"/>
                  <a:gd name="T15" fmla="*/ 7 h 51"/>
                  <a:gd name="T16" fmla="*/ 19 w 34"/>
                  <a:gd name="T17" fmla="*/ 8 h 51"/>
                  <a:gd name="T18" fmla="*/ 31 w 34"/>
                  <a:gd name="T19" fmla="*/ 0 h 51"/>
                  <a:gd name="T20" fmla="*/ 33 w 34"/>
                  <a:gd name="T21" fmla="*/ 0 h 51"/>
                  <a:gd name="T22" fmla="*/ 34 w 34"/>
                  <a:gd name="T23" fmla="*/ 2 h 51"/>
                  <a:gd name="T24" fmla="*/ 34 w 34"/>
                  <a:gd name="T25" fmla="*/ 49 h 51"/>
                  <a:gd name="T26" fmla="*/ 33 w 34"/>
                  <a:gd name="T27" fmla="*/ 51 h 51"/>
                  <a:gd name="T28" fmla="*/ 32 w 34"/>
                  <a:gd name="T29" fmla="*/ 51 h 51"/>
                  <a:gd name="T30" fmla="*/ 4 w 34"/>
                  <a:gd name="T31" fmla="*/ 30 h 51"/>
                  <a:gd name="T32" fmla="*/ 30 w 34"/>
                  <a:gd name="T33" fmla="*/ 46 h 51"/>
                  <a:gd name="T34" fmla="*/ 30 w 34"/>
                  <a:gd name="T35" fmla="*/ 6 h 51"/>
                  <a:gd name="T36" fmla="*/ 20 w 34"/>
                  <a:gd name="T37" fmla="*/ 12 h 51"/>
                  <a:gd name="T38" fmla="*/ 18 w 34"/>
                  <a:gd name="T39" fmla="*/ 12 h 51"/>
                  <a:gd name="T40" fmla="*/ 17 w 34"/>
                  <a:gd name="T41" fmla="*/ 11 h 51"/>
                  <a:gd name="T42" fmla="*/ 4 w 34"/>
                  <a:gd name="T43" fmla="*/ 18 h 51"/>
                  <a:gd name="T44" fmla="*/ 4 w 34"/>
                  <a:gd name="T45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51">
                    <a:moveTo>
                      <a:pt x="32" y="51"/>
                    </a:moveTo>
                    <a:cubicBezTo>
                      <a:pt x="32" y="51"/>
                      <a:pt x="32" y="51"/>
                      <a:pt x="31" y="5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0" y="16"/>
                      <a:pt x="1" y="1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7"/>
                      <a:pt x="17" y="7"/>
                      <a:pt x="18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2" y="0"/>
                      <a:pt x="33" y="0"/>
                      <a:pt x="33" y="0"/>
                    </a:cubicBezTo>
                    <a:cubicBezTo>
                      <a:pt x="34" y="1"/>
                      <a:pt x="34" y="1"/>
                      <a:pt x="34" y="2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4" y="50"/>
                      <a:pt x="34" y="50"/>
                      <a:pt x="33" y="51"/>
                    </a:cubicBezTo>
                    <a:cubicBezTo>
                      <a:pt x="33" y="51"/>
                      <a:pt x="33" y="51"/>
                      <a:pt x="32" y="51"/>
                    </a:cubicBezTo>
                    <a:close/>
                    <a:moveTo>
                      <a:pt x="4" y="30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19" y="12"/>
                      <a:pt x="18" y="12"/>
                      <a:pt x="18" y="12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8" name="Freeform 851">
                <a:extLst>
                  <a:ext uri="{FF2B5EF4-FFF2-40B4-BE49-F238E27FC236}">
                    <a16:creationId xmlns:a16="http://schemas.microsoft.com/office/drawing/2014/main" id="{2BD9AFDC-CBF7-4BA7-A2CD-8361CCFF37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125376" y="6705384"/>
                <a:ext cx="63290" cy="70553"/>
              </a:xfrm>
              <a:custGeom>
                <a:avLst/>
                <a:gdLst>
                  <a:gd name="T0" fmla="*/ 24 w 26"/>
                  <a:gd name="T1" fmla="*/ 29 h 29"/>
                  <a:gd name="T2" fmla="*/ 23 w 26"/>
                  <a:gd name="T3" fmla="*/ 29 h 29"/>
                  <a:gd name="T4" fmla="*/ 1 w 26"/>
                  <a:gd name="T5" fmla="*/ 17 h 29"/>
                  <a:gd name="T6" fmla="*/ 0 w 26"/>
                  <a:gd name="T7" fmla="*/ 15 h 29"/>
                  <a:gd name="T8" fmla="*/ 1 w 26"/>
                  <a:gd name="T9" fmla="*/ 13 h 29"/>
                  <a:gd name="T10" fmla="*/ 23 w 26"/>
                  <a:gd name="T11" fmla="*/ 1 h 29"/>
                  <a:gd name="T12" fmla="*/ 25 w 26"/>
                  <a:gd name="T13" fmla="*/ 1 h 29"/>
                  <a:gd name="T14" fmla="*/ 26 w 26"/>
                  <a:gd name="T15" fmla="*/ 2 h 29"/>
                  <a:gd name="T16" fmla="*/ 26 w 26"/>
                  <a:gd name="T17" fmla="*/ 27 h 29"/>
                  <a:gd name="T18" fmla="*/ 25 w 26"/>
                  <a:gd name="T19" fmla="*/ 29 h 29"/>
                  <a:gd name="T20" fmla="*/ 24 w 26"/>
                  <a:gd name="T21" fmla="*/ 29 h 29"/>
                  <a:gd name="T22" fmla="*/ 6 w 26"/>
                  <a:gd name="T23" fmla="*/ 15 h 29"/>
                  <a:gd name="T24" fmla="*/ 22 w 26"/>
                  <a:gd name="T25" fmla="*/ 24 h 29"/>
                  <a:gd name="T26" fmla="*/ 22 w 26"/>
                  <a:gd name="T27" fmla="*/ 6 h 29"/>
                  <a:gd name="T28" fmla="*/ 6 w 26"/>
                  <a:gd name="T29" fmla="*/ 1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4" y="29"/>
                    </a:moveTo>
                    <a:cubicBezTo>
                      <a:pt x="24" y="29"/>
                      <a:pt x="23" y="29"/>
                      <a:pt x="23" y="2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4" y="0"/>
                      <a:pt x="25" y="1"/>
                    </a:cubicBezTo>
                    <a:cubicBezTo>
                      <a:pt x="26" y="1"/>
                      <a:pt x="26" y="2"/>
                      <a:pt x="26" y="2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6" y="29"/>
                      <a:pt x="25" y="29"/>
                    </a:cubicBezTo>
                    <a:cubicBezTo>
                      <a:pt x="25" y="29"/>
                      <a:pt x="24" y="29"/>
                      <a:pt x="24" y="29"/>
                    </a:cubicBezTo>
                    <a:close/>
                    <a:moveTo>
                      <a:pt x="6" y="15"/>
                    </a:moveTo>
                    <a:cubicBezTo>
                      <a:pt x="22" y="24"/>
                      <a:pt x="22" y="24"/>
                      <a:pt x="22" y="24"/>
                    </a:cubicBezTo>
                    <a:cubicBezTo>
                      <a:pt x="22" y="6"/>
                      <a:pt x="22" y="6"/>
                      <a:pt x="22" y="6"/>
                    </a:cubicBezTo>
                    <a:lnTo>
                      <a:pt x="6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9" name="Freeform 852">
                <a:extLst>
                  <a:ext uri="{FF2B5EF4-FFF2-40B4-BE49-F238E27FC236}">
                    <a16:creationId xmlns:a16="http://schemas.microsoft.com/office/drawing/2014/main" id="{BC599D2E-ACDA-44EE-AB5A-1CD24CF0A9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85950" y="6685670"/>
                <a:ext cx="43577" cy="112054"/>
              </a:xfrm>
              <a:custGeom>
                <a:avLst/>
                <a:gdLst>
                  <a:gd name="T0" fmla="*/ 16 w 18"/>
                  <a:gd name="T1" fmla="*/ 46 h 46"/>
                  <a:gd name="T2" fmla="*/ 15 w 18"/>
                  <a:gd name="T3" fmla="*/ 46 h 46"/>
                  <a:gd name="T4" fmla="*/ 1 w 18"/>
                  <a:gd name="T5" fmla="*/ 38 h 46"/>
                  <a:gd name="T6" fmla="*/ 0 w 18"/>
                  <a:gd name="T7" fmla="*/ 36 h 46"/>
                  <a:gd name="T8" fmla="*/ 0 w 18"/>
                  <a:gd name="T9" fmla="*/ 9 h 46"/>
                  <a:gd name="T10" fmla="*/ 1 w 18"/>
                  <a:gd name="T11" fmla="*/ 8 h 46"/>
                  <a:gd name="T12" fmla="*/ 13 w 18"/>
                  <a:gd name="T13" fmla="*/ 0 h 46"/>
                  <a:gd name="T14" fmla="*/ 15 w 18"/>
                  <a:gd name="T15" fmla="*/ 0 h 46"/>
                  <a:gd name="T16" fmla="*/ 17 w 18"/>
                  <a:gd name="T17" fmla="*/ 1 h 46"/>
                  <a:gd name="T18" fmla="*/ 18 w 18"/>
                  <a:gd name="T19" fmla="*/ 3 h 46"/>
                  <a:gd name="T20" fmla="*/ 18 w 18"/>
                  <a:gd name="T21" fmla="*/ 44 h 46"/>
                  <a:gd name="T22" fmla="*/ 17 w 18"/>
                  <a:gd name="T23" fmla="*/ 46 h 46"/>
                  <a:gd name="T24" fmla="*/ 16 w 18"/>
                  <a:gd name="T25" fmla="*/ 46 h 46"/>
                  <a:gd name="T26" fmla="*/ 4 w 18"/>
                  <a:gd name="T27" fmla="*/ 35 h 46"/>
                  <a:gd name="T28" fmla="*/ 14 w 18"/>
                  <a:gd name="T29" fmla="*/ 41 h 46"/>
                  <a:gd name="T30" fmla="*/ 14 w 18"/>
                  <a:gd name="T31" fmla="*/ 5 h 46"/>
                  <a:gd name="T32" fmla="*/ 4 w 18"/>
                  <a:gd name="T33" fmla="*/ 11 h 46"/>
                  <a:gd name="T34" fmla="*/ 4 w 18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46">
                    <a:moveTo>
                      <a:pt x="16" y="46"/>
                    </a:moveTo>
                    <a:cubicBezTo>
                      <a:pt x="15" y="46"/>
                      <a:pt x="15" y="46"/>
                      <a:pt x="15" y="46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5" y="0"/>
                      <a:pt x="1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8" y="2"/>
                      <a:pt x="18" y="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5"/>
                      <a:pt x="17" y="46"/>
                      <a:pt x="17" y="46"/>
                    </a:cubicBezTo>
                    <a:cubicBezTo>
                      <a:pt x="16" y="46"/>
                      <a:pt x="16" y="46"/>
                      <a:pt x="16" y="46"/>
                    </a:cubicBezTo>
                    <a:close/>
                    <a:moveTo>
                      <a:pt x="4" y="35"/>
                    </a:move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3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0" name="Freeform 853">
                <a:extLst>
                  <a:ext uri="{FF2B5EF4-FFF2-40B4-BE49-F238E27FC236}">
                    <a16:creationId xmlns:a16="http://schemas.microsoft.com/office/drawing/2014/main" id="{B7726962-BAB5-482F-A34E-BBAED1B2DE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88025" y="6773861"/>
                <a:ext cx="41502" cy="46689"/>
              </a:xfrm>
              <a:custGeom>
                <a:avLst/>
                <a:gdLst>
                  <a:gd name="T0" fmla="*/ 2 w 17"/>
                  <a:gd name="T1" fmla="*/ 19 h 19"/>
                  <a:gd name="T2" fmla="*/ 1 w 17"/>
                  <a:gd name="T3" fmla="*/ 19 h 19"/>
                  <a:gd name="T4" fmla="*/ 0 w 17"/>
                  <a:gd name="T5" fmla="*/ 17 h 19"/>
                  <a:gd name="T6" fmla="*/ 0 w 17"/>
                  <a:gd name="T7" fmla="*/ 2 h 19"/>
                  <a:gd name="T8" fmla="*/ 1 w 17"/>
                  <a:gd name="T9" fmla="*/ 0 h 19"/>
                  <a:gd name="T10" fmla="*/ 3 w 17"/>
                  <a:gd name="T11" fmla="*/ 0 h 19"/>
                  <a:gd name="T12" fmla="*/ 16 w 17"/>
                  <a:gd name="T13" fmla="*/ 8 h 19"/>
                  <a:gd name="T14" fmla="*/ 17 w 17"/>
                  <a:gd name="T15" fmla="*/ 10 h 19"/>
                  <a:gd name="T16" fmla="*/ 16 w 17"/>
                  <a:gd name="T17" fmla="*/ 11 h 19"/>
                  <a:gd name="T18" fmla="*/ 3 w 17"/>
                  <a:gd name="T19" fmla="*/ 19 h 19"/>
                  <a:gd name="T20" fmla="*/ 2 w 17"/>
                  <a:gd name="T21" fmla="*/ 19 h 19"/>
                  <a:gd name="T22" fmla="*/ 4 w 17"/>
                  <a:gd name="T23" fmla="*/ 6 h 19"/>
                  <a:gd name="T24" fmla="*/ 4 w 17"/>
                  <a:gd name="T25" fmla="*/ 13 h 19"/>
                  <a:gd name="T26" fmla="*/ 11 w 17"/>
                  <a:gd name="T27" fmla="*/ 10 h 19"/>
                  <a:gd name="T28" fmla="*/ 4 w 17"/>
                  <a:gd name="T2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7" y="9"/>
                      <a:pt x="17" y="10"/>
                    </a:cubicBezTo>
                    <a:cubicBezTo>
                      <a:pt x="17" y="10"/>
                      <a:pt x="16" y="11"/>
                      <a:pt x="16" y="11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  <a:moveTo>
                      <a:pt x="4" y="6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1" y="10"/>
                      <a:pt x="11" y="10"/>
                      <a:pt x="11" y="10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1" name="Freeform 854">
                <a:extLst>
                  <a:ext uri="{FF2B5EF4-FFF2-40B4-BE49-F238E27FC236}">
                    <a16:creationId xmlns:a16="http://schemas.microsoft.com/office/drawing/2014/main" id="{1F68ADC1-5E5D-4818-BB3B-7494EBA1856A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208380" y="6308006"/>
                <a:ext cx="43577" cy="29051"/>
              </a:xfrm>
              <a:custGeom>
                <a:avLst/>
                <a:gdLst>
                  <a:gd name="T0" fmla="*/ 3 w 18"/>
                  <a:gd name="T1" fmla="*/ 12 h 12"/>
                  <a:gd name="T2" fmla="*/ 2 w 18"/>
                  <a:gd name="T3" fmla="*/ 12 h 12"/>
                  <a:gd name="T4" fmla="*/ 1 w 18"/>
                  <a:gd name="T5" fmla="*/ 12 h 12"/>
                  <a:gd name="T6" fmla="*/ 0 w 18"/>
                  <a:gd name="T7" fmla="*/ 10 h 12"/>
                  <a:gd name="T8" fmla="*/ 1 w 18"/>
                  <a:gd name="T9" fmla="*/ 8 h 12"/>
                  <a:gd name="T10" fmla="*/ 15 w 18"/>
                  <a:gd name="T11" fmla="*/ 0 h 12"/>
                  <a:gd name="T12" fmla="*/ 17 w 18"/>
                  <a:gd name="T13" fmla="*/ 0 h 12"/>
                  <a:gd name="T14" fmla="*/ 18 w 18"/>
                  <a:gd name="T15" fmla="*/ 2 h 12"/>
                  <a:gd name="T16" fmla="*/ 18 w 18"/>
                  <a:gd name="T17" fmla="*/ 2 h 12"/>
                  <a:gd name="T18" fmla="*/ 17 w 18"/>
                  <a:gd name="T19" fmla="*/ 4 h 12"/>
                  <a:gd name="T20" fmla="*/ 4 w 18"/>
                  <a:gd name="T21" fmla="*/ 12 h 12"/>
                  <a:gd name="T22" fmla="*/ 3 w 18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2">
                    <a:moveTo>
                      <a:pt x="3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18" y="0"/>
                      <a:pt x="18" y="1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3"/>
                      <a:pt x="18" y="4"/>
                      <a:pt x="17" y="4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2"/>
                      <a:pt x="3" y="12"/>
                      <a:pt x="3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2" name="Freeform 855">
                <a:extLst>
                  <a:ext uri="{FF2B5EF4-FFF2-40B4-BE49-F238E27FC236}">
                    <a16:creationId xmlns:a16="http://schemas.microsoft.com/office/drawing/2014/main" id="{34B3D688-CBE9-4844-ADC2-B37C599EA529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734603" y="5871202"/>
                <a:ext cx="134880" cy="93379"/>
              </a:xfrm>
              <a:custGeom>
                <a:avLst/>
                <a:gdLst>
                  <a:gd name="T0" fmla="*/ 2 w 55"/>
                  <a:gd name="T1" fmla="*/ 38 h 38"/>
                  <a:gd name="T2" fmla="*/ 1 w 55"/>
                  <a:gd name="T3" fmla="*/ 38 h 38"/>
                  <a:gd name="T4" fmla="*/ 0 w 55"/>
                  <a:gd name="T5" fmla="*/ 36 h 38"/>
                  <a:gd name="T6" fmla="*/ 0 w 55"/>
                  <a:gd name="T7" fmla="*/ 32 h 38"/>
                  <a:gd name="T8" fmla="*/ 1 w 55"/>
                  <a:gd name="T9" fmla="*/ 30 h 38"/>
                  <a:gd name="T10" fmla="*/ 52 w 55"/>
                  <a:gd name="T11" fmla="*/ 0 h 38"/>
                  <a:gd name="T12" fmla="*/ 54 w 55"/>
                  <a:gd name="T13" fmla="*/ 0 h 38"/>
                  <a:gd name="T14" fmla="*/ 55 w 55"/>
                  <a:gd name="T15" fmla="*/ 2 h 38"/>
                  <a:gd name="T16" fmla="*/ 55 w 55"/>
                  <a:gd name="T17" fmla="*/ 7 h 38"/>
                  <a:gd name="T18" fmla="*/ 54 w 55"/>
                  <a:gd name="T19" fmla="*/ 8 h 38"/>
                  <a:gd name="T20" fmla="*/ 3 w 55"/>
                  <a:gd name="T21" fmla="*/ 38 h 38"/>
                  <a:gd name="T22" fmla="*/ 2 w 55"/>
                  <a:gd name="T2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38">
                    <a:moveTo>
                      <a:pt x="2" y="38"/>
                    </a:move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0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5" y="1"/>
                      <a:pt x="55" y="1"/>
                      <a:pt x="55" y="2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55" y="8"/>
                      <a:pt x="54" y="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3" name="Freeform 856">
                <a:extLst>
                  <a:ext uri="{FF2B5EF4-FFF2-40B4-BE49-F238E27FC236}">
                    <a16:creationId xmlns:a16="http://schemas.microsoft.com/office/drawing/2014/main" id="{E6561715-2AF5-419B-9917-9F865F38A0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734603" y="5700008"/>
                <a:ext cx="134880" cy="250047"/>
              </a:xfrm>
              <a:custGeom>
                <a:avLst/>
                <a:gdLst>
                  <a:gd name="T0" fmla="*/ 2 w 55"/>
                  <a:gd name="T1" fmla="*/ 102 h 102"/>
                  <a:gd name="T2" fmla="*/ 1 w 55"/>
                  <a:gd name="T3" fmla="*/ 102 h 102"/>
                  <a:gd name="T4" fmla="*/ 0 w 55"/>
                  <a:gd name="T5" fmla="*/ 100 h 102"/>
                  <a:gd name="T6" fmla="*/ 0 w 55"/>
                  <a:gd name="T7" fmla="*/ 32 h 102"/>
                  <a:gd name="T8" fmla="*/ 1 w 55"/>
                  <a:gd name="T9" fmla="*/ 30 h 102"/>
                  <a:gd name="T10" fmla="*/ 52 w 55"/>
                  <a:gd name="T11" fmla="*/ 1 h 102"/>
                  <a:gd name="T12" fmla="*/ 54 w 55"/>
                  <a:gd name="T13" fmla="*/ 1 h 102"/>
                  <a:gd name="T14" fmla="*/ 55 w 55"/>
                  <a:gd name="T15" fmla="*/ 3 h 102"/>
                  <a:gd name="T16" fmla="*/ 55 w 55"/>
                  <a:gd name="T17" fmla="*/ 70 h 102"/>
                  <a:gd name="T18" fmla="*/ 54 w 55"/>
                  <a:gd name="T19" fmla="*/ 72 h 102"/>
                  <a:gd name="T20" fmla="*/ 3 w 55"/>
                  <a:gd name="T21" fmla="*/ 102 h 102"/>
                  <a:gd name="T22" fmla="*/ 2 w 55"/>
                  <a:gd name="T23" fmla="*/ 102 h 102"/>
                  <a:gd name="T24" fmla="*/ 4 w 55"/>
                  <a:gd name="T25" fmla="*/ 33 h 102"/>
                  <a:gd name="T26" fmla="*/ 4 w 55"/>
                  <a:gd name="T27" fmla="*/ 96 h 102"/>
                  <a:gd name="T28" fmla="*/ 51 w 55"/>
                  <a:gd name="T29" fmla="*/ 69 h 102"/>
                  <a:gd name="T30" fmla="*/ 51 w 55"/>
                  <a:gd name="T31" fmla="*/ 6 h 102"/>
                  <a:gd name="T32" fmla="*/ 4 w 55"/>
                  <a:gd name="T33" fmla="*/ 33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" h="102">
                    <a:moveTo>
                      <a:pt x="2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1"/>
                      <a:pt x="0" y="101"/>
                      <a:pt x="0" y="10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31"/>
                      <a:pt x="1" y="3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3" y="0"/>
                      <a:pt x="53" y="0"/>
                      <a:pt x="54" y="1"/>
                    </a:cubicBezTo>
                    <a:cubicBezTo>
                      <a:pt x="55" y="1"/>
                      <a:pt x="55" y="2"/>
                      <a:pt x="55" y="3"/>
                    </a:cubicBezTo>
                    <a:cubicBezTo>
                      <a:pt x="55" y="70"/>
                      <a:pt x="55" y="70"/>
                      <a:pt x="55" y="70"/>
                    </a:cubicBezTo>
                    <a:cubicBezTo>
                      <a:pt x="55" y="71"/>
                      <a:pt x="55" y="72"/>
                      <a:pt x="54" y="72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2" y="102"/>
                      <a:pt x="2" y="102"/>
                      <a:pt x="2" y="102"/>
                    </a:cubicBezTo>
                    <a:close/>
                    <a:moveTo>
                      <a:pt x="4" y="33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"/>
                      <a:pt x="51" y="6"/>
                      <a:pt x="51" y="6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4" name="Freeform 857">
                <a:extLst>
                  <a:ext uri="{FF2B5EF4-FFF2-40B4-BE49-F238E27FC236}">
                    <a16:creationId xmlns:a16="http://schemas.microsoft.com/office/drawing/2014/main" id="{4865145E-5FDC-4F7E-AD03-27AE32ECE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62973" y="6383746"/>
                <a:ext cx="142143" cy="86116"/>
              </a:xfrm>
              <a:custGeom>
                <a:avLst/>
                <a:gdLst>
                  <a:gd name="T0" fmla="*/ 13 w 58"/>
                  <a:gd name="T1" fmla="*/ 35 h 35"/>
                  <a:gd name="T2" fmla="*/ 12 w 58"/>
                  <a:gd name="T3" fmla="*/ 35 h 35"/>
                  <a:gd name="T4" fmla="*/ 1 w 58"/>
                  <a:gd name="T5" fmla="*/ 29 h 35"/>
                  <a:gd name="T6" fmla="*/ 0 w 58"/>
                  <a:gd name="T7" fmla="*/ 27 h 35"/>
                  <a:gd name="T8" fmla="*/ 1 w 58"/>
                  <a:gd name="T9" fmla="*/ 25 h 35"/>
                  <a:gd name="T10" fmla="*/ 44 w 58"/>
                  <a:gd name="T11" fmla="*/ 0 h 35"/>
                  <a:gd name="T12" fmla="*/ 46 w 58"/>
                  <a:gd name="T13" fmla="*/ 0 h 35"/>
                  <a:gd name="T14" fmla="*/ 57 w 58"/>
                  <a:gd name="T15" fmla="*/ 7 h 35"/>
                  <a:gd name="T16" fmla="*/ 58 w 58"/>
                  <a:gd name="T17" fmla="*/ 8 h 35"/>
                  <a:gd name="T18" fmla="*/ 58 w 58"/>
                  <a:gd name="T19" fmla="*/ 28 h 35"/>
                  <a:gd name="T20" fmla="*/ 57 w 58"/>
                  <a:gd name="T21" fmla="*/ 29 h 35"/>
                  <a:gd name="T22" fmla="*/ 55 w 58"/>
                  <a:gd name="T23" fmla="*/ 29 h 35"/>
                  <a:gd name="T24" fmla="*/ 39 w 58"/>
                  <a:gd name="T25" fmla="*/ 20 h 35"/>
                  <a:gd name="T26" fmla="*/ 14 w 58"/>
                  <a:gd name="T27" fmla="*/ 35 h 35"/>
                  <a:gd name="T28" fmla="*/ 13 w 58"/>
                  <a:gd name="T29" fmla="*/ 35 h 35"/>
                  <a:gd name="T30" fmla="*/ 6 w 58"/>
                  <a:gd name="T31" fmla="*/ 27 h 35"/>
                  <a:gd name="T32" fmla="*/ 13 w 58"/>
                  <a:gd name="T33" fmla="*/ 31 h 35"/>
                  <a:gd name="T34" fmla="*/ 38 w 58"/>
                  <a:gd name="T35" fmla="*/ 16 h 35"/>
                  <a:gd name="T36" fmla="*/ 40 w 58"/>
                  <a:gd name="T37" fmla="*/ 16 h 35"/>
                  <a:gd name="T38" fmla="*/ 54 w 58"/>
                  <a:gd name="T39" fmla="*/ 24 h 35"/>
                  <a:gd name="T40" fmla="*/ 54 w 58"/>
                  <a:gd name="T41" fmla="*/ 9 h 35"/>
                  <a:gd name="T42" fmla="*/ 45 w 58"/>
                  <a:gd name="T43" fmla="*/ 4 h 35"/>
                  <a:gd name="T44" fmla="*/ 6 w 58"/>
                  <a:gd name="T45" fmla="*/ 2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8" h="35">
                    <a:moveTo>
                      <a:pt x="13" y="35"/>
                    </a:moveTo>
                    <a:cubicBezTo>
                      <a:pt x="12" y="35"/>
                      <a:pt x="12" y="35"/>
                      <a:pt x="12" y="35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8"/>
                      <a:pt x="0" y="28"/>
                      <a:pt x="0" y="27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5" y="0"/>
                      <a:pt x="46" y="0"/>
                      <a:pt x="46" y="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7"/>
                      <a:pt x="58" y="8"/>
                      <a:pt x="58" y="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8" y="28"/>
                      <a:pt x="57" y="29"/>
                      <a:pt x="57" y="29"/>
                    </a:cubicBezTo>
                    <a:cubicBezTo>
                      <a:pt x="56" y="30"/>
                      <a:pt x="55" y="30"/>
                      <a:pt x="55" y="29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lose/>
                    <a:moveTo>
                      <a:pt x="6" y="27"/>
                    </a:moveTo>
                    <a:cubicBezTo>
                      <a:pt x="13" y="31"/>
                      <a:pt x="13" y="31"/>
                      <a:pt x="13" y="3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9" y="16"/>
                      <a:pt x="39" y="16"/>
                      <a:pt x="40" y="16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5" y="4"/>
                      <a:pt x="45" y="4"/>
                      <a:pt x="45" y="4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5" name="Freeform 858">
                <a:extLst>
                  <a:ext uri="{FF2B5EF4-FFF2-40B4-BE49-F238E27FC236}">
                    <a16:creationId xmlns:a16="http://schemas.microsoft.com/office/drawing/2014/main" id="{A841E900-903C-4343-83DF-DE985E02DC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70672" y="5962505"/>
                <a:ext cx="330976" cy="279098"/>
              </a:xfrm>
              <a:custGeom>
                <a:avLst/>
                <a:gdLst>
                  <a:gd name="T0" fmla="*/ 74 w 135"/>
                  <a:gd name="T1" fmla="*/ 114 h 114"/>
                  <a:gd name="T2" fmla="*/ 73 w 135"/>
                  <a:gd name="T3" fmla="*/ 114 h 114"/>
                  <a:gd name="T4" fmla="*/ 55 w 135"/>
                  <a:gd name="T5" fmla="*/ 104 h 114"/>
                  <a:gd name="T6" fmla="*/ 54 w 135"/>
                  <a:gd name="T7" fmla="*/ 102 h 114"/>
                  <a:gd name="T8" fmla="*/ 54 w 135"/>
                  <a:gd name="T9" fmla="*/ 70 h 114"/>
                  <a:gd name="T10" fmla="*/ 1 w 135"/>
                  <a:gd name="T11" fmla="*/ 40 h 114"/>
                  <a:gd name="T12" fmla="*/ 0 w 135"/>
                  <a:gd name="T13" fmla="*/ 38 h 114"/>
                  <a:gd name="T14" fmla="*/ 0 w 135"/>
                  <a:gd name="T15" fmla="*/ 8 h 114"/>
                  <a:gd name="T16" fmla="*/ 1 w 135"/>
                  <a:gd name="T17" fmla="*/ 7 h 114"/>
                  <a:gd name="T18" fmla="*/ 12 w 135"/>
                  <a:gd name="T19" fmla="*/ 0 h 114"/>
                  <a:gd name="T20" fmla="*/ 14 w 135"/>
                  <a:gd name="T21" fmla="*/ 0 h 114"/>
                  <a:gd name="T22" fmla="*/ 74 w 135"/>
                  <a:gd name="T23" fmla="*/ 35 h 114"/>
                  <a:gd name="T24" fmla="*/ 88 w 135"/>
                  <a:gd name="T25" fmla="*/ 27 h 114"/>
                  <a:gd name="T26" fmla="*/ 90 w 135"/>
                  <a:gd name="T27" fmla="*/ 27 h 114"/>
                  <a:gd name="T28" fmla="*/ 134 w 135"/>
                  <a:gd name="T29" fmla="*/ 53 h 114"/>
                  <a:gd name="T30" fmla="*/ 135 w 135"/>
                  <a:gd name="T31" fmla="*/ 55 h 114"/>
                  <a:gd name="T32" fmla="*/ 134 w 135"/>
                  <a:gd name="T33" fmla="*/ 57 h 114"/>
                  <a:gd name="T34" fmla="*/ 76 w 135"/>
                  <a:gd name="T35" fmla="*/ 91 h 114"/>
                  <a:gd name="T36" fmla="*/ 76 w 135"/>
                  <a:gd name="T37" fmla="*/ 112 h 114"/>
                  <a:gd name="T38" fmla="*/ 75 w 135"/>
                  <a:gd name="T39" fmla="*/ 114 h 114"/>
                  <a:gd name="T40" fmla="*/ 74 w 135"/>
                  <a:gd name="T41" fmla="*/ 114 h 114"/>
                  <a:gd name="T42" fmla="*/ 58 w 135"/>
                  <a:gd name="T43" fmla="*/ 101 h 114"/>
                  <a:gd name="T44" fmla="*/ 72 w 135"/>
                  <a:gd name="T45" fmla="*/ 109 h 114"/>
                  <a:gd name="T46" fmla="*/ 72 w 135"/>
                  <a:gd name="T47" fmla="*/ 89 h 114"/>
                  <a:gd name="T48" fmla="*/ 73 w 135"/>
                  <a:gd name="T49" fmla="*/ 88 h 114"/>
                  <a:gd name="T50" fmla="*/ 129 w 135"/>
                  <a:gd name="T51" fmla="*/ 55 h 114"/>
                  <a:gd name="T52" fmla="*/ 89 w 135"/>
                  <a:gd name="T53" fmla="*/ 31 h 114"/>
                  <a:gd name="T54" fmla="*/ 75 w 135"/>
                  <a:gd name="T55" fmla="*/ 39 h 114"/>
                  <a:gd name="T56" fmla="*/ 73 w 135"/>
                  <a:gd name="T57" fmla="*/ 39 h 114"/>
                  <a:gd name="T58" fmla="*/ 13 w 135"/>
                  <a:gd name="T59" fmla="*/ 4 h 114"/>
                  <a:gd name="T60" fmla="*/ 4 w 135"/>
                  <a:gd name="T61" fmla="*/ 10 h 114"/>
                  <a:gd name="T62" fmla="*/ 4 w 135"/>
                  <a:gd name="T63" fmla="*/ 37 h 114"/>
                  <a:gd name="T64" fmla="*/ 57 w 135"/>
                  <a:gd name="T65" fmla="*/ 68 h 114"/>
                  <a:gd name="T66" fmla="*/ 58 w 135"/>
                  <a:gd name="T67" fmla="*/ 69 h 114"/>
                  <a:gd name="T68" fmla="*/ 58 w 135"/>
                  <a:gd name="T69" fmla="*/ 10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5" h="114">
                    <a:moveTo>
                      <a:pt x="74" y="114"/>
                    </a:moveTo>
                    <a:cubicBezTo>
                      <a:pt x="73" y="114"/>
                      <a:pt x="73" y="114"/>
                      <a:pt x="73" y="114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4" y="103"/>
                      <a:pt x="54" y="102"/>
                      <a:pt x="54" y="102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74" y="35"/>
                      <a:pt x="74" y="35"/>
                      <a:pt x="74" y="35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88" y="27"/>
                      <a:pt x="89" y="27"/>
                      <a:pt x="90" y="27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5" y="54"/>
                      <a:pt x="135" y="54"/>
                      <a:pt x="135" y="55"/>
                    </a:cubicBezTo>
                    <a:cubicBezTo>
                      <a:pt x="135" y="56"/>
                      <a:pt x="135" y="56"/>
                      <a:pt x="134" y="57"/>
                    </a:cubicBezTo>
                    <a:cubicBezTo>
                      <a:pt x="76" y="91"/>
                      <a:pt x="76" y="91"/>
                      <a:pt x="76" y="91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3"/>
                      <a:pt x="75" y="114"/>
                      <a:pt x="75" y="114"/>
                    </a:cubicBezTo>
                    <a:cubicBezTo>
                      <a:pt x="74" y="114"/>
                      <a:pt x="74" y="114"/>
                      <a:pt x="74" y="114"/>
                    </a:cubicBezTo>
                    <a:close/>
                    <a:moveTo>
                      <a:pt x="58" y="101"/>
                    </a:moveTo>
                    <a:cubicBezTo>
                      <a:pt x="72" y="109"/>
                      <a:pt x="72" y="109"/>
                      <a:pt x="72" y="109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72" y="89"/>
                      <a:pt x="72" y="88"/>
                      <a:pt x="73" y="88"/>
                    </a:cubicBezTo>
                    <a:cubicBezTo>
                      <a:pt x="129" y="55"/>
                      <a:pt x="129" y="55"/>
                      <a:pt x="129" y="55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75" y="39"/>
                      <a:pt x="75" y="39"/>
                      <a:pt x="75" y="39"/>
                    </a:cubicBezTo>
                    <a:cubicBezTo>
                      <a:pt x="75" y="39"/>
                      <a:pt x="74" y="39"/>
                      <a:pt x="73" y="39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57" y="68"/>
                      <a:pt x="57" y="68"/>
                      <a:pt x="57" y="68"/>
                    </a:cubicBezTo>
                    <a:cubicBezTo>
                      <a:pt x="57" y="68"/>
                      <a:pt x="58" y="69"/>
                      <a:pt x="58" y="69"/>
                    </a:cubicBezTo>
                    <a:lnTo>
                      <a:pt x="58" y="10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6" name="Freeform 859">
                <a:extLst>
                  <a:ext uri="{FF2B5EF4-FFF2-40B4-BE49-F238E27FC236}">
                    <a16:creationId xmlns:a16="http://schemas.microsoft.com/office/drawing/2014/main" id="{8F1D058B-3206-4D78-BC2C-A70164C137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683764" y="5861864"/>
                <a:ext cx="185720" cy="190907"/>
              </a:xfrm>
              <a:custGeom>
                <a:avLst/>
                <a:gdLst>
                  <a:gd name="T0" fmla="*/ 61 w 76"/>
                  <a:gd name="T1" fmla="*/ 78 h 78"/>
                  <a:gd name="T2" fmla="*/ 60 w 76"/>
                  <a:gd name="T3" fmla="*/ 78 h 78"/>
                  <a:gd name="T4" fmla="*/ 1 w 76"/>
                  <a:gd name="T5" fmla="*/ 44 h 78"/>
                  <a:gd name="T6" fmla="*/ 0 w 76"/>
                  <a:gd name="T7" fmla="*/ 42 h 78"/>
                  <a:gd name="T8" fmla="*/ 1 w 76"/>
                  <a:gd name="T9" fmla="*/ 40 h 78"/>
                  <a:gd name="T10" fmla="*/ 53 w 76"/>
                  <a:gd name="T11" fmla="*/ 10 h 78"/>
                  <a:gd name="T12" fmla="*/ 53 w 76"/>
                  <a:gd name="T13" fmla="*/ 5 h 78"/>
                  <a:gd name="T14" fmla="*/ 54 w 76"/>
                  <a:gd name="T15" fmla="*/ 3 h 78"/>
                  <a:gd name="T16" fmla="*/ 60 w 76"/>
                  <a:gd name="T17" fmla="*/ 0 h 78"/>
                  <a:gd name="T18" fmla="*/ 62 w 76"/>
                  <a:gd name="T19" fmla="*/ 0 h 78"/>
                  <a:gd name="T20" fmla="*/ 63 w 76"/>
                  <a:gd name="T21" fmla="*/ 2 h 78"/>
                  <a:gd name="T22" fmla="*/ 63 w 76"/>
                  <a:gd name="T23" fmla="*/ 60 h 78"/>
                  <a:gd name="T24" fmla="*/ 75 w 76"/>
                  <a:gd name="T25" fmla="*/ 67 h 78"/>
                  <a:gd name="T26" fmla="*/ 76 w 76"/>
                  <a:gd name="T27" fmla="*/ 69 h 78"/>
                  <a:gd name="T28" fmla="*/ 75 w 76"/>
                  <a:gd name="T29" fmla="*/ 71 h 78"/>
                  <a:gd name="T30" fmla="*/ 62 w 76"/>
                  <a:gd name="T31" fmla="*/ 78 h 78"/>
                  <a:gd name="T32" fmla="*/ 61 w 76"/>
                  <a:gd name="T33" fmla="*/ 78 h 78"/>
                  <a:gd name="T34" fmla="*/ 6 w 76"/>
                  <a:gd name="T35" fmla="*/ 42 h 78"/>
                  <a:gd name="T36" fmla="*/ 61 w 76"/>
                  <a:gd name="T37" fmla="*/ 74 h 78"/>
                  <a:gd name="T38" fmla="*/ 70 w 76"/>
                  <a:gd name="T39" fmla="*/ 69 h 78"/>
                  <a:gd name="T40" fmla="*/ 60 w 76"/>
                  <a:gd name="T41" fmla="*/ 63 h 78"/>
                  <a:gd name="T42" fmla="*/ 59 w 76"/>
                  <a:gd name="T43" fmla="*/ 61 h 78"/>
                  <a:gd name="T44" fmla="*/ 59 w 76"/>
                  <a:gd name="T45" fmla="*/ 5 h 78"/>
                  <a:gd name="T46" fmla="*/ 57 w 76"/>
                  <a:gd name="T47" fmla="*/ 6 h 78"/>
                  <a:gd name="T48" fmla="*/ 57 w 76"/>
                  <a:gd name="T49" fmla="*/ 11 h 78"/>
                  <a:gd name="T50" fmla="*/ 56 w 76"/>
                  <a:gd name="T51" fmla="*/ 13 h 78"/>
                  <a:gd name="T52" fmla="*/ 6 w 76"/>
                  <a:gd name="T53" fmla="*/ 4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6" h="78">
                    <a:moveTo>
                      <a:pt x="61" y="78"/>
                    </a:moveTo>
                    <a:cubicBezTo>
                      <a:pt x="61" y="78"/>
                      <a:pt x="61" y="78"/>
                      <a:pt x="60" y="7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1"/>
                      <a:pt x="1" y="4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4"/>
                      <a:pt x="53" y="4"/>
                      <a:pt x="54" y="3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0" y="0"/>
                      <a:pt x="61" y="0"/>
                      <a:pt x="62" y="0"/>
                    </a:cubicBezTo>
                    <a:cubicBezTo>
                      <a:pt x="62" y="0"/>
                      <a:pt x="63" y="1"/>
                      <a:pt x="63" y="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75" y="67"/>
                      <a:pt x="75" y="67"/>
                      <a:pt x="75" y="67"/>
                    </a:cubicBezTo>
                    <a:cubicBezTo>
                      <a:pt x="76" y="68"/>
                      <a:pt x="76" y="68"/>
                      <a:pt x="76" y="69"/>
                    </a:cubicBezTo>
                    <a:cubicBezTo>
                      <a:pt x="76" y="70"/>
                      <a:pt x="76" y="71"/>
                      <a:pt x="75" y="71"/>
                    </a:cubicBezTo>
                    <a:cubicBezTo>
                      <a:pt x="62" y="78"/>
                      <a:pt x="62" y="78"/>
                      <a:pt x="62" y="78"/>
                    </a:cubicBezTo>
                    <a:cubicBezTo>
                      <a:pt x="62" y="78"/>
                      <a:pt x="62" y="78"/>
                      <a:pt x="61" y="78"/>
                    </a:cubicBezTo>
                    <a:close/>
                    <a:moveTo>
                      <a:pt x="6" y="42"/>
                    </a:moveTo>
                    <a:cubicBezTo>
                      <a:pt x="61" y="74"/>
                      <a:pt x="61" y="74"/>
                      <a:pt x="61" y="74"/>
                    </a:cubicBezTo>
                    <a:cubicBezTo>
                      <a:pt x="70" y="69"/>
                      <a:pt x="70" y="69"/>
                      <a:pt x="70" y="6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59" y="63"/>
                      <a:pt x="59" y="62"/>
                      <a:pt x="59" y="61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11"/>
                      <a:pt x="57" y="11"/>
                      <a:pt x="57" y="11"/>
                    </a:cubicBezTo>
                    <a:cubicBezTo>
                      <a:pt x="57" y="12"/>
                      <a:pt x="56" y="13"/>
                      <a:pt x="56" y="13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7" name="Freeform 860">
                <a:extLst>
                  <a:ext uri="{FF2B5EF4-FFF2-40B4-BE49-F238E27FC236}">
                    <a16:creationId xmlns:a16="http://schemas.microsoft.com/office/drawing/2014/main" id="{0D36E076-2C18-4786-88D6-EFC0DCED8A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6" y="5836963"/>
                <a:ext cx="154594" cy="113092"/>
              </a:xfrm>
              <a:custGeom>
                <a:avLst/>
                <a:gdLst>
                  <a:gd name="T0" fmla="*/ 61 w 63"/>
                  <a:gd name="T1" fmla="*/ 46 h 46"/>
                  <a:gd name="T2" fmla="*/ 60 w 63"/>
                  <a:gd name="T3" fmla="*/ 46 h 46"/>
                  <a:gd name="T4" fmla="*/ 1 w 63"/>
                  <a:gd name="T5" fmla="*/ 12 h 46"/>
                  <a:gd name="T6" fmla="*/ 0 w 63"/>
                  <a:gd name="T7" fmla="*/ 10 h 46"/>
                  <a:gd name="T8" fmla="*/ 0 w 63"/>
                  <a:gd name="T9" fmla="*/ 2 h 46"/>
                  <a:gd name="T10" fmla="*/ 1 w 63"/>
                  <a:gd name="T11" fmla="*/ 1 h 46"/>
                  <a:gd name="T12" fmla="*/ 3 w 63"/>
                  <a:gd name="T13" fmla="*/ 1 h 46"/>
                  <a:gd name="T14" fmla="*/ 62 w 63"/>
                  <a:gd name="T15" fmla="*/ 35 h 46"/>
                  <a:gd name="T16" fmla="*/ 63 w 63"/>
                  <a:gd name="T17" fmla="*/ 36 h 46"/>
                  <a:gd name="T18" fmla="*/ 63 w 63"/>
                  <a:gd name="T19" fmla="*/ 44 h 46"/>
                  <a:gd name="T20" fmla="*/ 62 w 63"/>
                  <a:gd name="T21" fmla="*/ 46 h 46"/>
                  <a:gd name="T22" fmla="*/ 61 w 63"/>
                  <a:gd name="T23" fmla="*/ 46 h 46"/>
                  <a:gd name="T24" fmla="*/ 4 w 63"/>
                  <a:gd name="T25" fmla="*/ 9 h 46"/>
                  <a:gd name="T26" fmla="*/ 59 w 63"/>
                  <a:gd name="T27" fmla="*/ 40 h 46"/>
                  <a:gd name="T28" fmla="*/ 59 w 63"/>
                  <a:gd name="T29" fmla="*/ 38 h 46"/>
                  <a:gd name="T30" fmla="*/ 4 w 63"/>
                  <a:gd name="T31" fmla="*/ 6 h 46"/>
                  <a:gd name="T32" fmla="*/ 4 w 63"/>
                  <a:gd name="T33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6">
                    <a:moveTo>
                      <a:pt x="61" y="46"/>
                    </a:moveTo>
                    <a:cubicBezTo>
                      <a:pt x="61" y="46"/>
                      <a:pt x="61" y="46"/>
                      <a:pt x="60" y="4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5"/>
                      <a:pt x="63" y="36"/>
                      <a:pt x="63" y="36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63" y="45"/>
                      <a:pt x="63" y="45"/>
                      <a:pt x="62" y="46"/>
                    </a:cubicBezTo>
                    <a:cubicBezTo>
                      <a:pt x="62" y="46"/>
                      <a:pt x="62" y="46"/>
                      <a:pt x="61" y="46"/>
                    </a:cubicBezTo>
                    <a:close/>
                    <a:moveTo>
                      <a:pt x="4" y="9"/>
                    </a:move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8" name="Freeform 861">
                <a:extLst>
                  <a:ext uri="{FF2B5EF4-FFF2-40B4-BE49-F238E27FC236}">
                    <a16:creationId xmlns:a16="http://schemas.microsoft.com/office/drawing/2014/main" id="{6B4B4658-F1C6-41D4-8AB4-212A4E26DE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79122" y="6144075"/>
                <a:ext cx="605924" cy="381815"/>
              </a:xfrm>
              <a:custGeom>
                <a:avLst/>
                <a:gdLst>
                  <a:gd name="T0" fmla="*/ 134 w 247"/>
                  <a:gd name="T1" fmla="*/ 156 h 156"/>
                  <a:gd name="T2" fmla="*/ 133 w 247"/>
                  <a:gd name="T3" fmla="*/ 156 h 156"/>
                  <a:gd name="T4" fmla="*/ 1 w 247"/>
                  <a:gd name="T5" fmla="*/ 80 h 156"/>
                  <a:gd name="T6" fmla="*/ 0 w 247"/>
                  <a:gd name="T7" fmla="*/ 78 h 156"/>
                  <a:gd name="T8" fmla="*/ 1 w 247"/>
                  <a:gd name="T9" fmla="*/ 76 h 156"/>
                  <a:gd name="T10" fmla="*/ 31 w 247"/>
                  <a:gd name="T11" fmla="*/ 59 h 156"/>
                  <a:gd name="T12" fmla="*/ 33 w 247"/>
                  <a:gd name="T13" fmla="*/ 59 h 156"/>
                  <a:gd name="T14" fmla="*/ 47 w 247"/>
                  <a:gd name="T15" fmla="*/ 67 h 156"/>
                  <a:gd name="T16" fmla="*/ 47 w 247"/>
                  <a:gd name="T17" fmla="*/ 51 h 156"/>
                  <a:gd name="T18" fmla="*/ 48 w 247"/>
                  <a:gd name="T19" fmla="*/ 50 h 156"/>
                  <a:gd name="T20" fmla="*/ 66 w 247"/>
                  <a:gd name="T21" fmla="*/ 39 h 156"/>
                  <a:gd name="T22" fmla="*/ 68 w 247"/>
                  <a:gd name="T23" fmla="*/ 39 h 156"/>
                  <a:gd name="T24" fmla="*/ 69 w 247"/>
                  <a:gd name="T25" fmla="*/ 41 h 156"/>
                  <a:gd name="T26" fmla="*/ 69 w 247"/>
                  <a:gd name="T27" fmla="*/ 84 h 156"/>
                  <a:gd name="T28" fmla="*/ 127 w 247"/>
                  <a:gd name="T29" fmla="*/ 50 h 156"/>
                  <a:gd name="T30" fmla="*/ 127 w 247"/>
                  <a:gd name="T31" fmla="*/ 5 h 156"/>
                  <a:gd name="T32" fmla="*/ 128 w 247"/>
                  <a:gd name="T33" fmla="*/ 3 h 156"/>
                  <a:gd name="T34" fmla="*/ 133 w 247"/>
                  <a:gd name="T35" fmla="*/ 0 h 156"/>
                  <a:gd name="T36" fmla="*/ 135 w 247"/>
                  <a:gd name="T37" fmla="*/ 0 h 156"/>
                  <a:gd name="T38" fmla="*/ 198 w 247"/>
                  <a:gd name="T39" fmla="*/ 36 h 156"/>
                  <a:gd name="T40" fmla="*/ 199 w 247"/>
                  <a:gd name="T41" fmla="*/ 38 h 156"/>
                  <a:gd name="T42" fmla="*/ 198 w 247"/>
                  <a:gd name="T43" fmla="*/ 40 h 156"/>
                  <a:gd name="T44" fmla="*/ 180 w 247"/>
                  <a:gd name="T45" fmla="*/ 50 h 156"/>
                  <a:gd name="T46" fmla="*/ 246 w 247"/>
                  <a:gd name="T47" fmla="*/ 89 h 156"/>
                  <a:gd name="T48" fmla="*/ 247 w 247"/>
                  <a:gd name="T49" fmla="*/ 90 h 156"/>
                  <a:gd name="T50" fmla="*/ 246 w 247"/>
                  <a:gd name="T51" fmla="*/ 92 h 156"/>
                  <a:gd name="T52" fmla="*/ 135 w 247"/>
                  <a:gd name="T53" fmla="*/ 156 h 156"/>
                  <a:gd name="T54" fmla="*/ 134 w 247"/>
                  <a:gd name="T55" fmla="*/ 156 h 156"/>
                  <a:gd name="T56" fmla="*/ 6 w 247"/>
                  <a:gd name="T57" fmla="*/ 78 h 156"/>
                  <a:gd name="T58" fmla="*/ 134 w 247"/>
                  <a:gd name="T59" fmla="*/ 152 h 156"/>
                  <a:gd name="T60" fmla="*/ 241 w 247"/>
                  <a:gd name="T61" fmla="*/ 90 h 156"/>
                  <a:gd name="T62" fmla="*/ 175 w 247"/>
                  <a:gd name="T63" fmla="*/ 52 h 156"/>
                  <a:gd name="T64" fmla="*/ 174 w 247"/>
                  <a:gd name="T65" fmla="*/ 50 h 156"/>
                  <a:gd name="T66" fmla="*/ 175 w 247"/>
                  <a:gd name="T67" fmla="*/ 49 h 156"/>
                  <a:gd name="T68" fmla="*/ 193 w 247"/>
                  <a:gd name="T69" fmla="*/ 38 h 156"/>
                  <a:gd name="T70" fmla="*/ 134 w 247"/>
                  <a:gd name="T71" fmla="*/ 4 h 156"/>
                  <a:gd name="T72" fmla="*/ 131 w 247"/>
                  <a:gd name="T73" fmla="*/ 6 h 156"/>
                  <a:gd name="T74" fmla="*/ 131 w 247"/>
                  <a:gd name="T75" fmla="*/ 51 h 156"/>
                  <a:gd name="T76" fmla="*/ 130 w 247"/>
                  <a:gd name="T77" fmla="*/ 53 h 156"/>
                  <a:gd name="T78" fmla="*/ 68 w 247"/>
                  <a:gd name="T79" fmla="*/ 89 h 156"/>
                  <a:gd name="T80" fmla="*/ 66 w 247"/>
                  <a:gd name="T81" fmla="*/ 89 h 156"/>
                  <a:gd name="T82" fmla="*/ 65 w 247"/>
                  <a:gd name="T83" fmla="*/ 87 h 156"/>
                  <a:gd name="T84" fmla="*/ 65 w 247"/>
                  <a:gd name="T85" fmla="*/ 44 h 156"/>
                  <a:gd name="T86" fmla="*/ 51 w 247"/>
                  <a:gd name="T87" fmla="*/ 52 h 156"/>
                  <a:gd name="T88" fmla="*/ 51 w 247"/>
                  <a:gd name="T89" fmla="*/ 71 h 156"/>
                  <a:gd name="T90" fmla="*/ 50 w 247"/>
                  <a:gd name="T91" fmla="*/ 72 h 156"/>
                  <a:gd name="T92" fmla="*/ 48 w 247"/>
                  <a:gd name="T93" fmla="*/ 72 h 156"/>
                  <a:gd name="T94" fmla="*/ 32 w 247"/>
                  <a:gd name="T95" fmla="*/ 63 h 156"/>
                  <a:gd name="T96" fmla="*/ 6 w 247"/>
                  <a:gd name="T97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7" h="156">
                    <a:moveTo>
                      <a:pt x="134" y="156"/>
                    </a:moveTo>
                    <a:cubicBezTo>
                      <a:pt x="134" y="156"/>
                      <a:pt x="134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1" y="79"/>
                      <a:pt x="0" y="79"/>
                      <a:pt x="0" y="78"/>
                    </a:cubicBezTo>
                    <a:cubicBezTo>
                      <a:pt x="0" y="77"/>
                      <a:pt x="1" y="77"/>
                      <a:pt x="1" y="76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32" y="59"/>
                      <a:pt x="32" y="59"/>
                      <a:pt x="33" y="59"/>
                    </a:cubicBezTo>
                    <a:cubicBezTo>
                      <a:pt x="47" y="67"/>
                      <a:pt x="47" y="67"/>
                      <a:pt x="47" y="67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7" y="51"/>
                      <a:pt x="47" y="50"/>
                      <a:pt x="48" y="50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66" y="39"/>
                      <a:pt x="67" y="39"/>
                      <a:pt x="68" y="39"/>
                    </a:cubicBezTo>
                    <a:cubicBezTo>
                      <a:pt x="68" y="40"/>
                      <a:pt x="69" y="40"/>
                      <a:pt x="69" y="41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127" y="50"/>
                      <a:pt x="127" y="50"/>
                      <a:pt x="127" y="50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7" y="4"/>
                      <a:pt x="127" y="4"/>
                      <a:pt x="128" y="3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4" y="0"/>
                      <a:pt x="135" y="0"/>
                      <a:pt x="135" y="0"/>
                    </a:cubicBezTo>
                    <a:cubicBezTo>
                      <a:pt x="198" y="36"/>
                      <a:pt x="198" y="36"/>
                      <a:pt x="198" y="36"/>
                    </a:cubicBezTo>
                    <a:cubicBezTo>
                      <a:pt x="199" y="37"/>
                      <a:pt x="199" y="37"/>
                      <a:pt x="199" y="38"/>
                    </a:cubicBezTo>
                    <a:cubicBezTo>
                      <a:pt x="199" y="39"/>
                      <a:pt x="199" y="39"/>
                      <a:pt x="198" y="40"/>
                    </a:cubicBezTo>
                    <a:cubicBezTo>
                      <a:pt x="180" y="50"/>
                      <a:pt x="180" y="50"/>
                      <a:pt x="180" y="50"/>
                    </a:cubicBezTo>
                    <a:cubicBezTo>
                      <a:pt x="246" y="89"/>
                      <a:pt x="246" y="89"/>
                      <a:pt x="246" y="89"/>
                    </a:cubicBezTo>
                    <a:cubicBezTo>
                      <a:pt x="246" y="89"/>
                      <a:pt x="247" y="90"/>
                      <a:pt x="247" y="90"/>
                    </a:cubicBezTo>
                    <a:cubicBezTo>
                      <a:pt x="247" y="91"/>
                      <a:pt x="246" y="92"/>
                      <a:pt x="246" y="92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5" y="156"/>
                      <a:pt x="135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1" y="90"/>
                      <a:pt x="241" y="90"/>
                      <a:pt x="241" y="90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4" y="52"/>
                      <a:pt x="174" y="51"/>
                      <a:pt x="174" y="50"/>
                    </a:cubicBezTo>
                    <a:cubicBezTo>
                      <a:pt x="174" y="50"/>
                      <a:pt x="174" y="49"/>
                      <a:pt x="175" y="49"/>
                    </a:cubicBezTo>
                    <a:cubicBezTo>
                      <a:pt x="193" y="38"/>
                      <a:pt x="193" y="38"/>
                      <a:pt x="193" y="38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2"/>
                      <a:pt x="131" y="53"/>
                      <a:pt x="130" y="53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89"/>
                      <a:pt x="66" y="89"/>
                      <a:pt x="66" y="89"/>
                    </a:cubicBezTo>
                    <a:cubicBezTo>
                      <a:pt x="65" y="89"/>
                      <a:pt x="65" y="88"/>
                      <a:pt x="65" y="87"/>
                    </a:cubicBezTo>
                    <a:cubicBezTo>
                      <a:pt x="65" y="44"/>
                      <a:pt x="65" y="44"/>
                      <a:pt x="65" y="44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1" y="71"/>
                      <a:pt x="50" y="72"/>
                      <a:pt x="50" y="72"/>
                    </a:cubicBezTo>
                    <a:cubicBezTo>
                      <a:pt x="49" y="73"/>
                      <a:pt x="48" y="73"/>
                      <a:pt x="48" y="72"/>
                    </a:cubicBezTo>
                    <a:cubicBezTo>
                      <a:pt x="32" y="63"/>
                      <a:pt x="32" y="63"/>
                      <a:pt x="32" y="63"/>
                    </a:cubicBezTo>
                    <a:lnTo>
                      <a:pt x="6" y="7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9" name="Freeform 862">
                <a:extLst>
                  <a:ext uri="{FF2B5EF4-FFF2-40B4-BE49-F238E27FC236}">
                    <a16:creationId xmlns:a16="http://schemas.microsoft.com/office/drawing/2014/main" id="{7259F2EE-F88C-453F-B284-4E05809B4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6" y="5861864"/>
                <a:ext cx="154594" cy="171194"/>
              </a:xfrm>
              <a:custGeom>
                <a:avLst/>
                <a:gdLst>
                  <a:gd name="T0" fmla="*/ 16 w 63"/>
                  <a:gd name="T1" fmla="*/ 70 h 70"/>
                  <a:gd name="T2" fmla="*/ 15 w 63"/>
                  <a:gd name="T3" fmla="*/ 70 h 70"/>
                  <a:gd name="T4" fmla="*/ 1 w 63"/>
                  <a:gd name="T5" fmla="*/ 62 h 70"/>
                  <a:gd name="T6" fmla="*/ 0 w 63"/>
                  <a:gd name="T7" fmla="*/ 60 h 70"/>
                  <a:gd name="T8" fmla="*/ 0 w 63"/>
                  <a:gd name="T9" fmla="*/ 2 h 70"/>
                  <a:gd name="T10" fmla="*/ 1 w 63"/>
                  <a:gd name="T11" fmla="*/ 0 h 70"/>
                  <a:gd name="T12" fmla="*/ 3 w 63"/>
                  <a:gd name="T13" fmla="*/ 0 h 70"/>
                  <a:gd name="T14" fmla="*/ 62 w 63"/>
                  <a:gd name="T15" fmla="*/ 34 h 70"/>
                  <a:gd name="T16" fmla="*/ 63 w 63"/>
                  <a:gd name="T17" fmla="*/ 36 h 70"/>
                  <a:gd name="T18" fmla="*/ 63 w 63"/>
                  <a:gd name="T19" fmla="*/ 42 h 70"/>
                  <a:gd name="T20" fmla="*/ 62 w 63"/>
                  <a:gd name="T21" fmla="*/ 44 h 70"/>
                  <a:gd name="T22" fmla="*/ 17 w 63"/>
                  <a:gd name="T23" fmla="*/ 70 h 70"/>
                  <a:gd name="T24" fmla="*/ 16 w 63"/>
                  <a:gd name="T25" fmla="*/ 70 h 70"/>
                  <a:gd name="T26" fmla="*/ 4 w 63"/>
                  <a:gd name="T27" fmla="*/ 59 h 70"/>
                  <a:gd name="T28" fmla="*/ 16 w 63"/>
                  <a:gd name="T29" fmla="*/ 66 h 70"/>
                  <a:gd name="T30" fmla="*/ 59 w 63"/>
                  <a:gd name="T31" fmla="*/ 41 h 70"/>
                  <a:gd name="T32" fmla="*/ 59 w 63"/>
                  <a:gd name="T33" fmla="*/ 37 h 70"/>
                  <a:gd name="T34" fmla="*/ 4 w 63"/>
                  <a:gd name="T35" fmla="*/ 5 h 70"/>
                  <a:gd name="T36" fmla="*/ 4 w 63"/>
                  <a:gd name="T37" fmla="*/ 5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70">
                    <a:moveTo>
                      <a:pt x="16" y="70"/>
                    </a:moveTo>
                    <a:cubicBezTo>
                      <a:pt x="15" y="70"/>
                      <a:pt x="15" y="70"/>
                      <a:pt x="15" y="70"/>
                    </a:cubicBezTo>
                    <a:cubicBezTo>
                      <a:pt x="1" y="62"/>
                      <a:pt x="1" y="62"/>
                      <a:pt x="1" y="62"/>
                    </a:cubicBezTo>
                    <a:cubicBezTo>
                      <a:pt x="1" y="62"/>
                      <a:pt x="0" y="61"/>
                      <a:pt x="0" y="6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3" y="34"/>
                      <a:pt x="63" y="35"/>
                      <a:pt x="63" y="36"/>
                    </a:cubicBezTo>
                    <a:cubicBezTo>
                      <a:pt x="63" y="42"/>
                      <a:pt x="63" y="42"/>
                      <a:pt x="63" y="42"/>
                    </a:cubicBezTo>
                    <a:cubicBezTo>
                      <a:pt x="63" y="43"/>
                      <a:pt x="63" y="43"/>
                      <a:pt x="62" y="44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6" y="70"/>
                      <a:pt x="16" y="70"/>
                      <a:pt x="16" y="70"/>
                    </a:cubicBezTo>
                    <a:close/>
                    <a:moveTo>
                      <a:pt x="4" y="59"/>
                    </a:moveTo>
                    <a:cubicBezTo>
                      <a:pt x="16" y="66"/>
                      <a:pt x="16" y="66"/>
                      <a:pt x="16" y="66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0" name="Freeform 863">
                <a:extLst>
                  <a:ext uri="{FF2B5EF4-FFF2-40B4-BE49-F238E27FC236}">
                    <a16:creationId xmlns:a16="http://schemas.microsoft.com/office/drawing/2014/main" id="{A9500D22-6BD5-4069-AA76-C3730D8CA3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5759148"/>
                <a:ext cx="166007" cy="181569"/>
              </a:xfrm>
              <a:custGeom>
                <a:avLst/>
                <a:gdLst>
                  <a:gd name="T0" fmla="*/ 53 w 68"/>
                  <a:gd name="T1" fmla="*/ 74 h 74"/>
                  <a:gd name="T2" fmla="*/ 52 w 68"/>
                  <a:gd name="T3" fmla="*/ 74 h 74"/>
                  <a:gd name="T4" fmla="*/ 1 w 68"/>
                  <a:gd name="T5" fmla="*/ 44 h 74"/>
                  <a:gd name="T6" fmla="*/ 0 w 68"/>
                  <a:gd name="T7" fmla="*/ 42 h 74"/>
                  <a:gd name="T8" fmla="*/ 0 w 68"/>
                  <a:gd name="T9" fmla="*/ 36 h 74"/>
                  <a:gd name="T10" fmla="*/ 1 w 68"/>
                  <a:gd name="T11" fmla="*/ 35 h 74"/>
                  <a:gd name="T12" fmla="*/ 60 w 68"/>
                  <a:gd name="T13" fmla="*/ 1 h 74"/>
                  <a:gd name="T14" fmla="*/ 62 w 68"/>
                  <a:gd name="T15" fmla="*/ 1 h 74"/>
                  <a:gd name="T16" fmla="*/ 67 w 68"/>
                  <a:gd name="T17" fmla="*/ 4 h 74"/>
                  <a:gd name="T18" fmla="*/ 68 w 68"/>
                  <a:gd name="T19" fmla="*/ 5 h 74"/>
                  <a:gd name="T20" fmla="*/ 68 w 68"/>
                  <a:gd name="T21" fmla="*/ 7 h 74"/>
                  <a:gd name="T22" fmla="*/ 67 w 68"/>
                  <a:gd name="T23" fmla="*/ 9 h 74"/>
                  <a:gd name="T24" fmla="*/ 55 w 68"/>
                  <a:gd name="T25" fmla="*/ 16 h 74"/>
                  <a:gd name="T26" fmla="*/ 55 w 68"/>
                  <a:gd name="T27" fmla="*/ 72 h 74"/>
                  <a:gd name="T28" fmla="*/ 54 w 68"/>
                  <a:gd name="T29" fmla="*/ 74 h 74"/>
                  <a:gd name="T30" fmla="*/ 53 w 68"/>
                  <a:gd name="T31" fmla="*/ 74 h 74"/>
                  <a:gd name="T32" fmla="*/ 4 w 68"/>
                  <a:gd name="T33" fmla="*/ 41 h 74"/>
                  <a:gd name="T34" fmla="*/ 51 w 68"/>
                  <a:gd name="T35" fmla="*/ 69 h 74"/>
                  <a:gd name="T36" fmla="*/ 51 w 68"/>
                  <a:gd name="T37" fmla="*/ 15 h 74"/>
                  <a:gd name="T38" fmla="*/ 52 w 68"/>
                  <a:gd name="T39" fmla="*/ 13 h 74"/>
                  <a:gd name="T40" fmla="*/ 64 w 68"/>
                  <a:gd name="T41" fmla="*/ 6 h 74"/>
                  <a:gd name="T42" fmla="*/ 61 w 68"/>
                  <a:gd name="T43" fmla="*/ 5 h 74"/>
                  <a:gd name="T44" fmla="*/ 4 w 68"/>
                  <a:gd name="T45" fmla="*/ 38 h 74"/>
                  <a:gd name="T46" fmla="*/ 4 w 68"/>
                  <a:gd name="T47" fmla="*/ 4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74">
                    <a:moveTo>
                      <a:pt x="53" y="74"/>
                    </a:moveTo>
                    <a:cubicBezTo>
                      <a:pt x="53" y="74"/>
                      <a:pt x="53" y="74"/>
                      <a:pt x="52" y="74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1" y="0"/>
                      <a:pt x="62" y="1"/>
                    </a:cubicBezTo>
                    <a:cubicBezTo>
                      <a:pt x="67" y="4"/>
                      <a:pt x="67" y="4"/>
                      <a:pt x="67" y="4"/>
                    </a:cubicBezTo>
                    <a:cubicBezTo>
                      <a:pt x="68" y="4"/>
                      <a:pt x="68" y="5"/>
                      <a:pt x="68" y="5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8"/>
                      <a:pt x="68" y="9"/>
                      <a:pt x="67" y="9"/>
                    </a:cubicBezTo>
                    <a:cubicBezTo>
                      <a:pt x="55" y="16"/>
                      <a:pt x="55" y="16"/>
                      <a:pt x="55" y="16"/>
                    </a:cubicBezTo>
                    <a:cubicBezTo>
                      <a:pt x="55" y="72"/>
                      <a:pt x="55" y="72"/>
                      <a:pt x="55" y="72"/>
                    </a:cubicBezTo>
                    <a:cubicBezTo>
                      <a:pt x="55" y="73"/>
                      <a:pt x="55" y="74"/>
                      <a:pt x="54" y="74"/>
                    </a:cubicBezTo>
                    <a:cubicBezTo>
                      <a:pt x="54" y="74"/>
                      <a:pt x="54" y="74"/>
                      <a:pt x="53" y="74"/>
                    </a:cubicBezTo>
                    <a:close/>
                    <a:moveTo>
                      <a:pt x="4" y="41"/>
                    </a:move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4"/>
                      <a:pt x="52" y="13"/>
                      <a:pt x="52" y="13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4" y="4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1" name="Freeform 864">
                <a:extLst>
                  <a:ext uri="{FF2B5EF4-FFF2-40B4-BE49-F238E27FC236}">
                    <a16:creationId xmlns:a16="http://schemas.microsoft.com/office/drawing/2014/main" id="{A26E3A63-919B-42F6-806D-D37D7A1E93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56241" y="5700008"/>
                <a:ext cx="113092" cy="194020"/>
              </a:xfrm>
              <a:custGeom>
                <a:avLst/>
                <a:gdLst>
                  <a:gd name="T0" fmla="*/ 27 w 46"/>
                  <a:gd name="T1" fmla="*/ 79 h 79"/>
                  <a:gd name="T2" fmla="*/ 26 w 46"/>
                  <a:gd name="T3" fmla="*/ 78 h 79"/>
                  <a:gd name="T4" fmla="*/ 1 w 46"/>
                  <a:gd name="T5" fmla="*/ 64 h 79"/>
                  <a:gd name="T6" fmla="*/ 0 w 46"/>
                  <a:gd name="T7" fmla="*/ 63 h 79"/>
                  <a:gd name="T8" fmla="*/ 0 w 46"/>
                  <a:gd name="T9" fmla="*/ 26 h 79"/>
                  <a:gd name="T10" fmla="*/ 1 w 46"/>
                  <a:gd name="T11" fmla="*/ 25 h 79"/>
                  <a:gd name="T12" fmla="*/ 43 w 46"/>
                  <a:gd name="T13" fmla="*/ 1 h 79"/>
                  <a:gd name="T14" fmla="*/ 45 w 46"/>
                  <a:gd name="T15" fmla="*/ 1 h 79"/>
                  <a:gd name="T16" fmla="*/ 46 w 46"/>
                  <a:gd name="T17" fmla="*/ 3 h 79"/>
                  <a:gd name="T18" fmla="*/ 46 w 46"/>
                  <a:gd name="T19" fmla="*/ 67 h 79"/>
                  <a:gd name="T20" fmla="*/ 45 w 46"/>
                  <a:gd name="T21" fmla="*/ 68 h 79"/>
                  <a:gd name="T22" fmla="*/ 28 w 46"/>
                  <a:gd name="T23" fmla="*/ 78 h 79"/>
                  <a:gd name="T24" fmla="*/ 27 w 46"/>
                  <a:gd name="T25" fmla="*/ 79 h 79"/>
                  <a:gd name="T26" fmla="*/ 4 w 46"/>
                  <a:gd name="T27" fmla="*/ 61 h 79"/>
                  <a:gd name="T28" fmla="*/ 27 w 46"/>
                  <a:gd name="T29" fmla="*/ 74 h 79"/>
                  <a:gd name="T30" fmla="*/ 42 w 46"/>
                  <a:gd name="T31" fmla="*/ 66 h 79"/>
                  <a:gd name="T32" fmla="*/ 42 w 46"/>
                  <a:gd name="T33" fmla="*/ 6 h 79"/>
                  <a:gd name="T34" fmla="*/ 4 w 46"/>
                  <a:gd name="T35" fmla="*/ 28 h 79"/>
                  <a:gd name="T36" fmla="*/ 4 w 46"/>
                  <a:gd name="T37" fmla="*/ 61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6" h="79">
                    <a:moveTo>
                      <a:pt x="27" y="79"/>
                    </a:moveTo>
                    <a:cubicBezTo>
                      <a:pt x="26" y="79"/>
                      <a:pt x="26" y="78"/>
                      <a:pt x="26" y="78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4"/>
                      <a:pt x="0" y="63"/>
                      <a:pt x="0" y="6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45" y="1"/>
                      <a:pt x="46" y="2"/>
                      <a:pt x="46" y="3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5" y="68"/>
                      <a:pt x="45" y="68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27" y="78"/>
                      <a:pt x="27" y="79"/>
                      <a:pt x="27" y="79"/>
                    </a:cubicBezTo>
                    <a:close/>
                    <a:moveTo>
                      <a:pt x="4" y="61"/>
                    </a:moveTo>
                    <a:cubicBezTo>
                      <a:pt x="27" y="74"/>
                      <a:pt x="27" y="74"/>
                      <a:pt x="27" y="74"/>
                    </a:cubicBezTo>
                    <a:cubicBezTo>
                      <a:pt x="42" y="66"/>
                      <a:pt x="42" y="66"/>
                      <a:pt x="42" y="6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6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2" name="Freeform 865">
                <a:extLst>
                  <a:ext uri="{FF2B5EF4-FFF2-40B4-BE49-F238E27FC236}">
                    <a16:creationId xmlns:a16="http://schemas.microsoft.com/office/drawing/2014/main" id="{272572F8-246C-45EB-B01E-50F4019CFA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02930" y="5852526"/>
                <a:ext cx="66403" cy="75740"/>
              </a:xfrm>
              <a:custGeom>
                <a:avLst/>
                <a:gdLst>
                  <a:gd name="T0" fmla="*/ 2 w 27"/>
                  <a:gd name="T1" fmla="*/ 31 h 31"/>
                  <a:gd name="T2" fmla="*/ 1 w 27"/>
                  <a:gd name="T3" fmla="*/ 30 h 31"/>
                  <a:gd name="T4" fmla="*/ 0 w 27"/>
                  <a:gd name="T5" fmla="*/ 29 h 31"/>
                  <a:gd name="T6" fmla="*/ 0 w 27"/>
                  <a:gd name="T7" fmla="*/ 3 h 31"/>
                  <a:gd name="T8" fmla="*/ 1 w 27"/>
                  <a:gd name="T9" fmla="*/ 1 h 31"/>
                  <a:gd name="T10" fmla="*/ 3 w 27"/>
                  <a:gd name="T11" fmla="*/ 1 h 31"/>
                  <a:gd name="T12" fmla="*/ 26 w 27"/>
                  <a:gd name="T13" fmla="*/ 14 h 31"/>
                  <a:gd name="T14" fmla="*/ 27 w 27"/>
                  <a:gd name="T15" fmla="*/ 16 h 31"/>
                  <a:gd name="T16" fmla="*/ 26 w 27"/>
                  <a:gd name="T17" fmla="*/ 17 h 31"/>
                  <a:gd name="T18" fmla="*/ 3 w 27"/>
                  <a:gd name="T19" fmla="*/ 30 h 31"/>
                  <a:gd name="T20" fmla="*/ 2 w 27"/>
                  <a:gd name="T21" fmla="*/ 31 h 31"/>
                  <a:gd name="T22" fmla="*/ 4 w 27"/>
                  <a:gd name="T23" fmla="*/ 6 h 31"/>
                  <a:gd name="T24" fmla="*/ 4 w 27"/>
                  <a:gd name="T25" fmla="*/ 25 h 31"/>
                  <a:gd name="T26" fmla="*/ 21 w 27"/>
                  <a:gd name="T27" fmla="*/ 16 h 31"/>
                  <a:gd name="T28" fmla="*/ 4 w 27"/>
                  <a:gd name="T2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1">
                    <a:moveTo>
                      <a:pt x="2" y="31"/>
                    </a:moveTo>
                    <a:cubicBezTo>
                      <a:pt x="2" y="31"/>
                      <a:pt x="2" y="30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7" y="14"/>
                      <a:pt x="27" y="15"/>
                      <a:pt x="27" y="16"/>
                    </a:cubicBezTo>
                    <a:cubicBezTo>
                      <a:pt x="27" y="16"/>
                      <a:pt x="27" y="17"/>
                      <a:pt x="26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1"/>
                      <a:pt x="2" y="31"/>
                    </a:cubicBezTo>
                    <a:close/>
                    <a:moveTo>
                      <a:pt x="4" y="6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1" y="16"/>
                      <a:pt x="21" y="16"/>
                      <a:pt x="21" y="1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3" name="Freeform 866">
                <a:extLst>
                  <a:ext uri="{FF2B5EF4-FFF2-40B4-BE49-F238E27FC236}">
                    <a16:creationId xmlns:a16="http://schemas.microsoft.com/office/drawing/2014/main" id="{8F447DB7-9567-4A48-AD7F-D5AE49CE66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96460" y="5371108"/>
                <a:ext cx="284286" cy="170156"/>
              </a:xfrm>
              <a:custGeom>
                <a:avLst/>
                <a:gdLst>
                  <a:gd name="T0" fmla="*/ 38 w 116"/>
                  <a:gd name="T1" fmla="*/ 69 h 69"/>
                  <a:gd name="T2" fmla="*/ 37 w 116"/>
                  <a:gd name="T3" fmla="*/ 69 h 69"/>
                  <a:gd name="T4" fmla="*/ 1 w 116"/>
                  <a:gd name="T5" fmla="*/ 48 h 69"/>
                  <a:gd name="T6" fmla="*/ 0 w 116"/>
                  <a:gd name="T7" fmla="*/ 46 h 69"/>
                  <a:gd name="T8" fmla="*/ 1 w 116"/>
                  <a:gd name="T9" fmla="*/ 44 h 69"/>
                  <a:gd name="T10" fmla="*/ 77 w 116"/>
                  <a:gd name="T11" fmla="*/ 1 h 69"/>
                  <a:gd name="T12" fmla="*/ 79 w 116"/>
                  <a:gd name="T13" fmla="*/ 1 h 69"/>
                  <a:gd name="T14" fmla="*/ 115 w 116"/>
                  <a:gd name="T15" fmla="*/ 21 h 69"/>
                  <a:gd name="T16" fmla="*/ 116 w 116"/>
                  <a:gd name="T17" fmla="*/ 23 h 69"/>
                  <a:gd name="T18" fmla="*/ 115 w 116"/>
                  <a:gd name="T19" fmla="*/ 25 h 69"/>
                  <a:gd name="T20" fmla="*/ 39 w 116"/>
                  <a:gd name="T21" fmla="*/ 69 h 69"/>
                  <a:gd name="T22" fmla="*/ 38 w 116"/>
                  <a:gd name="T23" fmla="*/ 69 h 69"/>
                  <a:gd name="T24" fmla="*/ 6 w 116"/>
                  <a:gd name="T25" fmla="*/ 46 h 69"/>
                  <a:gd name="T26" fmla="*/ 38 w 116"/>
                  <a:gd name="T27" fmla="*/ 65 h 69"/>
                  <a:gd name="T28" fmla="*/ 110 w 116"/>
                  <a:gd name="T29" fmla="*/ 23 h 69"/>
                  <a:gd name="T30" fmla="*/ 78 w 116"/>
                  <a:gd name="T31" fmla="*/ 5 h 69"/>
                  <a:gd name="T32" fmla="*/ 6 w 116"/>
                  <a:gd name="T33" fmla="*/ 4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6" h="69">
                    <a:moveTo>
                      <a:pt x="38" y="69"/>
                    </a:moveTo>
                    <a:cubicBezTo>
                      <a:pt x="38" y="69"/>
                      <a:pt x="37" y="69"/>
                      <a:pt x="37" y="69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47"/>
                      <a:pt x="0" y="47"/>
                      <a:pt x="0" y="46"/>
                    </a:cubicBezTo>
                    <a:cubicBezTo>
                      <a:pt x="0" y="45"/>
                      <a:pt x="0" y="45"/>
                      <a:pt x="1" y="44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7" y="0"/>
                      <a:pt x="78" y="0"/>
                      <a:pt x="79" y="1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5" y="22"/>
                      <a:pt x="116" y="22"/>
                      <a:pt x="116" y="23"/>
                    </a:cubicBezTo>
                    <a:cubicBezTo>
                      <a:pt x="116" y="24"/>
                      <a:pt x="115" y="25"/>
                      <a:pt x="115" y="25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39" y="69"/>
                      <a:pt x="38" y="69"/>
                      <a:pt x="38" y="69"/>
                    </a:cubicBezTo>
                    <a:close/>
                    <a:moveTo>
                      <a:pt x="6" y="46"/>
                    </a:moveTo>
                    <a:cubicBezTo>
                      <a:pt x="38" y="65"/>
                      <a:pt x="38" y="65"/>
                      <a:pt x="38" y="65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78" y="5"/>
                      <a:pt x="78" y="5"/>
                      <a:pt x="78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4" name="Freeform 867">
                <a:extLst>
                  <a:ext uri="{FF2B5EF4-FFF2-40B4-BE49-F238E27FC236}">
                    <a16:creationId xmlns:a16="http://schemas.microsoft.com/office/drawing/2014/main" id="{64850924-FD17-4810-8B47-8A66268FEA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5521551"/>
                <a:ext cx="304000" cy="345501"/>
              </a:xfrm>
              <a:custGeom>
                <a:avLst/>
                <a:gdLst>
                  <a:gd name="T0" fmla="*/ 45 w 124"/>
                  <a:gd name="T1" fmla="*/ 141 h 141"/>
                  <a:gd name="T2" fmla="*/ 44 w 124"/>
                  <a:gd name="T3" fmla="*/ 141 h 141"/>
                  <a:gd name="T4" fmla="*/ 43 w 124"/>
                  <a:gd name="T5" fmla="*/ 139 h 141"/>
                  <a:gd name="T6" fmla="*/ 43 w 124"/>
                  <a:gd name="T7" fmla="*/ 76 h 141"/>
                  <a:gd name="T8" fmla="*/ 3 w 124"/>
                  <a:gd name="T9" fmla="*/ 99 h 141"/>
                  <a:gd name="T10" fmla="*/ 1 w 124"/>
                  <a:gd name="T11" fmla="*/ 99 h 141"/>
                  <a:gd name="T12" fmla="*/ 0 w 124"/>
                  <a:gd name="T13" fmla="*/ 97 h 141"/>
                  <a:gd name="T14" fmla="*/ 0 w 124"/>
                  <a:gd name="T15" fmla="*/ 25 h 141"/>
                  <a:gd name="T16" fmla="*/ 1 w 124"/>
                  <a:gd name="T17" fmla="*/ 24 h 141"/>
                  <a:gd name="T18" fmla="*/ 32 w 124"/>
                  <a:gd name="T19" fmla="*/ 6 h 141"/>
                  <a:gd name="T20" fmla="*/ 34 w 124"/>
                  <a:gd name="T21" fmla="*/ 6 h 141"/>
                  <a:gd name="T22" fmla="*/ 73 w 124"/>
                  <a:gd name="T23" fmla="*/ 28 h 141"/>
                  <a:gd name="T24" fmla="*/ 121 w 124"/>
                  <a:gd name="T25" fmla="*/ 0 h 141"/>
                  <a:gd name="T26" fmla="*/ 123 w 124"/>
                  <a:gd name="T27" fmla="*/ 0 h 141"/>
                  <a:gd name="T28" fmla="*/ 124 w 124"/>
                  <a:gd name="T29" fmla="*/ 2 h 141"/>
                  <a:gd name="T30" fmla="*/ 124 w 124"/>
                  <a:gd name="T31" fmla="*/ 94 h 141"/>
                  <a:gd name="T32" fmla="*/ 123 w 124"/>
                  <a:gd name="T33" fmla="*/ 96 h 141"/>
                  <a:gd name="T34" fmla="*/ 118 w 124"/>
                  <a:gd name="T35" fmla="*/ 99 h 141"/>
                  <a:gd name="T36" fmla="*/ 116 w 124"/>
                  <a:gd name="T37" fmla="*/ 99 h 141"/>
                  <a:gd name="T38" fmla="*/ 58 w 124"/>
                  <a:gd name="T39" fmla="*/ 66 h 141"/>
                  <a:gd name="T40" fmla="*/ 58 w 124"/>
                  <a:gd name="T41" fmla="*/ 133 h 141"/>
                  <a:gd name="T42" fmla="*/ 57 w 124"/>
                  <a:gd name="T43" fmla="*/ 134 h 141"/>
                  <a:gd name="T44" fmla="*/ 46 w 124"/>
                  <a:gd name="T45" fmla="*/ 141 h 141"/>
                  <a:gd name="T46" fmla="*/ 45 w 124"/>
                  <a:gd name="T47" fmla="*/ 141 h 141"/>
                  <a:gd name="T48" fmla="*/ 45 w 124"/>
                  <a:gd name="T49" fmla="*/ 71 h 141"/>
                  <a:gd name="T50" fmla="*/ 46 w 124"/>
                  <a:gd name="T51" fmla="*/ 71 h 141"/>
                  <a:gd name="T52" fmla="*/ 47 w 124"/>
                  <a:gd name="T53" fmla="*/ 73 h 141"/>
                  <a:gd name="T54" fmla="*/ 47 w 124"/>
                  <a:gd name="T55" fmla="*/ 135 h 141"/>
                  <a:gd name="T56" fmla="*/ 54 w 124"/>
                  <a:gd name="T57" fmla="*/ 131 h 141"/>
                  <a:gd name="T58" fmla="*/ 54 w 124"/>
                  <a:gd name="T59" fmla="*/ 62 h 141"/>
                  <a:gd name="T60" fmla="*/ 55 w 124"/>
                  <a:gd name="T61" fmla="*/ 61 h 141"/>
                  <a:gd name="T62" fmla="*/ 57 w 124"/>
                  <a:gd name="T63" fmla="*/ 61 h 141"/>
                  <a:gd name="T64" fmla="*/ 117 w 124"/>
                  <a:gd name="T65" fmla="*/ 95 h 141"/>
                  <a:gd name="T66" fmla="*/ 120 w 124"/>
                  <a:gd name="T67" fmla="*/ 93 h 141"/>
                  <a:gd name="T68" fmla="*/ 120 w 124"/>
                  <a:gd name="T69" fmla="*/ 6 h 141"/>
                  <a:gd name="T70" fmla="*/ 74 w 124"/>
                  <a:gd name="T71" fmla="*/ 32 h 141"/>
                  <a:gd name="T72" fmla="*/ 72 w 124"/>
                  <a:gd name="T73" fmla="*/ 32 h 141"/>
                  <a:gd name="T74" fmla="*/ 33 w 124"/>
                  <a:gd name="T75" fmla="*/ 10 h 141"/>
                  <a:gd name="T76" fmla="*/ 4 w 124"/>
                  <a:gd name="T77" fmla="*/ 27 h 141"/>
                  <a:gd name="T78" fmla="*/ 4 w 124"/>
                  <a:gd name="T79" fmla="*/ 94 h 141"/>
                  <a:gd name="T80" fmla="*/ 44 w 124"/>
                  <a:gd name="T81" fmla="*/ 71 h 141"/>
                  <a:gd name="T82" fmla="*/ 45 w 124"/>
                  <a:gd name="T83" fmla="*/ 7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4" h="141">
                    <a:moveTo>
                      <a:pt x="45" y="141"/>
                    </a:moveTo>
                    <a:cubicBezTo>
                      <a:pt x="45" y="141"/>
                      <a:pt x="45" y="141"/>
                      <a:pt x="44" y="141"/>
                    </a:cubicBezTo>
                    <a:cubicBezTo>
                      <a:pt x="44" y="140"/>
                      <a:pt x="43" y="140"/>
                      <a:pt x="43" y="139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3" y="100"/>
                      <a:pt x="2" y="100"/>
                      <a:pt x="1" y="99"/>
                    </a:cubicBezTo>
                    <a:cubicBezTo>
                      <a:pt x="1" y="99"/>
                      <a:pt x="0" y="98"/>
                      <a:pt x="0" y="9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4"/>
                      <a:pt x="1" y="24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3" y="6"/>
                      <a:pt x="33" y="6"/>
                      <a:pt x="34" y="6"/>
                    </a:cubicBezTo>
                    <a:cubicBezTo>
                      <a:pt x="73" y="28"/>
                      <a:pt x="73" y="28"/>
                      <a:pt x="73" y="28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2" y="0"/>
                      <a:pt x="122" y="0"/>
                      <a:pt x="123" y="0"/>
                    </a:cubicBezTo>
                    <a:cubicBezTo>
                      <a:pt x="124" y="1"/>
                      <a:pt x="124" y="1"/>
                      <a:pt x="124" y="2"/>
                    </a:cubicBezTo>
                    <a:cubicBezTo>
                      <a:pt x="124" y="94"/>
                      <a:pt x="124" y="94"/>
                      <a:pt x="124" y="94"/>
                    </a:cubicBezTo>
                    <a:cubicBezTo>
                      <a:pt x="124" y="95"/>
                      <a:pt x="124" y="96"/>
                      <a:pt x="123" y="96"/>
                    </a:cubicBezTo>
                    <a:cubicBezTo>
                      <a:pt x="118" y="99"/>
                      <a:pt x="118" y="99"/>
                      <a:pt x="118" y="99"/>
                    </a:cubicBezTo>
                    <a:cubicBezTo>
                      <a:pt x="117" y="100"/>
                      <a:pt x="117" y="100"/>
                      <a:pt x="116" y="99"/>
                    </a:cubicBezTo>
                    <a:cubicBezTo>
                      <a:pt x="58" y="66"/>
                      <a:pt x="58" y="66"/>
                      <a:pt x="58" y="66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58" y="133"/>
                      <a:pt x="58" y="134"/>
                      <a:pt x="57" y="134"/>
                    </a:cubicBezTo>
                    <a:cubicBezTo>
                      <a:pt x="46" y="141"/>
                      <a:pt x="46" y="141"/>
                      <a:pt x="46" y="141"/>
                    </a:cubicBezTo>
                    <a:cubicBezTo>
                      <a:pt x="46" y="141"/>
                      <a:pt x="46" y="141"/>
                      <a:pt x="45" y="141"/>
                    </a:cubicBezTo>
                    <a:close/>
                    <a:moveTo>
                      <a:pt x="45" y="71"/>
                    </a:moveTo>
                    <a:cubicBezTo>
                      <a:pt x="46" y="71"/>
                      <a:pt x="46" y="71"/>
                      <a:pt x="46" y="71"/>
                    </a:cubicBezTo>
                    <a:cubicBezTo>
                      <a:pt x="47" y="71"/>
                      <a:pt x="47" y="72"/>
                      <a:pt x="47" y="73"/>
                    </a:cubicBezTo>
                    <a:cubicBezTo>
                      <a:pt x="47" y="135"/>
                      <a:pt x="47" y="135"/>
                      <a:pt x="47" y="135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4" y="62"/>
                      <a:pt x="54" y="61"/>
                      <a:pt x="55" y="61"/>
                    </a:cubicBezTo>
                    <a:cubicBezTo>
                      <a:pt x="56" y="60"/>
                      <a:pt x="56" y="60"/>
                      <a:pt x="57" y="61"/>
                    </a:cubicBezTo>
                    <a:cubicBezTo>
                      <a:pt x="117" y="95"/>
                      <a:pt x="117" y="95"/>
                      <a:pt x="117" y="95"/>
                    </a:cubicBezTo>
                    <a:cubicBezTo>
                      <a:pt x="120" y="93"/>
                      <a:pt x="120" y="93"/>
                      <a:pt x="120" y="93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3" y="33"/>
                      <a:pt x="72" y="33"/>
                      <a:pt x="72" y="32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4" y="94"/>
                      <a:pt x="4" y="94"/>
                      <a:pt x="4" y="94"/>
                    </a:cubicBezTo>
                    <a:cubicBezTo>
                      <a:pt x="44" y="71"/>
                      <a:pt x="44" y="71"/>
                      <a:pt x="44" y="71"/>
                    </a:cubicBezTo>
                    <a:cubicBezTo>
                      <a:pt x="45" y="71"/>
                      <a:pt x="45" y="71"/>
                      <a:pt x="45" y="7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5" name="Freeform 868">
                <a:extLst>
                  <a:ext uri="{FF2B5EF4-FFF2-40B4-BE49-F238E27FC236}">
                    <a16:creationId xmlns:a16="http://schemas.microsoft.com/office/drawing/2014/main" id="{29854F68-A130-40E7-A625-DF0A137895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5408459"/>
                <a:ext cx="34239" cy="39427"/>
              </a:xfrm>
              <a:custGeom>
                <a:avLst/>
                <a:gdLst>
                  <a:gd name="T0" fmla="*/ 12 w 14"/>
                  <a:gd name="T1" fmla="*/ 16 h 16"/>
                  <a:gd name="T2" fmla="*/ 11 w 14"/>
                  <a:gd name="T3" fmla="*/ 16 h 16"/>
                  <a:gd name="T4" fmla="*/ 1 w 14"/>
                  <a:gd name="T5" fmla="*/ 10 h 16"/>
                  <a:gd name="T6" fmla="*/ 0 w 14"/>
                  <a:gd name="T7" fmla="*/ 8 h 16"/>
                  <a:gd name="T8" fmla="*/ 1 w 14"/>
                  <a:gd name="T9" fmla="*/ 6 h 16"/>
                  <a:gd name="T10" fmla="*/ 11 w 14"/>
                  <a:gd name="T11" fmla="*/ 1 h 16"/>
                  <a:gd name="T12" fmla="*/ 13 w 14"/>
                  <a:gd name="T13" fmla="*/ 1 h 16"/>
                  <a:gd name="T14" fmla="*/ 14 w 14"/>
                  <a:gd name="T15" fmla="*/ 2 h 16"/>
                  <a:gd name="T16" fmla="*/ 14 w 14"/>
                  <a:gd name="T17" fmla="*/ 14 h 16"/>
                  <a:gd name="T18" fmla="*/ 13 w 14"/>
                  <a:gd name="T19" fmla="*/ 16 h 16"/>
                  <a:gd name="T20" fmla="*/ 12 w 14"/>
                  <a:gd name="T21" fmla="*/ 16 h 16"/>
                  <a:gd name="T22" fmla="*/ 6 w 14"/>
                  <a:gd name="T23" fmla="*/ 8 h 16"/>
                  <a:gd name="T24" fmla="*/ 10 w 14"/>
                  <a:gd name="T25" fmla="*/ 10 h 16"/>
                  <a:gd name="T26" fmla="*/ 10 w 14"/>
                  <a:gd name="T27" fmla="*/ 6 h 16"/>
                  <a:gd name="T28" fmla="*/ 6 w 14"/>
                  <a:gd name="T2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12" y="16"/>
                    </a:moveTo>
                    <a:cubicBezTo>
                      <a:pt x="12" y="16"/>
                      <a:pt x="11" y="16"/>
                      <a:pt x="11" y="16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12" y="0"/>
                      <a:pt x="13" y="1"/>
                    </a:cubicBezTo>
                    <a:cubicBezTo>
                      <a:pt x="14" y="1"/>
                      <a:pt x="14" y="2"/>
                      <a:pt x="14" y="2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5"/>
                      <a:pt x="14" y="15"/>
                      <a:pt x="13" y="16"/>
                    </a:cubicBezTo>
                    <a:cubicBezTo>
                      <a:pt x="13" y="16"/>
                      <a:pt x="12" y="16"/>
                      <a:pt x="12" y="16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6" name="Freeform 869">
                <a:extLst>
                  <a:ext uri="{FF2B5EF4-FFF2-40B4-BE49-F238E27FC236}">
                    <a16:creationId xmlns:a16="http://schemas.microsoft.com/office/drawing/2014/main" id="{E00BD698-C203-482A-9174-6CC3806BAD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5425060"/>
                <a:ext cx="223071" cy="172232"/>
              </a:xfrm>
              <a:custGeom>
                <a:avLst/>
                <a:gdLst>
                  <a:gd name="T0" fmla="*/ 40 w 91"/>
                  <a:gd name="T1" fmla="*/ 70 h 70"/>
                  <a:gd name="T2" fmla="*/ 39 w 91"/>
                  <a:gd name="T3" fmla="*/ 69 h 70"/>
                  <a:gd name="T4" fmla="*/ 1 w 91"/>
                  <a:gd name="T5" fmla="*/ 48 h 70"/>
                  <a:gd name="T6" fmla="*/ 0 w 91"/>
                  <a:gd name="T7" fmla="*/ 46 h 70"/>
                  <a:gd name="T8" fmla="*/ 1 w 91"/>
                  <a:gd name="T9" fmla="*/ 44 h 70"/>
                  <a:gd name="T10" fmla="*/ 76 w 91"/>
                  <a:gd name="T11" fmla="*/ 0 h 70"/>
                  <a:gd name="T12" fmla="*/ 78 w 91"/>
                  <a:gd name="T13" fmla="*/ 0 h 70"/>
                  <a:gd name="T14" fmla="*/ 90 w 91"/>
                  <a:gd name="T15" fmla="*/ 7 h 70"/>
                  <a:gd name="T16" fmla="*/ 91 w 91"/>
                  <a:gd name="T17" fmla="*/ 9 h 70"/>
                  <a:gd name="T18" fmla="*/ 91 w 91"/>
                  <a:gd name="T19" fmla="*/ 39 h 70"/>
                  <a:gd name="T20" fmla="*/ 90 w 91"/>
                  <a:gd name="T21" fmla="*/ 41 h 70"/>
                  <a:gd name="T22" fmla="*/ 41 w 91"/>
                  <a:gd name="T23" fmla="*/ 69 h 70"/>
                  <a:gd name="T24" fmla="*/ 40 w 91"/>
                  <a:gd name="T25" fmla="*/ 70 h 70"/>
                  <a:gd name="T26" fmla="*/ 6 w 91"/>
                  <a:gd name="T27" fmla="*/ 46 h 70"/>
                  <a:gd name="T28" fmla="*/ 40 w 91"/>
                  <a:gd name="T29" fmla="*/ 65 h 70"/>
                  <a:gd name="T30" fmla="*/ 87 w 91"/>
                  <a:gd name="T31" fmla="*/ 38 h 70"/>
                  <a:gd name="T32" fmla="*/ 87 w 91"/>
                  <a:gd name="T33" fmla="*/ 10 h 70"/>
                  <a:gd name="T34" fmla="*/ 77 w 91"/>
                  <a:gd name="T35" fmla="*/ 4 h 70"/>
                  <a:gd name="T36" fmla="*/ 6 w 91"/>
                  <a:gd name="T37" fmla="*/ 46 h 70"/>
                  <a:gd name="T38" fmla="*/ 89 w 91"/>
                  <a:gd name="T39" fmla="*/ 39 h 70"/>
                  <a:gd name="T40" fmla="*/ 89 w 91"/>
                  <a:gd name="T41" fmla="*/ 3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1" h="70">
                    <a:moveTo>
                      <a:pt x="40" y="70"/>
                    </a:moveTo>
                    <a:cubicBezTo>
                      <a:pt x="39" y="70"/>
                      <a:pt x="39" y="70"/>
                      <a:pt x="39" y="69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47"/>
                      <a:pt x="0" y="47"/>
                      <a:pt x="0" y="46"/>
                    </a:cubicBezTo>
                    <a:cubicBezTo>
                      <a:pt x="0" y="45"/>
                      <a:pt x="0" y="44"/>
                      <a:pt x="1" y="44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7" y="0"/>
                      <a:pt x="78" y="0"/>
                      <a:pt x="78" y="0"/>
                    </a:cubicBezTo>
                    <a:cubicBezTo>
                      <a:pt x="90" y="7"/>
                      <a:pt x="90" y="7"/>
                      <a:pt x="90" y="7"/>
                    </a:cubicBezTo>
                    <a:cubicBezTo>
                      <a:pt x="91" y="7"/>
                      <a:pt x="91" y="8"/>
                      <a:pt x="91" y="9"/>
                    </a:cubicBezTo>
                    <a:cubicBezTo>
                      <a:pt x="91" y="39"/>
                      <a:pt x="91" y="39"/>
                      <a:pt x="91" y="39"/>
                    </a:cubicBezTo>
                    <a:cubicBezTo>
                      <a:pt x="91" y="40"/>
                      <a:pt x="91" y="41"/>
                      <a:pt x="90" y="41"/>
                    </a:cubicBezTo>
                    <a:cubicBezTo>
                      <a:pt x="41" y="69"/>
                      <a:pt x="41" y="69"/>
                      <a:pt x="41" y="69"/>
                    </a:cubicBezTo>
                    <a:cubicBezTo>
                      <a:pt x="40" y="70"/>
                      <a:pt x="40" y="70"/>
                      <a:pt x="40" y="70"/>
                    </a:cubicBezTo>
                    <a:close/>
                    <a:moveTo>
                      <a:pt x="6" y="46"/>
                    </a:moveTo>
                    <a:cubicBezTo>
                      <a:pt x="40" y="65"/>
                      <a:pt x="40" y="65"/>
                      <a:pt x="40" y="65"/>
                    </a:cubicBezTo>
                    <a:cubicBezTo>
                      <a:pt x="87" y="38"/>
                      <a:pt x="87" y="38"/>
                      <a:pt x="87" y="38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77" y="4"/>
                      <a:pt x="77" y="4"/>
                      <a:pt x="77" y="4"/>
                    </a:cubicBezTo>
                    <a:lnTo>
                      <a:pt x="6" y="46"/>
                    </a:lnTo>
                    <a:close/>
                    <a:moveTo>
                      <a:pt x="89" y="39"/>
                    </a:moveTo>
                    <a:cubicBezTo>
                      <a:pt x="89" y="39"/>
                      <a:pt x="89" y="39"/>
                      <a:pt x="89" y="3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7" name="Freeform 870">
                <a:extLst>
                  <a:ext uri="{FF2B5EF4-FFF2-40B4-BE49-F238E27FC236}">
                    <a16:creationId xmlns:a16="http://schemas.microsoft.com/office/drawing/2014/main" id="{16715AED-B86B-43EF-A180-C847CAB3A6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860146" y="5950055"/>
                <a:ext cx="24901" cy="17638"/>
              </a:xfrm>
              <a:custGeom>
                <a:avLst/>
                <a:gdLst>
                  <a:gd name="T0" fmla="*/ 6 w 10"/>
                  <a:gd name="T1" fmla="*/ 7 h 7"/>
                  <a:gd name="T2" fmla="*/ 5 w 10"/>
                  <a:gd name="T3" fmla="*/ 7 h 7"/>
                  <a:gd name="T4" fmla="*/ 1 w 10"/>
                  <a:gd name="T5" fmla="*/ 5 h 7"/>
                  <a:gd name="T6" fmla="*/ 0 w 10"/>
                  <a:gd name="T7" fmla="*/ 3 h 7"/>
                  <a:gd name="T8" fmla="*/ 1 w 10"/>
                  <a:gd name="T9" fmla="*/ 1 h 7"/>
                  <a:gd name="T10" fmla="*/ 3 w 10"/>
                  <a:gd name="T11" fmla="*/ 0 h 7"/>
                  <a:gd name="T12" fmla="*/ 5 w 10"/>
                  <a:gd name="T13" fmla="*/ 0 h 7"/>
                  <a:gd name="T14" fmla="*/ 9 w 10"/>
                  <a:gd name="T15" fmla="*/ 3 h 7"/>
                  <a:gd name="T16" fmla="*/ 10 w 10"/>
                  <a:gd name="T17" fmla="*/ 4 h 7"/>
                  <a:gd name="T18" fmla="*/ 9 w 10"/>
                  <a:gd name="T19" fmla="*/ 6 h 7"/>
                  <a:gd name="T20" fmla="*/ 7 w 10"/>
                  <a:gd name="T21" fmla="*/ 7 h 7"/>
                  <a:gd name="T22" fmla="*/ 6 w 10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7">
                    <a:moveTo>
                      <a:pt x="6" y="7"/>
                    </a:moveTo>
                    <a:cubicBezTo>
                      <a:pt x="6" y="7"/>
                      <a:pt x="6" y="7"/>
                      <a:pt x="5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10" y="4"/>
                      <a:pt x="10" y="4"/>
                    </a:cubicBezTo>
                    <a:cubicBezTo>
                      <a:pt x="10" y="5"/>
                      <a:pt x="9" y="6"/>
                      <a:pt x="9" y="6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8" name="Freeform 871">
                <a:extLst>
                  <a:ext uri="{FF2B5EF4-FFF2-40B4-BE49-F238E27FC236}">
                    <a16:creationId xmlns:a16="http://schemas.microsoft.com/office/drawing/2014/main" id="{C9764298-AFDD-44FC-A5EA-7BB135B1F6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79574" y="6221890"/>
                <a:ext cx="30089" cy="37351"/>
              </a:xfrm>
              <a:custGeom>
                <a:avLst/>
                <a:gdLst>
                  <a:gd name="T0" fmla="*/ 10 w 12"/>
                  <a:gd name="T1" fmla="*/ 15 h 15"/>
                  <a:gd name="T2" fmla="*/ 9 w 12"/>
                  <a:gd name="T3" fmla="*/ 14 h 15"/>
                  <a:gd name="T4" fmla="*/ 1 w 12"/>
                  <a:gd name="T5" fmla="*/ 9 h 15"/>
                  <a:gd name="T6" fmla="*/ 0 w 12"/>
                  <a:gd name="T7" fmla="*/ 8 h 15"/>
                  <a:gd name="T8" fmla="*/ 1 w 12"/>
                  <a:gd name="T9" fmla="*/ 6 h 15"/>
                  <a:gd name="T10" fmla="*/ 9 w 12"/>
                  <a:gd name="T11" fmla="*/ 1 h 15"/>
                  <a:gd name="T12" fmla="*/ 11 w 12"/>
                  <a:gd name="T13" fmla="*/ 1 h 15"/>
                  <a:gd name="T14" fmla="*/ 12 w 12"/>
                  <a:gd name="T15" fmla="*/ 3 h 15"/>
                  <a:gd name="T16" fmla="*/ 12 w 12"/>
                  <a:gd name="T17" fmla="*/ 13 h 15"/>
                  <a:gd name="T18" fmla="*/ 11 w 12"/>
                  <a:gd name="T19" fmla="*/ 14 h 15"/>
                  <a:gd name="T20" fmla="*/ 10 w 12"/>
                  <a:gd name="T21" fmla="*/ 15 h 15"/>
                  <a:gd name="T22" fmla="*/ 6 w 12"/>
                  <a:gd name="T23" fmla="*/ 8 h 15"/>
                  <a:gd name="T24" fmla="*/ 8 w 12"/>
                  <a:gd name="T25" fmla="*/ 9 h 15"/>
                  <a:gd name="T26" fmla="*/ 8 w 12"/>
                  <a:gd name="T27" fmla="*/ 6 h 15"/>
                  <a:gd name="T28" fmla="*/ 6 w 12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5">
                    <a:moveTo>
                      <a:pt x="10" y="15"/>
                    </a:moveTo>
                    <a:cubicBezTo>
                      <a:pt x="10" y="15"/>
                      <a:pt x="10" y="14"/>
                      <a:pt x="9" y="14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2" y="1"/>
                      <a:pt x="12" y="2"/>
                      <a:pt x="12" y="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4"/>
                      <a:pt x="11" y="14"/>
                    </a:cubicBezTo>
                    <a:cubicBezTo>
                      <a:pt x="11" y="14"/>
                      <a:pt x="11" y="15"/>
                      <a:pt x="10" y="15"/>
                    </a:cubicBezTo>
                    <a:close/>
                    <a:moveTo>
                      <a:pt x="6" y="8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9" name="Freeform 872">
                <a:extLst>
                  <a:ext uri="{FF2B5EF4-FFF2-40B4-BE49-F238E27FC236}">
                    <a16:creationId xmlns:a16="http://schemas.microsoft.com/office/drawing/2014/main" id="{396A4119-D1D7-4C0E-9FF6-AEE3D1A3DA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28433" y="5514288"/>
                <a:ext cx="64328" cy="158744"/>
              </a:xfrm>
              <a:custGeom>
                <a:avLst/>
                <a:gdLst>
                  <a:gd name="T0" fmla="*/ 2 w 26"/>
                  <a:gd name="T1" fmla="*/ 65 h 65"/>
                  <a:gd name="T2" fmla="*/ 1 w 26"/>
                  <a:gd name="T3" fmla="*/ 65 h 65"/>
                  <a:gd name="T4" fmla="*/ 0 w 26"/>
                  <a:gd name="T5" fmla="*/ 63 h 65"/>
                  <a:gd name="T6" fmla="*/ 0 w 26"/>
                  <a:gd name="T7" fmla="*/ 2 h 65"/>
                  <a:gd name="T8" fmla="*/ 1 w 26"/>
                  <a:gd name="T9" fmla="*/ 0 h 65"/>
                  <a:gd name="T10" fmla="*/ 3 w 26"/>
                  <a:gd name="T11" fmla="*/ 0 h 65"/>
                  <a:gd name="T12" fmla="*/ 25 w 26"/>
                  <a:gd name="T13" fmla="*/ 13 h 65"/>
                  <a:gd name="T14" fmla="*/ 26 w 26"/>
                  <a:gd name="T15" fmla="*/ 14 h 65"/>
                  <a:gd name="T16" fmla="*/ 26 w 26"/>
                  <a:gd name="T17" fmla="*/ 51 h 65"/>
                  <a:gd name="T18" fmla="*/ 25 w 26"/>
                  <a:gd name="T19" fmla="*/ 53 h 65"/>
                  <a:gd name="T20" fmla="*/ 3 w 26"/>
                  <a:gd name="T21" fmla="*/ 65 h 65"/>
                  <a:gd name="T22" fmla="*/ 2 w 26"/>
                  <a:gd name="T23" fmla="*/ 65 h 65"/>
                  <a:gd name="T24" fmla="*/ 4 w 26"/>
                  <a:gd name="T25" fmla="*/ 6 h 65"/>
                  <a:gd name="T26" fmla="*/ 4 w 26"/>
                  <a:gd name="T27" fmla="*/ 60 h 65"/>
                  <a:gd name="T28" fmla="*/ 22 w 26"/>
                  <a:gd name="T29" fmla="*/ 50 h 65"/>
                  <a:gd name="T30" fmla="*/ 22 w 26"/>
                  <a:gd name="T31" fmla="*/ 16 h 65"/>
                  <a:gd name="T32" fmla="*/ 4 w 26"/>
                  <a:gd name="T33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65">
                    <a:moveTo>
                      <a:pt x="2" y="65"/>
                    </a:moveTo>
                    <a:cubicBezTo>
                      <a:pt x="2" y="65"/>
                      <a:pt x="2" y="65"/>
                      <a:pt x="1" y="65"/>
                    </a:cubicBezTo>
                    <a:cubicBezTo>
                      <a:pt x="1" y="65"/>
                      <a:pt x="0" y="64"/>
                      <a:pt x="0" y="6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4"/>
                      <a:pt x="26" y="14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2"/>
                      <a:pt x="25" y="52"/>
                      <a:pt x="25" y="53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3" y="65"/>
                      <a:pt x="3" y="65"/>
                      <a:pt x="2" y="65"/>
                    </a:cubicBezTo>
                    <a:close/>
                    <a:moveTo>
                      <a:pt x="4" y="6"/>
                    </a:moveTo>
                    <a:cubicBezTo>
                      <a:pt x="4" y="60"/>
                      <a:pt x="4" y="60"/>
                      <a:pt x="4" y="6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16"/>
                      <a:pt x="22" y="16"/>
                      <a:pt x="22" y="1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0" name="Freeform 873">
                <a:extLst>
                  <a:ext uri="{FF2B5EF4-FFF2-40B4-BE49-F238E27FC236}">
                    <a16:creationId xmlns:a16="http://schemas.microsoft.com/office/drawing/2014/main" id="{BB26EDBD-6341-471E-9257-B67FC60CA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674236" y="5894028"/>
                <a:ext cx="288437" cy="509432"/>
              </a:xfrm>
              <a:custGeom>
                <a:avLst/>
                <a:gdLst>
                  <a:gd name="T0" fmla="*/ 115 w 118"/>
                  <a:gd name="T1" fmla="*/ 208 h 208"/>
                  <a:gd name="T2" fmla="*/ 114 w 118"/>
                  <a:gd name="T3" fmla="*/ 208 h 208"/>
                  <a:gd name="T4" fmla="*/ 41 w 118"/>
                  <a:gd name="T5" fmla="*/ 165 h 208"/>
                  <a:gd name="T6" fmla="*/ 40 w 118"/>
                  <a:gd name="T7" fmla="*/ 164 h 208"/>
                  <a:gd name="T8" fmla="*/ 41 w 118"/>
                  <a:gd name="T9" fmla="*/ 162 h 208"/>
                  <a:gd name="T10" fmla="*/ 57 w 118"/>
                  <a:gd name="T11" fmla="*/ 152 h 208"/>
                  <a:gd name="T12" fmla="*/ 1 w 118"/>
                  <a:gd name="T13" fmla="*/ 120 h 208"/>
                  <a:gd name="T14" fmla="*/ 0 w 118"/>
                  <a:gd name="T15" fmla="*/ 119 h 208"/>
                  <a:gd name="T16" fmla="*/ 1 w 118"/>
                  <a:gd name="T17" fmla="*/ 117 h 208"/>
                  <a:gd name="T18" fmla="*/ 11 w 118"/>
                  <a:gd name="T19" fmla="*/ 111 h 208"/>
                  <a:gd name="T20" fmla="*/ 11 w 118"/>
                  <a:gd name="T21" fmla="*/ 2 h 208"/>
                  <a:gd name="T22" fmla="*/ 12 w 118"/>
                  <a:gd name="T23" fmla="*/ 1 h 208"/>
                  <a:gd name="T24" fmla="*/ 14 w 118"/>
                  <a:gd name="T25" fmla="*/ 1 h 208"/>
                  <a:gd name="T26" fmla="*/ 117 w 118"/>
                  <a:gd name="T27" fmla="*/ 60 h 208"/>
                  <a:gd name="T28" fmla="*/ 118 w 118"/>
                  <a:gd name="T29" fmla="*/ 62 h 208"/>
                  <a:gd name="T30" fmla="*/ 118 w 118"/>
                  <a:gd name="T31" fmla="*/ 82 h 208"/>
                  <a:gd name="T32" fmla="*/ 117 w 118"/>
                  <a:gd name="T33" fmla="*/ 84 h 208"/>
                  <a:gd name="T34" fmla="*/ 117 w 118"/>
                  <a:gd name="T35" fmla="*/ 206 h 208"/>
                  <a:gd name="T36" fmla="*/ 116 w 118"/>
                  <a:gd name="T37" fmla="*/ 208 h 208"/>
                  <a:gd name="T38" fmla="*/ 115 w 118"/>
                  <a:gd name="T39" fmla="*/ 208 h 208"/>
                  <a:gd name="T40" fmla="*/ 46 w 118"/>
                  <a:gd name="T41" fmla="*/ 164 h 208"/>
                  <a:gd name="T42" fmla="*/ 113 w 118"/>
                  <a:gd name="T43" fmla="*/ 202 h 208"/>
                  <a:gd name="T44" fmla="*/ 113 w 118"/>
                  <a:gd name="T45" fmla="*/ 82 h 208"/>
                  <a:gd name="T46" fmla="*/ 114 w 118"/>
                  <a:gd name="T47" fmla="*/ 81 h 208"/>
                  <a:gd name="T48" fmla="*/ 114 w 118"/>
                  <a:gd name="T49" fmla="*/ 63 h 208"/>
                  <a:gd name="T50" fmla="*/ 15 w 118"/>
                  <a:gd name="T51" fmla="*/ 6 h 208"/>
                  <a:gd name="T52" fmla="*/ 15 w 118"/>
                  <a:gd name="T53" fmla="*/ 112 h 208"/>
                  <a:gd name="T54" fmla="*/ 14 w 118"/>
                  <a:gd name="T55" fmla="*/ 114 h 208"/>
                  <a:gd name="T56" fmla="*/ 6 w 118"/>
                  <a:gd name="T57" fmla="*/ 119 h 208"/>
                  <a:gd name="T58" fmla="*/ 62 w 118"/>
                  <a:gd name="T59" fmla="*/ 151 h 208"/>
                  <a:gd name="T60" fmla="*/ 63 w 118"/>
                  <a:gd name="T61" fmla="*/ 152 h 208"/>
                  <a:gd name="T62" fmla="*/ 62 w 118"/>
                  <a:gd name="T63" fmla="*/ 154 h 208"/>
                  <a:gd name="T64" fmla="*/ 46 w 118"/>
                  <a:gd name="T65" fmla="*/ 16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8" h="208">
                    <a:moveTo>
                      <a:pt x="115" y="208"/>
                    </a:moveTo>
                    <a:cubicBezTo>
                      <a:pt x="115" y="208"/>
                      <a:pt x="114" y="208"/>
                      <a:pt x="114" y="208"/>
                    </a:cubicBezTo>
                    <a:cubicBezTo>
                      <a:pt x="41" y="165"/>
                      <a:pt x="41" y="165"/>
                      <a:pt x="41" y="165"/>
                    </a:cubicBezTo>
                    <a:cubicBezTo>
                      <a:pt x="40" y="165"/>
                      <a:pt x="40" y="164"/>
                      <a:pt x="40" y="164"/>
                    </a:cubicBezTo>
                    <a:cubicBezTo>
                      <a:pt x="40" y="163"/>
                      <a:pt x="40" y="162"/>
                      <a:pt x="41" y="162"/>
                    </a:cubicBezTo>
                    <a:cubicBezTo>
                      <a:pt x="57" y="152"/>
                      <a:pt x="57" y="152"/>
                      <a:pt x="57" y="15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20"/>
                      <a:pt x="0" y="119"/>
                      <a:pt x="0" y="119"/>
                    </a:cubicBezTo>
                    <a:cubicBezTo>
                      <a:pt x="0" y="118"/>
                      <a:pt x="1" y="117"/>
                      <a:pt x="1" y="117"/>
                    </a:cubicBezTo>
                    <a:cubicBezTo>
                      <a:pt x="11" y="111"/>
                      <a:pt x="11" y="111"/>
                      <a:pt x="11" y="111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2" y="1"/>
                      <a:pt x="12" y="1"/>
                    </a:cubicBezTo>
                    <a:cubicBezTo>
                      <a:pt x="13" y="0"/>
                      <a:pt x="14" y="0"/>
                      <a:pt x="14" y="1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7" y="60"/>
                      <a:pt x="118" y="61"/>
                      <a:pt x="118" y="62"/>
                    </a:cubicBezTo>
                    <a:cubicBezTo>
                      <a:pt x="118" y="82"/>
                      <a:pt x="118" y="82"/>
                      <a:pt x="118" y="82"/>
                    </a:cubicBezTo>
                    <a:cubicBezTo>
                      <a:pt x="118" y="83"/>
                      <a:pt x="118" y="83"/>
                      <a:pt x="117" y="84"/>
                    </a:cubicBezTo>
                    <a:cubicBezTo>
                      <a:pt x="117" y="206"/>
                      <a:pt x="117" y="206"/>
                      <a:pt x="117" y="206"/>
                    </a:cubicBezTo>
                    <a:cubicBezTo>
                      <a:pt x="117" y="207"/>
                      <a:pt x="117" y="207"/>
                      <a:pt x="116" y="208"/>
                    </a:cubicBezTo>
                    <a:cubicBezTo>
                      <a:pt x="116" y="208"/>
                      <a:pt x="115" y="208"/>
                      <a:pt x="115" y="208"/>
                    </a:cubicBezTo>
                    <a:close/>
                    <a:moveTo>
                      <a:pt x="46" y="164"/>
                    </a:moveTo>
                    <a:cubicBezTo>
                      <a:pt x="113" y="202"/>
                      <a:pt x="113" y="202"/>
                      <a:pt x="113" y="202"/>
                    </a:cubicBezTo>
                    <a:cubicBezTo>
                      <a:pt x="113" y="82"/>
                      <a:pt x="113" y="82"/>
                      <a:pt x="113" y="82"/>
                    </a:cubicBezTo>
                    <a:cubicBezTo>
                      <a:pt x="113" y="82"/>
                      <a:pt x="113" y="81"/>
                      <a:pt x="114" y="81"/>
                    </a:cubicBezTo>
                    <a:cubicBezTo>
                      <a:pt x="114" y="63"/>
                      <a:pt x="114" y="63"/>
                      <a:pt x="114" y="6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112"/>
                      <a:pt x="15" y="112"/>
                      <a:pt x="15" y="112"/>
                    </a:cubicBezTo>
                    <a:cubicBezTo>
                      <a:pt x="15" y="113"/>
                      <a:pt x="15" y="114"/>
                      <a:pt x="14" y="114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62" y="151"/>
                      <a:pt x="62" y="151"/>
                      <a:pt x="62" y="151"/>
                    </a:cubicBezTo>
                    <a:cubicBezTo>
                      <a:pt x="62" y="151"/>
                      <a:pt x="63" y="152"/>
                      <a:pt x="63" y="152"/>
                    </a:cubicBezTo>
                    <a:cubicBezTo>
                      <a:pt x="63" y="153"/>
                      <a:pt x="62" y="154"/>
                      <a:pt x="62" y="154"/>
                    </a:cubicBezTo>
                    <a:lnTo>
                      <a:pt x="46" y="1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1" name="Freeform 874">
                <a:extLst>
                  <a:ext uri="{FF2B5EF4-FFF2-40B4-BE49-F238E27FC236}">
                    <a16:creationId xmlns:a16="http://schemas.microsoft.com/office/drawing/2014/main" id="{32FC3F98-EF7A-41B8-B990-1149B26D37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526905" y="6498913"/>
                <a:ext cx="46689" cy="41502"/>
              </a:xfrm>
              <a:custGeom>
                <a:avLst/>
                <a:gdLst>
                  <a:gd name="T0" fmla="*/ 9 w 19"/>
                  <a:gd name="T1" fmla="*/ 17 h 17"/>
                  <a:gd name="T2" fmla="*/ 8 w 19"/>
                  <a:gd name="T3" fmla="*/ 16 h 17"/>
                  <a:gd name="T4" fmla="*/ 1 w 19"/>
                  <a:gd name="T5" fmla="*/ 12 h 17"/>
                  <a:gd name="T6" fmla="*/ 0 w 19"/>
                  <a:gd name="T7" fmla="*/ 10 h 17"/>
                  <a:gd name="T8" fmla="*/ 1 w 19"/>
                  <a:gd name="T9" fmla="*/ 9 h 17"/>
                  <a:gd name="T10" fmla="*/ 16 w 19"/>
                  <a:gd name="T11" fmla="*/ 0 h 17"/>
                  <a:gd name="T12" fmla="*/ 18 w 19"/>
                  <a:gd name="T13" fmla="*/ 0 h 17"/>
                  <a:gd name="T14" fmla="*/ 19 w 19"/>
                  <a:gd name="T15" fmla="*/ 2 h 17"/>
                  <a:gd name="T16" fmla="*/ 19 w 19"/>
                  <a:gd name="T17" fmla="*/ 10 h 17"/>
                  <a:gd name="T18" fmla="*/ 18 w 19"/>
                  <a:gd name="T19" fmla="*/ 12 h 17"/>
                  <a:gd name="T20" fmla="*/ 10 w 19"/>
                  <a:gd name="T21" fmla="*/ 16 h 17"/>
                  <a:gd name="T22" fmla="*/ 9 w 19"/>
                  <a:gd name="T23" fmla="*/ 17 h 17"/>
                  <a:gd name="T24" fmla="*/ 6 w 19"/>
                  <a:gd name="T25" fmla="*/ 10 h 17"/>
                  <a:gd name="T26" fmla="*/ 9 w 19"/>
                  <a:gd name="T27" fmla="*/ 12 h 17"/>
                  <a:gd name="T28" fmla="*/ 15 w 19"/>
                  <a:gd name="T29" fmla="*/ 9 h 17"/>
                  <a:gd name="T30" fmla="*/ 15 w 19"/>
                  <a:gd name="T31" fmla="*/ 5 h 17"/>
                  <a:gd name="T32" fmla="*/ 6 w 19"/>
                  <a:gd name="T3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7">
                    <a:moveTo>
                      <a:pt x="9" y="17"/>
                    </a:moveTo>
                    <a:cubicBezTo>
                      <a:pt x="9" y="17"/>
                      <a:pt x="9" y="17"/>
                      <a:pt x="8" y="1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0"/>
                      <a:pt x="19" y="1"/>
                      <a:pt x="19" y="2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1"/>
                      <a:pt x="18" y="12"/>
                      <a:pt x="18" y="12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7"/>
                      <a:pt x="10" y="17"/>
                      <a:pt x="9" y="17"/>
                    </a:cubicBezTo>
                    <a:close/>
                    <a:moveTo>
                      <a:pt x="6" y="1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2" name="Freeform 875">
                <a:extLst>
                  <a:ext uri="{FF2B5EF4-FFF2-40B4-BE49-F238E27FC236}">
                    <a16:creationId xmlns:a16="http://schemas.microsoft.com/office/drawing/2014/main" id="{E32BF93E-6737-4124-A2B8-EAF64669E1F4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519642" y="6347433"/>
                <a:ext cx="14526" cy="154593"/>
              </a:xfrm>
              <a:custGeom>
                <a:avLst/>
                <a:gdLst>
                  <a:gd name="T0" fmla="*/ 2 w 6"/>
                  <a:gd name="T1" fmla="*/ 63 h 63"/>
                  <a:gd name="T2" fmla="*/ 1 w 6"/>
                  <a:gd name="T3" fmla="*/ 63 h 63"/>
                  <a:gd name="T4" fmla="*/ 0 w 6"/>
                  <a:gd name="T5" fmla="*/ 61 h 63"/>
                  <a:gd name="T6" fmla="*/ 0 w 6"/>
                  <a:gd name="T7" fmla="*/ 3 h 63"/>
                  <a:gd name="T8" fmla="*/ 1 w 6"/>
                  <a:gd name="T9" fmla="*/ 2 h 63"/>
                  <a:gd name="T10" fmla="*/ 3 w 6"/>
                  <a:gd name="T11" fmla="*/ 0 h 63"/>
                  <a:gd name="T12" fmla="*/ 5 w 6"/>
                  <a:gd name="T13" fmla="*/ 0 h 63"/>
                  <a:gd name="T14" fmla="*/ 6 w 6"/>
                  <a:gd name="T15" fmla="*/ 2 h 63"/>
                  <a:gd name="T16" fmla="*/ 6 w 6"/>
                  <a:gd name="T17" fmla="*/ 60 h 63"/>
                  <a:gd name="T18" fmla="*/ 5 w 6"/>
                  <a:gd name="T19" fmla="*/ 61 h 63"/>
                  <a:gd name="T20" fmla="*/ 3 w 6"/>
                  <a:gd name="T21" fmla="*/ 63 h 63"/>
                  <a:gd name="T22" fmla="*/ 2 w 6"/>
                  <a:gd name="T2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63">
                    <a:moveTo>
                      <a:pt x="2" y="63"/>
                    </a:moveTo>
                    <a:cubicBezTo>
                      <a:pt x="2" y="63"/>
                      <a:pt x="2" y="63"/>
                      <a:pt x="1" y="63"/>
                    </a:cubicBezTo>
                    <a:cubicBezTo>
                      <a:pt x="1" y="62"/>
                      <a:pt x="0" y="62"/>
                      <a:pt x="0" y="6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60"/>
                      <a:pt x="6" y="61"/>
                      <a:pt x="5" y="61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3" y="63"/>
                      <a:pt x="2" y="6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3" name="Freeform 876">
                <a:extLst>
                  <a:ext uri="{FF2B5EF4-FFF2-40B4-BE49-F238E27FC236}">
                    <a16:creationId xmlns:a16="http://schemas.microsoft.com/office/drawing/2014/main" id="{1E87C542-09DE-480B-83AE-05F03EAE02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392024" y="6327719"/>
                <a:ext cx="132805" cy="169119"/>
              </a:xfrm>
              <a:custGeom>
                <a:avLst/>
                <a:gdLst>
                  <a:gd name="T0" fmla="*/ 2 w 54"/>
                  <a:gd name="T1" fmla="*/ 69 h 69"/>
                  <a:gd name="T2" fmla="*/ 1 w 54"/>
                  <a:gd name="T3" fmla="*/ 68 h 69"/>
                  <a:gd name="T4" fmla="*/ 0 w 54"/>
                  <a:gd name="T5" fmla="*/ 67 h 69"/>
                  <a:gd name="T6" fmla="*/ 0 w 54"/>
                  <a:gd name="T7" fmla="*/ 9 h 69"/>
                  <a:gd name="T8" fmla="*/ 1 w 54"/>
                  <a:gd name="T9" fmla="*/ 8 h 69"/>
                  <a:gd name="T10" fmla="*/ 13 w 54"/>
                  <a:gd name="T11" fmla="*/ 1 h 69"/>
                  <a:gd name="T12" fmla="*/ 15 w 54"/>
                  <a:gd name="T13" fmla="*/ 1 h 69"/>
                  <a:gd name="T14" fmla="*/ 53 w 54"/>
                  <a:gd name="T15" fmla="*/ 22 h 69"/>
                  <a:gd name="T16" fmla="*/ 54 w 54"/>
                  <a:gd name="T17" fmla="*/ 24 h 69"/>
                  <a:gd name="T18" fmla="*/ 53 w 54"/>
                  <a:gd name="T19" fmla="*/ 26 h 69"/>
                  <a:gd name="T20" fmla="*/ 11 w 54"/>
                  <a:gd name="T21" fmla="*/ 50 h 69"/>
                  <a:gd name="T22" fmla="*/ 20 w 54"/>
                  <a:gd name="T23" fmla="*/ 55 h 69"/>
                  <a:gd name="T24" fmla="*/ 21 w 54"/>
                  <a:gd name="T25" fmla="*/ 57 h 69"/>
                  <a:gd name="T26" fmla="*/ 20 w 54"/>
                  <a:gd name="T27" fmla="*/ 58 h 69"/>
                  <a:gd name="T28" fmla="*/ 3 w 54"/>
                  <a:gd name="T29" fmla="*/ 68 h 69"/>
                  <a:gd name="T30" fmla="*/ 2 w 54"/>
                  <a:gd name="T31" fmla="*/ 69 h 69"/>
                  <a:gd name="T32" fmla="*/ 4 w 54"/>
                  <a:gd name="T33" fmla="*/ 10 h 69"/>
                  <a:gd name="T34" fmla="*/ 4 w 54"/>
                  <a:gd name="T35" fmla="*/ 63 h 69"/>
                  <a:gd name="T36" fmla="*/ 15 w 54"/>
                  <a:gd name="T37" fmla="*/ 57 h 69"/>
                  <a:gd name="T38" fmla="*/ 6 w 54"/>
                  <a:gd name="T39" fmla="*/ 52 h 69"/>
                  <a:gd name="T40" fmla="*/ 5 w 54"/>
                  <a:gd name="T41" fmla="*/ 50 h 69"/>
                  <a:gd name="T42" fmla="*/ 6 w 54"/>
                  <a:gd name="T43" fmla="*/ 48 h 69"/>
                  <a:gd name="T44" fmla="*/ 48 w 54"/>
                  <a:gd name="T45" fmla="*/ 24 h 69"/>
                  <a:gd name="T46" fmla="*/ 14 w 54"/>
                  <a:gd name="T47" fmla="*/ 5 h 69"/>
                  <a:gd name="T48" fmla="*/ 4 w 54"/>
                  <a:gd name="T49" fmla="*/ 1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4" h="69">
                    <a:moveTo>
                      <a:pt x="2" y="69"/>
                    </a:moveTo>
                    <a:cubicBezTo>
                      <a:pt x="2" y="69"/>
                      <a:pt x="1" y="69"/>
                      <a:pt x="1" y="68"/>
                    </a:cubicBezTo>
                    <a:cubicBezTo>
                      <a:pt x="0" y="68"/>
                      <a:pt x="0" y="67"/>
                      <a:pt x="0" y="6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53" y="22"/>
                      <a:pt x="53" y="22"/>
                      <a:pt x="53" y="22"/>
                    </a:cubicBezTo>
                    <a:cubicBezTo>
                      <a:pt x="53" y="23"/>
                      <a:pt x="54" y="24"/>
                      <a:pt x="54" y="24"/>
                    </a:cubicBezTo>
                    <a:cubicBezTo>
                      <a:pt x="54" y="25"/>
                      <a:pt x="53" y="26"/>
                      <a:pt x="53" y="26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1" y="55"/>
                      <a:pt x="21" y="56"/>
                      <a:pt x="21" y="57"/>
                    </a:cubicBezTo>
                    <a:cubicBezTo>
                      <a:pt x="21" y="57"/>
                      <a:pt x="21" y="58"/>
                      <a:pt x="20" y="58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3" y="69"/>
                      <a:pt x="2" y="69"/>
                      <a:pt x="2" y="69"/>
                    </a:cubicBezTo>
                    <a:close/>
                    <a:moveTo>
                      <a:pt x="4" y="10"/>
                    </a:moveTo>
                    <a:cubicBezTo>
                      <a:pt x="4" y="63"/>
                      <a:pt x="4" y="63"/>
                      <a:pt x="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6" y="51"/>
                      <a:pt x="5" y="51"/>
                      <a:pt x="5" y="50"/>
                    </a:cubicBezTo>
                    <a:cubicBezTo>
                      <a:pt x="5" y="49"/>
                      <a:pt x="6" y="48"/>
                      <a:pt x="6" y="4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4" name="Freeform 877">
                <a:extLst>
                  <a:ext uri="{FF2B5EF4-FFF2-40B4-BE49-F238E27FC236}">
                    <a16:creationId xmlns:a16="http://schemas.microsoft.com/office/drawing/2014/main" id="{05C74AF5-19EE-4D0B-B7B3-7AC0A88A2E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490591" y="6310081"/>
                <a:ext cx="34239" cy="39427"/>
              </a:xfrm>
              <a:custGeom>
                <a:avLst/>
                <a:gdLst>
                  <a:gd name="T0" fmla="*/ 2 w 14"/>
                  <a:gd name="T1" fmla="*/ 16 h 16"/>
                  <a:gd name="T2" fmla="*/ 1 w 14"/>
                  <a:gd name="T3" fmla="*/ 16 h 16"/>
                  <a:gd name="T4" fmla="*/ 0 w 14"/>
                  <a:gd name="T5" fmla="*/ 14 h 16"/>
                  <a:gd name="T6" fmla="*/ 0 w 14"/>
                  <a:gd name="T7" fmla="*/ 3 h 16"/>
                  <a:gd name="T8" fmla="*/ 1 w 14"/>
                  <a:gd name="T9" fmla="*/ 1 h 16"/>
                  <a:gd name="T10" fmla="*/ 3 w 14"/>
                  <a:gd name="T11" fmla="*/ 1 h 16"/>
                  <a:gd name="T12" fmla="*/ 13 w 14"/>
                  <a:gd name="T13" fmla="*/ 7 h 16"/>
                  <a:gd name="T14" fmla="*/ 14 w 14"/>
                  <a:gd name="T15" fmla="*/ 8 h 16"/>
                  <a:gd name="T16" fmla="*/ 13 w 14"/>
                  <a:gd name="T17" fmla="*/ 10 h 16"/>
                  <a:gd name="T18" fmla="*/ 3 w 14"/>
                  <a:gd name="T19" fmla="*/ 16 h 16"/>
                  <a:gd name="T20" fmla="*/ 2 w 14"/>
                  <a:gd name="T21" fmla="*/ 16 h 16"/>
                  <a:gd name="T22" fmla="*/ 4 w 14"/>
                  <a:gd name="T23" fmla="*/ 6 h 16"/>
                  <a:gd name="T24" fmla="*/ 4 w 14"/>
                  <a:gd name="T25" fmla="*/ 11 h 16"/>
                  <a:gd name="T26" fmla="*/ 8 w 14"/>
                  <a:gd name="T27" fmla="*/ 8 h 16"/>
                  <a:gd name="T28" fmla="*/ 4 w 14"/>
                  <a:gd name="T29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2" y="16"/>
                    </a:moveTo>
                    <a:cubicBezTo>
                      <a:pt x="2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4" y="7"/>
                      <a:pt x="14" y="8"/>
                      <a:pt x="14" y="8"/>
                    </a:cubicBezTo>
                    <a:cubicBezTo>
                      <a:pt x="14" y="9"/>
                      <a:pt x="14" y="10"/>
                      <a:pt x="13" y="10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  <a:moveTo>
                      <a:pt x="4" y="6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5" name="Freeform 878">
                <a:extLst>
                  <a:ext uri="{FF2B5EF4-FFF2-40B4-BE49-F238E27FC236}">
                    <a16:creationId xmlns:a16="http://schemas.microsoft.com/office/drawing/2014/main" id="{8084B8A4-1C50-4F7E-A539-BEDA85B102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28433" y="5638793"/>
                <a:ext cx="64328" cy="190907"/>
              </a:xfrm>
              <a:custGeom>
                <a:avLst/>
                <a:gdLst>
                  <a:gd name="T0" fmla="*/ 2 w 26"/>
                  <a:gd name="T1" fmla="*/ 78 h 78"/>
                  <a:gd name="T2" fmla="*/ 1 w 26"/>
                  <a:gd name="T3" fmla="*/ 78 h 78"/>
                  <a:gd name="T4" fmla="*/ 0 w 26"/>
                  <a:gd name="T5" fmla="*/ 76 h 78"/>
                  <a:gd name="T6" fmla="*/ 0 w 26"/>
                  <a:gd name="T7" fmla="*/ 14 h 78"/>
                  <a:gd name="T8" fmla="*/ 1 w 26"/>
                  <a:gd name="T9" fmla="*/ 12 h 78"/>
                  <a:gd name="T10" fmla="*/ 23 w 26"/>
                  <a:gd name="T11" fmla="*/ 0 h 78"/>
                  <a:gd name="T12" fmla="*/ 25 w 26"/>
                  <a:gd name="T13" fmla="*/ 0 h 78"/>
                  <a:gd name="T14" fmla="*/ 26 w 26"/>
                  <a:gd name="T15" fmla="*/ 2 h 78"/>
                  <a:gd name="T16" fmla="*/ 26 w 26"/>
                  <a:gd name="T17" fmla="*/ 64 h 78"/>
                  <a:gd name="T18" fmla="*/ 25 w 26"/>
                  <a:gd name="T19" fmla="*/ 65 h 78"/>
                  <a:gd name="T20" fmla="*/ 3 w 26"/>
                  <a:gd name="T21" fmla="*/ 78 h 78"/>
                  <a:gd name="T22" fmla="*/ 2 w 26"/>
                  <a:gd name="T23" fmla="*/ 78 h 78"/>
                  <a:gd name="T24" fmla="*/ 4 w 26"/>
                  <a:gd name="T25" fmla="*/ 15 h 78"/>
                  <a:gd name="T26" fmla="*/ 4 w 26"/>
                  <a:gd name="T27" fmla="*/ 72 h 78"/>
                  <a:gd name="T28" fmla="*/ 22 w 26"/>
                  <a:gd name="T29" fmla="*/ 62 h 78"/>
                  <a:gd name="T30" fmla="*/ 22 w 26"/>
                  <a:gd name="T31" fmla="*/ 5 h 78"/>
                  <a:gd name="T32" fmla="*/ 4 w 26"/>
                  <a:gd name="T3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78">
                    <a:moveTo>
                      <a:pt x="2" y="78"/>
                    </a:moveTo>
                    <a:cubicBezTo>
                      <a:pt x="2" y="78"/>
                      <a:pt x="2" y="78"/>
                      <a:pt x="1" y="78"/>
                    </a:cubicBezTo>
                    <a:cubicBezTo>
                      <a:pt x="1" y="77"/>
                      <a:pt x="0" y="77"/>
                      <a:pt x="0" y="7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1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6" y="64"/>
                      <a:pt x="25" y="65"/>
                      <a:pt x="25" y="65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3" y="78"/>
                      <a:pt x="3" y="78"/>
                      <a:pt x="2" y="78"/>
                    </a:cubicBezTo>
                    <a:close/>
                    <a:moveTo>
                      <a:pt x="4" y="15"/>
                    </a:moveTo>
                    <a:cubicBezTo>
                      <a:pt x="4" y="72"/>
                      <a:pt x="4" y="72"/>
                      <a:pt x="4" y="72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5"/>
                      <a:pt x="22" y="5"/>
                      <a:pt x="22" y="5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6" name="Freeform 879">
                <a:extLst>
                  <a:ext uri="{FF2B5EF4-FFF2-40B4-BE49-F238E27FC236}">
                    <a16:creationId xmlns:a16="http://schemas.microsoft.com/office/drawing/2014/main" id="{49F452E9-3A33-4DE1-AA1D-7971638B01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69785" y="5408459"/>
                <a:ext cx="34239" cy="291549"/>
              </a:xfrm>
              <a:custGeom>
                <a:avLst/>
                <a:gdLst>
                  <a:gd name="T0" fmla="*/ 12 w 14"/>
                  <a:gd name="T1" fmla="*/ 119 h 119"/>
                  <a:gd name="T2" fmla="*/ 11 w 14"/>
                  <a:gd name="T3" fmla="*/ 119 h 119"/>
                  <a:gd name="T4" fmla="*/ 1 w 14"/>
                  <a:gd name="T5" fmla="*/ 114 h 119"/>
                  <a:gd name="T6" fmla="*/ 0 w 14"/>
                  <a:gd name="T7" fmla="*/ 112 h 119"/>
                  <a:gd name="T8" fmla="*/ 0 w 14"/>
                  <a:gd name="T9" fmla="*/ 8 h 119"/>
                  <a:gd name="T10" fmla="*/ 1 w 14"/>
                  <a:gd name="T11" fmla="*/ 6 h 119"/>
                  <a:gd name="T12" fmla="*/ 11 w 14"/>
                  <a:gd name="T13" fmla="*/ 1 h 119"/>
                  <a:gd name="T14" fmla="*/ 13 w 14"/>
                  <a:gd name="T15" fmla="*/ 1 h 119"/>
                  <a:gd name="T16" fmla="*/ 14 w 14"/>
                  <a:gd name="T17" fmla="*/ 2 h 119"/>
                  <a:gd name="T18" fmla="*/ 14 w 14"/>
                  <a:gd name="T19" fmla="*/ 117 h 119"/>
                  <a:gd name="T20" fmla="*/ 13 w 14"/>
                  <a:gd name="T21" fmla="*/ 119 h 119"/>
                  <a:gd name="T22" fmla="*/ 12 w 14"/>
                  <a:gd name="T23" fmla="*/ 119 h 119"/>
                  <a:gd name="T24" fmla="*/ 4 w 14"/>
                  <a:gd name="T25" fmla="*/ 111 h 119"/>
                  <a:gd name="T26" fmla="*/ 10 w 14"/>
                  <a:gd name="T27" fmla="*/ 114 h 119"/>
                  <a:gd name="T28" fmla="*/ 10 w 14"/>
                  <a:gd name="T29" fmla="*/ 6 h 119"/>
                  <a:gd name="T30" fmla="*/ 4 w 14"/>
                  <a:gd name="T31" fmla="*/ 9 h 119"/>
                  <a:gd name="T32" fmla="*/ 4 w 14"/>
                  <a:gd name="T33" fmla="*/ 111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19">
                    <a:moveTo>
                      <a:pt x="12" y="119"/>
                    </a:moveTo>
                    <a:cubicBezTo>
                      <a:pt x="11" y="119"/>
                      <a:pt x="11" y="119"/>
                      <a:pt x="11" y="119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3"/>
                      <a:pt x="0" y="113"/>
                      <a:pt x="0" y="11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4" y="117"/>
                      <a:pt x="14" y="117"/>
                      <a:pt x="14" y="117"/>
                    </a:cubicBezTo>
                    <a:cubicBezTo>
                      <a:pt x="14" y="118"/>
                      <a:pt x="13" y="119"/>
                      <a:pt x="13" y="119"/>
                    </a:cubicBezTo>
                    <a:cubicBezTo>
                      <a:pt x="12" y="119"/>
                      <a:pt x="12" y="119"/>
                      <a:pt x="12" y="119"/>
                    </a:cubicBezTo>
                    <a:close/>
                    <a:moveTo>
                      <a:pt x="4" y="111"/>
                    </a:moveTo>
                    <a:cubicBezTo>
                      <a:pt x="10" y="114"/>
                      <a:pt x="10" y="114"/>
                      <a:pt x="10" y="114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7" name="Freeform 880">
                <a:extLst>
                  <a:ext uri="{FF2B5EF4-FFF2-40B4-BE49-F238E27FC236}">
                    <a16:creationId xmlns:a16="http://schemas.microsoft.com/office/drawing/2014/main" id="{580E9005-3770-4CF2-8F10-CE549626FE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5371108"/>
                <a:ext cx="318525" cy="400490"/>
              </a:xfrm>
              <a:custGeom>
                <a:avLst/>
                <a:gdLst>
                  <a:gd name="T0" fmla="*/ 61 w 130"/>
                  <a:gd name="T1" fmla="*/ 163 h 163"/>
                  <a:gd name="T2" fmla="*/ 60 w 130"/>
                  <a:gd name="T3" fmla="*/ 162 h 163"/>
                  <a:gd name="T4" fmla="*/ 12 w 130"/>
                  <a:gd name="T5" fmla="*/ 135 h 163"/>
                  <a:gd name="T6" fmla="*/ 11 w 130"/>
                  <a:gd name="T7" fmla="*/ 133 h 163"/>
                  <a:gd name="T8" fmla="*/ 11 w 130"/>
                  <a:gd name="T9" fmla="*/ 18 h 163"/>
                  <a:gd name="T10" fmla="*/ 3 w 130"/>
                  <a:gd name="T11" fmla="*/ 23 h 163"/>
                  <a:gd name="T12" fmla="*/ 1 w 130"/>
                  <a:gd name="T13" fmla="*/ 23 h 163"/>
                  <a:gd name="T14" fmla="*/ 0 w 130"/>
                  <a:gd name="T15" fmla="*/ 21 h 163"/>
                  <a:gd name="T16" fmla="*/ 0 w 130"/>
                  <a:gd name="T17" fmla="*/ 18 h 163"/>
                  <a:gd name="T18" fmla="*/ 1 w 130"/>
                  <a:gd name="T19" fmla="*/ 16 h 163"/>
                  <a:gd name="T20" fmla="*/ 28 w 130"/>
                  <a:gd name="T21" fmla="*/ 1 h 163"/>
                  <a:gd name="T22" fmla="*/ 30 w 130"/>
                  <a:gd name="T23" fmla="*/ 1 h 163"/>
                  <a:gd name="T24" fmla="*/ 129 w 130"/>
                  <a:gd name="T25" fmla="*/ 58 h 163"/>
                  <a:gd name="T26" fmla="*/ 130 w 130"/>
                  <a:gd name="T27" fmla="*/ 59 h 163"/>
                  <a:gd name="T28" fmla="*/ 130 w 130"/>
                  <a:gd name="T29" fmla="*/ 122 h 163"/>
                  <a:gd name="T30" fmla="*/ 129 w 130"/>
                  <a:gd name="T31" fmla="*/ 124 h 163"/>
                  <a:gd name="T32" fmla="*/ 62 w 130"/>
                  <a:gd name="T33" fmla="*/ 162 h 163"/>
                  <a:gd name="T34" fmla="*/ 61 w 130"/>
                  <a:gd name="T35" fmla="*/ 163 h 163"/>
                  <a:gd name="T36" fmla="*/ 15 w 130"/>
                  <a:gd name="T37" fmla="*/ 132 h 163"/>
                  <a:gd name="T38" fmla="*/ 61 w 130"/>
                  <a:gd name="T39" fmla="*/ 158 h 163"/>
                  <a:gd name="T40" fmla="*/ 126 w 130"/>
                  <a:gd name="T41" fmla="*/ 121 h 163"/>
                  <a:gd name="T42" fmla="*/ 126 w 130"/>
                  <a:gd name="T43" fmla="*/ 60 h 163"/>
                  <a:gd name="T44" fmla="*/ 29 w 130"/>
                  <a:gd name="T45" fmla="*/ 5 h 163"/>
                  <a:gd name="T46" fmla="*/ 14 w 130"/>
                  <a:gd name="T47" fmla="*/ 13 h 163"/>
                  <a:gd name="T48" fmla="*/ 15 w 130"/>
                  <a:gd name="T49" fmla="*/ 15 h 163"/>
                  <a:gd name="T50" fmla="*/ 15 w 130"/>
                  <a:gd name="T51" fmla="*/ 13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0" h="163">
                    <a:moveTo>
                      <a:pt x="61" y="163"/>
                    </a:moveTo>
                    <a:cubicBezTo>
                      <a:pt x="60" y="163"/>
                      <a:pt x="60" y="163"/>
                      <a:pt x="60" y="162"/>
                    </a:cubicBezTo>
                    <a:cubicBezTo>
                      <a:pt x="12" y="135"/>
                      <a:pt x="12" y="135"/>
                      <a:pt x="12" y="135"/>
                    </a:cubicBezTo>
                    <a:cubicBezTo>
                      <a:pt x="12" y="135"/>
                      <a:pt x="11" y="134"/>
                      <a:pt x="11" y="133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2" y="23"/>
                      <a:pt x="1" y="23"/>
                    </a:cubicBezTo>
                    <a:cubicBezTo>
                      <a:pt x="1" y="22"/>
                      <a:pt x="0" y="21"/>
                      <a:pt x="0" y="2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1" y="16"/>
                      <a:pt x="1" y="1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9" y="0"/>
                      <a:pt x="29" y="0"/>
                      <a:pt x="30" y="1"/>
                    </a:cubicBezTo>
                    <a:cubicBezTo>
                      <a:pt x="129" y="58"/>
                      <a:pt x="129" y="58"/>
                      <a:pt x="129" y="58"/>
                    </a:cubicBezTo>
                    <a:cubicBezTo>
                      <a:pt x="129" y="58"/>
                      <a:pt x="130" y="59"/>
                      <a:pt x="130" y="59"/>
                    </a:cubicBezTo>
                    <a:cubicBezTo>
                      <a:pt x="130" y="122"/>
                      <a:pt x="130" y="122"/>
                      <a:pt x="130" y="122"/>
                    </a:cubicBezTo>
                    <a:cubicBezTo>
                      <a:pt x="130" y="123"/>
                      <a:pt x="129" y="123"/>
                      <a:pt x="129" y="124"/>
                    </a:cubicBezTo>
                    <a:cubicBezTo>
                      <a:pt x="62" y="162"/>
                      <a:pt x="62" y="162"/>
                      <a:pt x="62" y="162"/>
                    </a:cubicBezTo>
                    <a:cubicBezTo>
                      <a:pt x="62" y="163"/>
                      <a:pt x="61" y="163"/>
                      <a:pt x="61" y="163"/>
                    </a:cubicBezTo>
                    <a:close/>
                    <a:moveTo>
                      <a:pt x="15" y="132"/>
                    </a:moveTo>
                    <a:cubicBezTo>
                      <a:pt x="61" y="158"/>
                      <a:pt x="61" y="158"/>
                      <a:pt x="61" y="158"/>
                    </a:cubicBezTo>
                    <a:cubicBezTo>
                      <a:pt x="126" y="121"/>
                      <a:pt x="126" y="121"/>
                      <a:pt x="126" y="121"/>
                    </a:cubicBezTo>
                    <a:cubicBezTo>
                      <a:pt x="126" y="60"/>
                      <a:pt x="126" y="60"/>
                      <a:pt x="126" y="60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5" y="13"/>
                      <a:pt x="15" y="14"/>
                      <a:pt x="15" y="15"/>
                    </a:cubicBezTo>
                    <a:lnTo>
                      <a:pt x="15" y="13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8" name="Freeform 881">
                <a:extLst>
                  <a:ext uri="{FF2B5EF4-FFF2-40B4-BE49-F238E27FC236}">
                    <a16:creationId xmlns:a16="http://schemas.microsoft.com/office/drawing/2014/main" id="{971CFE9E-B788-431B-BDFE-8E9EEF7121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96761" y="5413647"/>
                <a:ext cx="315413" cy="205433"/>
              </a:xfrm>
              <a:custGeom>
                <a:avLst/>
                <a:gdLst>
                  <a:gd name="T0" fmla="*/ 16 w 129"/>
                  <a:gd name="T1" fmla="*/ 84 h 84"/>
                  <a:gd name="T2" fmla="*/ 15 w 129"/>
                  <a:gd name="T3" fmla="*/ 84 h 84"/>
                  <a:gd name="T4" fmla="*/ 1 w 129"/>
                  <a:gd name="T5" fmla="*/ 75 h 84"/>
                  <a:gd name="T6" fmla="*/ 0 w 129"/>
                  <a:gd name="T7" fmla="*/ 74 h 84"/>
                  <a:gd name="T8" fmla="*/ 1 w 129"/>
                  <a:gd name="T9" fmla="*/ 72 h 84"/>
                  <a:gd name="T10" fmla="*/ 126 w 129"/>
                  <a:gd name="T11" fmla="*/ 0 h 84"/>
                  <a:gd name="T12" fmla="*/ 128 w 129"/>
                  <a:gd name="T13" fmla="*/ 0 h 84"/>
                  <a:gd name="T14" fmla="*/ 129 w 129"/>
                  <a:gd name="T15" fmla="*/ 2 h 84"/>
                  <a:gd name="T16" fmla="*/ 129 w 129"/>
                  <a:gd name="T17" fmla="*/ 5 h 84"/>
                  <a:gd name="T18" fmla="*/ 128 w 129"/>
                  <a:gd name="T19" fmla="*/ 6 h 84"/>
                  <a:gd name="T20" fmla="*/ 18 w 129"/>
                  <a:gd name="T21" fmla="*/ 70 h 84"/>
                  <a:gd name="T22" fmla="*/ 18 w 129"/>
                  <a:gd name="T23" fmla="*/ 82 h 84"/>
                  <a:gd name="T24" fmla="*/ 17 w 129"/>
                  <a:gd name="T25" fmla="*/ 84 h 84"/>
                  <a:gd name="T26" fmla="*/ 16 w 129"/>
                  <a:gd name="T27" fmla="*/ 84 h 84"/>
                  <a:gd name="T28" fmla="*/ 6 w 129"/>
                  <a:gd name="T29" fmla="*/ 74 h 84"/>
                  <a:gd name="T30" fmla="*/ 14 w 129"/>
                  <a:gd name="T31" fmla="*/ 78 h 84"/>
                  <a:gd name="T32" fmla="*/ 14 w 129"/>
                  <a:gd name="T33" fmla="*/ 69 h 84"/>
                  <a:gd name="T34" fmla="*/ 6 w 129"/>
                  <a:gd name="T35" fmla="*/ 7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9" h="84">
                    <a:moveTo>
                      <a:pt x="16" y="84"/>
                    </a:moveTo>
                    <a:cubicBezTo>
                      <a:pt x="16" y="84"/>
                      <a:pt x="16" y="84"/>
                      <a:pt x="15" y="84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0" y="75"/>
                      <a:pt x="0" y="74"/>
                      <a:pt x="0" y="74"/>
                    </a:cubicBezTo>
                    <a:cubicBezTo>
                      <a:pt x="0" y="73"/>
                      <a:pt x="0" y="72"/>
                      <a:pt x="1" y="72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7" y="0"/>
                      <a:pt x="128" y="0"/>
                    </a:cubicBezTo>
                    <a:cubicBezTo>
                      <a:pt x="128" y="0"/>
                      <a:pt x="129" y="1"/>
                      <a:pt x="129" y="2"/>
                    </a:cubicBezTo>
                    <a:cubicBezTo>
                      <a:pt x="129" y="5"/>
                      <a:pt x="129" y="5"/>
                      <a:pt x="129" y="5"/>
                    </a:cubicBezTo>
                    <a:cubicBezTo>
                      <a:pt x="129" y="5"/>
                      <a:pt x="128" y="6"/>
                      <a:pt x="128" y="6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18" y="82"/>
                      <a:pt x="18" y="82"/>
                      <a:pt x="18" y="82"/>
                    </a:cubicBezTo>
                    <a:cubicBezTo>
                      <a:pt x="18" y="83"/>
                      <a:pt x="18" y="83"/>
                      <a:pt x="17" y="84"/>
                    </a:cubicBezTo>
                    <a:cubicBezTo>
                      <a:pt x="17" y="84"/>
                      <a:pt x="17" y="84"/>
                      <a:pt x="16" y="84"/>
                    </a:cubicBezTo>
                    <a:close/>
                    <a:moveTo>
                      <a:pt x="6" y="74"/>
                    </a:moveTo>
                    <a:cubicBezTo>
                      <a:pt x="14" y="78"/>
                      <a:pt x="14" y="78"/>
                      <a:pt x="14" y="78"/>
                    </a:cubicBezTo>
                    <a:cubicBezTo>
                      <a:pt x="14" y="69"/>
                      <a:pt x="14" y="69"/>
                      <a:pt x="14" y="69"/>
                    </a:cubicBezTo>
                    <a:lnTo>
                      <a:pt x="6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9" name="Freeform 882">
                <a:extLst>
                  <a:ext uri="{FF2B5EF4-FFF2-40B4-BE49-F238E27FC236}">
                    <a16:creationId xmlns:a16="http://schemas.microsoft.com/office/drawing/2014/main" id="{D10E787E-18AB-4B72-9785-7FC678279B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69785" y="5425060"/>
                <a:ext cx="304000" cy="348613"/>
              </a:xfrm>
              <a:custGeom>
                <a:avLst/>
                <a:gdLst>
                  <a:gd name="T0" fmla="*/ 110 w 124"/>
                  <a:gd name="T1" fmla="*/ 142 h 142"/>
                  <a:gd name="T2" fmla="*/ 109 w 124"/>
                  <a:gd name="T3" fmla="*/ 142 h 142"/>
                  <a:gd name="T4" fmla="*/ 1 w 124"/>
                  <a:gd name="T5" fmla="*/ 80 h 142"/>
                  <a:gd name="T6" fmla="*/ 0 w 124"/>
                  <a:gd name="T7" fmla="*/ 78 h 142"/>
                  <a:gd name="T8" fmla="*/ 0 w 124"/>
                  <a:gd name="T9" fmla="*/ 64 h 142"/>
                  <a:gd name="T10" fmla="*/ 1 w 124"/>
                  <a:gd name="T11" fmla="*/ 63 h 142"/>
                  <a:gd name="T12" fmla="*/ 110 w 124"/>
                  <a:gd name="T13" fmla="*/ 0 h 142"/>
                  <a:gd name="T14" fmla="*/ 112 w 124"/>
                  <a:gd name="T15" fmla="*/ 0 h 142"/>
                  <a:gd name="T16" fmla="*/ 113 w 124"/>
                  <a:gd name="T17" fmla="*/ 2 h 142"/>
                  <a:gd name="T18" fmla="*/ 113 w 124"/>
                  <a:gd name="T19" fmla="*/ 105 h 142"/>
                  <a:gd name="T20" fmla="*/ 123 w 124"/>
                  <a:gd name="T21" fmla="*/ 110 h 142"/>
                  <a:gd name="T22" fmla="*/ 124 w 124"/>
                  <a:gd name="T23" fmla="*/ 112 h 142"/>
                  <a:gd name="T24" fmla="*/ 124 w 124"/>
                  <a:gd name="T25" fmla="*/ 133 h 142"/>
                  <a:gd name="T26" fmla="*/ 123 w 124"/>
                  <a:gd name="T27" fmla="*/ 135 h 142"/>
                  <a:gd name="T28" fmla="*/ 111 w 124"/>
                  <a:gd name="T29" fmla="*/ 142 h 142"/>
                  <a:gd name="T30" fmla="*/ 110 w 124"/>
                  <a:gd name="T31" fmla="*/ 142 h 142"/>
                  <a:gd name="T32" fmla="*/ 4 w 124"/>
                  <a:gd name="T33" fmla="*/ 77 h 142"/>
                  <a:gd name="T34" fmla="*/ 110 w 124"/>
                  <a:gd name="T35" fmla="*/ 138 h 142"/>
                  <a:gd name="T36" fmla="*/ 120 w 124"/>
                  <a:gd name="T37" fmla="*/ 132 h 142"/>
                  <a:gd name="T38" fmla="*/ 120 w 124"/>
                  <a:gd name="T39" fmla="*/ 113 h 142"/>
                  <a:gd name="T40" fmla="*/ 110 w 124"/>
                  <a:gd name="T41" fmla="*/ 108 h 142"/>
                  <a:gd name="T42" fmla="*/ 109 w 124"/>
                  <a:gd name="T43" fmla="*/ 106 h 142"/>
                  <a:gd name="T44" fmla="*/ 109 w 124"/>
                  <a:gd name="T45" fmla="*/ 5 h 142"/>
                  <a:gd name="T46" fmla="*/ 4 w 124"/>
                  <a:gd name="T47" fmla="*/ 66 h 142"/>
                  <a:gd name="T48" fmla="*/ 4 w 124"/>
                  <a:gd name="T49" fmla="*/ 77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142">
                    <a:moveTo>
                      <a:pt x="110" y="142"/>
                    </a:moveTo>
                    <a:cubicBezTo>
                      <a:pt x="110" y="142"/>
                      <a:pt x="109" y="142"/>
                      <a:pt x="109" y="142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4"/>
                      <a:pt x="0" y="63"/>
                      <a:pt x="1" y="63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10" y="0"/>
                      <a:pt x="111" y="0"/>
                      <a:pt x="112" y="0"/>
                    </a:cubicBezTo>
                    <a:cubicBezTo>
                      <a:pt x="112" y="0"/>
                      <a:pt x="113" y="1"/>
                      <a:pt x="113" y="2"/>
                    </a:cubicBezTo>
                    <a:cubicBezTo>
                      <a:pt x="113" y="105"/>
                      <a:pt x="113" y="105"/>
                      <a:pt x="113" y="105"/>
                    </a:cubicBezTo>
                    <a:cubicBezTo>
                      <a:pt x="123" y="110"/>
                      <a:pt x="123" y="110"/>
                      <a:pt x="123" y="110"/>
                    </a:cubicBezTo>
                    <a:cubicBezTo>
                      <a:pt x="123" y="111"/>
                      <a:pt x="124" y="111"/>
                      <a:pt x="124" y="112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24" y="134"/>
                      <a:pt x="123" y="135"/>
                      <a:pt x="123" y="135"/>
                    </a:cubicBezTo>
                    <a:cubicBezTo>
                      <a:pt x="111" y="142"/>
                      <a:pt x="111" y="142"/>
                      <a:pt x="111" y="142"/>
                    </a:cubicBezTo>
                    <a:cubicBezTo>
                      <a:pt x="111" y="142"/>
                      <a:pt x="110" y="142"/>
                      <a:pt x="110" y="142"/>
                    </a:cubicBezTo>
                    <a:close/>
                    <a:moveTo>
                      <a:pt x="4" y="77"/>
                    </a:moveTo>
                    <a:cubicBezTo>
                      <a:pt x="110" y="138"/>
                      <a:pt x="110" y="138"/>
                      <a:pt x="110" y="138"/>
                    </a:cubicBezTo>
                    <a:cubicBezTo>
                      <a:pt x="120" y="132"/>
                      <a:pt x="120" y="132"/>
                      <a:pt x="120" y="132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10" y="108"/>
                      <a:pt x="110" y="108"/>
                      <a:pt x="110" y="108"/>
                    </a:cubicBezTo>
                    <a:cubicBezTo>
                      <a:pt x="109" y="107"/>
                      <a:pt x="109" y="107"/>
                      <a:pt x="109" y="106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4" y="66"/>
                      <a:pt x="4" y="66"/>
                      <a:pt x="4" y="66"/>
                    </a:cubicBezTo>
                    <a:lnTo>
                      <a:pt x="4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0" name="Freeform 883">
                <a:extLst>
                  <a:ext uri="{FF2B5EF4-FFF2-40B4-BE49-F238E27FC236}">
                    <a16:creationId xmlns:a16="http://schemas.microsoft.com/office/drawing/2014/main" id="{E18AD4D2-D412-43DA-A282-6180DC4672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28433" y="5793386"/>
                <a:ext cx="64328" cy="104791"/>
              </a:xfrm>
              <a:custGeom>
                <a:avLst/>
                <a:gdLst>
                  <a:gd name="T0" fmla="*/ 24 w 26"/>
                  <a:gd name="T1" fmla="*/ 43 h 43"/>
                  <a:gd name="T2" fmla="*/ 23 w 26"/>
                  <a:gd name="T3" fmla="*/ 42 h 43"/>
                  <a:gd name="T4" fmla="*/ 1 w 26"/>
                  <a:gd name="T5" fmla="*/ 30 h 43"/>
                  <a:gd name="T6" fmla="*/ 0 w 26"/>
                  <a:gd name="T7" fmla="*/ 28 h 43"/>
                  <a:gd name="T8" fmla="*/ 0 w 26"/>
                  <a:gd name="T9" fmla="*/ 15 h 43"/>
                  <a:gd name="T10" fmla="*/ 1 w 26"/>
                  <a:gd name="T11" fmla="*/ 13 h 43"/>
                  <a:gd name="T12" fmla="*/ 23 w 26"/>
                  <a:gd name="T13" fmla="*/ 1 h 43"/>
                  <a:gd name="T14" fmla="*/ 25 w 26"/>
                  <a:gd name="T15" fmla="*/ 1 h 43"/>
                  <a:gd name="T16" fmla="*/ 26 w 26"/>
                  <a:gd name="T17" fmla="*/ 3 h 43"/>
                  <a:gd name="T18" fmla="*/ 26 w 26"/>
                  <a:gd name="T19" fmla="*/ 41 h 43"/>
                  <a:gd name="T20" fmla="*/ 25 w 26"/>
                  <a:gd name="T21" fmla="*/ 42 h 43"/>
                  <a:gd name="T22" fmla="*/ 24 w 26"/>
                  <a:gd name="T23" fmla="*/ 43 h 43"/>
                  <a:gd name="T24" fmla="*/ 4 w 26"/>
                  <a:gd name="T25" fmla="*/ 27 h 43"/>
                  <a:gd name="T26" fmla="*/ 22 w 26"/>
                  <a:gd name="T27" fmla="*/ 37 h 43"/>
                  <a:gd name="T28" fmla="*/ 22 w 26"/>
                  <a:gd name="T29" fmla="*/ 6 h 43"/>
                  <a:gd name="T30" fmla="*/ 4 w 26"/>
                  <a:gd name="T31" fmla="*/ 16 h 43"/>
                  <a:gd name="T32" fmla="*/ 4 w 26"/>
                  <a:gd name="T33" fmla="*/ 2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43">
                    <a:moveTo>
                      <a:pt x="24" y="43"/>
                    </a:moveTo>
                    <a:cubicBezTo>
                      <a:pt x="23" y="43"/>
                      <a:pt x="23" y="42"/>
                      <a:pt x="23" y="4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0" y="29"/>
                      <a:pt x="0" y="2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4" y="0"/>
                      <a:pt x="25" y="1"/>
                    </a:cubicBezTo>
                    <a:cubicBezTo>
                      <a:pt x="25" y="1"/>
                      <a:pt x="26" y="2"/>
                      <a:pt x="26" y="3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6" y="41"/>
                      <a:pt x="25" y="42"/>
                      <a:pt x="25" y="42"/>
                    </a:cubicBezTo>
                    <a:cubicBezTo>
                      <a:pt x="24" y="42"/>
                      <a:pt x="24" y="43"/>
                      <a:pt x="24" y="43"/>
                    </a:cubicBezTo>
                    <a:close/>
                    <a:moveTo>
                      <a:pt x="4" y="27"/>
                    </a:move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1" name="Freeform 884">
                <a:extLst>
                  <a:ext uri="{FF2B5EF4-FFF2-40B4-BE49-F238E27FC236}">
                    <a16:creationId xmlns:a16="http://schemas.microsoft.com/office/drawing/2014/main" id="{B60D2667-CCEE-4F16-8C9E-27830D4722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5322344"/>
                <a:ext cx="318525" cy="194020"/>
              </a:xfrm>
              <a:custGeom>
                <a:avLst/>
                <a:gdLst>
                  <a:gd name="T0" fmla="*/ 128 w 130"/>
                  <a:gd name="T1" fmla="*/ 79 h 79"/>
                  <a:gd name="T2" fmla="*/ 127 w 130"/>
                  <a:gd name="T3" fmla="*/ 79 h 79"/>
                  <a:gd name="T4" fmla="*/ 29 w 130"/>
                  <a:gd name="T5" fmla="*/ 23 h 79"/>
                  <a:gd name="T6" fmla="*/ 3 w 130"/>
                  <a:gd name="T7" fmla="*/ 38 h 79"/>
                  <a:gd name="T8" fmla="*/ 1 w 130"/>
                  <a:gd name="T9" fmla="*/ 38 h 79"/>
                  <a:gd name="T10" fmla="*/ 0 w 130"/>
                  <a:gd name="T11" fmla="*/ 36 h 79"/>
                  <a:gd name="T12" fmla="*/ 0 w 130"/>
                  <a:gd name="T13" fmla="*/ 2 h 79"/>
                  <a:gd name="T14" fmla="*/ 1 w 130"/>
                  <a:gd name="T15" fmla="*/ 0 h 79"/>
                  <a:gd name="T16" fmla="*/ 3 w 130"/>
                  <a:gd name="T17" fmla="*/ 0 h 79"/>
                  <a:gd name="T18" fmla="*/ 129 w 130"/>
                  <a:gd name="T19" fmla="*/ 73 h 79"/>
                  <a:gd name="T20" fmla="*/ 130 w 130"/>
                  <a:gd name="T21" fmla="*/ 75 h 79"/>
                  <a:gd name="T22" fmla="*/ 130 w 130"/>
                  <a:gd name="T23" fmla="*/ 77 h 79"/>
                  <a:gd name="T24" fmla="*/ 129 w 130"/>
                  <a:gd name="T25" fmla="*/ 79 h 79"/>
                  <a:gd name="T26" fmla="*/ 128 w 130"/>
                  <a:gd name="T27" fmla="*/ 79 h 79"/>
                  <a:gd name="T28" fmla="*/ 4 w 130"/>
                  <a:gd name="T29" fmla="*/ 6 h 79"/>
                  <a:gd name="T30" fmla="*/ 4 w 130"/>
                  <a:gd name="T31" fmla="*/ 32 h 79"/>
                  <a:gd name="T32" fmla="*/ 28 w 130"/>
                  <a:gd name="T33" fmla="*/ 19 h 79"/>
                  <a:gd name="T34" fmla="*/ 4 w 130"/>
                  <a:gd name="T35" fmla="*/ 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79">
                    <a:moveTo>
                      <a:pt x="128" y="79"/>
                    </a:moveTo>
                    <a:cubicBezTo>
                      <a:pt x="127" y="79"/>
                      <a:pt x="127" y="79"/>
                      <a:pt x="127" y="79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38"/>
                      <a:pt x="2" y="38"/>
                      <a:pt x="1" y="38"/>
                    </a:cubicBezTo>
                    <a:cubicBezTo>
                      <a:pt x="1" y="37"/>
                      <a:pt x="0" y="37"/>
                      <a:pt x="0" y="3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9" y="73"/>
                      <a:pt x="129" y="73"/>
                      <a:pt x="129" y="73"/>
                    </a:cubicBezTo>
                    <a:cubicBezTo>
                      <a:pt x="129" y="73"/>
                      <a:pt x="130" y="74"/>
                      <a:pt x="130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0" y="78"/>
                      <a:pt x="129" y="79"/>
                      <a:pt x="129" y="79"/>
                    </a:cubicBezTo>
                    <a:cubicBezTo>
                      <a:pt x="128" y="79"/>
                      <a:pt x="128" y="79"/>
                      <a:pt x="128" y="79"/>
                    </a:cubicBezTo>
                    <a:close/>
                    <a:moveTo>
                      <a:pt x="4" y="6"/>
                    </a:moveTo>
                    <a:cubicBezTo>
                      <a:pt x="4" y="32"/>
                      <a:pt x="4" y="32"/>
                      <a:pt x="4" y="32"/>
                    </a:cubicBezTo>
                    <a:cubicBezTo>
                      <a:pt x="28" y="19"/>
                      <a:pt x="28" y="19"/>
                      <a:pt x="28" y="19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2" name="Freeform 885">
                <a:extLst>
                  <a:ext uri="{FF2B5EF4-FFF2-40B4-BE49-F238E27FC236}">
                    <a16:creationId xmlns:a16="http://schemas.microsoft.com/office/drawing/2014/main" id="{C09548B8-D048-4B08-B6A9-EF5B3232DB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865143" y="6198027"/>
                <a:ext cx="392191" cy="254197"/>
              </a:xfrm>
              <a:custGeom>
                <a:avLst/>
                <a:gdLst>
                  <a:gd name="T0" fmla="*/ 50 w 160"/>
                  <a:gd name="T1" fmla="*/ 104 h 104"/>
                  <a:gd name="T2" fmla="*/ 49 w 160"/>
                  <a:gd name="T3" fmla="*/ 104 h 104"/>
                  <a:gd name="T4" fmla="*/ 1 w 160"/>
                  <a:gd name="T5" fmla="*/ 76 h 104"/>
                  <a:gd name="T6" fmla="*/ 0 w 160"/>
                  <a:gd name="T7" fmla="*/ 74 h 104"/>
                  <a:gd name="T8" fmla="*/ 0 w 160"/>
                  <a:gd name="T9" fmla="*/ 64 h 104"/>
                  <a:gd name="T10" fmla="*/ 1 w 160"/>
                  <a:gd name="T11" fmla="*/ 62 h 104"/>
                  <a:gd name="T12" fmla="*/ 108 w 160"/>
                  <a:gd name="T13" fmla="*/ 1 h 104"/>
                  <a:gd name="T14" fmla="*/ 110 w 160"/>
                  <a:gd name="T15" fmla="*/ 1 h 104"/>
                  <a:gd name="T16" fmla="*/ 111 w 160"/>
                  <a:gd name="T17" fmla="*/ 2 h 104"/>
                  <a:gd name="T18" fmla="*/ 111 w 160"/>
                  <a:gd name="T19" fmla="*/ 10 h 104"/>
                  <a:gd name="T20" fmla="*/ 159 w 160"/>
                  <a:gd name="T21" fmla="*/ 38 h 104"/>
                  <a:gd name="T22" fmla="*/ 160 w 160"/>
                  <a:gd name="T23" fmla="*/ 40 h 104"/>
                  <a:gd name="T24" fmla="*/ 159 w 160"/>
                  <a:gd name="T25" fmla="*/ 41 h 104"/>
                  <a:gd name="T26" fmla="*/ 51 w 160"/>
                  <a:gd name="T27" fmla="*/ 104 h 104"/>
                  <a:gd name="T28" fmla="*/ 50 w 160"/>
                  <a:gd name="T29" fmla="*/ 104 h 104"/>
                  <a:gd name="T30" fmla="*/ 4 w 160"/>
                  <a:gd name="T31" fmla="*/ 73 h 104"/>
                  <a:gd name="T32" fmla="*/ 50 w 160"/>
                  <a:gd name="T33" fmla="*/ 100 h 104"/>
                  <a:gd name="T34" fmla="*/ 154 w 160"/>
                  <a:gd name="T35" fmla="*/ 40 h 104"/>
                  <a:gd name="T36" fmla="*/ 108 w 160"/>
                  <a:gd name="T37" fmla="*/ 13 h 104"/>
                  <a:gd name="T38" fmla="*/ 107 w 160"/>
                  <a:gd name="T39" fmla="*/ 11 h 104"/>
                  <a:gd name="T40" fmla="*/ 107 w 160"/>
                  <a:gd name="T41" fmla="*/ 6 h 104"/>
                  <a:gd name="T42" fmla="*/ 4 w 160"/>
                  <a:gd name="T43" fmla="*/ 65 h 104"/>
                  <a:gd name="T44" fmla="*/ 4 w 160"/>
                  <a:gd name="T45" fmla="*/ 7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0" h="104">
                    <a:moveTo>
                      <a:pt x="50" y="104"/>
                    </a:moveTo>
                    <a:cubicBezTo>
                      <a:pt x="50" y="104"/>
                      <a:pt x="49" y="104"/>
                      <a:pt x="49" y="10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5"/>
                      <a:pt x="0" y="75"/>
                      <a:pt x="0" y="7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3"/>
                      <a:pt x="0" y="63"/>
                      <a:pt x="1" y="62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8" y="0"/>
                      <a:pt x="109" y="0"/>
                      <a:pt x="110" y="1"/>
                    </a:cubicBezTo>
                    <a:cubicBezTo>
                      <a:pt x="110" y="1"/>
                      <a:pt x="111" y="2"/>
                      <a:pt x="111" y="2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59" y="38"/>
                      <a:pt x="159" y="38"/>
                      <a:pt x="159" y="38"/>
                    </a:cubicBezTo>
                    <a:cubicBezTo>
                      <a:pt x="160" y="38"/>
                      <a:pt x="160" y="39"/>
                      <a:pt x="160" y="40"/>
                    </a:cubicBezTo>
                    <a:cubicBezTo>
                      <a:pt x="160" y="40"/>
                      <a:pt x="160" y="41"/>
                      <a:pt x="159" y="41"/>
                    </a:cubicBezTo>
                    <a:cubicBezTo>
                      <a:pt x="51" y="104"/>
                      <a:pt x="51" y="104"/>
                      <a:pt x="51" y="104"/>
                    </a:cubicBezTo>
                    <a:cubicBezTo>
                      <a:pt x="51" y="104"/>
                      <a:pt x="50" y="104"/>
                      <a:pt x="50" y="104"/>
                    </a:cubicBezTo>
                    <a:close/>
                    <a:moveTo>
                      <a:pt x="4" y="73"/>
                    </a:moveTo>
                    <a:cubicBezTo>
                      <a:pt x="50" y="100"/>
                      <a:pt x="50" y="100"/>
                      <a:pt x="50" y="100"/>
                    </a:cubicBezTo>
                    <a:cubicBezTo>
                      <a:pt x="154" y="40"/>
                      <a:pt x="154" y="40"/>
                      <a:pt x="154" y="4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7" y="12"/>
                      <a:pt x="107" y="12"/>
                      <a:pt x="107" y="11"/>
                    </a:cubicBezTo>
                    <a:cubicBezTo>
                      <a:pt x="107" y="6"/>
                      <a:pt x="107" y="6"/>
                      <a:pt x="107" y="6"/>
                    </a:cubicBezTo>
                    <a:cubicBezTo>
                      <a:pt x="4" y="65"/>
                      <a:pt x="4" y="65"/>
                      <a:pt x="4" y="65"/>
                    </a:cubicBezTo>
                    <a:lnTo>
                      <a:pt x="4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3" name="Freeform 886">
                <a:extLst>
                  <a:ext uri="{FF2B5EF4-FFF2-40B4-BE49-F238E27FC236}">
                    <a16:creationId xmlns:a16="http://schemas.microsoft.com/office/drawing/2014/main" id="{648E0587-B74F-436B-9B15-0ED5FB0CA028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247806" y="6516551"/>
                <a:ext cx="43577" cy="34239"/>
              </a:xfrm>
              <a:custGeom>
                <a:avLst/>
                <a:gdLst>
                  <a:gd name="T0" fmla="*/ 2 w 18"/>
                  <a:gd name="T1" fmla="*/ 14 h 14"/>
                  <a:gd name="T2" fmla="*/ 1 w 18"/>
                  <a:gd name="T3" fmla="*/ 14 h 14"/>
                  <a:gd name="T4" fmla="*/ 0 w 18"/>
                  <a:gd name="T5" fmla="*/ 12 h 14"/>
                  <a:gd name="T6" fmla="*/ 0 w 18"/>
                  <a:gd name="T7" fmla="*/ 10 h 14"/>
                  <a:gd name="T8" fmla="*/ 1 w 18"/>
                  <a:gd name="T9" fmla="*/ 8 h 14"/>
                  <a:gd name="T10" fmla="*/ 14 w 18"/>
                  <a:gd name="T11" fmla="*/ 1 h 14"/>
                  <a:gd name="T12" fmla="*/ 16 w 18"/>
                  <a:gd name="T13" fmla="*/ 1 h 14"/>
                  <a:gd name="T14" fmla="*/ 18 w 18"/>
                  <a:gd name="T15" fmla="*/ 2 h 14"/>
                  <a:gd name="T16" fmla="*/ 18 w 18"/>
                  <a:gd name="T17" fmla="*/ 4 h 14"/>
                  <a:gd name="T18" fmla="*/ 17 w 18"/>
                  <a:gd name="T19" fmla="*/ 6 h 14"/>
                  <a:gd name="T20" fmla="*/ 3 w 18"/>
                  <a:gd name="T21" fmla="*/ 14 h 14"/>
                  <a:gd name="T22" fmla="*/ 2 w 18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4">
                    <a:moveTo>
                      <a:pt x="2" y="14"/>
                    </a:moveTo>
                    <a:cubicBezTo>
                      <a:pt x="2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6" y="1"/>
                    </a:cubicBezTo>
                    <a:cubicBezTo>
                      <a:pt x="17" y="1"/>
                      <a:pt x="18" y="2"/>
                      <a:pt x="18" y="2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5"/>
                      <a:pt x="17" y="5"/>
                      <a:pt x="17" y="6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2" y="14"/>
                      <a:pt x="2" y="1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4" name="Freeform 887">
                <a:extLst>
                  <a:ext uri="{FF2B5EF4-FFF2-40B4-BE49-F238E27FC236}">
                    <a16:creationId xmlns:a16="http://schemas.microsoft.com/office/drawing/2014/main" id="{A6901D9A-D200-4AC2-A615-60A415D569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86195" y="6452224"/>
                <a:ext cx="80928" cy="91303"/>
              </a:xfrm>
              <a:custGeom>
                <a:avLst/>
                <a:gdLst>
                  <a:gd name="T0" fmla="*/ 9 w 33"/>
                  <a:gd name="T1" fmla="*/ 37 h 37"/>
                  <a:gd name="T2" fmla="*/ 8 w 33"/>
                  <a:gd name="T3" fmla="*/ 37 h 37"/>
                  <a:gd name="T4" fmla="*/ 1 w 33"/>
                  <a:gd name="T5" fmla="*/ 32 h 37"/>
                  <a:gd name="T6" fmla="*/ 0 w 33"/>
                  <a:gd name="T7" fmla="*/ 31 h 37"/>
                  <a:gd name="T8" fmla="*/ 0 w 33"/>
                  <a:gd name="T9" fmla="*/ 2 h 37"/>
                  <a:gd name="T10" fmla="*/ 1 w 33"/>
                  <a:gd name="T11" fmla="*/ 1 h 37"/>
                  <a:gd name="T12" fmla="*/ 3 w 33"/>
                  <a:gd name="T13" fmla="*/ 1 h 37"/>
                  <a:gd name="T14" fmla="*/ 32 w 33"/>
                  <a:gd name="T15" fmla="*/ 18 h 37"/>
                  <a:gd name="T16" fmla="*/ 33 w 33"/>
                  <a:gd name="T17" fmla="*/ 20 h 37"/>
                  <a:gd name="T18" fmla="*/ 33 w 33"/>
                  <a:gd name="T19" fmla="*/ 22 h 37"/>
                  <a:gd name="T20" fmla="*/ 32 w 33"/>
                  <a:gd name="T21" fmla="*/ 24 h 37"/>
                  <a:gd name="T22" fmla="*/ 10 w 33"/>
                  <a:gd name="T23" fmla="*/ 37 h 37"/>
                  <a:gd name="T24" fmla="*/ 9 w 33"/>
                  <a:gd name="T25" fmla="*/ 37 h 37"/>
                  <a:gd name="T26" fmla="*/ 4 w 33"/>
                  <a:gd name="T27" fmla="*/ 29 h 37"/>
                  <a:gd name="T28" fmla="*/ 9 w 33"/>
                  <a:gd name="T29" fmla="*/ 33 h 37"/>
                  <a:gd name="T30" fmla="*/ 29 w 33"/>
                  <a:gd name="T31" fmla="*/ 21 h 37"/>
                  <a:gd name="T32" fmla="*/ 29 w 33"/>
                  <a:gd name="T33" fmla="*/ 21 h 37"/>
                  <a:gd name="T34" fmla="*/ 4 w 33"/>
                  <a:gd name="T35" fmla="*/ 6 h 37"/>
                  <a:gd name="T36" fmla="*/ 4 w 33"/>
                  <a:gd name="T37" fmla="*/ 29 h 37"/>
                  <a:gd name="T38" fmla="*/ 31 w 33"/>
                  <a:gd name="T39" fmla="*/ 22 h 37"/>
                  <a:gd name="T40" fmla="*/ 31 w 33"/>
                  <a:gd name="T41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37">
                    <a:moveTo>
                      <a:pt x="9" y="37"/>
                    </a:moveTo>
                    <a:cubicBezTo>
                      <a:pt x="9" y="37"/>
                      <a:pt x="9" y="37"/>
                      <a:pt x="8" y="37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3" y="18"/>
                      <a:pt x="33" y="19"/>
                      <a:pt x="33" y="20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3"/>
                      <a:pt x="33" y="24"/>
                      <a:pt x="32" y="24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0" y="37"/>
                      <a:pt x="10" y="37"/>
                      <a:pt x="9" y="37"/>
                    </a:cubicBezTo>
                    <a:close/>
                    <a:moveTo>
                      <a:pt x="4" y="29"/>
                    </a:moveTo>
                    <a:cubicBezTo>
                      <a:pt x="9" y="33"/>
                      <a:pt x="9" y="33"/>
                      <a:pt x="9" y="33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9"/>
                    </a:lnTo>
                    <a:close/>
                    <a:moveTo>
                      <a:pt x="31" y="22"/>
                    </a:moveTo>
                    <a:cubicBezTo>
                      <a:pt x="31" y="22"/>
                      <a:pt x="31" y="22"/>
                      <a:pt x="31" y="2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5" name="Freeform 920">
                <a:extLst>
                  <a:ext uri="{FF2B5EF4-FFF2-40B4-BE49-F238E27FC236}">
                    <a16:creationId xmlns:a16="http://schemas.microsoft.com/office/drawing/2014/main" id="{DCA0E878-B30A-4EAD-A8C6-72BE187719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080762" y="6903554"/>
                <a:ext cx="600737" cy="739766"/>
              </a:xfrm>
              <a:custGeom>
                <a:avLst/>
                <a:gdLst>
                  <a:gd name="T0" fmla="*/ 122 w 245"/>
                  <a:gd name="T1" fmla="*/ 302 h 302"/>
                  <a:gd name="T2" fmla="*/ 121 w 245"/>
                  <a:gd name="T3" fmla="*/ 302 h 302"/>
                  <a:gd name="T4" fmla="*/ 1 w 245"/>
                  <a:gd name="T5" fmla="*/ 233 h 302"/>
                  <a:gd name="T6" fmla="*/ 0 w 245"/>
                  <a:gd name="T7" fmla="*/ 231 h 302"/>
                  <a:gd name="T8" fmla="*/ 0 w 245"/>
                  <a:gd name="T9" fmla="*/ 229 h 302"/>
                  <a:gd name="T10" fmla="*/ 1 w 245"/>
                  <a:gd name="T11" fmla="*/ 227 h 302"/>
                  <a:gd name="T12" fmla="*/ 7 w 245"/>
                  <a:gd name="T13" fmla="*/ 223 h 302"/>
                  <a:gd name="T14" fmla="*/ 9 w 245"/>
                  <a:gd name="T15" fmla="*/ 223 h 302"/>
                  <a:gd name="T16" fmla="*/ 73 w 245"/>
                  <a:gd name="T17" fmla="*/ 260 h 302"/>
                  <a:gd name="T18" fmla="*/ 199 w 245"/>
                  <a:gd name="T19" fmla="*/ 187 h 302"/>
                  <a:gd name="T20" fmla="*/ 154 w 245"/>
                  <a:gd name="T21" fmla="*/ 161 h 302"/>
                  <a:gd name="T22" fmla="*/ 153 w 245"/>
                  <a:gd name="T23" fmla="*/ 159 h 302"/>
                  <a:gd name="T24" fmla="*/ 154 w 245"/>
                  <a:gd name="T25" fmla="*/ 157 h 302"/>
                  <a:gd name="T26" fmla="*/ 159 w 245"/>
                  <a:gd name="T27" fmla="*/ 154 h 302"/>
                  <a:gd name="T28" fmla="*/ 159 w 245"/>
                  <a:gd name="T29" fmla="*/ 10 h 302"/>
                  <a:gd name="T30" fmla="*/ 160 w 245"/>
                  <a:gd name="T31" fmla="*/ 8 h 302"/>
                  <a:gd name="T32" fmla="*/ 174 w 245"/>
                  <a:gd name="T33" fmla="*/ 1 h 302"/>
                  <a:gd name="T34" fmla="*/ 176 w 245"/>
                  <a:gd name="T35" fmla="*/ 1 h 302"/>
                  <a:gd name="T36" fmla="*/ 177 w 245"/>
                  <a:gd name="T37" fmla="*/ 2 h 302"/>
                  <a:gd name="T38" fmla="*/ 177 w 245"/>
                  <a:gd name="T39" fmla="*/ 146 h 302"/>
                  <a:gd name="T40" fmla="*/ 244 w 245"/>
                  <a:gd name="T41" fmla="*/ 185 h 302"/>
                  <a:gd name="T42" fmla="*/ 245 w 245"/>
                  <a:gd name="T43" fmla="*/ 187 h 302"/>
                  <a:gd name="T44" fmla="*/ 245 w 245"/>
                  <a:gd name="T45" fmla="*/ 230 h 302"/>
                  <a:gd name="T46" fmla="*/ 244 w 245"/>
                  <a:gd name="T47" fmla="*/ 232 h 302"/>
                  <a:gd name="T48" fmla="*/ 123 w 245"/>
                  <a:gd name="T49" fmla="*/ 302 h 302"/>
                  <a:gd name="T50" fmla="*/ 122 w 245"/>
                  <a:gd name="T51" fmla="*/ 302 h 302"/>
                  <a:gd name="T52" fmla="*/ 4 w 245"/>
                  <a:gd name="T53" fmla="*/ 230 h 302"/>
                  <a:gd name="T54" fmla="*/ 122 w 245"/>
                  <a:gd name="T55" fmla="*/ 298 h 302"/>
                  <a:gd name="T56" fmla="*/ 241 w 245"/>
                  <a:gd name="T57" fmla="*/ 229 h 302"/>
                  <a:gd name="T58" fmla="*/ 241 w 245"/>
                  <a:gd name="T59" fmla="*/ 188 h 302"/>
                  <a:gd name="T60" fmla="*/ 174 w 245"/>
                  <a:gd name="T61" fmla="*/ 149 h 302"/>
                  <a:gd name="T62" fmla="*/ 173 w 245"/>
                  <a:gd name="T63" fmla="*/ 148 h 302"/>
                  <a:gd name="T64" fmla="*/ 173 w 245"/>
                  <a:gd name="T65" fmla="*/ 6 h 302"/>
                  <a:gd name="T66" fmla="*/ 163 w 245"/>
                  <a:gd name="T67" fmla="*/ 11 h 302"/>
                  <a:gd name="T68" fmla="*/ 163 w 245"/>
                  <a:gd name="T69" fmla="*/ 156 h 302"/>
                  <a:gd name="T70" fmla="*/ 162 w 245"/>
                  <a:gd name="T71" fmla="*/ 157 h 302"/>
                  <a:gd name="T72" fmla="*/ 159 w 245"/>
                  <a:gd name="T73" fmla="*/ 159 h 302"/>
                  <a:gd name="T74" fmla="*/ 204 w 245"/>
                  <a:gd name="T75" fmla="*/ 185 h 302"/>
                  <a:gd name="T76" fmla="*/ 205 w 245"/>
                  <a:gd name="T77" fmla="*/ 187 h 302"/>
                  <a:gd name="T78" fmla="*/ 204 w 245"/>
                  <a:gd name="T79" fmla="*/ 189 h 302"/>
                  <a:gd name="T80" fmla="*/ 74 w 245"/>
                  <a:gd name="T81" fmla="*/ 264 h 302"/>
                  <a:gd name="T82" fmla="*/ 72 w 245"/>
                  <a:gd name="T83" fmla="*/ 264 h 302"/>
                  <a:gd name="T84" fmla="*/ 8 w 245"/>
                  <a:gd name="T85" fmla="*/ 227 h 302"/>
                  <a:gd name="T86" fmla="*/ 4 w 245"/>
                  <a:gd name="T87" fmla="*/ 230 h 302"/>
                  <a:gd name="T88" fmla="*/ 243 w 245"/>
                  <a:gd name="T89" fmla="*/ 230 h 302"/>
                  <a:gd name="T90" fmla="*/ 243 w 245"/>
                  <a:gd name="T91" fmla="*/ 23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45" h="302">
                    <a:moveTo>
                      <a:pt x="122" y="302"/>
                    </a:moveTo>
                    <a:cubicBezTo>
                      <a:pt x="122" y="302"/>
                      <a:pt x="121" y="302"/>
                      <a:pt x="121" y="302"/>
                    </a:cubicBezTo>
                    <a:cubicBezTo>
                      <a:pt x="1" y="233"/>
                      <a:pt x="1" y="233"/>
                      <a:pt x="1" y="233"/>
                    </a:cubicBezTo>
                    <a:cubicBezTo>
                      <a:pt x="1" y="232"/>
                      <a:pt x="0" y="232"/>
                      <a:pt x="0" y="231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28"/>
                      <a:pt x="1" y="227"/>
                      <a:pt x="1" y="227"/>
                    </a:cubicBezTo>
                    <a:cubicBezTo>
                      <a:pt x="7" y="223"/>
                      <a:pt x="7" y="223"/>
                      <a:pt x="7" y="223"/>
                    </a:cubicBezTo>
                    <a:cubicBezTo>
                      <a:pt x="8" y="223"/>
                      <a:pt x="9" y="223"/>
                      <a:pt x="9" y="223"/>
                    </a:cubicBezTo>
                    <a:cubicBezTo>
                      <a:pt x="73" y="260"/>
                      <a:pt x="73" y="260"/>
                      <a:pt x="73" y="260"/>
                    </a:cubicBezTo>
                    <a:cubicBezTo>
                      <a:pt x="199" y="187"/>
                      <a:pt x="199" y="187"/>
                      <a:pt x="199" y="187"/>
                    </a:cubicBezTo>
                    <a:cubicBezTo>
                      <a:pt x="154" y="161"/>
                      <a:pt x="154" y="161"/>
                      <a:pt x="154" y="161"/>
                    </a:cubicBezTo>
                    <a:cubicBezTo>
                      <a:pt x="153" y="160"/>
                      <a:pt x="153" y="160"/>
                      <a:pt x="153" y="159"/>
                    </a:cubicBezTo>
                    <a:cubicBezTo>
                      <a:pt x="153" y="158"/>
                      <a:pt x="153" y="158"/>
                      <a:pt x="154" y="157"/>
                    </a:cubicBezTo>
                    <a:cubicBezTo>
                      <a:pt x="159" y="154"/>
                      <a:pt x="159" y="154"/>
                      <a:pt x="159" y="154"/>
                    </a:cubicBezTo>
                    <a:cubicBezTo>
                      <a:pt x="159" y="10"/>
                      <a:pt x="159" y="10"/>
                      <a:pt x="159" y="10"/>
                    </a:cubicBezTo>
                    <a:cubicBezTo>
                      <a:pt x="159" y="9"/>
                      <a:pt x="159" y="9"/>
                      <a:pt x="160" y="8"/>
                    </a:cubicBezTo>
                    <a:cubicBezTo>
                      <a:pt x="174" y="1"/>
                      <a:pt x="174" y="1"/>
                      <a:pt x="174" y="1"/>
                    </a:cubicBezTo>
                    <a:cubicBezTo>
                      <a:pt x="174" y="0"/>
                      <a:pt x="175" y="0"/>
                      <a:pt x="176" y="1"/>
                    </a:cubicBezTo>
                    <a:cubicBezTo>
                      <a:pt x="176" y="1"/>
                      <a:pt x="177" y="2"/>
                      <a:pt x="177" y="2"/>
                    </a:cubicBezTo>
                    <a:cubicBezTo>
                      <a:pt x="177" y="146"/>
                      <a:pt x="177" y="146"/>
                      <a:pt x="177" y="146"/>
                    </a:cubicBezTo>
                    <a:cubicBezTo>
                      <a:pt x="244" y="185"/>
                      <a:pt x="244" y="185"/>
                      <a:pt x="244" y="185"/>
                    </a:cubicBezTo>
                    <a:cubicBezTo>
                      <a:pt x="244" y="185"/>
                      <a:pt x="245" y="186"/>
                      <a:pt x="245" y="187"/>
                    </a:cubicBezTo>
                    <a:cubicBezTo>
                      <a:pt x="245" y="230"/>
                      <a:pt x="245" y="230"/>
                      <a:pt x="245" y="230"/>
                    </a:cubicBezTo>
                    <a:cubicBezTo>
                      <a:pt x="245" y="231"/>
                      <a:pt x="244" y="232"/>
                      <a:pt x="244" y="232"/>
                    </a:cubicBezTo>
                    <a:cubicBezTo>
                      <a:pt x="123" y="302"/>
                      <a:pt x="123" y="302"/>
                      <a:pt x="123" y="302"/>
                    </a:cubicBezTo>
                    <a:cubicBezTo>
                      <a:pt x="123" y="302"/>
                      <a:pt x="122" y="302"/>
                      <a:pt x="122" y="302"/>
                    </a:cubicBezTo>
                    <a:close/>
                    <a:moveTo>
                      <a:pt x="4" y="230"/>
                    </a:moveTo>
                    <a:cubicBezTo>
                      <a:pt x="122" y="298"/>
                      <a:pt x="122" y="298"/>
                      <a:pt x="122" y="298"/>
                    </a:cubicBezTo>
                    <a:cubicBezTo>
                      <a:pt x="241" y="229"/>
                      <a:pt x="241" y="229"/>
                      <a:pt x="241" y="229"/>
                    </a:cubicBezTo>
                    <a:cubicBezTo>
                      <a:pt x="241" y="188"/>
                      <a:pt x="241" y="188"/>
                      <a:pt x="241" y="188"/>
                    </a:cubicBezTo>
                    <a:cubicBezTo>
                      <a:pt x="174" y="149"/>
                      <a:pt x="174" y="149"/>
                      <a:pt x="174" y="149"/>
                    </a:cubicBezTo>
                    <a:cubicBezTo>
                      <a:pt x="173" y="149"/>
                      <a:pt x="173" y="148"/>
                      <a:pt x="173" y="148"/>
                    </a:cubicBezTo>
                    <a:cubicBezTo>
                      <a:pt x="173" y="6"/>
                      <a:pt x="173" y="6"/>
                      <a:pt x="173" y="6"/>
                    </a:cubicBezTo>
                    <a:cubicBezTo>
                      <a:pt x="163" y="11"/>
                      <a:pt x="163" y="11"/>
                      <a:pt x="163" y="11"/>
                    </a:cubicBezTo>
                    <a:cubicBezTo>
                      <a:pt x="163" y="156"/>
                      <a:pt x="163" y="156"/>
                      <a:pt x="163" y="156"/>
                    </a:cubicBezTo>
                    <a:cubicBezTo>
                      <a:pt x="163" y="156"/>
                      <a:pt x="163" y="157"/>
                      <a:pt x="162" y="157"/>
                    </a:cubicBezTo>
                    <a:cubicBezTo>
                      <a:pt x="159" y="159"/>
                      <a:pt x="159" y="159"/>
                      <a:pt x="159" y="159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05" y="185"/>
                      <a:pt x="205" y="186"/>
                      <a:pt x="205" y="187"/>
                    </a:cubicBezTo>
                    <a:cubicBezTo>
                      <a:pt x="205" y="188"/>
                      <a:pt x="205" y="188"/>
                      <a:pt x="204" y="189"/>
                    </a:cubicBezTo>
                    <a:cubicBezTo>
                      <a:pt x="74" y="264"/>
                      <a:pt x="74" y="264"/>
                      <a:pt x="74" y="264"/>
                    </a:cubicBezTo>
                    <a:cubicBezTo>
                      <a:pt x="73" y="264"/>
                      <a:pt x="72" y="264"/>
                      <a:pt x="72" y="264"/>
                    </a:cubicBezTo>
                    <a:cubicBezTo>
                      <a:pt x="8" y="227"/>
                      <a:pt x="8" y="227"/>
                      <a:pt x="8" y="227"/>
                    </a:cubicBezTo>
                    <a:lnTo>
                      <a:pt x="4" y="230"/>
                    </a:lnTo>
                    <a:close/>
                    <a:moveTo>
                      <a:pt x="243" y="230"/>
                    </a:moveTo>
                    <a:cubicBezTo>
                      <a:pt x="243" y="230"/>
                      <a:pt x="243" y="230"/>
                      <a:pt x="243" y="23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6" name="Freeform 921">
                <a:extLst>
                  <a:ext uri="{FF2B5EF4-FFF2-40B4-BE49-F238E27FC236}">
                    <a16:creationId xmlns:a16="http://schemas.microsoft.com/office/drawing/2014/main" id="{91F97058-0C76-401D-9AC8-D8FAAFF782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3963520" y="6889028"/>
                <a:ext cx="291549" cy="473118"/>
              </a:xfrm>
              <a:custGeom>
                <a:avLst/>
                <a:gdLst>
                  <a:gd name="T0" fmla="*/ 69 w 119"/>
                  <a:gd name="T1" fmla="*/ 193 h 193"/>
                  <a:gd name="T2" fmla="*/ 68 w 119"/>
                  <a:gd name="T3" fmla="*/ 193 h 193"/>
                  <a:gd name="T4" fmla="*/ 1 w 119"/>
                  <a:gd name="T5" fmla="*/ 154 h 193"/>
                  <a:gd name="T6" fmla="*/ 0 w 119"/>
                  <a:gd name="T7" fmla="*/ 153 h 193"/>
                  <a:gd name="T8" fmla="*/ 0 w 119"/>
                  <a:gd name="T9" fmla="*/ 7 h 193"/>
                  <a:gd name="T10" fmla="*/ 1 w 119"/>
                  <a:gd name="T11" fmla="*/ 6 h 193"/>
                  <a:gd name="T12" fmla="*/ 1 w 119"/>
                  <a:gd name="T13" fmla="*/ 5 h 193"/>
                  <a:gd name="T14" fmla="*/ 1 w 119"/>
                  <a:gd name="T15" fmla="*/ 5 h 193"/>
                  <a:gd name="T16" fmla="*/ 0 w 119"/>
                  <a:gd name="T17" fmla="*/ 4 h 193"/>
                  <a:gd name="T18" fmla="*/ 0 w 119"/>
                  <a:gd name="T19" fmla="*/ 2 h 193"/>
                  <a:gd name="T20" fmla="*/ 1 w 119"/>
                  <a:gd name="T21" fmla="*/ 0 h 193"/>
                  <a:gd name="T22" fmla="*/ 3 w 119"/>
                  <a:gd name="T23" fmla="*/ 0 h 193"/>
                  <a:gd name="T24" fmla="*/ 118 w 119"/>
                  <a:gd name="T25" fmla="*/ 67 h 193"/>
                  <a:gd name="T26" fmla="*/ 119 w 119"/>
                  <a:gd name="T27" fmla="*/ 68 h 193"/>
                  <a:gd name="T28" fmla="*/ 118 w 119"/>
                  <a:gd name="T29" fmla="*/ 70 h 193"/>
                  <a:gd name="T30" fmla="*/ 71 w 119"/>
                  <a:gd name="T31" fmla="*/ 98 h 193"/>
                  <a:gd name="T32" fmla="*/ 71 w 119"/>
                  <a:gd name="T33" fmla="*/ 191 h 193"/>
                  <a:gd name="T34" fmla="*/ 70 w 119"/>
                  <a:gd name="T35" fmla="*/ 193 h 193"/>
                  <a:gd name="T36" fmla="*/ 69 w 119"/>
                  <a:gd name="T37" fmla="*/ 193 h 193"/>
                  <a:gd name="T38" fmla="*/ 4 w 119"/>
                  <a:gd name="T39" fmla="*/ 151 h 193"/>
                  <a:gd name="T40" fmla="*/ 67 w 119"/>
                  <a:gd name="T41" fmla="*/ 187 h 193"/>
                  <a:gd name="T42" fmla="*/ 67 w 119"/>
                  <a:gd name="T43" fmla="*/ 96 h 193"/>
                  <a:gd name="T44" fmla="*/ 68 w 119"/>
                  <a:gd name="T45" fmla="*/ 95 h 193"/>
                  <a:gd name="T46" fmla="*/ 113 w 119"/>
                  <a:gd name="T47" fmla="*/ 68 h 193"/>
                  <a:gd name="T48" fmla="*/ 7 w 119"/>
                  <a:gd name="T49" fmla="*/ 7 h 193"/>
                  <a:gd name="T50" fmla="*/ 6 w 119"/>
                  <a:gd name="T51" fmla="*/ 7 h 193"/>
                  <a:gd name="T52" fmla="*/ 4 w 119"/>
                  <a:gd name="T53" fmla="*/ 8 h 193"/>
                  <a:gd name="T54" fmla="*/ 4 w 119"/>
                  <a:gd name="T55" fmla="*/ 15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9" h="193">
                    <a:moveTo>
                      <a:pt x="69" y="193"/>
                    </a:moveTo>
                    <a:cubicBezTo>
                      <a:pt x="68" y="193"/>
                      <a:pt x="68" y="193"/>
                      <a:pt x="68" y="193"/>
                    </a:cubicBezTo>
                    <a:cubicBezTo>
                      <a:pt x="1" y="154"/>
                      <a:pt x="1" y="154"/>
                      <a:pt x="1" y="154"/>
                    </a:cubicBezTo>
                    <a:cubicBezTo>
                      <a:pt x="1" y="154"/>
                      <a:pt x="0" y="153"/>
                      <a:pt x="0" y="15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18" y="67"/>
                      <a:pt x="118" y="67"/>
                      <a:pt x="118" y="67"/>
                    </a:cubicBezTo>
                    <a:cubicBezTo>
                      <a:pt x="119" y="67"/>
                      <a:pt x="119" y="68"/>
                      <a:pt x="119" y="68"/>
                    </a:cubicBezTo>
                    <a:cubicBezTo>
                      <a:pt x="119" y="69"/>
                      <a:pt x="119" y="70"/>
                      <a:pt x="118" y="70"/>
                    </a:cubicBezTo>
                    <a:cubicBezTo>
                      <a:pt x="71" y="98"/>
                      <a:pt x="71" y="98"/>
                      <a:pt x="71" y="98"/>
                    </a:cubicBezTo>
                    <a:cubicBezTo>
                      <a:pt x="71" y="191"/>
                      <a:pt x="71" y="191"/>
                      <a:pt x="71" y="191"/>
                    </a:cubicBezTo>
                    <a:cubicBezTo>
                      <a:pt x="71" y="192"/>
                      <a:pt x="70" y="192"/>
                      <a:pt x="70" y="193"/>
                    </a:cubicBezTo>
                    <a:cubicBezTo>
                      <a:pt x="69" y="193"/>
                      <a:pt x="69" y="193"/>
                      <a:pt x="69" y="193"/>
                    </a:cubicBezTo>
                    <a:close/>
                    <a:moveTo>
                      <a:pt x="4" y="151"/>
                    </a:moveTo>
                    <a:cubicBezTo>
                      <a:pt x="67" y="187"/>
                      <a:pt x="67" y="187"/>
                      <a:pt x="67" y="187"/>
                    </a:cubicBezTo>
                    <a:cubicBezTo>
                      <a:pt x="67" y="96"/>
                      <a:pt x="67" y="96"/>
                      <a:pt x="67" y="96"/>
                    </a:cubicBezTo>
                    <a:cubicBezTo>
                      <a:pt x="67" y="96"/>
                      <a:pt x="67" y="95"/>
                      <a:pt x="68" y="95"/>
                    </a:cubicBezTo>
                    <a:cubicBezTo>
                      <a:pt x="113" y="68"/>
                      <a:pt x="113" y="68"/>
                      <a:pt x="113" y="68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6" y="7"/>
                      <a:pt x="6" y="7"/>
                    </a:cubicBezTo>
                    <a:cubicBezTo>
                      <a:pt x="4" y="8"/>
                      <a:pt x="4" y="8"/>
                      <a:pt x="4" y="8"/>
                    </a:cubicBezTo>
                    <a:lnTo>
                      <a:pt x="4" y="15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7" name="Freeform 928">
                <a:extLst>
                  <a:ext uri="{FF2B5EF4-FFF2-40B4-BE49-F238E27FC236}">
                    <a16:creationId xmlns:a16="http://schemas.microsoft.com/office/drawing/2014/main" id="{E515ED73-5765-4CC5-8AA5-F7916C2A2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86195" y="6547678"/>
                <a:ext cx="167044" cy="255235"/>
              </a:xfrm>
              <a:custGeom>
                <a:avLst/>
                <a:gdLst>
                  <a:gd name="T0" fmla="*/ 14 w 68"/>
                  <a:gd name="T1" fmla="*/ 104 h 104"/>
                  <a:gd name="T2" fmla="*/ 13 w 68"/>
                  <a:gd name="T3" fmla="*/ 104 h 104"/>
                  <a:gd name="T4" fmla="*/ 1 w 68"/>
                  <a:gd name="T5" fmla="*/ 98 h 104"/>
                  <a:gd name="T6" fmla="*/ 0 w 68"/>
                  <a:gd name="T7" fmla="*/ 96 h 104"/>
                  <a:gd name="T8" fmla="*/ 0 w 68"/>
                  <a:gd name="T9" fmla="*/ 35 h 104"/>
                  <a:gd name="T10" fmla="*/ 1 w 68"/>
                  <a:gd name="T11" fmla="*/ 33 h 104"/>
                  <a:gd name="T12" fmla="*/ 14 w 68"/>
                  <a:gd name="T13" fmla="*/ 26 h 104"/>
                  <a:gd name="T14" fmla="*/ 16 w 68"/>
                  <a:gd name="T15" fmla="*/ 26 h 104"/>
                  <a:gd name="T16" fmla="*/ 18 w 68"/>
                  <a:gd name="T17" fmla="*/ 27 h 104"/>
                  <a:gd name="T18" fmla="*/ 65 w 68"/>
                  <a:gd name="T19" fmla="*/ 0 h 104"/>
                  <a:gd name="T20" fmla="*/ 67 w 68"/>
                  <a:gd name="T21" fmla="*/ 0 h 104"/>
                  <a:gd name="T22" fmla="*/ 68 w 68"/>
                  <a:gd name="T23" fmla="*/ 2 h 104"/>
                  <a:gd name="T24" fmla="*/ 68 w 68"/>
                  <a:gd name="T25" fmla="*/ 72 h 104"/>
                  <a:gd name="T26" fmla="*/ 67 w 68"/>
                  <a:gd name="T27" fmla="*/ 74 h 104"/>
                  <a:gd name="T28" fmla="*/ 15 w 68"/>
                  <a:gd name="T29" fmla="*/ 104 h 104"/>
                  <a:gd name="T30" fmla="*/ 14 w 68"/>
                  <a:gd name="T31" fmla="*/ 104 h 104"/>
                  <a:gd name="T32" fmla="*/ 4 w 68"/>
                  <a:gd name="T33" fmla="*/ 95 h 104"/>
                  <a:gd name="T34" fmla="*/ 14 w 68"/>
                  <a:gd name="T35" fmla="*/ 100 h 104"/>
                  <a:gd name="T36" fmla="*/ 64 w 68"/>
                  <a:gd name="T37" fmla="*/ 71 h 104"/>
                  <a:gd name="T38" fmla="*/ 64 w 68"/>
                  <a:gd name="T39" fmla="*/ 5 h 104"/>
                  <a:gd name="T40" fmla="*/ 19 w 68"/>
                  <a:gd name="T41" fmla="*/ 31 h 104"/>
                  <a:gd name="T42" fmla="*/ 17 w 68"/>
                  <a:gd name="T43" fmla="*/ 31 h 104"/>
                  <a:gd name="T44" fmla="*/ 15 w 68"/>
                  <a:gd name="T45" fmla="*/ 30 h 104"/>
                  <a:gd name="T46" fmla="*/ 4 w 68"/>
                  <a:gd name="T47" fmla="*/ 36 h 104"/>
                  <a:gd name="T48" fmla="*/ 4 w 68"/>
                  <a:gd name="T49" fmla="*/ 9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104">
                    <a:moveTo>
                      <a:pt x="14" y="104"/>
                    </a:moveTo>
                    <a:cubicBezTo>
                      <a:pt x="13" y="104"/>
                      <a:pt x="13" y="104"/>
                      <a:pt x="13" y="104"/>
                    </a:cubicBezTo>
                    <a:cubicBezTo>
                      <a:pt x="1" y="98"/>
                      <a:pt x="1" y="98"/>
                      <a:pt x="1" y="98"/>
                    </a:cubicBezTo>
                    <a:cubicBezTo>
                      <a:pt x="1" y="97"/>
                      <a:pt x="0" y="97"/>
                      <a:pt x="0" y="9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1" y="34"/>
                      <a:pt x="1" y="33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4" y="26"/>
                      <a:pt x="15" y="26"/>
                      <a:pt x="16" y="26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6" y="0"/>
                      <a:pt x="67" y="0"/>
                      <a:pt x="67" y="0"/>
                    </a:cubicBezTo>
                    <a:cubicBezTo>
                      <a:pt x="68" y="0"/>
                      <a:pt x="68" y="1"/>
                      <a:pt x="68" y="2"/>
                    </a:cubicBezTo>
                    <a:cubicBezTo>
                      <a:pt x="68" y="72"/>
                      <a:pt x="68" y="72"/>
                      <a:pt x="68" y="72"/>
                    </a:cubicBezTo>
                    <a:cubicBezTo>
                      <a:pt x="68" y="73"/>
                      <a:pt x="68" y="73"/>
                      <a:pt x="67" y="74"/>
                    </a:cubicBezTo>
                    <a:cubicBezTo>
                      <a:pt x="15" y="104"/>
                      <a:pt x="15" y="104"/>
                      <a:pt x="15" y="104"/>
                    </a:cubicBezTo>
                    <a:cubicBezTo>
                      <a:pt x="14" y="104"/>
                      <a:pt x="14" y="104"/>
                      <a:pt x="14" y="104"/>
                    </a:cubicBezTo>
                    <a:close/>
                    <a:moveTo>
                      <a:pt x="4" y="95"/>
                    </a:moveTo>
                    <a:cubicBezTo>
                      <a:pt x="14" y="100"/>
                      <a:pt x="14" y="100"/>
                      <a:pt x="14" y="100"/>
                    </a:cubicBezTo>
                    <a:cubicBezTo>
                      <a:pt x="64" y="71"/>
                      <a:pt x="64" y="71"/>
                      <a:pt x="64" y="71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8" y="32"/>
                      <a:pt x="18" y="32"/>
                      <a:pt x="17" y="31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4" y="36"/>
                      <a:pt x="4" y="36"/>
                      <a:pt x="4" y="36"/>
                    </a:cubicBezTo>
                    <a:lnTo>
                      <a:pt x="4" y="9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8" name="Freeform 929">
                <a:extLst>
                  <a:ext uri="{FF2B5EF4-FFF2-40B4-BE49-F238E27FC236}">
                    <a16:creationId xmlns:a16="http://schemas.microsoft.com/office/drawing/2014/main" id="{004B4B9B-09CE-4C91-AAB6-D20BA8AFC1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86195" y="6506176"/>
                <a:ext cx="80928" cy="78853"/>
              </a:xfrm>
              <a:custGeom>
                <a:avLst/>
                <a:gdLst>
                  <a:gd name="T0" fmla="*/ 2 w 33"/>
                  <a:gd name="T1" fmla="*/ 32 h 32"/>
                  <a:gd name="T2" fmla="*/ 1 w 33"/>
                  <a:gd name="T3" fmla="*/ 32 h 32"/>
                  <a:gd name="T4" fmla="*/ 0 w 33"/>
                  <a:gd name="T5" fmla="*/ 30 h 32"/>
                  <a:gd name="T6" fmla="*/ 0 w 33"/>
                  <a:gd name="T7" fmla="*/ 11 h 32"/>
                  <a:gd name="T8" fmla="*/ 1 w 33"/>
                  <a:gd name="T9" fmla="*/ 9 h 32"/>
                  <a:gd name="T10" fmla="*/ 3 w 33"/>
                  <a:gd name="T11" fmla="*/ 9 h 32"/>
                  <a:gd name="T12" fmla="*/ 9 w 33"/>
                  <a:gd name="T13" fmla="*/ 13 h 32"/>
                  <a:gd name="T14" fmla="*/ 30 w 33"/>
                  <a:gd name="T15" fmla="*/ 1 h 32"/>
                  <a:gd name="T16" fmla="*/ 32 w 33"/>
                  <a:gd name="T17" fmla="*/ 1 h 32"/>
                  <a:gd name="T18" fmla="*/ 33 w 33"/>
                  <a:gd name="T19" fmla="*/ 2 h 32"/>
                  <a:gd name="T20" fmla="*/ 33 w 33"/>
                  <a:gd name="T21" fmla="*/ 13 h 32"/>
                  <a:gd name="T22" fmla="*/ 32 w 33"/>
                  <a:gd name="T23" fmla="*/ 15 h 32"/>
                  <a:gd name="T24" fmla="*/ 3 w 33"/>
                  <a:gd name="T25" fmla="*/ 32 h 32"/>
                  <a:gd name="T26" fmla="*/ 2 w 33"/>
                  <a:gd name="T27" fmla="*/ 32 h 32"/>
                  <a:gd name="T28" fmla="*/ 4 w 33"/>
                  <a:gd name="T29" fmla="*/ 14 h 32"/>
                  <a:gd name="T30" fmla="*/ 4 w 33"/>
                  <a:gd name="T31" fmla="*/ 27 h 32"/>
                  <a:gd name="T32" fmla="*/ 29 w 33"/>
                  <a:gd name="T33" fmla="*/ 12 h 32"/>
                  <a:gd name="T34" fmla="*/ 29 w 33"/>
                  <a:gd name="T35" fmla="*/ 6 h 32"/>
                  <a:gd name="T36" fmla="*/ 10 w 33"/>
                  <a:gd name="T37" fmla="*/ 17 h 32"/>
                  <a:gd name="T38" fmla="*/ 8 w 33"/>
                  <a:gd name="T39" fmla="*/ 17 h 32"/>
                  <a:gd name="T40" fmla="*/ 4 w 33"/>
                  <a:gd name="T41" fmla="*/ 14 h 32"/>
                  <a:gd name="T42" fmla="*/ 31 w 33"/>
                  <a:gd name="T43" fmla="*/ 13 h 32"/>
                  <a:gd name="T44" fmla="*/ 31 w 33"/>
                  <a:gd name="T45" fmla="*/ 1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" h="32">
                    <a:moveTo>
                      <a:pt x="2" y="32"/>
                    </a:move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" y="8"/>
                      <a:pt x="2" y="8"/>
                      <a:pt x="3" y="9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1" y="0"/>
                      <a:pt x="32" y="0"/>
                      <a:pt x="32" y="1"/>
                    </a:cubicBezTo>
                    <a:cubicBezTo>
                      <a:pt x="33" y="1"/>
                      <a:pt x="33" y="2"/>
                      <a:pt x="33" y="2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3" y="14"/>
                      <a:pt x="33" y="14"/>
                      <a:pt x="32" y="15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lose/>
                    <a:moveTo>
                      <a:pt x="4" y="14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9" y="17"/>
                      <a:pt x="8" y="17"/>
                    </a:cubicBezTo>
                    <a:lnTo>
                      <a:pt x="4" y="14"/>
                    </a:lnTo>
                    <a:close/>
                    <a:moveTo>
                      <a:pt x="31" y="13"/>
                    </a:moveTo>
                    <a:cubicBezTo>
                      <a:pt x="31" y="13"/>
                      <a:pt x="31" y="13"/>
                      <a:pt x="31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9" name="Freeform 932">
                <a:extLst>
                  <a:ext uri="{FF2B5EF4-FFF2-40B4-BE49-F238E27FC236}">
                    <a16:creationId xmlns:a16="http://schemas.microsoft.com/office/drawing/2014/main" id="{E6C02D6F-8030-41FD-B2AD-9046B8BB6C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3784025" y="6952318"/>
                <a:ext cx="181570" cy="429541"/>
              </a:xfrm>
              <a:custGeom>
                <a:avLst/>
                <a:gdLst>
                  <a:gd name="T0" fmla="*/ 16 w 74"/>
                  <a:gd name="T1" fmla="*/ 175 h 175"/>
                  <a:gd name="T2" fmla="*/ 15 w 74"/>
                  <a:gd name="T3" fmla="*/ 174 h 175"/>
                  <a:gd name="T4" fmla="*/ 14 w 74"/>
                  <a:gd name="T5" fmla="*/ 173 h 175"/>
                  <a:gd name="T6" fmla="*/ 14 w 74"/>
                  <a:gd name="T7" fmla="*/ 52 h 175"/>
                  <a:gd name="T8" fmla="*/ 1 w 74"/>
                  <a:gd name="T9" fmla="*/ 44 h 175"/>
                  <a:gd name="T10" fmla="*/ 0 w 74"/>
                  <a:gd name="T11" fmla="*/ 42 h 175"/>
                  <a:gd name="T12" fmla="*/ 1 w 74"/>
                  <a:gd name="T13" fmla="*/ 41 h 175"/>
                  <a:gd name="T14" fmla="*/ 71 w 74"/>
                  <a:gd name="T15" fmla="*/ 1 h 175"/>
                  <a:gd name="T16" fmla="*/ 73 w 74"/>
                  <a:gd name="T17" fmla="*/ 1 h 175"/>
                  <a:gd name="T18" fmla="*/ 74 w 74"/>
                  <a:gd name="T19" fmla="*/ 2 h 175"/>
                  <a:gd name="T20" fmla="*/ 74 w 74"/>
                  <a:gd name="T21" fmla="*/ 140 h 175"/>
                  <a:gd name="T22" fmla="*/ 73 w 74"/>
                  <a:gd name="T23" fmla="*/ 142 h 175"/>
                  <a:gd name="T24" fmla="*/ 17 w 74"/>
                  <a:gd name="T25" fmla="*/ 174 h 175"/>
                  <a:gd name="T26" fmla="*/ 16 w 74"/>
                  <a:gd name="T27" fmla="*/ 175 h 175"/>
                  <a:gd name="T28" fmla="*/ 6 w 74"/>
                  <a:gd name="T29" fmla="*/ 42 h 175"/>
                  <a:gd name="T30" fmla="*/ 17 w 74"/>
                  <a:gd name="T31" fmla="*/ 49 h 175"/>
                  <a:gd name="T32" fmla="*/ 18 w 74"/>
                  <a:gd name="T33" fmla="*/ 50 h 175"/>
                  <a:gd name="T34" fmla="*/ 18 w 74"/>
                  <a:gd name="T35" fmla="*/ 169 h 175"/>
                  <a:gd name="T36" fmla="*/ 70 w 74"/>
                  <a:gd name="T37" fmla="*/ 139 h 175"/>
                  <a:gd name="T38" fmla="*/ 70 w 74"/>
                  <a:gd name="T39" fmla="*/ 6 h 175"/>
                  <a:gd name="T40" fmla="*/ 6 w 74"/>
                  <a:gd name="T41" fmla="*/ 42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4" h="175">
                    <a:moveTo>
                      <a:pt x="16" y="175"/>
                    </a:moveTo>
                    <a:cubicBezTo>
                      <a:pt x="16" y="175"/>
                      <a:pt x="15" y="174"/>
                      <a:pt x="15" y="174"/>
                    </a:cubicBezTo>
                    <a:cubicBezTo>
                      <a:pt x="15" y="174"/>
                      <a:pt x="14" y="173"/>
                      <a:pt x="14" y="173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1" y="44"/>
                      <a:pt x="0" y="43"/>
                      <a:pt x="0" y="42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0"/>
                      <a:pt x="72" y="0"/>
                      <a:pt x="73" y="1"/>
                    </a:cubicBezTo>
                    <a:cubicBezTo>
                      <a:pt x="73" y="1"/>
                      <a:pt x="74" y="2"/>
                      <a:pt x="74" y="2"/>
                    </a:cubicBezTo>
                    <a:cubicBezTo>
                      <a:pt x="74" y="140"/>
                      <a:pt x="74" y="140"/>
                      <a:pt x="74" y="140"/>
                    </a:cubicBezTo>
                    <a:cubicBezTo>
                      <a:pt x="74" y="141"/>
                      <a:pt x="73" y="142"/>
                      <a:pt x="73" y="142"/>
                    </a:cubicBezTo>
                    <a:cubicBezTo>
                      <a:pt x="17" y="174"/>
                      <a:pt x="17" y="174"/>
                      <a:pt x="17" y="174"/>
                    </a:cubicBezTo>
                    <a:cubicBezTo>
                      <a:pt x="17" y="174"/>
                      <a:pt x="16" y="175"/>
                      <a:pt x="16" y="175"/>
                    </a:cubicBezTo>
                    <a:close/>
                    <a:moveTo>
                      <a:pt x="6" y="42"/>
                    </a:moveTo>
                    <a:cubicBezTo>
                      <a:pt x="17" y="49"/>
                      <a:pt x="17" y="49"/>
                      <a:pt x="17" y="49"/>
                    </a:cubicBezTo>
                    <a:cubicBezTo>
                      <a:pt x="18" y="49"/>
                      <a:pt x="18" y="50"/>
                      <a:pt x="18" y="50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70" y="139"/>
                      <a:pt x="70" y="139"/>
                      <a:pt x="70" y="139"/>
                    </a:cubicBezTo>
                    <a:cubicBezTo>
                      <a:pt x="70" y="6"/>
                      <a:pt x="70" y="6"/>
                      <a:pt x="70" y="6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0" name="Freeform 933">
                <a:extLst>
                  <a:ext uri="{FF2B5EF4-FFF2-40B4-BE49-F238E27FC236}">
                    <a16:creationId xmlns:a16="http://schemas.microsoft.com/office/drawing/2014/main" id="{8EBDD578-6D61-4093-8F80-AEA4B3212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47806" y="6736510"/>
                <a:ext cx="646388" cy="350688"/>
              </a:xfrm>
              <a:custGeom>
                <a:avLst/>
                <a:gdLst>
                  <a:gd name="T0" fmla="*/ 126 w 264"/>
                  <a:gd name="T1" fmla="*/ 143 h 143"/>
                  <a:gd name="T2" fmla="*/ 125 w 264"/>
                  <a:gd name="T3" fmla="*/ 142 h 143"/>
                  <a:gd name="T4" fmla="*/ 1 w 264"/>
                  <a:gd name="T5" fmla="*/ 71 h 143"/>
                  <a:gd name="T6" fmla="*/ 0 w 264"/>
                  <a:gd name="T7" fmla="*/ 69 h 143"/>
                  <a:gd name="T8" fmla="*/ 1 w 264"/>
                  <a:gd name="T9" fmla="*/ 68 h 143"/>
                  <a:gd name="T10" fmla="*/ 87 w 264"/>
                  <a:gd name="T11" fmla="*/ 18 h 143"/>
                  <a:gd name="T12" fmla="*/ 89 w 264"/>
                  <a:gd name="T13" fmla="*/ 18 h 143"/>
                  <a:gd name="T14" fmla="*/ 147 w 264"/>
                  <a:gd name="T15" fmla="*/ 52 h 143"/>
                  <a:gd name="T16" fmla="*/ 147 w 264"/>
                  <a:gd name="T17" fmla="*/ 2 h 143"/>
                  <a:gd name="T18" fmla="*/ 148 w 264"/>
                  <a:gd name="T19" fmla="*/ 0 h 143"/>
                  <a:gd name="T20" fmla="*/ 150 w 264"/>
                  <a:gd name="T21" fmla="*/ 0 h 143"/>
                  <a:gd name="T22" fmla="*/ 182 w 264"/>
                  <a:gd name="T23" fmla="*/ 18 h 143"/>
                  <a:gd name="T24" fmla="*/ 183 w 264"/>
                  <a:gd name="T25" fmla="*/ 20 h 143"/>
                  <a:gd name="T26" fmla="*/ 183 w 264"/>
                  <a:gd name="T27" fmla="*/ 31 h 143"/>
                  <a:gd name="T28" fmla="*/ 193 w 264"/>
                  <a:gd name="T29" fmla="*/ 26 h 143"/>
                  <a:gd name="T30" fmla="*/ 195 w 264"/>
                  <a:gd name="T31" fmla="*/ 26 h 143"/>
                  <a:gd name="T32" fmla="*/ 263 w 264"/>
                  <a:gd name="T33" fmla="*/ 65 h 143"/>
                  <a:gd name="T34" fmla="*/ 264 w 264"/>
                  <a:gd name="T35" fmla="*/ 67 h 143"/>
                  <a:gd name="T36" fmla="*/ 264 w 264"/>
                  <a:gd name="T37" fmla="*/ 68 h 143"/>
                  <a:gd name="T38" fmla="*/ 263 w 264"/>
                  <a:gd name="T39" fmla="*/ 70 h 143"/>
                  <a:gd name="T40" fmla="*/ 249 w 264"/>
                  <a:gd name="T41" fmla="*/ 78 h 143"/>
                  <a:gd name="T42" fmla="*/ 247 w 264"/>
                  <a:gd name="T43" fmla="*/ 78 h 143"/>
                  <a:gd name="T44" fmla="*/ 246 w 264"/>
                  <a:gd name="T45" fmla="*/ 76 h 143"/>
                  <a:gd name="T46" fmla="*/ 246 w 264"/>
                  <a:gd name="T47" fmla="*/ 73 h 143"/>
                  <a:gd name="T48" fmla="*/ 127 w 264"/>
                  <a:gd name="T49" fmla="*/ 142 h 143"/>
                  <a:gd name="T50" fmla="*/ 126 w 264"/>
                  <a:gd name="T51" fmla="*/ 143 h 143"/>
                  <a:gd name="T52" fmla="*/ 6 w 264"/>
                  <a:gd name="T53" fmla="*/ 69 h 143"/>
                  <a:gd name="T54" fmla="*/ 126 w 264"/>
                  <a:gd name="T55" fmla="*/ 138 h 143"/>
                  <a:gd name="T56" fmla="*/ 247 w 264"/>
                  <a:gd name="T57" fmla="*/ 68 h 143"/>
                  <a:gd name="T58" fmla="*/ 249 w 264"/>
                  <a:gd name="T59" fmla="*/ 68 h 143"/>
                  <a:gd name="T60" fmla="*/ 250 w 264"/>
                  <a:gd name="T61" fmla="*/ 70 h 143"/>
                  <a:gd name="T62" fmla="*/ 250 w 264"/>
                  <a:gd name="T63" fmla="*/ 73 h 143"/>
                  <a:gd name="T64" fmla="*/ 259 w 264"/>
                  <a:gd name="T65" fmla="*/ 68 h 143"/>
                  <a:gd name="T66" fmla="*/ 194 w 264"/>
                  <a:gd name="T67" fmla="*/ 30 h 143"/>
                  <a:gd name="T68" fmla="*/ 182 w 264"/>
                  <a:gd name="T69" fmla="*/ 37 h 143"/>
                  <a:gd name="T70" fmla="*/ 180 w 264"/>
                  <a:gd name="T71" fmla="*/ 37 h 143"/>
                  <a:gd name="T72" fmla="*/ 179 w 264"/>
                  <a:gd name="T73" fmla="*/ 35 h 143"/>
                  <a:gd name="T74" fmla="*/ 179 w 264"/>
                  <a:gd name="T75" fmla="*/ 21 h 143"/>
                  <a:gd name="T76" fmla="*/ 151 w 264"/>
                  <a:gd name="T77" fmla="*/ 5 h 143"/>
                  <a:gd name="T78" fmla="*/ 151 w 264"/>
                  <a:gd name="T79" fmla="*/ 55 h 143"/>
                  <a:gd name="T80" fmla="*/ 150 w 264"/>
                  <a:gd name="T81" fmla="*/ 57 h 143"/>
                  <a:gd name="T82" fmla="*/ 148 w 264"/>
                  <a:gd name="T83" fmla="*/ 57 h 143"/>
                  <a:gd name="T84" fmla="*/ 88 w 264"/>
                  <a:gd name="T85" fmla="*/ 22 h 143"/>
                  <a:gd name="T86" fmla="*/ 6 w 264"/>
                  <a:gd name="T87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4" h="143">
                    <a:moveTo>
                      <a:pt x="126" y="143"/>
                    </a:moveTo>
                    <a:cubicBezTo>
                      <a:pt x="125" y="143"/>
                      <a:pt x="125" y="142"/>
                      <a:pt x="125" y="142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69"/>
                    </a:cubicBezTo>
                    <a:cubicBezTo>
                      <a:pt x="0" y="69"/>
                      <a:pt x="1" y="68"/>
                      <a:pt x="1" y="68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7" y="18"/>
                      <a:pt x="88" y="18"/>
                      <a:pt x="89" y="18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7" y="2"/>
                      <a:pt x="147" y="2"/>
                      <a:pt x="147" y="2"/>
                    </a:cubicBezTo>
                    <a:cubicBezTo>
                      <a:pt x="147" y="1"/>
                      <a:pt x="148" y="0"/>
                      <a:pt x="148" y="0"/>
                    </a:cubicBezTo>
                    <a:cubicBezTo>
                      <a:pt x="149" y="0"/>
                      <a:pt x="150" y="0"/>
                      <a:pt x="150" y="0"/>
                    </a:cubicBezTo>
                    <a:cubicBezTo>
                      <a:pt x="182" y="18"/>
                      <a:pt x="182" y="18"/>
                      <a:pt x="182" y="18"/>
                    </a:cubicBezTo>
                    <a:cubicBezTo>
                      <a:pt x="182" y="19"/>
                      <a:pt x="183" y="19"/>
                      <a:pt x="183" y="20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93" y="26"/>
                      <a:pt x="193" y="26"/>
                      <a:pt x="193" y="26"/>
                    </a:cubicBezTo>
                    <a:cubicBezTo>
                      <a:pt x="193" y="25"/>
                      <a:pt x="194" y="25"/>
                      <a:pt x="195" y="26"/>
                    </a:cubicBezTo>
                    <a:cubicBezTo>
                      <a:pt x="263" y="65"/>
                      <a:pt x="263" y="65"/>
                      <a:pt x="263" y="65"/>
                    </a:cubicBezTo>
                    <a:cubicBezTo>
                      <a:pt x="263" y="65"/>
                      <a:pt x="264" y="66"/>
                      <a:pt x="264" y="67"/>
                    </a:cubicBezTo>
                    <a:cubicBezTo>
                      <a:pt x="264" y="68"/>
                      <a:pt x="264" y="68"/>
                      <a:pt x="264" y="68"/>
                    </a:cubicBezTo>
                    <a:cubicBezTo>
                      <a:pt x="264" y="69"/>
                      <a:pt x="263" y="70"/>
                      <a:pt x="263" y="70"/>
                    </a:cubicBezTo>
                    <a:cubicBezTo>
                      <a:pt x="249" y="78"/>
                      <a:pt x="249" y="78"/>
                      <a:pt x="249" y="78"/>
                    </a:cubicBezTo>
                    <a:cubicBezTo>
                      <a:pt x="248" y="78"/>
                      <a:pt x="248" y="78"/>
                      <a:pt x="247" y="78"/>
                    </a:cubicBezTo>
                    <a:cubicBezTo>
                      <a:pt x="246" y="78"/>
                      <a:pt x="246" y="77"/>
                      <a:pt x="246" y="76"/>
                    </a:cubicBezTo>
                    <a:cubicBezTo>
                      <a:pt x="246" y="73"/>
                      <a:pt x="246" y="73"/>
                      <a:pt x="246" y="73"/>
                    </a:cubicBezTo>
                    <a:cubicBezTo>
                      <a:pt x="127" y="142"/>
                      <a:pt x="127" y="142"/>
                      <a:pt x="127" y="142"/>
                    </a:cubicBezTo>
                    <a:cubicBezTo>
                      <a:pt x="126" y="142"/>
                      <a:pt x="126" y="143"/>
                      <a:pt x="126" y="143"/>
                    </a:cubicBezTo>
                    <a:close/>
                    <a:moveTo>
                      <a:pt x="6" y="69"/>
                    </a:moveTo>
                    <a:cubicBezTo>
                      <a:pt x="126" y="138"/>
                      <a:pt x="126" y="138"/>
                      <a:pt x="126" y="138"/>
                    </a:cubicBezTo>
                    <a:cubicBezTo>
                      <a:pt x="247" y="68"/>
                      <a:pt x="247" y="68"/>
                      <a:pt x="247" y="68"/>
                    </a:cubicBezTo>
                    <a:cubicBezTo>
                      <a:pt x="248" y="68"/>
                      <a:pt x="248" y="68"/>
                      <a:pt x="249" y="68"/>
                    </a:cubicBezTo>
                    <a:cubicBezTo>
                      <a:pt x="250" y="69"/>
                      <a:pt x="250" y="69"/>
                      <a:pt x="250" y="70"/>
                    </a:cubicBezTo>
                    <a:cubicBezTo>
                      <a:pt x="250" y="73"/>
                      <a:pt x="250" y="73"/>
                      <a:pt x="250" y="73"/>
                    </a:cubicBezTo>
                    <a:cubicBezTo>
                      <a:pt x="259" y="68"/>
                      <a:pt x="259" y="68"/>
                      <a:pt x="259" y="68"/>
                    </a:cubicBezTo>
                    <a:cubicBezTo>
                      <a:pt x="194" y="30"/>
                      <a:pt x="194" y="30"/>
                      <a:pt x="194" y="30"/>
                    </a:cubicBezTo>
                    <a:cubicBezTo>
                      <a:pt x="182" y="37"/>
                      <a:pt x="182" y="37"/>
                      <a:pt x="182" y="37"/>
                    </a:cubicBezTo>
                    <a:cubicBezTo>
                      <a:pt x="181" y="37"/>
                      <a:pt x="180" y="37"/>
                      <a:pt x="180" y="37"/>
                    </a:cubicBezTo>
                    <a:cubicBezTo>
                      <a:pt x="179" y="36"/>
                      <a:pt x="179" y="35"/>
                      <a:pt x="179" y="35"/>
                    </a:cubicBezTo>
                    <a:cubicBezTo>
                      <a:pt x="179" y="21"/>
                      <a:pt x="179" y="21"/>
                      <a:pt x="179" y="21"/>
                    </a:cubicBezTo>
                    <a:cubicBezTo>
                      <a:pt x="151" y="5"/>
                      <a:pt x="151" y="5"/>
                      <a:pt x="151" y="5"/>
                    </a:cubicBezTo>
                    <a:cubicBezTo>
                      <a:pt x="151" y="55"/>
                      <a:pt x="151" y="55"/>
                      <a:pt x="151" y="55"/>
                    </a:cubicBezTo>
                    <a:cubicBezTo>
                      <a:pt x="151" y="56"/>
                      <a:pt x="151" y="57"/>
                      <a:pt x="150" y="57"/>
                    </a:cubicBezTo>
                    <a:cubicBezTo>
                      <a:pt x="150" y="57"/>
                      <a:pt x="149" y="57"/>
                      <a:pt x="148" y="57"/>
                    </a:cubicBezTo>
                    <a:cubicBezTo>
                      <a:pt x="88" y="22"/>
                      <a:pt x="88" y="22"/>
                      <a:pt x="88" y="22"/>
                    </a:cubicBezTo>
                    <a:lnTo>
                      <a:pt x="6" y="6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1" name="Freeform 934">
                <a:extLst>
                  <a:ext uri="{FF2B5EF4-FFF2-40B4-BE49-F238E27FC236}">
                    <a16:creationId xmlns:a16="http://schemas.microsoft.com/office/drawing/2014/main" id="{25BF0BA5-8272-41C2-ADCE-28A2D93C50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286195" y="6538340"/>
                <a:ext cx="132805" cy="83003"/>
              </a:xfrm>
              <a:custGeom>
                <a:avLst/>
                <a:gdLst>
                  <a:gd name="T0" fmla="*/ 4 w 54"/>
                  <a:gd name="T1" fmla="*/ 34 h 34"/>
                  <a:gd name="T2" fmla="*/ 3 w 54"/>
                  <a:gd name="T3" fmla="*/ 34 h 34"/>
                  <a:gd name="T4" fmla="*/ 1 w 54"/>
                  <a:gd name="T5" fmla="*/ 33 h 34"/>
                  <a:gd name="T6" fmla="*/ 0 w 54"/>
                  <a:gd name="T7" fmla="*/ 31 h 34"/>
                  <a:gd name="T8" fmla="*/ 1 w 54"/>
                  <a:gd name="T9" fmla="*/ 29 h 34"/>
                  <a:gd name="T10" fmla="*/ 21 w 54"/>
                  <a:gd name="T11" fmla="*/ 18 h 34"/>
                  <a:gd name="T12" fmla="*/ 21 w 54"/>
                  <a:gd name="T13" fmla="*/ 18 h 34"/>
                  <a:gd name="T14" fmla="*/ 22 w 54"/>
                  <a:gd name="T15" fmla="*/ 18 h 34"/>
                  <a:gd name="T16" fmla="*/ 51 w 54"/>
                  <a:gd name="T17" fmla="*/ 0 h 34"/>
                  <a:gd name="T18" fmla="*/ 53 w 54"/>
                  <a:gd name="T19" fmla="*/ 0 h 34"/>
                  <a:gd name="T20" fmla="*/ 54 w 54"/>
                  <a:gd name="T21" fmla="*/ 2 h 34"/>
                  <a:gd name="T22" fmla="*/ 54 w 54"/>
                  <a:gd name="T23" fmla="*/ 4 h 34"/>
                  <a:gd name="T24" fmla="*/ 53 w 54"/>
                  <a:gd name="T25" fmla="*/ 6 h 34"/>
                  <a:gd name="T26" fmla="*/ 5 w 54"/>
                  <a:gd name="T27" fmla="*/ 34 h 34"/>
                  <a:gd name="T28" fmla="*/ 4 w 54"/>
                  <a:gd name="T2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34">
                    <a:moveTo>
                      <a:pt x="4" y="34"/>
                    </a:moveTo>
                    <a:cubicBezTo>
                      <a:pt x="4" y="34"/>
                      <a:pt x="3" y="34"/>
                      <a:pt x="3" y="3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2"/>
                      <a:pt x="0" y="32"/>
                      <a:pt x="0" y="31"/>
                    </a:cubicBezTo>
                    <a:cubicBezTo>
                      <a:pt x="0" y="30"/>
                      <a:pt x="1" y="30"/>
                      <a:pt x="1" y="29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2" y="18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2" y="0"/>
                      <a:pt x="53" y="0"/>
                      <a:pt x="53" y="0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5"/>
                      <a:pt x="54" y="5"/>
                      <a:pt x="53" y="6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4" y="34"/>
                      <a:pt x="4" y="3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2" name="Freeform 950">
                <a:extLst>
                  <a:ext uri="{FF2B5EF4-FFF2-40B4-BE49-F238E27FC236}">
                    <a16:creationId xmlns:a16="http://schemas.microsoft.com/office/drawing/2014/main" id="{DC61651F-C657-4E27-B009-733DC66447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818454" y="6182464"/>
                <a:ext cx="174307" cy="116204"/>
              </a:xfrm>
              <a:custGeom>
                <a:avLst/>
                <a:gdLst>
                  <a:gd name="T0" fmla="*/ 52 w 71"/>
                  <a:gd name="T1" fmla="*/ 47 h 47"/>
                  <a:gd name="T2" fmla="*/ 51 w 71"/>
                  <a:gd name="T3" fmla="*/ 46 h 47"/>
                  <a:gd name="T4" fmla="*/ 1 w 71"/>
                  <a:gd name="T5" fmla="*/ 18 h 47"/>
                  <a:gd name="T6" fmla="*/ 0 w 71"/>
                  <a:gd name="T7" fmla="*/ 16 h 47"/>
                  <a:gd name="T8" fmla="*/ 0 w 71"/>
                  <a:gd name="T9" fmla="*/ 7 h 47"/>
                  <a:gd name="T10" fmla="*/ 1 w 71"/>
                  <a:gd name="T11" fmla="*/ 6 h 47"/>
                  <a:gd name="T12" fmla="*/ 11 w 71"/>
                  <a:gd name="T13" fmla="*/ 0 h 47"/>
                  <a:gd name="T14" fmla="*/ 13 w 71"/>
                  <a:gd name="T15" fmla="*/ 0 h 47"/>
                  <a:gd name="T16" fmla="*/ 70 w 71"/>
                  <a:gd name="T17" fmla="*/ 33 h 47"/>
                  <a:gd name="T18" fmla="*/ 71 w 71"/>
                  <a:gd name="T19" fmla="*/ 34 h 47"/>
                  <a:gd name="T20" fmla="*/ 70 w 71"/>
                  <a:gd name="T21" fmla="*/ 36 h 47"/>
                  <a:gd name="T22" fmla="*/ 53 w 71"/>
                  <a:gd name="T23" fmla="*/ 46 h 47"/>
                  <a:gd name="T24" fmla="*/ 52 w 71"/>
                  <a:gd name="T25" fmla="*/ 47 h 47"/>
                  <a:gd name="T26" fmla="*/ 4 w 71"/>
                  <a:gd name="T27" fmla="*/ 15 h 47"/>
                  <a:gd name="T28" fmla="*/ 52 w 71"/>
                  <a:gd name="T29" fmla="*/ 42 h 47"/>
                  <a:gd name="T30" fmla="*/ 65 w 71"/>
                  <a:gd name="T31" fmla="*/ 34 h 47"/>
                  <a:gd name="T32" fmla="*/ 12 w 71"/>
                  <a:gd name="T33" fmla="*/ 4 h 47"/>
                  <a:gd name="T34" fmla="*/ 4 w 71"/>
                  <a:gd name="T35" fmla="*/ 9 h 47"/>
                  <a:gd name="T36" fmla="*/ 4 w 71"/>
                  <a:gd name="T37" fmla="*/ 1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47">
                    <a:moveTo>
                      <a:pt x="52" y="47"/>
                    </a:moveTo>
                    <a:cubicBezTo>
                      <a:pt x="52" y="47"/>
                      <a:pt x="51" y="46"/>
                      <a:pt x="51" y="4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7"/>
                      <a:pt x="0" y="17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3" y="0"/>
                      <a:pt x="13" y="0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71" y="33"/>
                      <a:pt x="71" y="34"/>
                      <a:pt x="71" y="34"/>
                    </a:cubicBezTo>
                    <a:cubicBezTo>
                      <a:pt x="71" y="35"/>
                      <a:pt x="71" y="36"/>
                      <a:pt x="70" y="36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3" y="46"/>
                      <a:pt x="52" y="47"/>
                      <a:pt x="52" y="47"/>
                    </a:cubicBezTo>
                    <a:close/>
                    <a:moveTo>
                      <a:pt x="4" y="15"/>
                    </a:moveTo>
                    <a:cubicBezTo>
                      <a:pt x="52" y="42"/>
                      <a:pt x="52" y="42"/>
                      <a:pt x="52" y="42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3" name="Freeform 951">
                <a:extLst>
                  <a:ext uri="{FF2B5EF4-FFF2-40B4-BE49-F238E27FC236}">
                    <a16:creationId xmlns:a16="http://schemas.microsoft.com/office/drawing/2014/main" id="{60806C39-B68F-4AE7-9555-4ACB58589D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86195" y="6910816"/>
                <a:ext cx="301925" cy="183644"/>
              </a:xfrm>
              <a:custGeom>
                <a:avLst/>
                <a:gdLst>
                  <a:gd name="T0" fmla="*/ 6 w 123"/>
                  <a:gd name="T1" fmla="*/ 75 h 75"/>
                  <a:gd name="T2" fmla="*/ 5 w 123"/>
                  <a:gd name="T3" fmla="*/ 74 h 75"/>
                  <a:gd name="T4" fmla="*/ 1 w 123"/>
                  <a:gd name="T5" fmla="*/ 72 h 75"/>
                  <a:gd name="T6" fmla="*/ 0 w 123"/>
                  <a:gd name="T7" fmla="*/ 70 h 75"/>
                  <a:gd name="T8" fmla="*/ 1 w 123"/>
                  <a:gd name="T9" fmla="*/ 69 h 75"/>
                  <a:gd name="T10" fmla="*/ 120 w 123"/>
                  <a:gd name="T11" fmla="*/ 0 h 75"/>
                  <a:gd name="T12" fmla="*/ 122 w 123"/>
                  <a:gd name="T13" fmla="*/ 0 h 75"/>
                  <a:gd name="T14" fmla="*/ 123 w 123"/>
                  <a:gd name="T15" fmla="*/ 2 h 75"/>
                  <a:gd name="T16" fmla="*/ 123 w 123"/>
                  <a:gd name="T17" fmla="*/ 6 h 75"/>
                  <a:gd name="T18" fmla="*/ 122 w 123"/>
                  <a:gd name="T19" fmla="*/ 8 h 75"/>
                  <a:gd name="T20" fmla="*/ 7 w 123"/>
                  <a:gd name="T21" fmla="*/ 74 h 75"/>
                  <a:gd name="T22" fmla="*/ 6 w 123"/>
                  <a:gd name="T23" fmla="*/ 75 h 75"/>
                  <a:gd name="T24" fmla="*/ 121 w 123"/>
                  <a:gd name="T25" fmla="*/ 6 h 75"/>
                  <a:gd name="T26" fmla="*/ 121 w 123"/>
                  <a:gd name="T27" fmla="*/ 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3" h="75">
                    <a:moveTo>
                      <a:pt x="6" y="75"/>
                    </a:moveTo>
                    <a:cubicBezTo>
                      <a:pt x="6" y="75"/>
                      <a:pt x="5" y="75"/>
                      <a:pt x="5" y="74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" y="72"/>
                      <a:pt x="0" y="71"/>
                      <a:pt x="0" y="70"/>
                    </a:cubicBezTo>
                    <a:cubicBezTo>
                      <a:pt x="0" y="70"/>
                      <a:pt x="1" y="69"/>
                      <a:pt x="1" y="69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1" y="0"/>
                      <a:pt x="122" y="0"/>
                      <a:pt x="122" y="0"/>
                    </a:cubicBezTo>
                    <a:cubicBezTo>
                      <a:pt x="123" y="0"/>
                      <a:pt x="123" y="1"/>
                      <a:pt x="123" y="2"/>
                    </a:cubicBezTo>
                    <a:cubicBezTo>
                      <a:pt x="123" y="6"/>
                      <a:pt x="123" y="6"/>
                      <a:pt x="123" y="6"/>
                    </a:cubicBezTo>
                    <a:cubicBezTo>
                      <a:pt x="123" y="7"/>
                      <a:pt x="123" y="8"/>
                      <a:pt x="122" y="8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7" y="75"/>
                      <a:pt x="6" y="75"/>
                      <a:pt x="6" y="75"/>
                    </a:cubicBezTo>
                    <a:close/>
                    <a:moveTo>
                      <a:pt x="121" y="6"/>
                    </a:moveTo>
                    <a:cubicBezTo>
                      <a:pt x="121" y="6"/>
                      <a:pt x="121" y="6"/>
                      <a:pt x="121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4" name="Freeform 953">
                <a:extLst>
                  <a:ext uri="{FF2B5EF4-FFF2-40B4-BE49-F238E27FC236}">
                    <a16:creationId xmlns:a16="http://schemas.microsoft.com/office/drawing/2014/main" id="{F1E4EEB7-A1DB-4F26-9C74-8915CCB8E4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286195" y="6925342"/>
                <a:ext cx="326826" cy="370402"/>
              </a:xfrm>
              <a:custGeom>
                <a:avLst/>
                <a:gdLst>
                  <a:gd name="T0" fmla="*/ 125 w 133"/>
                  <a:gd name="T1" fmla="*/ 151 h 151"/>
                  <a:gd name="T2" fmla="*/ 124 w 133"/>
                  <a:gd name="T3" fmla="*/ 151 h 151"/>
                  <a:gd name="T4" fmla="*/ 45 w 133"/>
                  <a:gd name="T5" fmla="*/ 105 h 151"/>
                  <a:gd name="T6" fmla="*/ 3 w 133"/>
                  <a:gd name="T7" fmla="*/ 129 h 151"/>
                  <a:gd name="T8" fmla="*/ 1 w 133"/>
                  <a:gd name="T9" fmla="*/ 129 h 151"/>
                  <a:gd name="T10" fmla="*/ 0 w 133"/>
                  <a:gd name="T11" fmla="*/ 127 h 151"/>
                  <a:gd name="T12" fmla="*/ 0 w 133"/>
                  <a:gd name="T13" fmla="*/ 71 h 151"/>
                  <a:gd name="T14" fmla="*/ 1 w 133"/>
                  <a:gd name="T15" fmla="*/ 69 h 151"/>
                  <a:gd name="T16" fmla="*/ 10 w 133"/>
                  <a:gd name="T17" fmla="*/ 64 h 151"/>
                  <a:gd name="T18" fmla="*/ 12 w 133"/>
                  <a:gd name="T19" fmla="*/ 64 h 151"/>
                  <a:gd name="T20" fmla="*/ 16 w 133"/>
                  <a:gd name="T21" fmla="*/ 66 h 151"/>
                  <a:gd name="T22" fmla="*/ 130 w 133"/>
                  <a:gd name="T23" fmla="*/ 0 h 151"/>
                  <a:gd name="T24" fmla="*/ 132 w 133"/>
                  <a:gd name="T25" fmla="*/ 0 h 151"/>
                  <a:gd name="T26" fmla="*/ 133 w 133"/>
                  <a:gd name="T27" fmla="*/ 2 h 151"/>
                  <a:gd name="T28" fmla="*/ 133 w 133"/>
                  <a:gd name="T29" fmla="*/ 146 h 151"/>
                  <a:gd name="T30" fmla="*/ 132 w 133"/>
                  <a:gd name="T31" fmla="*/ 147 h 151"/>
                  <a:gd name="T32" fmla="*/ 126 w 133"/>
                  <a:gd name="T33" fmla="*/ 151 h 151"/>
                  <a:gd name="T34" fmla="*/ 125 w 133"/>
                  <a:gd name="T35" fmla="*/ 151 h 151"/>
                  <a:gd name="T36" fmla="*/ 45 w 133"/>
                  <a:gd name="T37" fmla="*/ 101 h 151"/>
                  <a:gd name="T38" fmla="*/ 46 w 133"/>
                  <a:gd name="T39" fmla="*/ 101 h 151"/>
                  <a:gd name="T40" fmla="*/ 125 w 133"/>
                  <a:gd name="T41" fmla="*/ 147 h 151"/>
                  <a:gd name="T42" fmla="*/ 129 w 133"/>
                  <a:gd name="T43" fmla="*/ 144 h 151"/>
                  <a:gd name="T44" fmla="*/ 129 w 133"/>
                  <a:gd name="T45" fmla="*/ 5 h 151"/>
                  <a:gd name="T46" fmla="*/ 17 w 133"/>
                  <a:gd name="T47" fmla="*/ 70 h 151"/>
                  <a:gd name="T48" fmla="*/ 15 w 133"/>
                  <a:gd name="T49" fmla="*/ 70 h 151"/>
                  <a:gd name="T50" fmla="*/ 11 w 133"/>
                  <a:gd name="T51" fmla="*/ 68 h 151"/>
                  <a:gd name="T52" fmla="*/ 4 w 133"/>
                  <a:gd name="T53" fmla="*/ 72 h 151"/>
                  <a:gd name="T54" fmla="*/ 4 w 133"/>
                  <a:gd name="T55" fmla="*/ 124 h 151"/>
                  <a:gd name="T56" fmla="*/ 44 w 133"/>
                  <a:gd name="T57" fmla="*/ 101 h 151"/>
                  <a:gd name="T58" fmla="*/ 45 w 133"/>
                  <a:gd name="T59" fmla="*/ 10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3" h="151">
                    <a:moveTo>
                      <a:pt x="125" y="151"/>
                    </a:moveTo>
                    <a:cubicBezTo>
                      <a:pt x="125" y="151"/>
                      <a:pt x="125" y="151"/>
                      <a:pt x="124" y="151"/>
                    </a:cubicBezTo>
                    <a:cubicBezTo>
                      <a:pt x="45" y="105"/>
                      <a:pt x="45" y="105"/>
                      <a:pt x="45" y="105"/>
                    </a:cubicBezTo>
                    <a:cubicBezTo>
                      <a:pt x="3" y="129"/>
                      <a:pt x="3" y="129"/>
                      <a:pt x="3" y="129"/>
                    </a:cubicBezTo>
                    <a:cubicBezTo>
                      <a:pt x="2" y="130"/>
                      <a:pt x="1" y="130"/>
                      <a:pt x="1" y="129"/>
                    </a:cubicBezTo>
                    <a:cubicBezTo>
                      <a:pt x="0" y="129"/>
                      <a:pt x="0" y="128"/>
                      <a:pt x="0" y="127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0"/>
                      <a:pt x="0" y="69"/>
                      <a:pt x="1" y="69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0" y="63"/>
                      <a:pt x="11" y="63"/>
                      <a:pt x="12" y="64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1" y="0"/>
                      <a:pt x="132" y="0"/>
                      <a:pt x="132" y="0"/>
                    </a:cubicBezTo>
                    <a:cubicBezTo>
                      <a:pt x="133" y="1"/>
                      <a:pt x="133" y="1"/>
                      <a:pt x="133" y="2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3" y="146"/>
                      <a:pt x="133" y="147"/>
                      <a:pt x="132" y="147"/>
                    </a:cubicBezTo>
                    <a:cubicBezTo>
                      <a:pt x="126" y="151"/>
                      <a:pt x="126" y="151"/>
                      <a:pt x="126" y="151"/>
                    </a:cubicBezTo>
                    <a:cubicBezTo>
                      <a:pt x="126" y="151"/>
                      <a:pt x="126" y="151"/>
                      <a:pt x="125" y="151"/>
                    </a:cubicBezTo>
                    <a:close/>
                    <a:moveTo>
                      <a:pt x="45" y="101"/>
                    </a:moveTo>
                    <a:cubicBezTo>
                      <a:pt x="45" y="101"/>
                      <a:pt x="46" y="101"/>
                      <a:pt x="46" y="101"/>
                    </a:cubicBezTo>
                    <a:cubicBezTo>
                      <a:pt x="125" y="147"/>
                      <a:pt x="125" y="147"/>
                      <a:pt x="125" y="147"/>
                    </a:cubicBezTo>
                    <a:cubicBezTo>
                      <a:pt x="129" y="144"/>
                      <a:pt x="129" y="144"/>
                      <a:pt x="129" y="144"/>
                    </a:cubicBezTo>
                    <a:cubicBezTo>
                      <a:pt x="129" y="5"/>
                      <a:pt x="129" y="5"/>
                      <a:pt x="129" y="5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7" y="71"/>
                      <a:pt x="16" y="71"/>
                      <a:pt x="15" y="70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4" y="124"/>
                      <a:pt x="4" y="124"/>
                      <a:pt x="4" y="124"/>
                    </a:cubicBezTo>
                    <a:cubicBezTo>
                      <a:pt x="44" y="101"/>
                      <a:pt x="44" y="101"/>
                      <a:pt x="44" y="101"/>
                    </a:cubicBezTo>
                    <a:cubicBezTo>
                      <a:pt x="44" y="101"/>
                      <a:pt x="45" y="101"/>
                      <a:pt x="45" y="10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5" name="Freeform 955">
                <a:extLst>
                  <a:ext uri="{FF2B5EF4-FFF2-40B4-BE49-F238E27FC236}">
                    <a16:creationId xmlns:a16="http://schemas.microsoft.com/office/drawing/2014/main" id="{E810692B-09C7-4B9F-92D2-39E3672AE5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586045" y="6903554"/>
                <a:ext cx="387003" cy="377664"/>
              </a:xfrm>
              <a:custGeom>
                <a:avLst/>
                <a:gdLst>
                  <a:gd name="T0" fmla="*/ 121 w 158"/>
                  <a:gd name="T1" fmla="*/ 154 h 154"/>
                  <a:gd name="T2" fmla="*/ 120 w 158"/>
                  <a:gd name="T3" fmla="*/ 154 h 154"/>
                  <a:gd name="T4" fmla="*/ 119 w 158"/>
                  <a:gd name="T5" fmla="*/ 152 h 154"/>
                  <a:gd name="T6" fmla="*/ 119 w 158"/>
                  <a:gd name="T7" fmla="*/ 90 h 154"/>
                  <a:gd name="T8" fmla="*/ 1 w 158"/>
                  <a:gd name="T9" fmla="*/ 22 h 154"/>
                  <a:gd name="T10" fmla="*/ 0 w 158"/>
                  <a:gd name="T11" fmla="*/ 20 h 154"/>
                  <a:gd name="T12" fmla="*/ 1 w 158"/>
                  <a:gd name="T13" fmla="*/ 18 h 154"/>
                  <a:gd name="T14" fmla="*/ 32 w 158"/>
                  <a:gd name="T15" fmla="*/ 0 h 154"/>
                  <a:gd name="T16" fmla="*/ 34 w 158"/>
                  <a:gd name="T17" fmla="*/ 0 h 154"/>
                  <a:gd name="T18" fmla="*/ 157 w 158"/>
                  <a:gd name="T19" fmla="*/ 72 h 154"/>
                  <a:gd name="T20" fmla="*/ 158 w 158"/>
                  <a:gd name="T21" fmla="*/ 73 h 154"/>
                  <a:gd name="T22" fmla="*/ 157 w 158"/>
                  <a:gd name="T23" fmla="*/ 75 h 154"/>
                  <a:gd name="T24" fmla="*/ 149 w 158"/>
                  <a:gd name="T25" fmla="*/ 80 h 154"/>
                  <a:gd name="T26" fmla="*/ 149 w 158"/>
                  <a:gd name="T27" fmla="*/ 137 h 154"/>
                  <a:gd name="T28" fmla="*/ 148 w 158"/>
                  <a:gd name="T29" fmla="*/ 139 h 154"/>
                  <a:gd name="T30" fmla="*/ 122 w 158"/>
                  <a:gd name="T31" fmla="*/ 154 h 154"/>
                  <a:gd name="T32" fmla="*/ 121 w 158"/>
                  <a:gd name="T33" fmla="*/ 154 h 154"/>
                  <a:gd name="T34" fmla="*/ 6 w 158"/>
                  <a:gd name="T35" fmla="*/ 20 h 154"/>
                  <a:gd name="T36" fmla="*/ 122 w 158"/>
                  <a:gd name="T37" fmla="*/ 87 h 154"/>
                  <a:gd name="T38" fmla="*/ 123 w 158"/>
                  <a:gd name="T39" fmla="*/ 89 h 154"/>
                  <a:gd name="T40" fmla="*/ 123 w 158"/>
                  <a:gd name="T41" fmla="*/ 149 h 154"/>
                  <a:gd name="T42" fmla="*/ 145 w 158"/>
                  <a:gd name="T43" fmla="*/ 136 h 154"/>
                  <a:gd name="T44" fmla="*/ 145 w 158"/>
                  <a:gd name="T45" fmla="*/ 79 h 154"/>
                  <a:gd name="T46" fmla="*/ 146 w 158"/>
                  <a:gd name="T47" fmla="*/ 77 h 154"/>
                  <a:gd name="T48" fmla="*/ 152 w 158"/>
                  <a:gd name="T49" fmla="*/ 73 h 154"/>
                  <a:gd name="T50" fmla="*/ 33 w 158"/>
                  <a:gd name="T51" fmla="*/ 5 h 154"/>
                  <a:gd name="T52" fmla="*/ 6 w 158"/>
                  <a:gd name="T53" fmla="*/ 2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8" h="154">
                    <a:moveTo>
                      <a:pt x="121" y="154"/>
                    </a:moveTo>
                    <a:cubicBezTo>
                      <a:pt x="121" y="154"/>
                      <a:pt x="121" y="154"/>
                      <a:pt x="120" y="154"/>
                    </a:cubicBezTo>
                    <a:cubicBezTo>
                      <a:pt x="120" y="154"/>
                      <a:pt x="119" y="153"/>
                      <a:pt x="119" y="152"/>
                    </a:cubicBezTo>
                    <a:cubicBezTo>
                      <a:pt x="119" y="90"/>
                      <a:pt x="119" y="90"/>
                      <a:pt x="119" y="90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9"/>
                      <a:pt x="0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3" y="0"/>
                      <a:pt x="34" y="0"/>
                    </a:cubicBezTo>
                    <a:cubicBezTo>
                      <a:pt x="157" y="72"/>
                      <a:pt x="157" y="72"/>
                      <a:pt x="157" y="72"/>
                    </a:cubicBezTo>
                    <a:cubicBezTo>
                      <a:pt x="158" y="72"/>
                      <a:pt x="158" y="73"/>
                      <a:pt x="158" y="73"/>
                    </a:cubicBezTo>
                    <a:cubicBezTo>
                      <a:pt x="158" y="74"/>
                      <a:pt x="158" y="75"/>
                      <a:pt x="157" y="75"/>
                    </a:cubicBezTo>
                    <a:cubicBezTo>
                      <a:pt x="149" y="80"/>
                      <a:pt x="149" y="80"/>
                      <a:pt x="149" y="80"/>
                    </a:cubicBezTo>
                    <a:cubicBezTo>
                      <a:pt x="149" y="137"/>
                      <a:pt x="149" y="137"/>
                      <a:pt x="149" y="137"/>
                    </a:cubicBezTo>
                    <a:cubicBezTo>
                      <a:pt x="149" y="138"/>
                      <a:pt x="149" y="139"/>
                      <a:pt x="148" y="139"/>
                    </a:cubicBezTo>
                    <a:cubicBezTo>
                      <a:pt x="122" y="154"/>
                      <a:pt x="122" y="154"/>
                      <a:pt x="122" y="154"/>
                    </a:cubicBezTo>
                    <a:cubicBezTo>
                      <a:pt x="122" y="154"/>
                      <a:pt x="122" y="154"/>
                      <a:pt x="121" y="154"/>
                    </a:cubicBezTo>
                    <a:close/>
                    <a:moveTo>
                      <a:pt x="6" y="20"/>
                    </a:moveTo>
                    <a:cubicBezTo>
                      <a:pt x="122" y="87"/>
                      <a:pt x="122" y="87"/>
                      <a:pt x="122" y="87"/>
                    </a:cubicBezTo>
                    <a:cubicBezTo>
                      <a:pt x="123" y="87"/>
                      <a:pt x="123" y="88"/>
                      <a:pt x="123" y="89"/>
                    </a:cubicBezTo>
                    <a:cubicBezTo>
                      <a:pt x="123" y="149"/>
                      <a:pt x="123" y="149"/>
                      <a:pt x="123" y="149"/>
                    </a:cubicBezTo>
                    <a:cubicBezTo>
                      <a:pt x="145" y="136"/>
                      <a:pt x="145" y="136"/>
                      <a:pt x="145" y="136"/>
                    </a:cubicBezTo>
                    <a:cubicBezTo>
                      <a:pt x="145" y="79"/>
                      <a:pt x="145" y="79"/>
                      <a:pt x="145" y="79"/>
                    </a:cubicBezTo>
                    <a:cubicBezTo>
                      <a:pt x="145" y="78"/>
                      <a:pt x="145" y="77"/>
                      <a:pt x="146" y="77"/>
                    </a:cubicBezTo>
                    <a:cubicBezTo>
                      <a:pt x="152" y="73"/>
                      <a:pt x="152" y="73"/>
                      <a:pt x="152" y="73"/>
                    </a:cubicBezTo>
                    <a:cubicBezTo>
                      <a:pt x="33" y="5"/>
                      <a:pt x="33" y="5"/>
                      <a:pt x="33" y="5"/>
                    </a:cubicBezTo>
                    <a:lnTo>
                      <a:pt x="6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6" name="Freeform 956">
                <a:extLst>
                  <a:ext uri="{FF2B5EF4-FFF2-40B4-BE49-F238E27FC236}">
                    <a16:creationId xmlns:a16="http://schemas.microsoft.com/office/drawing/2014/main" id="{D79AD6A1-AF61-40BB-9035-FD3C4871AAD3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676311" y="6773861"/>
                <a:ext cx="225147" cy="134880"/>
              </a:xfrm>
              <a:custGeom>
                <a:avLst/>
                <a:gdLst>
                  <a:gd name="T0" fmla="*/ 4 w 92"/>
                  <a:gd name="T1" fmla="*/ 55 h 55"/>
                  <a:gd name="T2" fmla="*/ 3 w 92"/>
                  <a:gd name="T3" fmla="*/ 55 h 55"/>
                  <a:gd name="T4" fmla="*/ 1 w 92"/>
                  <a:gd name="T5" fmla="*/ 54 h 55"/>
                  <a:gd name="T6" fmla="*/ 0 w 92"/>
                  <a:gd name="T7" fmla="*/ 52 h 55"/>
                  <a:gd name="T8" fmla="*/ 1 w 92"/>
                  <a:gd name="T9" fmla="*/ 51 h 55"/>
                  <a:gd name="T10" fmla="*/ 89 w 92"/>
                  <a:gd name="T11" fmla="*/ 0 h 55"/>
                  <a:gd name="T12" fmla="*/ 91 w 92"/>
                  <a:gd name="T13" fmla="*/ 0 h 55"/>
                  <a:gd name="T14" fmla="*/ 92 w 92"/>
                  <a:gd name="T15" fmla="*/ 2 h 55"/>
                  <a:gd name="T16" fmla="*/ 92 w 92"/>
                  <a:gd name="T17" fmla="*/ 3 h 55"/>
                  <a:gd name="T18" fmla="*/ 91 w 92"/>
                  <a:gd name="T19" fmla="*/ 5 h 55"/>
                  <a:gd name="T20" fmla="*/ 5 w 92"/>
                  <a:gd name="T21" fmla="*/ 55 h 55"/>
                  <a:gd name="T22" fmla="*/ 4 w 92"/>
                  <a:gd name="T23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55">
                    <a:moveTo>
                      <a:pt x="4" y="55"/>
                    </a:moveTo>
                    <a:cubicBezTo>
                      <a:pt x="3" y="55"/>
                      <a:pt x="3" y="55"/>
                      <a:pt x="3" y="55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4"/>
                      <a:pt x="0" y="53"/>
                      <a:pt x="0" y="52"/>
                    </a:cubicBezTo>
                    <a:cubicBezTo>
                      <a:pt x="0" y="52"/>
                      <a:pt x="1" y="51"/>
                      <a:pt x="1" y="5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0" y="0"/>
                      <a:pt x="90" y="0"/>
                      <a:pt x="91" y="0"/>
                    </a:cubicBezTo>
                    <a:cubicBezTo>
                      <a:pt x="92" y="0"/>
                      <a:pt x="92" y="1"/>
                      <a:pt x="92" y="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2" y="4"/>
                      <a:pt x="92" y="5"/>
                      <a:pt x="91" y="5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4" y="55"/>
                      <a:pt x="4" y="55"/>
                      <a:pt x="4" y="5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7" name="Freeform 959">
                <a:extLst>
                  <a:ext uri="{FF2B5EF4-FFF2-40B4-BE49-F238E27FC236}">
                    <a16:creationId xmlns:a16="http://schemas.microsoft.com/office/drawing/2014/main" id="{98C11364-0E74-4616-90A0-6CF1A0931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60597" y="6167938"/>
                <a:ext cx="32164" cy="34239"/>
              </a:xfrm>
              <a:custGeom>
                <a:avLst/>
                <a:gdLst>
                  <a:gd name="T0" fmla="*/ 2 w 13"/>
                  <a:gd name="T1" fmla="*/ 14 h 14"/>
                  <a:gd name="T2" fmla="*/ 1 w 13"/>
                  <a:gd name="T3" fmla="*/ 13 h 14"/>
                  <a:gd name="T4" fmla="*/ 0 w 13"/>
                  <a:gd name="T5" fmla="*/ 12 h 14"/>
                  <a:gd name="T6" fmla="*/ 0 w 13"/>
                  <a:gd name="T7" fmla="*/ 2 h 14"/>
                  <a:gd name="T8" fmla="*/ 1 w 13"/>
                  <a:gd name="T9" fmla="*/ 0 h 14"/>
                  <a:gd name="T10" fmla="*/ 3 w 13"/>
                  <a:gd name="T11" fmla="*/ 0 h 14"/>
                  <a:gd name="T12" fmla="*/ 12 w 13"/>
                  <a:gd name="T13" fmla="*/ 5 h 14"/>
                  <a:gd name="T14" fmla="*/ 13 w 13"/>
                  <a:gd name="T15" fmla="*/ 7 h 14"/>
                  <a:gd name="T16" fmla="*/ 12 w 13"/>
                  <a:gd name="T17" fmla="*/ 8 h 14"/>
                  <a:gd name="T18" fmla="*/ 3 w 13"/>
                  <a:gd name="T19" fmla="*/ 13 h 14"/>
                  <a:gd name="T20" fmla="*/ 2 w 13"/>
                  <a:gd name="T21" fmla="*/ 14 h 14"/>
                  <a:gd name="T22" fmla="*/ 4 w 13"/>
                  <a:gd name="T23" fmla="*/ 5 h 14"/>
                  <a:gd name="T24" fmla="*/ 4 w 13"/>
                  <a:gd name="T25" fmla="*/ 8 h 14"/>
                  <a:gd name="T26" fmla="*/ 7 w 13"/>
                  <a:gd name="T27" fmla="*/ 7 h 14"/>
                  <a:gd name="T28" fmla="*/ 4 w 13"/>
                  <a:gd name="T2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4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3" y="6"/>
                      <a:pt x="13" y="7"/>
                    </a:cubicBezTo>
                    <a:cubicBezTo>
                      <a:pt x="13" y="7"/>
                      <a:pt x="12" y="8"/>
                      <a:pt x="12" y="8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3"/>
                      <a:pt x="3" y="14"/>
                      <a:pt x="2" y="14"/>
                    </a:cubicBezTo>
                    <a:close/>
                    <a:moveTo>
                      <a:pt x="4" y="5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8" name="Freeform 960">
                <a:extLst>
                  <a:ext uri="{FF2B5EF4-FFF2-40B4-BE49-F238E27FC236}">
                    <a16:creationId xmlns:a16="http://schemas.microsoft.com/office/drawing/2014/main" id="{02E78CC6-B3EB-4AD4-94B0-65F44957EE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676311" y="6437698"/>
                <a:ext cx="304000" cy="517732"/>
              </a:xfrm>
              <a:custGeom>
                <a:avLst/>
                <a:gdLst>
                  <a:gd name="T0" fmla="*/ 3 w 124"/>
                  <a:gd name="T1" fmla="*/ 211 h 211"/>
                  <a:gd name="T2" fmla="*/ 2 w 124"/>
                  <a:gd name="T3" fmla="*/ 211 h 211"/>
                  <a:gd name="T4" fmla="*/ 1 w 124"/>
                  <a:gd name="T5" fmla="*/ 210 h 211"/>
                  <a:gd name="T6" fmla="*/ 0 w 124"/>
                  <a:gd name="T7" fmla="*/ 208 h 211"/>
                  <a:gd name="T8" fmla="*/ 0 w 124"/>
                  <a:gd name="T9" fmla="*/ 71 h 211"/>
                  <a:gd name="T10" fmla="*/ 1 w 124"/>
                  <a:gd name="T11" fmla="*/ 70 h 211"/>
                  <a:gd name="T12" fmla="*/ 121 w 124"/>
                  <a:gd name="T13" fmla="*/ 1 h 211"/>
                  <a:gd name="T14" fmla="*/ 123 w 124"/>
                  <a:gd name="T15" fmla="*/ 1 h 211"/>
                  <a:gd name="T16" fmla="*/ 124 w 124"/>
                  <a:gd name="T17" fmla="*/ 2 h 211"/>
                  <a:gd name="T18" fmla="*/ 124 w 124"/>
                  <a:gd name="T19" fmla="*/ 137 h 211"/>
                  <a:gd name="T20" fmla="*/ 123 w 124"/>
                  <a:gd name="T21" fmla="*/ 139 h 211"/>
                  <a:gd name="T22" fmla="*/ 35 w 124"/>
                  <a:gd name="T23" fmla="*/ 189 h 211"/>
                  <a:gd name="T24" fmla="*/ 35 w 124"/>
                  <a:gd name="T25" fmla="*/ 190 h 211"/>
                  <a:gd name="T26" fmla="*/ 36 w 124"/>
                  <a:gd name="T27" fmla="*/ 191 h 211"/>
                  <a:gd name="T28" fmla="*/ 35 w 124"/>
                  <a:gd name="T29" fmla="*/ 193 h 211"/>
                  <a:gd name="T30" fmla="*/ 4 w 124"/>
                  <a:gd name="T31" fmla="*/ 211 h 211"/>
                  <a:gd name="T32" fmla="*/ 3 w 124"/>
                  <a:gd name="T33" fmla="*/ 211 h 211"/>
                  <a:gd name="T34" fmla="*/ 4 w 124"/>
                  <a:gd name="T35" fmla="*/ 73 h 211"/>
                  <a:gd name="T36" fmla="*/ 4 w 124"/>
                  <a:gd name="T37" fmla="*/ 206 h 211"/>
                  <a:gd name="T38" fmla="*/ 30 w 124"/>
                  <a:gd name="T39" fmla="*/ 191 h 211"/>
                  <a:gd name="T40" fmla="*/ 30 w 124"/>
                  <a:gd name="T41" fmla="*/ 191 h 211"/>
                  <a:gd name="T42" fmla="*/ 29 w 124"/>
                  <a:gd name="T43" fmla="*/ 189 h 211"/>
                  <a:gd name="T44" fmla="*/ 30 w 124"/>
                  <a:gd name="T45" fmla="*/ 188 h 211"/>
                  <a:gd name="T46" fmla="*/ 120 w 124"/>
                  <a:gd name="T47" fmla="*/ 136 h 211"/>
                  <a:gd name="T48" fmla="*/ 120 w 124"/>
                  <a:gd name="T49" fmla="*/ 6 h 211"/>
                  <a:gd name="T50" fmla="*/ 4 w 124"/>
                  <a:gd name="T51" fmla="*/ 73 h 211"/>
                  <a:gd name="T52" fmla="*/ 122 w 124"/>
                  <a:gd name="T53" fmla="*/ 137 h 211"/>
                  <a:gd name="T54" fmla="*/ 122 w 124"/>
                  <a:gd name="T55" fmla="*/ 137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4" h="211">
                    <a:moveTo>
                      <a:pt x="3" y="211"/>
                    </a:moveTo>
                    <a:cubicBezTo>
                      <a:pt x="3" y="211"/>
                      <a:pt x="3" y="211"/>
                      <a:pt x="2" y="211"/>
                    </a:cubicBezTo>
                    <a:cubicBezTo>
                      <a:pt x="1" y="210"/>
                      <a:pt x="1" y="210"/>
                      <a:pt x="1" y="210"/>
                    </a:cubicBezTo>
                    <a:cubicBezTo>
                      <a:pt x="1" y="210"/>
                      <a:pt x="0" y="209"/>
                      <a:pt x="0" y="208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1" y="70"/>
                      <a:pt x="1" y="70"/>
                    </a:cubicBezTo>
                    <a:cubicBezTo>
                      <a:pt x="121" y="1"/>
                      <a:pt x="121" y="1"/>
                      <a:pt x="121" y="1"/>
                    </a:cubicBezTo>
                    <a:cubicBezTo>
                      <a:pt x="122" y="0"/>
                      <a:pt x="122" y="0"/>
                      <a:pt x="123" y="1"/>
                    </a:cubicBezTo>
                    <a:cubicBezTo>
                      <a:pt x="124" y="1"/>
                      <a:pt x="124" y="2"/>
                      <a:pt x="124" y="2"/>
                    </a:cubicBezTo>
                    <a:cubicBezTo>
                      <a:pt x="124" y="137"/>
                      <a:pt x="124" y="137"/>
                      <a:pt x="124" y="137"/>
                    </a:cubicBezTo>
                    <a:cubicBezTo>
                      <a:pt x="124" y="138"/>
                      <a:pt x="124" y="138"/>
                      <a:pt x="123" y="139"/>
                    </a:cubicBezTo>
                    <a:cubicBezTo>
                      <a:pt x="35" y="189"/>
                      <a:pt x="35" y="189"/>
                      <a:pt x="35" y="189"/>
                    </a:cubicBezTo>
                    <a:cubicBezTo>
                      <a:pt x="35" y="190"/>
                      <a:pt x="35" y="190"/>
                      <a:pt x="35" y="190"/>
                    </a:cubicBezTo>
                    <a:cubicBezTo>
                      <a:pt x="36" y="190"/>
                      <a:pt x="36" y="191"/>
                      <a:pt x="36" y="191"/>
                    </a:cubicBezTo>
                    <a:cubicBezTo>
                      <a:pt x="36" y="192"/>
                      <a:pt x="36" y="193"/>
                      <a:pt x="35" y="193"/>
                    </a:cubicBezTo>
                    <a:cubicBezTo>
                      <a:pt x="4" y="211"/>
                      <a:pt x="4" y="211"/>
                      <a:pt x="4" y="211"/>
                    </a:cubicBezTo>
                    <a:cubicBezTo>
                      <a:pt x="4" y="211"/>
                      <a:pt x="4" y="211"/>
                      <a:pt x="3" y="211"/>
                    </a:cubicBezTo>
                    <a:close/>
                    <a:moveTo>
                      <a:pt x="4" y="73"/>
                    </a:moveTo>
                    <a:cubicBezTo>
                      <a:pt x="4" y="206"/>
                      <a:pt x="4" y="206"/>
                      <a:pt x="4" y="206"/>
                    </a:cubicBezTo>
                    <a:cubicBezTo>
                      <a:pt x="30" y="191"/>
                      <a:pt x="30" y="191"/>
                      <a:pt x="30" y="191"/>
                    </a:cubicBezTo>
                    <a:cubicBezTo>
                      <a:pt x="30" y="191"/>
                      <a:pt x="30" y="191"/>
                      <a:pt x="30" y="191"/>
                    </a:cubicBezTo>
                    <a:cubicBezTo>
                      <a:pt x="29" y="191"/>
                      <a:pt x="29" y="190"/>
                      <a:pt x="29" y="189"/>
                    </a:cubicBezTo>
                    <a:cubicBezTo>
                      <a:pt x="29" y="189"/>
                      <a:pt x="29" y="188"/>
                      <a:pt x="30" y="188"/>
                    </a:cubicBezTo>
                    <a:cubicBezTo>
                      <a:pt x="120" y="136"/>
                      <a:pt x="120" y="136"/>
                      <a:pt x="120" y="136"/>
                    </a:cubicBezTo>
                    <a:cubicBezTo>
                      <a:pt x="120" y="6"/>
                      <a:pt x="120" y="6"/>
                      <a:pt x="120" y="6"/>
                    </a:cubicBezTo>
                    <a:lnTo>
                      <a:pt x="4" y="73"/>
                    </a:lnTo>
                    <a:close/>
                    <a:moveTo>
                      <a:pt x="122" y="137"/>
                    </a:moveTo>
                    <a:cubicBezTo>
                      <a:pt x="122" y="137"/>
                      <a:pt x="122" y="137"/>
                      <a:pt x="122" y="1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9" name="Freeform 961">
                <a:extLst>
                  <a:ext uri="{FF2B5EF4-FFF2-40B4-BE49-F238E27FC236}">
                    <a16:creationId xmlns:a16="http://schemas.microsoft.com/office/drawing/2014/main" id="{CE21D27A-DAA7-4E22-A6DA-633E1E24D3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28283" y="6317344"/>
                <a:ext cx="29051" cy="34239"/>
              </a:xfrm>
              <a:custGeom>
                <a:avLst/>
                <a:gdLst>
                  <a:gd name="T0" fmla="*/ 2 w 12"/>
                  <a:gd name="T1" fmla="*/ 14 h 14"/>
                  <a:gd name="T2" fmla="*/ 1 w 12"/>
                  <a:gd name="T3" fmla="*/ 14 h 14"/>
                  <a:gd name="T4" fmla="*/ 0 w 12"/>
                  <a:gd name="T5" fmla="*/ 12 h 14"/>
                  <a:gd name="T6" fmla="*/ 0 w 12"/>
                  <a:gd name="T7" fmla="*/ 2 h 14"/>
                  <a:gd name="T8" fmla="*/ 1 w 12"/>
                  <a:gd name="T9" fmla="*/ 0 h 14"/>
                  <a:gd name="T10" fmla="*/ 3 w 12"/>
                  <a:gd name="T11" fmla="*/ 0 h 14"/>
                  <a:gd name="T12" fmla="*/ 11 w 12"/>
                  <a:gd name="T13" fmla="*/ 5 h 14"/>
                  <a:gd name="T14" fmla="*/ 12 w 12"/>
                  <a:gd name="T15" fmla="*/ 7 h 14"/>
                  <a:gd name="T16" fmla="*/ 11 w 12"/>
                  <a:gd name="T17" fmla="*/ 9 h 14"/>
                  <a:gd name="T18" fmla="*/ 3 w 12"/>
                  <a:gd name="T19" fmla="*/ 14 h 14"/>
                  <a:gd name="T20" fmla="*/ 2 w 12"/>
                  <a:gd name="T21" fmla="*/ 14 h 14"/>
                  <a:gd name="T22" fmla="*/ 4 w 12"/>
                  <a:gd name="T23" fmla="*/ 6 h 14"/>
                  <a:gd name="T24" fmla="*/ 4 w 12"/>
                  <a:gd name="T25" fmla="*/ 9 h 14"/>
                  <a:gd name="T26" fmla="*/ 6 w 12"/>
                  <a:gd name="T27" fmla="*/ 7 h 14"/>
                  <a:gd name="T28" fmla="*/ 4 w 12"/>
                  <a:gd name="T2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4">
                    <a:moveTo>
                      <a:pt x="2" y="14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6"/>
                      <a:pt x="12" y="7"/>
                    </a:cubicBezTo>
                    <a:cubicBezTo>
                      <a:pt x="12" y="8"/>
                      <a:pt x="12" y="8"/>
                      <a:pt x="11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2" y="14"/>
                      <a:pt x="2" y="14"/>
                      <a:pt x="2" y="14"/>
                    </a:cubicBezTo>
                    <a:close/>
                    <a:moveTo>
                      <a:pt x="4" y="6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0" name="Freeform 962">
                <a:extLst>
                  <a:ext uri="{FF2B5EF4-FFF2-40B4-BE49-F238E27FC236}">
                    <a16:creationId xmlns:a16="http://schemas.microsoft.com/office/drawing/2014/main" id="{C3CE83E1-9162-4338-B5D7-C66E84A543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17907" y="5836963"/>
                <a:ext cx="328901" cy="397378"/>
              </a:xfrm>
              <a:custGeom>
                <a:avLst/>
                <a:gdLst>
                  <a:gd name="T0" fmla="*/ 64 w 134"/>
                  <a:gd name="T1" fmla="*/ 162 h 162"/>
                  <a:gd name="T2" fmla="*/ 63 w 134"/>
                  <a:gd name="T3" fmla="*/ 162 h 162"/>
                  <a:gd name="T4" fmla="*/ 1 w 134"/>
                  <a:gd name="T5" fmla="*/ 126 h 162"/>
                  <a:gd name="T6" fmla="*/ 0 w 134"/>
                  <a:gd name="T7" fmla="*/ 125 h 162"/>
                  <a:gd name="T8" fmla="*/ 0 w 134"/>
                  <a:gd name="T9" fmla="*/ 30 h 162"/>
                  <a:gd name="T10" fmla="*/ 1 w 134"/>
                  <a:gd name="T11" fmla="*/ 29 h 162"/>
                  <a:gd name="T12" fmla="*/ 49 w 134"/>
                  <a:gd name="T13" fmla="*/ 1 h 162"/>
                  <a:gd name="T14" fmla="*/ 51 w 134"/>
                  <a:gd name="T15" fmla="*/ 1 h 162"/>
                  <a:gd name="T16" fmla="*/ 133 w 134"/>
                  <a:gd name="T17" fmla="*/ 48 h 162"/>
                  <a:gd name="T18" fmla="*/ 134 w 134"/>
                  <a:gd name="T19" fmla="*/ 49 h 162"/>
                  <a:gd name="T20" fmla="*/ 134 w 134"/>
                  <a:gd name="T21" fmla="*/ 51 h 162"/>
                  <a:gd name="T22" fmla="*/ 133 w 134"/>
                  <a:gd name="T23" fmla="*/ 52 h 162"/>
                  <a:gd name="T24" fmla="*/ 120 w 134"/>
                  <a:gd name="T25" fmla="*/ 60 h 162"/>
                  <a:gd name="T26" fmla="*/ 120 w 134"/>
                  <a:gd name="T27" fmla="*/ 129 h 162"/>
                  <a:gd name="T28" fmla="*/ 119 w 134"/>
                  <a:gd name="T29" fmla="*/ 131 h 162"/>
                  <a:gd name="T30" fmla="*/ 65 w 134"/>
                  <a:gd name="T31" fmla="*/ 162 h 162"/>
                  <a:gd name="T32" fmla="*/ 64 w 134"/>
                  <a:gd name="T33" fmla="*/ 162 h 162"/>
                  <a:gd name="T34" fmla="*/ 4 w 134"/>
                  <a:gd name="T35" fmla="*/ 124 h 162"/>
                  <a:gd name="T36" fmla="*/ 64 w 134"/>
                  <a:gd name="T37" fmla="*/ 158 h 162"/>
                  <a:gd name="T38" fmla="*/ 116 w 134"/>
                  <a:gd name="T39" fmla="*/ 128 h 162"/>
                  <a:gd name="T40" fmla="*/ 116 w 134"/>
                  <a:gd name="T41" fmla="*/ 58 h 162"/>
                  <a:gd name="T42" fmla="*/ 117 w 134"/>
                  <a:gd name="T43" fmla="*/ 57 h 162"/>
                  <a:gd name="T44" fmla="*/ 129 w 134"/>
                  <a:gd name="T45" fmla="*/ 50 h 162"/>
                  <a:gd name="T46" fmla="*/ 50 w 134"/>
                  <a:gd name="T47" fmla="*/ 5 h 162"/>
                  <a:gd name="T48" fmla="*/ 4 w 134"/>
                  <a:gd name="T49" fmla="*/ 31 h 162"/>
                  <a:gd name="T50" fmla="*/ 4 w 134"/>
                  <a:gd name="T51" fmla="*/ 124 h 162"/>
                  <a:gd name="T52" fmla="*/ 132 w 134"/>
                  <a:gd name="T53" fmla="*/ 51 h 162"/>
                  <a:gd name="T54" fmla="*/ 132 w 134"/>
                  <a:gd name="T55" fmla="*/ 5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4" h="162">
                    <a:moveTo>
                      <a:pt x="64" y="162"/>
                    </a:moveTo>
                    <a:cubicBezTo>
                      <a:pt x="63" y="162"/>
                      <a:pt x="63" y="162"/>
                      <a:pt x="63" y="162"/>
                    </a:cubicBezTo>
                    <a:cubicBezTo>
                      <a:pt x="1" y="126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50" y="0"/>
                      <a:pt x="50" y="0"/>
                      <a:pt x="51" y="1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3" y="48"/>
                      <a:pt x="134" y="49"/>
                      <a:pt x="134" y="49"/>
                    </a:cubicBezTo>
                    <a:cubicBezTo>
                      <a:pt x="134" y="51"/>
                      <a:pt x="134" y="51"/>
                      <a:pt x="134" y="51"/>
                    </a:cubicBezTo>
                    <a:cubicBezTo>
                      <a:pt x="134" y="51"/>
                      <a:pt x="133" y="52"/>
                      <a:pt x="133" y="52"/>
                    </a:cubicBezTo>
                    <a:cubicBezTo>
                      <a:pt x="120" y="60"/>
                      <a:pt x="120" y="60"/>
                      <a:pt x="120" y="60"/>
                    </a:cubicBezTo>
                    <a:cubicBezTo>
                      <a:pt x="120" y="129"/>
                      <a:pt x="120" y="129"/>
                      <a:pt x="120" y="129"/>
                    </a:cubicBezTo>
                    <a:cubicBezTo>
                      <a:pt x="120" y="130"/>
                      <a:pt x="120" y="130"/>
                      <a:pt x="119" y="131"/>
                    </a:cubicBezTo>
                    <a:cubicBezTo>
                      <a:pt x="65" y="162"/>
                      <a:pt x="65" y="162"/>
                      <a:pt x="65" y="162"/>
                    </a:cubicBezTo>
                    <a:cubicBezTo>
                      <a:pt x="64" y="162"/>
                      <a:pt x="64" y="162"/>
                      <a:pt x="64" y="162"/>
                    </a:cubicBezTo>
                    <a:close/>
                    <a:moveTo>
                      <a:pt x="4" y="124"/>
                    </a:moveTo>
                    <a:cubicBezTo>
                      <a:pt x="64" y="158"/>
                      <a:pt x="64" y="158"/>
                      <a:pt x="64" y="158"/>
                    </a:cubicBezTo>
                    <a:cubicBezTo>
                      <a:pt x="116" y="128"/>
                      <a:pt x="116" y="128"/>
                      <a:pt x="116" y="128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6" y="58"/>
                      <a:pt x="117" y="57"/>
                      <a:pt x="117" y="57"/>
                    </a:cubicBezTo>
                    <a:cubicBezTo>
                      <a:pt x="129" y="50"/>
                      <a:pt x="129" y="50"/>
                      <a:pt x="129" y="50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4" y="124"/>
                    </a:lnTo>
                    <a:close/>
                    <a:moveTo>
                      <a:pt x="132" y="51"/>
                    </a:moveTo>
                    <a:cubicBezTo>
                      <a:pt x="132" y="51"/>
                      <a:pt x="132" y="51"/>
                      <a:pt x="132" y="5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1" name="Freeform 963">
                <a:extLst>
                  <a:ext uri="{FF2B5EF4-FFF2-40B4-BE49-F238E27FC236}">
                    <a16:creationId xmlns:a16="http://schemas.microsoft.com/office/drawing/2014/main" id="{785F21FC-9D93-4FA0-9390-DE955BA7DD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28433" y="5861864"/>
                <a:ext cx="64328" cy="325787"/>
              </a:xfrm>
              <a:custGeom>
                <a:avLst/>
                <a:gdLst>
                  <a:gd name="T0" fmla="*/ 12 w 26"/>
                  <a:gd name="T1" fmla="*/ 133 h 133"/>
                  <a:gd name="T2" fmla="*/ 11 w 26"/>
                  <a:gd name="T3" fmla="*/ 132 h 133"/>
                  <a:gd name="T4" fmla="*/ 1 w 26"/>
                  <a:gd name="T5" fmla="*/ 127 h 133"/>
                  <a:gd name="T6" fmla="*/ 0 w 26"/>
                  <a:gd name="T7" fmla="*/ 125 h 133"/>
                  <a:gd name="T8" fmla="*/ 0 w 26"/>
                  <a:gd name="T9" fmla="*/ 2 h 133"/>
                  <a:gd name="T10" fmla="*/ 1 w 26"/>
                  <a:gd name="T11" fmla="*/ 0 h 133"/>
                  <a:gd name="T12" fmla="*/ 3 w 26"/>
                  <a:gd name="T13" fmla="*/ 0 h 133"/>
                  <a:gd name="T14" fmla="*/ 25 w 26"/>
                  <a:gd name="T15" fmla="*/ 13 h 133"/>
                  <a:gd name="T16" fmla="*/ 26 w 26"/>
                  <a:gd name="T17" fmla="*/ 14 h 133"/>
                  <a:gd name="T18" fmla="*/ 26 w 26"/>
                  <a:gd name="T19" fmla="*/ 124 h 133"/>
                  <a:gd name="T20" fmla="*/ 25 w 26"/>
                  <a:gd name="T21" fmla="*/ 126 h 133"/>
                  <a:gd name="T22" fmla="*/ 13 w 26"/>
                  <a:gd name="T23" fmla="*/ 132 h 133"/>
                  <a:gd name="T24" fmla="*/ 12 w 26"/>
                  <a:gd name="T25" fmla="*/ 133 h 133"/>
                  <a:gd name="T26" fmla="*/ 4 w 26"/>
                  <a:gd name="T27" fmla="*/ 124 h 133"/>
                  <a:gd name="T28" fmla="*/ 12 w 26"/>
                  <a:gd name="T29" fmla="*/ 128 h 133"/>
                  <a:gd name="T30" fmla="*/ 22 w 26"/>
                  <a:gd name="T31" fmla="*/ 123 h 133"/>
                  <a:gd name="T32" fmla="*/ 22 w 26"/>
                  <a:gd name="T33" fmla="*/ 16 h 133"/>
                  <a:gd name="T34" fmla="*/ 4 w 26"/>
                  <a:gd name="T35" fmla="*/ 6 h 133"/>
                  <a:gd name="T36" fmla="*/ 4 w 26"/>
                  <a:gd name="T37" fmla="*/ 124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33">
                    <a:moveTo>
                      <a:pt x="12" y="133"/>
                    </a:moveTo>
                    <a:cubicBezTo>
                      <a:pt x="12" y="133"/>
                      <a:pt x="12" y="133"/>
                      <a:pt x="11" y="13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1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4"/>
                      <a:pt x="26" y="14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26" y="125"/>
                      <a:pt x="25" y="126"/>
                      <a:pt x="25" y="126"/>
                    </a:cubicBezTo>
                    <a:cubicBezTo>
                      <a:pt x="13" y="132"/>
                      <a:pt x="13" y="132"/>
                      <a:pt x="13" y="132"/>
                    </a:cubicBezTo>
                    <a:cubicBezTo>
                      <a:pt x="13" y="133"/>
                      <a:pt x="13" y="133"/>
                      <a:pt x="12" y="133"/>
                    </a:cubicBezTo>
                    <a:close/>
                    <a:moveTo>
                      <a:pt x="4" y="124"/>
                    </a:moveTo>
                    <a:cubicBezTo>
                      <a:pt x="12" y="128"/>
                      <a:pt x="12" y="128"/>
                      <a:pt x="12" y="128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2" name="Freeform 964">
                <a:extLst>
                  <a:ext uri="{FF2B5EF4-FFF2-40B4-BE49-F238E27FC236}">
                    <a16:creationId xmlns:a16="http://schemas.microsoft.com/office/drawing/2014/main" id="{2194A1C9-C2C6-4FA4-A27F-DEEB48708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676311" y="6290368"/>
                <a:ext cx="581023" cy="323712"/>
              </a:xfrm>
              <a:custGeom>
                <a:avLst/>
                <a:gdLst>
                  <a:gd name="T0" fmla="*/ 115 w 237"/>
                  <a:gd name="T1" fmla="*/ 132 h 132"/>
                  <a:gd name="T2" fmla="*/ 114 w 237"/>
                  <a:gd name="T3" fmla="*/ 132 h 132"/>
                  <a:gd name="T4" fmla="*/ 1 w 237"/>
                  <a:gd name="T5" fmla="*/ 67 h 132"/>
                  <a:gd name="T6" fmla="*/ 0 w 237"/>
                  <a:gd name="T7" fmla="*/ 65 h 132"/>
                  <a:gd name="T8" fmla="*/ 0 w 237"/>
                  <a:gd name="T9" fmla="*/ 38 h 132"/>
                  <a:gd name="T10" fmla="*/ 1 w 237"/>
                  <a:gd name="T11" fmla="*/ 36 h 132"/>
                  <a:gd name="T12" fmla="*/ 3 w 237"/>
                  <a:gd name="T13" fmla="*/ 36 h 132"/>
                  <a:gd name="T14" fmla="*/ 50 w 237"/>
                  <a:gd name="T15" fmla="*/ 64 h 132"/>
                  <a:gd name="T16" fmla="*/ 159 w 237"/>
                  <a:gd name="T17" fmla="*/ 1 h 132"/>
                  <a:gd name="T18" fmla="*/ 161 w 237"/>
                  <a:gd name="T19" fmla="*/ 1 h 132"/>
                  <a:gd name="T20" fmla="*/ 236 w 237"/>
                  <a:gd name="T21" fmla="*/ 44 h 132"/>
                  <a:gd name="T22" fmla="*/ 237 w 237"/>
                  <a:gd name="T23" fmla="*/ 46 h 132"/>
                  <a:gd name="T24" fmla="*/ 237 w 237"/>
                  <a:gd name="T25" fmla="*/ 60 h 132"/>
                  <a:gd name="T26" fmla="*/ 236 w 237"/>
                  <a:gd name="T27" fmla="*/ 62 h 132"/>
                  <a:gd name="T28" fmla="*/ 116 w 237"/>
                  <a:gd name="T29" fmla="*/ 132 h 132"/>
                  <a:gd name="T30" fmla="*/ 115 w 237"/>
                  <a:gd name="T31" fmla="*/ 132 h 132"/>
                  <a:gd name="T32" fmla="*/ 4 w 237"/>
                  <a:gd name="T33" fmla="*/ 64 h 132"/>
                  <a:gd name="T34" fmla="*/ 115 w 237"/>
                  <a:gd name="T35" fmla="*/ 128 h 132"/>
                  <a:gd name="T36" fmla="*/ 233 w 237"/>
                  <a:gd name="T37" fmla="*/ 59 h 132"/>
                  <a:gd name="T38" fmla="*/ 233 w 237"/>
                  <a:gd name="T39" fmla="*/ 47 h 132"/>
                  <a:gd name="T40" fmla="*/ 160 w 237"/>
                  <a:gd name="T41" fmla="*/ 5 h 132"/>
                  <a:gd name="T42" fmla="*/ 51 w 237"/>
                  <a:gd name="T43" fmla="*/ 68 h 132"/>
                  <a:gd name="T44" fmla="*/ 49 w 237"/>
                  <a:gd name="T45" fmla="*/ 68 h 132"/>
                  <a:gd name="T46" fmla="*/ 4 w 237"/>
                  <a:gd name="T47" fmla="*/ 41 h 132"/>
                  <a:gd name="T48" fmla="*/ 4 w 237"/>
                  <a:gd name="T49" fmla="*/ 64 h 132"/>
                  <a:gd name="T50" fmla="*/ 235 w 237"/>
                  <a:gd name="T51" fmla="*/ 60 h 132"/>
                  <a:gd name="T52" fmla="*/ 235 w 237"/>
                  <a:gd name="T53" fmla="*/ 6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7" h="132">
                    <a:moveTo>
                      <a:pt x="115" y="132"/>
                    </a:move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66"/>
                      <a:pt x="0" y="66"/>
                      <a:pt x="0" y="65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7"/>
                      <a:pt x="0" y="37"/>
                      <a:pt x="1" y="36"/>
                    </a:cubicBezTo>
                    <a:cubicBezTo>
                      <a:pt x="1" y="36"/>
                      <a:pt x="2" y="36"/>
                      <a:pt x="3" y="36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159" y="1"/>
                      <a:pt x="159" y="1"/>
                      <a:pt x="159" y="1"/>
                    </a:cubicBezTo>
                    <a:cubicBezTo>
                      <a:pt x="159" y="0"/>
                      <a:pt x="160" y="0"/>
                      <a:pt x="161" y="1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7" y="44"/>
                      <a:pt x="237" y="45"/>
                      <a:pt x="237" y="46"/>
                    </a:cubicBezTo>
                    <a:cubicBezTo>
                      <a:pt x="237" y="60"/>
                      <a:pt x="237" y="60"/>
                      <a:pt x="237" y="60"/>
                    </a:cubicBezTo>
                    <a:cubicBezTo>
                      <a:pt x="237" y="61"/>
                      <a:pt x="237" y="62"/>
                      <a:pt x="236" y="62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5" y="132"/>
                      <a:pt x="115" y="132"/>
                      <a:pt x="115" y="132"/>
                    </a:cubicBezTo>
                    <a:close/>
                    <a:moveTo>
                      <a:pt x="4" y="64"/>
                    </a:moveTo>
                    <a:cubicBezTo>
                      <a:pt x="115" y="128"/>
                      <a:pt x="115" y="128"/>
                      <a:pt x="115" y="128"/>
                    </a:cubicBezTo>
                    <a:cubicBezTo>
                      <a:pt x="233" y="59"/>
                      <a:pt x="233" y="59"/>
                      <a:pt x="233" y="59"/>
                    </a:cubicBezTo>
                    <a:cubicBezTo>
                      <a:pt x="233" y="47"/>
                      <a:pt x="233" y="47"/>
                      <a:pt x="233" y="47"/>
                    </a:cubicBezTo>
                    <a:cubicBezTo>
                      <a:pt x="160" y="5"/>
                      <a:pt x="160" y="5"/>
                      <a:pt x="160" y="5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1" y="68"/>
                      <a:pt x="50" y="68"/>
                      <a:pt x="49" y="68"/>
                    </a:cubicBezTo>
                    <a:cubicBezTo>
                      <a:pt x="4" y="41"/>
                      <a:pt x="4" y="41"/>
                      <a:pt x="4" y="41"/>
                    </a:cubicBezTo>
                    <a:lnTo>
                      <a:pt x="4" y="64"/>
                    </a:lnTo>
                    <a:close/>
                    <a:moveTo>
                      <a:pt x="235" y="60"/>
                    </a:moveTo>
                    <a:cubicBezTo>
                      <a:pt x="235" y="60"/>
                      <a:pt x="235" y="60"/>
                      <a:pt x="235" y="6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3" name="Freeform 965">
                <a:extLst>
                  <a:ext uri="{FF2B5EF4-FFF2-40B4-BE49-F238E27FC236}">
                    <a16:creationId xmlns:a16="http://schemas.microsoft.com/office/drawing/2014/main" id="{84B1E653-4979-448E-9DFA-030560622D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88009" y="6381671"/>
                <a:ext cx="328901" cy="509432"/>
              </a:xfrm>
              <a:custGeom>
                <a:avLst/>
                <a:gdLst>
                  <a:gd name="T0" fmla="*/ 132 w 134"/>
                  <a:gd name="T1" fmla="*/ 208 h 208"/>
                  <a:gd name="T2" fmla="*/ 131 w 134"/>
                  <a:gd name="T3" fmla="*/ 208 h 208"/>
                  <a:gd name="T4" fmla="*/ 1 w 134"/>
                  <a:gd name="T5" fmla="*/ 133 h 208"/>
                  <a:gd name="T6" fmla="*/ 0 w 134"/>
                  <a:gd name="T7" fmla="*/ 131 h 208"/>
                  <a:gd name="T8" fmla="*/ 0 w 134"/>
                  <a:gd name="T9" fmla="*/ 2 h 208"/>
                  <a:gd name="T10" fmla="*/ 1 w 134"/>
                  <a:gd name="T11" fmla="*/ 0 h 208"/>
                  <a:gd name="T12" fmla="*/ 3 w 134"/>
                  <a:gd name="T13" fmla="*/ 0 h 208"/>
                  <a:gd name="T14" fmla="*/ 23 w 134"/>
                  <a:gd name="T15" fmla="*/ 11 h 208"/>
                  <a:gd name="T16" fmla="*/ 24 w 134"/>
                  <a:gd name="T17" fmla="*/ 13 h 208"/>
                  <a:gd name="T18" fmla="*/ 24 w 134"/>
                  <a:gd name="T19" fmla="*/ 22 h 208"/>
                  <a:gd name="T20" fmla="*/ 31 w 134"/>
                  <a:gd name="T21" fmla="*/ 18 h 208"/>
                  <a:gd name="T22" fmla="*/ 33 w 134"/>
                  <a:gd name="T23" fmla="*/ 18 h 208"/>
                  <a:gd name="T24" fmla="*/ 49 w 134"/>
                  <a:gd name="T25" fmla="*/ 27 h 208"/>
                  <a:gd name="T26" fmla="*/ 66 w 134"/>
                  <a:gd name="T27" fmla="*/ 17 h 208"/>
                  <a:gd name="T28" fmla="*/ 68 w 134"/>
                  <a:gd name="T29" fmla="*/ 17 h 208"/>
                  <a:gd name="T30" fmla="*/ 133 w 134"/>
                  <a:gd name="T31" fmla="*/ 54 h 208"/>
                  <a:gd name="T32" fmla="*/ 134 w 134"/>
                  <a:gd name="T33" fmla="*/ 56 h 208"/>
                  <a:gd name="T34" fmla="*/ 134 w 134"/>
                  <a:gd name="T35" fmla="*/ 206 h 208"/>
                  <a:gd name="T36" fmla="*/ 133 w 134"/>
                  <a:gd name="T37" fmla="*/ 208 h 208"/>
                  <a:gd name="T38" fmla="*/ 132 w 134"/>
                  <a:gd name="T39" fmla="*/ 208 h 208"/>
                  <a:gd name="T40" fmla="*/ 4 w 134"/>
                  <a:gd name="T41" fmla="*/ 130 h 208"/>
                  <a:gd name="T42" fmla="*/ 130 w 134"/>
                  <a:gd name="T43" fmla="*/ 203 h 208"/>
                  <a:gd name="T44" fmla="*/ 130 w 134"/>
                  <a:gd name="T45" fmla="*/ 57 h 208"/>
                  <a:gd name="T46" fmla="*/ 67 w 134"/>
                  <a:gd name="T47" fmla="*/ 21 h 208"/>
                  <a:gd name="T48" fmla="*/ 50 w 134"/>
                  <a:gd name="T49" fmla="*/ 31 h 208"/>
                  <a:gd name="T50" fmla="*/ 48 w 134"/>
                  <a:gd name="T51" fmla="*/ 31 h 208"/>
                  <a:gd name="T52" fmla="*/ 32 w 134"/>
                  <a:gd name="T53" fmla="*/ 22 h 208"/>
                  <a:gd name="T54" fmla="*/ 23 w 134"/>
                  <a:gd name="T55" fmla="*/ 27 h 208"/>
                  <a:gd name="T56" fmla="*/ 21 w 134"/>
                  <a:gd name="T57" fmla="*/ 27 h 208"/>
                  <a:gd name="T58" fmla="*/ 20 w 134"/>
                  <a:gd name="T59" fmla="*/ 25 h 208"/>
                  <a:gd name="T60" fmla="*/ 20 w 134"/>
                  <a:gd name="T61" fmla="*/ 14 h 208"/>
                  <a:gd name="T62" fmla="*/ 4 w 134"/>
                  <a:gd name="T63" fmla="*/ 5 h 208"/>
                  <a:gd name="T64" fmla="*/ 4 w 134"/>
                  <a:gd name="T65" fmla="*/ 13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208">
                    <a:moveTo>
                      <a:pt x="132" y="208"/>
                    </a:moveTo>
                    <a:cubicBezTo>
                      <a:pt x="132" y="208"/>
                      <a:pt x="131" y="208"/>
                      <a:pt x="131" y="208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2"/>
                      <a:pt x="0" y="132"/>
                      <a:pt x="0" y="13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2" y="17"/>
                      <a:pt x="32" y="17"/>
                      <a:pt x="33" y="18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7" y="16"/>
                      <a:pt x="67" y="16"/>
                      <a:pt x="68" y="17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4" y="55"/>
                      <a:pt x="134" y="55"/>
                      <a:pt x="134" y="56"/>
                    </a:cubicBezTo>
                    <a:cubicBezTo>
                      <a:pt x="134" y="206"/>
                      <a:pt x="134" y="206"/>
                      <a:pt x="134" y="206"/>
                    </a:cubicBezTo>
                    <a:cubicBezTo>
                      <a:pt x="134" y="207"/>
                      <a:pt x="134" y="208"/>
                      <a:pt x="133" y="208"/>
                    </a:cubicBezTo>
                    <a:cubicBezTo>
                      <a:pt x="133" y="208"/>
                      <a:pt x="132" y="208"/>
                      <a:pt x="132" y="208"/>
                    </a:cubicBezTo>
                    <a:close/>
                    <a:moveTo>
                      <a:pt x="4" y="130"/>
                    </a:moveTo>
                    <a:cubicBezTo>
                      <a:pt x="130" y="203"/>
                      <a:pt x="130" y="203"/>
                      <a:pt x="130" y="203"/>
                    </a:cubicBezTo>
                    <a:cubicBezTo>
                      <a:pt x="130" y="57"/>
                      <a:pt x="130" y="57"/>
                      <a:pt x="130" y="57"/>
                    </a:cubicBezTo>
                    <a:cubicBezTo>
                      <a:pt x="67" y="21"/>
                      <a:pt x="67" y="21"/>
                      <a:pt x="67" y="21"/>
                    </a:cubicBezTo>
                    <a:cubicBezTo>
                      <a:pt x="50" y="31"/>
                      <a:pt x="50" y="31"/>
                      <a:pt x="50" y="31"/>
                    </a:cubicBezTo>
                    <a:cubicBezTo>
                      <a:pt x="49" y="31"/>
                      <a:pt x="48" y="31"/>
                      <a:pt x="48" y="31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27"/>
                      <a:pt x="21" y="27"/>
                      <a:pt x="21" y="27"/>
                    </a:cubicBezTo>
                    <a:cubicBezTo>
                      <a:pt x="20" y="27"/>
                      <a:pt x="20" y="26"/>
                      <a:pt x="20" y="25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4" name="Freeform 966">
                <a:extLst>
                  <a:ext uri="{FF2B5EF4-FFF2-40B4-BE49-F238E27FC236}">
                    <a16:creationId xmlns:a16="http://schemas.microsoft.com/office/drawing/2014/main" id="{DE348768-A187-418F-88C1-05660DA8DE2A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4973048" y="6952318"/>
                <a:ext cx="19713" cy="352763"/>
              </a:xfrm>
              <a:custGeom>
                <a:avLst/>
                <a:gdLst>
                  <a:gd name="T0" fmla="*/ 3 w 8"/>
                  <a:gd name="T1" fmla="*/ 144 h 144"/>
                  <a:gd name="T2" fmla="*/ 2 w 8"/>
                  <a:gd name="T3" fmla="*/ 144 h 144"/>
                  <a:gd name="T4" fmla="*/ 0 w 8"/>
                  <a:gd name="T5" fmla="*/ 142 h 144"/>
                  <a:gd name="T6" fmla="*/ 0 w 8"/>
                  <a:gd name="T7" fmla="*/ 4 h 144"/>
                  <a:gd name="T8" fmla="*/ 1 w 8"/>
                  <a:gd name="T9" fmla="*/ 3 h 144"/>
                  <a:gd name="T10" fmla="*/ 5 w 8"/>
                  <a:gd name="T11" fmla="*/ 1 h 144"/>
                  <a:gd name="T12" fmla="*/ 7 w 8"/>
                  <a:gd name="T13" fmla="*/ 1 h 144"/>
                  <a:gd name="T14" fmla="*/ 8 w 8"/>
                  <a:gd name="T15" fmla="*/ 2 h 144"/>
                  <a:gd name="T16" fmla="*/ 8 w 8"/>
                  <a:gd name="T17" fmla="*/ 140 h 144"/>
                  <a:gd name="T18" fmla="*/ 7 w 8"/>
                  <a:gd name="T19" fmla="*/ 142 h 144"/>
                  <a:gd name="T20" fmla="*/ 4 w 8"/>
                  <a:gd name="T21" fmla="*/ 144 h 144"/>
                  <a:gd name="T22" fmla="*/ 3 w 8"/>
                  <a:gd name="T2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44">
                    <a:moveTo>
                      <a:pt x="3" y="144"/>
                    </a:moveTo>
                    <a:cubicBezTo>
                      <a:pt x="2" y="144"/>
                      <a:pt x="2" y="144"/>
                      <a:pt x="2" y="144"/>
                    </a:cubicBezTo>
                    <a:cubicBezTo>
                      <a:pt x="1" y="144"/>
                      <a:pt x="0" y="143"/>
                      <a:pt x="0" y="14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7" y="1"/>
                      <a:pt x="8" y="2"/>
                      <a:pt x="8" y="2"/>
                    </a:cubicBezTo>
                    <a:cubicBezTo>
                      <a:pt x="8" y="140"/>
                      <a:pt x="8" y="140"/>
                      <a:pt x="8" y="140"/>
                    </a:cubicBezTo>
                    <a:cubicBezTo>
                      <a:pt x="8" y="141"/>
                      <a:pt x="7" y="142"/>
                      <a:pt x="7" y="142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3" y="144"/>
                      <a:pt x="3" y="144"/>
                      <a:pt x="3" y="14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5" name="Freeform 967">
                <a:extLst>
                  <a:ext uri="{FF2B5EF4-FFF2-40B4-BE49-F238E27FC236}">
                    <a16:creationId xmlns:a16="http://schemas.microsoft.com/office/drawing/2014/main" id="{847F7602-9F5D-4923-B1B1-261B5C4A0430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217907" y="6310081"/>
                <a:ext cx="39427" cy="30089"/>
              </a:xfrm>
              <a:custGeom>
                <a:avLst/>
                <a:gdLst>
                  <a:gd name="T0" fmla="*/ 13 w 16"/>
                  <a:gd name="T1" fmla="*/ 12 h 12"/>
                  <a:gd name="T2" fmla="*/ 12 w 16"/>
                  <a:gd name="T3" fmla="*/ 12 h 12"/>
                  <a:gd name="T4" fmla="*/ 1 w 16"/>
                  <a:gd name="T5" fmla="*/ 5 h 12"/>
                  <a:gd name="T6" fmla="*/ 0 w 16"/>
                  <a:gd name="T7" fmla="*/ 3 h 12"/>
                  <a:gd name="T8" fmla="*/ 0 w 16"/>
                  <a:gd name="T9" fmla="*/ 2 h 12"/>
                  <a:gd name="T10" fmla="*/ 1 w 16"/>
                  <a:gd name="T11" fmla="*/ 0 h 12"/>
                  <a:gd name="T12" fmla="*/ 3 w 16"/>
                  <a:gd name="T13" fmla="*/ 0 h 12"/>
                  <a:gd name="T14" fmla="*/ 15 w 16"/>
                  <a:gd name="T15" fmla="*/ 7 h 12"/>
                  <a:gd name="T16" fmla="*/ 16 w 16"/>
                  <a:gd name="T17" fmla="*/ 9 h 12"/>
                  <a:gd name="T18" fmla="*/ 15 w 16"/>
                  <a:gd name="T19" fmla="*/ 11 h 12"/>
                  <a:gd name="T20" fmla="*/ 14 w 16"/>
                  <a:gd name="T21" fmla="*/ 12 h 12"/>
                  <a:gd name="T22" fmla="*/ 13 w 16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2">
                    <a:moveTo>
                      <a:pt x="13" y="12"/>
                    </a:moveTo>
                    <a:cubicBezTo>
                      <a:pt x="13" y="12"/>
                      <a:pt x="12" y="12"/>
                      <a:pt x="12" y="1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8"/>
                      <a:pt x="16" y="8"/>
                      <a:pt x="16" y="9"/>
                    </a:cubicBezTo>
                    <a:cubicBezTo>
                      <a:pt x="16" y="10"/>
                      <a:pt x="16" y="10"/>
                      <a:pt x="15" y="11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3" y="12"/>
                      <a:pt x="13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6" name="Freeform 971">
                <a:extLst>
                  <a:ext uri="{FF2B5EF4-FFF2-40B4-BE49-F238E27FC236}">
                    <a16:creationId xmlns:a16="http://schemas.microsoft.com/office/drawing/2014/main" id="{D4715862-400E-486D-AC0A-28798865EE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674236" y="6950243"/>
                <a:ext cx="313338" cy="417091"/>
              </a:xfrm>
              <a:custGeom>
                <a:avLst/>
                <a:gdLst>
                  <a:gd name="T0" fmla="*/ 68 w 128"/>
                  <a:gd name="T1" fmla="*/ 170 h 170"/>
                  <a:gd name="T2" fmla="*/ 67 w 128"/>
                  <a:gd name="T3" fmla="*/ 169 h 170"/>
                  <a:gd name="T4" fmla="*/ 55 w 128"/>
                  <a:gd name="T5" fmla="*/ 163 h 170"/>
                  <a:gd name="T6" fmla="*/ 43 w 128"/>
                  <a:gd name="T7" fmla="*/ 169 h 170"/>
                  <a:gd name="T8" fmla="*/ 41 w 128"/>
                  <a:gd name="T9" fmla="*/ 169 h 170"/>
                  <a:gd name="T10" fmla="*/ 1 w 128"/>
                  <a:gd name="T11" fmla="*/ 146 h 170"/>
                  <a:gd name="T12" fmla="*/ 0 w 128"/>
                  <a:gd name="T13" fmla="*/ 144 h 170"/>
                  <a:gd name="T14" fmla="*/ 1 w 128"/>
                  <a:gd name="T15" fmla="*/ 142 h 170"/>
                  <a:gd name="T16" fmla="*/ 3 w 128"/>
                  <a:gd name="T17" fmla="*/ 141 h 170"/>
                  <a:gd name="T18" fmla="*/ 3 w 128"/>
                  <a:gd name="T19" fmla="*/ 2 h 170"/>
                  <a:gd name="T20" fmla="*/ 4 w 128"/>
                  <a:gd name="T21" fmla="*/ 1 h 170"/>
                  <a:gd name="T22" fmla="*/ 5 w 128"/>
                  <a:gd name="T23" fmla="*/ 0 h 170"/>
                  <a:gd name="T24" fmla="*/ 7 w 128"/>
                  <a:gd name="T25" fmla="*/ 0 h 170"/>
                  <a:gd name="T26" fmla="*/ 127 w 128"/>
                  <a:gd name="T27" fmla="*/ 69 h 170"/>
                  <a:gd name="T28" fmla="*/ 128 w 128"/>
                  <a:gd name="T29" fmla="*/ 71 h 170"/>
                  <a:gd name="T30" fmla="*/ 128 w 128"/>
                  <a:gd name="T31" fmla="*/ 134 h 170"/>
                  <a:gd name="T32" fmla="*/ 127 w 128"/>
                  <a:gd name="T33" fmla="*/ 136 h 170"/>
                  <a:gd name="T34" fmla="*/ 69 w 128"/>
                  <a:gd name="T35" fmla="*/ 169 h 170"/>
                  <a:gd name="T36" fmla="*/ 68 w 128"/>
                  <a:gd name="T37" fmla="*/ 170 h 170"/>
                  <a:gd name="T38" fmla="*/ 55 w 128"/>
                  <a:gd name="T39" fmla="*/ 158 h 170"/>
                  <a:gd name="T40" fmla="*/ 56 w 128"/>
                  <a:gd name="T41" fmla="*/ 159 h 170"/>
                  <a:gd name="T42" fmla="*/ 68 w 128"/>
                  <a:gd name="T43" fmla="*/ 165 h 170"/>
                  <a:gd name="T44" fmla="*/ 124 w 128"/>
                  <a:gd name="T45" fmla="*/ 133 h 170"/>
                  <a:gd name="T46" fmla="*/ 124 w 128"/>
                  <a:gd name="T47" fmla="*/ 72 h 170"/>
                  <a:gd name="T48" fmla="*/ 7 w 128"/>
                  <a:gd name="T49" fmla="*/ 5 h 170"/>
                  <a:gd name="T50" fmla="*/ 7 w 128"/>
                  <a:gd name="T51" fmla="*/ 142 h 170"/>
                  <a:gd name="T52" fmla="*/ 6 w 128"/>
                  <a:gd name="T53" fmla="*/ 144 h 170"/>
                  <a:gd name="T54" fmla="*/ 6 w 128"/>
                  <a:gd name="T55" fmla="*/ 144 h 170"/>
                  <a:gd name="T56" fmla="*/ 42 w 128"/>
                  <a:gd name="T57" fmla="*/ 165 h 170"/>
                  <a:gd name="T58" fmla="*/ 54 w 128"/>
                  <a:gd name="T59" fmla="*/ 159 h 170"/>
                  <a:gd name="T60" fmla="*/ 55 w 128"/>
                  <a:gd name="T61" fmla="*/ 158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8" h="170">
                    <a:moveTo>
                      <a:pt x="68" y="170"/>
                    </a:moveTo>
                    <a:cubicBezTo>
                      <a:pt x="67" y="170"/>
                      <a:pt x="67" y="170"/>
                      <a:pt x="67" y="169"/>
                    </a:cubicBezTo>
                    <a:cubicBezTo>
                      <a:pt x="55" y="163"/>
                      <a:pt x="55" y="163"/>
                      <a:pt x="55" y="163"/>
                    </a:cubicBezTo>
                    <a:cubicBezTo>
                      <a:pt x="43" y="169"/>
                      <a:pt x="43" y="169"/>
                      <a:pt x="43" y="169"/>
                    </a:cubicBezTo>
                    <a:cubicBezTo>
                      <a:pt x="43" y="169"/>
                      <a:pt x="42" y="169"/>
                      <a:pt x="41" y="169"/>
                    </a:cubicBezTo>
                    <a:cubicBezTo>
                      <a:pt x="1" y="146"/>
                      <a:pt x="1" y="146"/>
                      <a:pt x="1" y="146"/>
                    </a:cubicBezTo>
                    <a:cubicBezTo>
                      <a:pt x="1" y="146"/>
                      <a:pt x="0" y="145"/>
                      <a:pt x="0" y="144"/>
                    </a:cubicBezTo>
                    <a:cubicBezTo>
                      <a:pt x="0" y="143"/>
                      <a:pt x="1" y="143"/>
                      <a:pt x="1" y="142"/>
                    </a:cubicBezTo>
                    <a:cubicBezTo>
                      <a:pt x="3" y="141"/>
                      <a:pt x="3" y="141"/>
                      <a:pt x="3" y="14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0"/>
                    </a:cubicBezTo>
                    <a:cubicBezTo>
                      <a:pt x="127" y="69"/>
                      <a:pt x="127" y="69"/>
                      <a:pt x="127" y="69"/>
                    </a:cubicBezTo>
                    <a:cubicBezTo>
                      <a:pt x="127" y="69"/>
                      <a:pt x="128" y="70"/>
                      <a:pt x="128" y="71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28" y="135"/>
                      <a:pt x="127" y="135"/>
                      <a:pt x="127" y="136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8" y="170"/>
                      <a:pt x="68" y="170"/>
                      <a:pt x="68" y="170"/>
                    </a:cubicBezTo>
                    <a:close/>
                    <a:moveTo>
                      <a:pt x="55" y="158"/>
                    </a:moveTo>
                    <a:cubicBezTo>
                      <a:pt x="55" y="158"/>
                      <a:pt x="55" y="158"/>
                      <a:pt x="56" y="159"/>
                    </a:cubicBezTo>
                    <a:cubicBezTo>
                      <a:pt x="68" y="165"/>
                      <a:pt x="68" y="165"/>
                      <a:pt x="68" y="165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42"/>
                      <a:pt x="7" y="142"/>
                      <a:pt x="7" y="142"/>
                    </a:cubicBezTo>
                    <a:cubicBezTo>
                      <a:pt x="7" y="143"/>
                      <a:pt x="7" y="144"/>
                      <a:pt x="6" y="144"/>
                    </a:cubicBezTo>
                    <a:cubicBezTo>
                      <a:pt x="6" y="144"/>
                      <a:pt x="6" y="144"/>
                      <a:pt x="6" y="144"/>
                    </a:cubicBezTo>
                    <a:cubicBezTo>
                      <a:pt x="42" y="165"/>
                      <a:pt x="42" y="165"/>
                      <a:pt x="42" y="165"/>
                    </a:cubicBezTo>
                    <a:cubicBezTo>
                      <a:pt x="54" y="159"/>
                      <a:pt x="54" y="159"/>
                      <a:pt x="54" y="159"/>
                    </a:cubicBezTo>
                    <a:cubicBezTo>
                      <a:pt x="54" y="158"/>
                      <a:pt x="54" y="158"/>
                      <a:pt x="55" y="15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7" name="Freeform 984">
                <a:extLst>
                  <a:ext uri="{FF2B5EF4-FFF2-40B4-BE49-F238E27FC236}">
                    <a16:creationId xmlns:a16="http://schemas.microsoft.com/office/drawing/2014/main" id="{F7BD0E13-6FDF-4451-ADD4-CDC6B2F2AB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76746" y="6685671"/>
                <a:ext cx="292587" cy="198170"/>
              </a:xfrm>
              <a:custGeom>
                <a:avLst/>
                <a:gdLst>
                  <a:gd name="T0" fmla="*/ 54 w 119"/>
                  <a:gd name="T1" fmla="*/ 81 h 81"/>
                  <a:gd name="T2" fmla="*/ 53 w 119"/>
                  <a:gd name="T3" fmla="*/ 81 h 81"/>
                  <a:gd name="T4" fmla="*/ 44 w 119"/>
                  <a:gd name="T5" fmla="*/ 76 h 81"/>
                  <a:gd name="T6" fmla="*/ 43 w 119"/>
                  <a:gd name="T7" fmla="*/ 74 h 81"/>
                  <a:gd name="T8" fmla="*/ 43 w 119"/>
                  <a:gd name="T9" fmla="*/ 56 h 81"/>
                  <a:gd name="T10" fmla="*/ 28 w 119"/>
                  <a:gd name="T11" fmla="*/ 65 h 81"/>
                  <a:gd name="T12" fmla="*/ 26 w 119"/>
                  <a:gd name="T13" fmla="*/ 65 h 81"/>
                  <a:gd name="T14" fmla="*/ 1 w 119"/>
                  <a:gd name="T15" fmla="*/ 51 h 81"/>
                  <a:gd name="T16" fmla="*/ 0 w 119"/>
                  <a:gd name="T17" fmla="*/ 49 h 81"/>
                  <a:gd name="T18" fmla="*/ 0 w 119"/>
                  <a:gd name="T19" fmla="*/ 43 h 81"/>
                  <a:gd name="T20" fmla="*/ 1 w 119"/>
                  <a:gd name="T21" fmla="*/ 41 h 81"/>
                  <a:gd name="T22" fmla="*/ 72 w 119"/>
                  <a:gd name="T23" fmla="*/ 0 h 81"/>
                  <a:gd name="T24" fmla="*/ 74 w 119"/>
                  <a:gd name="T25" fmla="*/ 0 h 81"/>
                  <a:gd name="T26" fmla="*/ 101 w 119"/>
                  <a:gd name="T27" fmla="*/ 16 h 81"/>
                  <a:gd name="T28" fmla="*/ 102 w 119"/>
                  <a:gd name="T29" fmla="*/ 18 h 81"/>
                  <a:gd name="T30" fmla="*/ 102 w 119"/>
                  <a:gd name="T31" fmla="*/ 31 h 81"/>
                  <a:gd name="T32" fmla="*/ 118 w 119"/>
                  <a:gd name="T33" fmla="*/ 40 h 81"/>
                  <a:gd name="T34" fmla="*/ 119 w 119"/>
                  <a:gd name="T35" fmla="*/ 42 h 81"/>
                  <a:gd name="T36" fmla="*/ 118 w 119"/>
                  <a:gd name="T37" fmla="*/ 44 h 81"/>
                  <a:gd name="T38" fmla="*/ 86 w 119"/>
                  <a:gd name="T39" fmla="*/ 63 h 81"/>
                  <a:gd name="T40" fmla="*/ 84 w 119"/>
                  <a:gd name="T41" fmla="*/ 63 h 81"/>
                  <a:gd name="T42" fmla="*/ 58 w 119"/>
                  <a:gd name="T43" fmla="*/ 48 h 81"/>
                  <a:gd name="T44" fmla="*/ 58 w 119"/>
                  <a:gd name="T45" fmla="*/ 78 h 81"/>
                  <a:gd name="T46" fmla="*/ 57 w 119"/>
                  <a:gd name="T47" fmla="*/ 79 h 81"/>
                  <a:gd name="T48" fmla="*/ 55 w 119"/>
                  <a:gd name="T49" fmla="*/ 81 h 81"/>
                  <a:gd name="T50" fmla="*/ 54 w 119"/>
                  <a:gd name="T51" fmla="*/ 81 h 81"/>
                  <a:gd name="T52" fmla="*/ 47 w 119"/>
                  <a:gd name="T53" fmla="*/ 73 h 81"/>
                  <a:gd name="T54" fmla="*/ 54 w 119"/>
                  <a:gd name="T55" fmla="*/ 76 h 81"/>
                  <a:gd name="T56" fmla="*/ 54 w 119"/>
                  <a:gd name="T57" fmla="*/ 76 h 81"/>
                  <a:gd name="T58" fmla="*/ 54 w 119"/>
                  <a:gd name="T59" fmla="*/ 44 h 81"/>
                  <a:gd name="T60" fmla="*/ 55 w 119"/>
                  <a:gd name="T61" fmla="*/ 43 h 81"/>
                  <a:gd name="T62" fmla="*/ 57 w 119"/>
                  <a:gd name="T63" fmla="*/ 43 h 81"/>
                  <a:gd name="T64" fmla="*/ 85 w 119"/>
                  <a:gd name="T65" fmla="*/ 59 h 81"/>
                  <a:gd name="T66" fmla="*/ 113 w 119"/>
                  <a:gd name="T67" fmla="*/ 42 h 81"/>
                  <a:gd name="T68" fmla="*/ 99 w 119"/>
                  <a:gd name="T69" fmla="*/ 34 h 81"/>
                  <a:gd name="T70" fmla="*/ 98 w 119"/>
                  <a:gd name="T71" fmla="*/ 32 h 81"/>
                  <a:gd name="T72" fmla="*/ 98 w 119"/>
                  <a:gd name="T73" fmla="*/ 19 h 81"/>
                  <a:gd name="T74" fmla="*/ 73 w 119"/>
                  <a:gd name="T75" fmla="*/ 5 h 81"/>
                  <a:gd name="T76" fmla="*/ 4 w 119"/>
                  <a:gd name="T77" fmla="*/ 44 h 81"/>
                  <a:gd name="T78" fmla="*/ 4 w 119"/>
                  <a:gd name="T79" fmla="*/ 48 h 81"/>
                  <a:gd name="T80" fmla="*/ 27 w 119"/>
                  <a:gd name="T81" fmla="*/ 61 h 81"/>
                  <a:gd name="T82" fmla="*/ 44 w 119"/>
                  <a:gd name="T83" fmla="*/ 51 h 81"/>
                  <a:gd name="T84" fmla="*/ 46 w 119"/>
                  <a:gd name="T85" fmla="*/ 51 h 81"/>
                  <a:gd name="T86" fmla="*/ 47 w 119"/>
                  <a:gd name="T87" fmla="*/ 53 h 81"/>
                  <a:gd name="T88" fmla="*/ 47 w 119"/>
                  <a:gd name="T89" fmla="*/ 7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81">
                    <a:moveTo>
                      <a:pt x="54" y="81"/>
                    </a:moveTo>
                    <a:cubicBezTo>
                      <a:pt x="54" y="81"/>
                      <a:pt x="53" y="81"/>
                      <a:pt x="53" y="81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4" y="75"/>
                      <a:pt x="43" y="75"/>
                      <a:pt x="43" y="74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7" y="65"/>
                      <a:pt x="26" y="65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3" y="0"/>
                      <a:pt x="74" y="0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1" y="16"/>
                      <a:pt x="102" y="17"/>
                      <a:pt x="102" y="18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2"/>
                    </a:cubicBezTo>
                    <a:cubicBezTo>
                      <a:pt x="119" y="43"/>
                      <a:pt x="119" y="44"/>
                      <a:pt x="118" y="44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5" y="63"/>
                      <a:pt x="85" y="63"/>
                      <a:pt x="84" y="63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78"/>
                      <a:pt x="58" y="79"/>
                      <a:pt x="57" y="79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5" y="81"/>
                      <a:pt x="54" y="81"/>
                      <a:pt x="54" y="81"/>
                    </a:cubicBezTo>
                    <a:close/>
                    <a:moveTo>
                      <a:pt x="47" y="73"/>
                    </a:move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4"/>
                      <a:pt x="54" y="43"/>
                      <a:pt x="55" y="43"/>
                    </a:cubicBezTo>
                    <a:cubicBezTo>
                      <a:pt x="56" y="42"/>
                      <a:pt x="56" y="42"/>
                      <a:pt x="57" y="43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99" y="34"/>
                      <a:pt x="99" y="34"/>
                      <a:pt x="99" y="34"/>
                    </a:cubicBezTo>
                    <a:cubicBezTo>
                      <a:pt x="98" y="33"/>
                      <a:pt x="98" y="33"/>
                      <a:pt x="98" y="32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27" y="61"/>
                      <a:pt x="27" y="61"/>
                      <a:pt x="27" y="6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5" y="51"/>
                      <a:pt x="46" y="51"/>
                      <a:pt x="46" y="51"/>
                    </a:cubicBezTo>
                    <a:cubicBezTo>
                      <a:pt x="47" y="52"/>
                      <a:pt x="47" y="52"/>
                      <a:pt x="47" y="53"/>
                    </a:cubicBezTo>
                    <a:lnTo>
                      <a:pt x="47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8" name="Freeform 985">
                <a:extLst>
                  <a:ext uri="{FF2B5EF4-FFF2-40B4-BE49-F238E27FC236}">
                    <a16:creationId xmlns:a16="http://schemas.microsoft.com/office/drawing/2014/main" id="{DB5E30EA-1A85-465F-BD37-53824A4483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919285" y="6469862"/>
                <a:ext cx="250048" cy="320600"/>
              </a:xfrm>
              <a:custGeom>
                <a:avLst/>
                <a:gdLst>
                  <a:gd name="T0" fmla="*/ 2 w 102"/>
                  <a:gd name="T1" fmla="*/ 131 h 131"/>
                  <a:gd name="T2" fmla="*/ 1 w 102"/>
                  <a:gd name="T3" fmla="*/ 131 h 131"/>
                  <a:gd name="T4" fmla="*/ 0 w 102"/>
                  <a:gd name="T5" fmla="*/ 129 h 131"/>
                  <a:gd name="T6" fmla="*/ 0 w 102"/>
                  <a:gd name="T7" fmla="*/ 58 h 131"/>
                  <a:gd name="T8" fmla="*/ 1 w 102"/>
                  <a:gd name="T9" fmla="*/ 57 h 131"/>
                  <a:gd name="T10" fmla="*/ 99 w 102"/>
                  <a:gd name="T11" fmla="*/ 1 h 131"/>
                  <a:gd name="T12" fmla="*/ 101 w 102"/>
                  <a:gd name="T13" fmla="*/ 1 h 131"/>
                  <a:gd name="T14" fmla="*/ 102 w 102"/>
                  <a:gd name="T15" fmla="*/ 2 h 131"/>
                  <a:gd name="T16" fmla="*/ 102 w 102"/>
                  <a:gd name="T17" fmla="*/ 104 h 131"/>
                  <a:gd name="T18" fmla="*/ 101 w 102"/>
                  <a:gd name="T19" fmla="*/ 106 h 131"/>
                  <a:gd name="T20" fmla="*/ 99 w 102"/>
                  <a:gd name="T21" fmla="*/ 106 h 131"/>
                  <a:gd name="T22" fmla="*/ 73 w 102"/>
                  <a:gd name="T23" fmla="*/ 91 h 131"/>
                  <a:gd name="T24" fmla="*/ 3 w 102"/>
                  <a:gd name="T25" fmla="*/ 131 h 131"/>
                  <a:gd name="T26" fmla="*/ 2 w 102"/>
                  <a:gd name="T27" fmla="*/ 131 h 131"/>
                  <a:gd name="T28" fmla="*/ 4 w 102"/>
                  <a:gd name="T29" fmla="*/ 60 h 131"/>
                  <a:gd name="T30" fmla="*/ 4 w 102"/>
                  <a:gd name="T31" fmla="*/ 125 h 131"/>
                  <a:gd name="T32" fmla="*/ 72 w 102"/>
                  <a:gd name="T33" fmla="*/ 87 h 131"/>
                  <a:gd name="T34" fmla="*/ 74 w 102"/>
                  <a:gd name="T35" fmla="*/ 87 h 131"/>
                  <a:gd name="T36" fmla="*/ 98 w 102"/>
                  <a:gd name="T37" fmla="*/ 100 h 131"/>
                  <a:gd name="T38" fmla="*/ 98 w 102"/>
                  <a:gd name="T39" fmla="*/ 6 h 131"/>
                  <a:gd name="T40" fmla="*/ 4 w 102"/>
                  <a:gd name="T41" fmla="*/ 6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31">
                    <a:moveTo>
                      <a:pt x="2" y="131"/>
                    </a:moveTo>
                    <a:cubicBezTo>
                      <a:pt x="2" y="131"/>
                      <a:pt x="2" y="131"/>
                      <a:pt x="1" y="131"/>
                    </a:cubicBezTo>
                    <a:cubicBezTo>
                      <a:pt x="1" y="130"/>
                      <a:pt x="0" y="130"/>
                      <a:pt x="0" y="129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1" y="57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5"/>
                      <a:pt x="101" y="105"/>
                      <a:pt x="101" y="106"/>
                    </a:cubicBezTo>
                    <a:cubicBezTo>
                      <a:pt x="100" y="106"/>
                      <a:pt x="99" y="106"/>
                      <a:pt x="99" y="106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" y="131"/>
                      <a:pt x="3" y="131"/>
                      <a:pt x="2" y="131"/>
                    </a:cubicBezTo>
                    <a:close/>
                    <a:moveTo>
                      <a:pt x="4" y="60"/>
                    </a:moveTo>
                    <a:cubicBezTo>
                      <a:pt x="4" y="125"/>
                      <a:pt x="4" y="125"/>
                      <a:pt x="4" y="125"/>
                    </a:cubicBezTo>
                    <a:cubicBezTo>
                      <a:pt x="72" y="87"/>
                      <a:pt x="72" y="87"/>
                      <a:pt x="72" y="87"/>
                    </a:cubicBezTo>
                    <a:cubicBezTo>
                      <a:pt x="72" y="86"/>
                      <a:pt x="73" y="86"/>
                      <a:pt x="74" y="87"/>
                    </a:cubicBezTo>
                    <a:cubicBezTo>
                      <a:pt x="98" y="100"/>
                      <a:pt x="98" y="100"/>
                      <a:pt x="98" y="100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9" name="Freeform 986">
                <a:extLst>
                  <a:ext uri="{FF2B5EF4-FFF2-40B4-BE49-F238E27FC236}">
                    <a16:creationId xmlns:a16="http://schemas.microsoft.com/office/drawing/2014/main" id="{7A15CA9C-BA4E-414B-BA09-4C18FE144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99818" y="6806025"/>
                <a:ext cx="69515" cy="75740"/>
              </a:xfrm>
              <a:custGeom>
                <a:avLst/>
                <a:gdLst>
                  <a:gd name="T0" fmla="*/ 2 w 28"/>
                  <a:gd name="T1" fmla="*/ 31 h 31"/>
                  <a:gd name="T2" fmla="*/ 1 w 28"/>
                  <a:gd name="T3" fmla="*/ 30 h 31"/>
                  <a:gd name="T4" fmla="*/ 0 w 28"/>
                  <a:gd name="T5" fmla="*/ 29 h 31"/>
                  <a:gd name="T6" fmla="*/ 0 w 28"/>
                  <a:gd name="T7" fmla="*/ 2 h 31"/>
                  <a:gd name="T8" fmla="*/ 1 w 28"/>
                  <a:gd name="T9" fmla="*/ 0 h 31"/>
                  <a:gd name="T10" fmla="*/ 3 w 28"/>
                  <a:gd name="T11" fmla="*/ 0 h 31"/>
                  <a:gd name="T12" fmla="*/ 27 w 28"/>
                  <a:gd name="T13" fmla="*/ 14 h 31"/>
                  <a:gd name="T14" fmla="*/ 28 w 28"/>
                  <a:gd name="T15" fmla="*/ 15 h 31"/>
                  <a:gd name="T16" fmla="*/ 27 w 28"/>
                  <a:gd name="T17" fmla="*/ 17 h 31"/>
                  <a:gd name="T18" fmla="*/ 3 w 28"/>
                  <a:gd name="T19" fmla="*/ 30 h 31"/>
                  <a:gd name="T20" fmla="*/ 2 w 28"/>
                  <a:gd name="T21" fmla="*/ 31 h 31"/>
                  <a:gd name="T22" fmla="*/ 4 w 28"/>
                  <a:gd name="T23" fmla="*/ 5 h 31"/>
                  <a:gd name="T24" fmla="*/ 4 w 28"/>
                  <a:gd name="T25" fmla="*/ 25 h 31"/>
                  <a:gd name="T26" fmla="*/ 22 w 28"/>
                  <a:gd name="T27" fmla="*/ 15 h 31"/>
                  <a:gd name="T28" fmla="*/ 4 w 28"/>
                  <a:gd name="T2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1">
                    <a:moveTo>
                      <a:pt x="2" y="31"/>
                    </a:moveTo>
                    <a:cubicBezTo>
                      <a:pt x="2" y="31"/>
                      <a:pt x="2" y="31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4"/>
                      <a:pt x="28" y="15"/>
                      <a:pt x="28" y="15"/>
                    </a:cubicBezTo>
                    <a:cubicBezTo>
                      <a:pt x="28" y="16"/>
                      <a:pt x="27" y="17"/>
                      <a:pt x="27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1"/>
                      <a:pt x="3" y="31"/>
                      <a:pt x="2" y="31"/>
                    </a:cubicBezTo>
                    <a:close/>
                    <a:moveTo>
                      <a:pt x="4" y="5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2" y="15"/>
                      <a:pt x="22" y="15"/>
                      <a:pt x="22" y="15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0" name="Freeform 987">
                <a:extLst>
                  <a:ext uri="{FF2B5EF4-FFF2-40B4-BE49-F238E27FC236}">
                    <a16:creationId xmlns:a16="http://schemas.microsoft.com/office/drawing/2014/main" id="{83BE6753-85C7-4565-A39C-D96A4F1292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2221" y="6401385"/>
                <a:ext cx="64328" cy="70553"/>
              </a:xfrm>
              <a:custGeom>
                <a:avLst/>
                <a:gdLst>
                  <a:gd name="T0" fmla="*/ 2 w 26"/>
                  <a:gd name="T1" fmla="*/ 29 h 29"/>
                  <a:gd name="T2" fmla="*/ 1 w 26"/>
                  <a:gd name="T3" fmla="*/ 29 h 29"/>
                  <a:gd name="T4" fmla="*/ 0 w 26"/>
                  <a:gd name="T5" fmla="*/ 27 h 29"/>
                  <a:gd name="T6" fmla="*/ 0 w 26"/>
                  <a:gd name="T7" fmla="*/ 2 h 29"/>
                  <a:gd name="T8" fmla="*/ 1 w 26"/>
                  <a:gd name="T9" fmla="*/ 1 h 29"/>
                  <a:gd name="T10" fmla="*/ 3 w 26"/>
                  <a:gd name="T11" fmla="*/ 1 h 29"/>
                  <a:gd name="T12" fmla="*/ 25 w 26"/>
                  <a:gd name="T13" fmla="*/ 13 h 29"/>
                  <a:gd name="T14" fmla="*/ 26 w 26"/>
                  <a:gd name="T15" fmla="*/ 15 h 29"/>
                  <a:gd name="T16" fmla="*/ 25 w 26"/>
                  <a:gd name="T17" fmla="*/ 17 h 29"/>
                  <a:gd name="T18" fmla="*/ 3 w 26"/>
                  <a:gd name="T19" fmla="*/ 29 h 29"/>
                  <a:gd name="T20" fmla="*/ 2 w 26"/>
                  <a:gd name="T21" fmla="*/ 29 h 29"/>
                  <a:gd name="T22" fmla="*/ 4 w 26"/>
                  <a:gd name="T23" fmla="*/ 6 h 29"/>
                  <a:gd name="T24" fmla="*/ 4 w 26"/>
                  <a:gd name="T25" fmla="*/ 24 h 29"/>
                  <a:gd name="T26" fmla="*/ 20 w 26"/>
                  <a:gd name="T27" fmla="*/ 15 h 29"/>
                  <a:gd name="T28" fmla="*/ 4 w 26"/>
                  <a:gd name="T29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" y="29"/>
                    </a:moveTo>
                    <a:cubicBezTo>
                      <a:pt x="2" y="29"/>
                      <a:pt x="2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3"/>
                      <a:pt x="26" y="14"/>
                      <a:pt x="26" y="15"/>
                    </a:cubicBezTo>
                    <a:cubicBezTo>
                      <a:pt x="26" y="16"/>
                      <a:pt x="26" y="16"/>
                      <a:pt x="25" y="1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2" y="29"/>
                    </a:cubicBezTo>
                    <a:close/>
                    <a:moveTo>
                      <a:pt x="4" y="6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20" y="15"/>
                      <a:pt x="20" y="15"/>
                      <a:pt x="20" y="1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1" name="Freeform 988">
                <a:extLst>
                  <a:ext uri="{FF2B5EF4-FFF2-40B4-BE49-F238E27FC236}">
                    <a16:creationId xmlns:a16="http://schemas.microsoft.com/office/drawing/2014/main" id="{19D245F5-E126-492D-B137-48880F9697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56241" y="6840264"/>
                <a:ext cx="113092" cy="115167"/>
              </a:xfrm>
              <a:custGeom>
                <a:avLst/>
                <a:gdLst>
                  <a:gd name="T0" fmla="*/ 4 w 46"/>
                  <a:gd name="T1" fmla="*/ 47 h 47"/>
                  <a:gd name="T2" fmla="*/ 3 w 46"/>
                  <a:gd name="T3" fmla="*/ 47 h 47"/>
                  <a:gd name="T4" fmla="*/ 1 w 46"/>
                  <a:gd name="T5" fmla="*/ 46 h 47"/>
                  <a:gd name="T6" fmla="*/ 0 w 46"/>
                  <a:gd name="T7" fmla="*/ 44 h 47"/>
                  <a:gd name="T8" fmla="*/ 0 w 46"/>
                  <a:gd name="T9" fmla="*/ 17 h 47"/>
                  <a:gd name="T10" fmla="*/ 1 w 46"/>
                  <a:gd name="T11" fmla="*/ 15 h 47"/>
                  <a:gd name="T12" fmla="*/ 26 w 46"/>
                  <a:gd name="T13" fmla="*/ 1 h 47"/>
                  <a:gd name="T14" fmla="*/ 28 w 46"/>
                  <a:gd name="T15" fmla="*/ 1 h 47"/>
                  <a:gd name="T16" fmla="*/ 45 w 46"/>
                  <a:gd name="T17" fmla="*/ 10 h 47"/>
                  <a:gd name="T18" fmla="*/ 46 w 46"/>
                  <a:gd name="T19" fmla="*/ 12 h 47"/>
                  <a:gd name="T20" fmla="*/ 46 w 46"/>
                  <a:gd name="T21" fmla="*/ 22 h 47"/>
                  <a:gd name="T22" fmla="*/ 45 w 46"/>
                  <a:gd name="T23" fmla="*/ 23 h 47"/>
                  <a:gd name="T24" fmla="*/ 5 w 46"/>
                  <a:gd name="T25" fmla="*/ 47 h 47"/>
                  <a:gd name="T26" fmla="*/ 4 w 46"/>
                  <a:gd name="T27" fmla="*/ 47 h 47"/>
                  <a:gd name="T28" fmla="*/ 4 w 46"/>
                  <a:gd name="T29" fmla="*/ 18 h 47"/>
                  <a:gd name="T30" fmla="*/ 4 w 46"/>
                  <a:gd name="T31" fmla="*/ 42 h 47"/>
                  <a:gd name="T32" fmla="*/ 42 w 46"/>
                  <a:gd name="T33" fmla="*/ 21 h 47"/>
                  <a:gd name="T34" fmla="*/ 42 w 46"/>
                  <a:gd name="T35" fmla="*/ 13 h 47"/>
                  <a:gd name="T36" fmla="*/ 27 w 46"/>
                  <a:gd name="T37" fmla="*/ 5 h 47"/>
                  <a:gd name="T38" fmla="*/ 4 w 46"/>
                  <a:gd name="T39" fmla="*/ 1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7">
                    <a:moveTo>
                      <a:pt x="4" y="47"/>
                    </a:move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8" y="0"/>
                      <a:pt x="28" y="1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2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22"/>
                      <a:pt x="45" y="23"/>
                      <a:pt x="45" y="2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7"/>
                      <a:pt x="4" y="47"/>
                      <a:pt x="4" y="47"/>
                    </a:cubicBezTo>
                    <a:close/>
                    <a:moveTo>
                      <a:pt x="4" y="18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2" name="Freeform 989">
                <a:extLst>
                  <a:ext uri="{FF2B5EF4-FFF2-40B4-BE49-F238E27FC236}">
                    <a16:creationId xmlns:a16="http://schemas.microsoft.com/office/drawing/2014/main" id="{9D0981C6-A4B9-48F0-B6AA-794C1DB98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6437699"/>
                <a:ext cx="61215" cy="323712"/>
              </a:xfrm>
              <a:custGeom>
                <a:avLst/>
                <a:gdLst>
                  <a:gd name="T0" fmla="*/ 23 w 25"/>
                  <a:gd name="T1" fmla="*/ 132 h 132"/>
                  <a:gd name="T2" fmla="*/ 22 w 25"/>
                  <a:gd name="T3" fmla="*/ 132 h 132"/>
                  <a:gd name="T4" fmla="*/ 1 w 25"/>
                  <a:gd name="T5" fmla="*/ 120 h 132"/>
                  <a:gd name="T6" fmla="*/ 0 w 25"/>
                  <a:gd name="T7" fmla="*/ 118 h 132"/>
                  <a:gd name="T8" fmla="*/ 0 w 25"/>
                  <a:gd name="T9" fmla="*/ 14 h 132"/>
                  <a:gd name="T10" fmla="*/ 1 w 25"/>
                  <a:gd name="T11" fmla="*/ 13 h 132"/>
                  <a:gd name="T12" fmla="*/ 22 w 25"/>
                  <a:gd name="T13" fmla="*/ 1 h 132"/>
                  <a:gd name="T14" fmla="*/ 24 w 25"/>
                  <a:gd name="T15" fmla="*/ 1 h 132"/>
                  <a:gd name="T16" fmla="*/ 25 w 25"/>
                  <a:gd name="T17" fmla="*/ 2 h 132"/>
                  <a:gd name="T18" fmla="*/ 25 w 25"/>
                  <a:gd name="T19" fmla="*/ 130 h 132"/>
                  <a:gd name="T20" fmla="*/ 24 w 25"/>
                  <a:gd name="T21" fmla="*/ 132 h 132"/>
                  <a:gd name="T22" fmla="*/ 23 w 25"/>
                  <a:gd name="T23" fmla="*/ 132 h 132"/>
                  <a:gd name="T24" fmla="*/ 4 w 25"/>
                  <a:gd name="T25" fmla="*/ 117 h 132"/>
                  <a:gd name="T26" fmla="*/ 21 w 25"/>
                  <a:gd name="T27" fmla="*/ 126 h 132"/>
                  <a:gd name="T28" fmla="*/ 21 w 25"/>
                  <a:gd name="T29" fmla="*/ 6 h 132"/>
                  <a:gd name="T30" fmla="*/ 4 w 25"/>
                  <a:gd name="T31" fmla="*/ 16 h 132"/>
                  <a:gd name="T32" fmla="*/ 4 w 25"/>
                  <a:gd name="T33" fmla="*/ 11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132">
                    <a:moveTo>
                      <a:pt x="23" y="132"/>
                    </a:moveTo>
                    <a:cubicBezTo>
                      <a:pt x="23" y="132"/>
                      <a:pt x="22" y="132"/>
                      <a:pt x="22" y="13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19"/>
                      <a:pt x="0" y="119"/>
                      <a:pt x="0" y="11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5" y="1"/>
                      <a:pt x="25" y="2"/>
                      <a:pt x="25" y="2"/>
                    </a:cubicBezTo>
                    <a:cubicBezTo>
                      <a:pt x="25" y="130"/>
                      <a:pt x="25" y="130"/>
                      <a:pt x="25" y="130"/>
                    </a:cubicBezTo>
                    <a:cubicBezTo>
                      <a:pt x="25" y="131"/>
                      <a:pt x="25" y="131"/>
                      <a:pt x="24" y="132"/>
                    </a:cubicBezTo>
                    <a:cubicBezTo>
                      <a:pt x="24" y="132"/>
                      <a:pt x="23" y="132"/>
                      <a:pt x="23" y="132"/>
                    </a:cubicBezTo>
                    <a:close/>
                    <a:moveTo>
                      <a:pt x="4" y="117"/>
                    </a:moveTo>
                    <a:cubicBezTo>
                      <a:pt x="21" y="126"/>
                      <a:pt x="21" y="126"/>
                      <a:pt x="21" y="12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1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3" name="Freeform 990">
                <a:extLst>
                  <a:ext uri="{FF2B5EF4-FFF2-40B4-BE49-F238E27FC236}">
                    <a16:creationId xmlns:a16="http://schemas.microsoft.com/office/drawing/2014/main" id="{DA24FF6C-D4C8-4A73-B4D4-C433293DF5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01006" y="6759336"/>
                <a:ext cx="75741" cy="58102"/>
              </a:xfrm>
              <a:custGeom>
                <a:avLst/>
                <a:gdLst>
                  <a:gd name="T0" fmla="*/ 19 w 31"/>
                  <a:gd name="T1" fmla="*/ 24 h 24"/>
                  <a:gd name="T2" fmla="*/ 18 w 31"/>
                  <a:gd name="T3" fmla="*/ 24 h 24"/>
                  <a:gd name="T4" fmla="*/ 1 w 31"/>
                  <a:gd name="T5" fmla="*/ 14 h 24"/>
                  <a:gd name="T6" fmla="*/ 0 w 31"/>
                  <a:gd name="T7" fmla="*/ 12 h 24"/>
                  <a:gd name="T8" fmla="*/ 1 w 31"/>
                  <a:gd name="T9" fmla="*/ 10 h 24"/>
                  <a:gd name="T10" fmla="*/ 3 w 31"/>
                  <a:gd name="T11" fmla="*/ 9 h 24"/>
                  <a:gd name="T12" fmla="*/ 3 w 31"/>
                  <a:gd name="T13" fmla="*/ 2 h 24"/>
                  <a:gd name="T14" fmla="*/ 4 w 31"/>
                  <a:gd name="T15" fmla="*/ 0 h 24"/>
                  <a:gd name="T16" fmla="*/ 6 w 31"/>
                  <a:gd name="T17" fmla="*/ 0 h 24"/>
                  <a:gd name="T18" fmla="*/ 30 w 31"/>
                  <a:gd name="T19" fmla="*/ 14 h 24"/>
                  <a:gd name="T20" fmla="*/ 31 w 31"/>
                  <a:gd name="T21" fmla="*/ 16 h 24"/>
                  <a:gd name="T22" fmla="*/ 30 w 31"/>
                  <a:gd name="T23" fmla="*/ 18 h 24"/>
                  <a:gd name="T24" fmla="*/ 20 w 31"/>
                  <a:gd name="T25" fmla="*/ 24 h 24"/>
                  <a:gd name="T26" fmla="*/ 19 w 31"/>
                  <a:gd name="T27" fmla="*/ 24 h 24"/>
                  <a:gd name="T28" fmla="*/ 6 w 31"/>
                  <a:gd name="T29" fmla="*/ 12 h 24"/>
                  <a:gd name="T30" fmla="*/ 19 w 31"/>
                  <a:gd name="T31" fmla="*/ 20 h 24"/>
                  <a:gd name="T32" fmla="*/ 25 w 31"/>
                  <a:gd name="T33" fmla="*/ 16 h 24"/>
                  <a:gd name="T34" fmla="*/ 7 w 31"/>
                  <a:gd name="T35" fmla="*/ 5 h 24"/>
                  <a:gd name="T36" fmla="*/ 7 w 31"/>
                  <a:gd name="T37" fmla="*/ 10 h 24"/>
                  <a:gd name="T38" fmla="*/ 6 w 31"/>
                  <a:gd name="T39" fmla="*/ 12 h 24"/>
                  <a:gd name="T40" fmla="*/ 5 w 31"/>
                  <a:gd name="T41" fmla="*/ 10 h 24"/>
                  <a:gd name="T42" fmla="*/ 5 w 31"/>
                  <a:gd name="T4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24">
                    <a:moveTo>
                      <a:pt x="19" y="24"/>
                    </a:moveTo>
                    <a:cubicBezTo>
                      <a:pt x="18" y="24"/>
                      <a:pt x="18" y="24"/>
                      <a:pt x="18" y="2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0"/>
                      <a:pt x="4" y="0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5"/>
                      <a:pt x="31" y="15"/>
                      <a:pt x="31" y="16"/>
                    </a:cubicBezTo>
                    <a:cubicBezTo>
                      <a:pt x="31" y="17"/>
                      <a:pt x="31" y="17"/>
                      <a:pt x="30" y="18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9" y="24"/>
                      <a:pt x="19" y="24"/>
                      <a:pt x="19" y="24"/>
                    </a:cubicBezTo>
                    <a:close/>
                    <a:moveTo>
                      <a:pt x="6" y="12"/>
                    </a:moveTo>
                    <a:cubicBezTo>
                      <a:pt x="19" y="20"/>
                      <a:pt x="19" y="20"/>
                      <a:pt x="19" y="20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4" name="Freeform 991">
                <a:extLst>
                  <a:ext uri="{FF2B5EF4-FFF2-40B4-BE49-F238E27FC236}">
                    <a16:creationId xmlns:a16="http://schemas.microsoft.com/office/drawing/2014/main" id="{1A0A361D-04FB-4A09-B3B6-591FDAC8B2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65333" y="6727172"/>
                <a:ext cx="61215" cy="63290"/>
              </a:xfrm>
              <a:custGeom>
                <a:avLst/>
                <a:gdLst>
                  <a:gd name="T0" fmla="*/ 20 w 25"/>
                  <a:gd name="T1" fmla="*/ 26 h 26"/>
                  <a:gd name="T2" fmla="*/ 19 w 25"/>
                  <a:gd name="T3" fmla="*/ 26 h 26"/>
                  <a:gd name="T4" fmla="*/ 1 w 25"/>
                  <a:gd name="T5" fmla="*/ 16 h 26"/>
                  <a:gd name="T6" fmla="*/ 0 w 25"/>
                  <a:gd name="T7" fmla="*/ 14 h 26"/>
                  <a:gd name="T8" fmla="*/ 0 w 25"/>
                  <a:gd name="T9" fmla="*/ 2 h 26"/>
                  <a:gd name="T10" fmla="*/ 1 w 25"/>
                  <a:gd name="T11" fmla="*/ 0 h 26"/>
                  <a:gd name="T12" fmla="*/ 3 w 25"/>
                  <a:gd name="T13" fmla="*/ 0 h 26"/>
                  <a:gd name="T14" fmla="*/ 24 w 25"/>
                  <a:gd name="T15" fmla="*/ 12 h 26"/>
                  <a:gd name="T16" fmla="*/ 25 w 25"/>
                  <a:gd name="T17" fmla="*/ 14 h 26"/>
                  <a:gd name="T18" fmla="*/ 25 w 25"/>
                  <a:gd name="T19" fmla="*/ 22 h 26"/>
                  <a:gd name="T20" fmla="*/ 24 w 25"/>
                  <a:gd name="T21" fmla="*/ 24 h 26"/>
                  <a:gd name="T22" fmla="*/ 21 w 25"/>
                  <a:gd name="T23" fmla="*/ 26 h 26"/>
                  <a:gd name="T24" fmla="*/ 20 w 25"/>
                  <a:gd name="T25" fmla="*/ 26 h 26"/>
                  <a:gd name="T26" fmla="*/ 4 w 25"/>
                  <a:gd name="T27" fmla="*/ 13 h 26"/>
                  <a:gd name="T28" fmla="*/ 20 w 25"/>
                  <a:gd name="T29" fmla="*/ 22 h 26"/>
                  <a:gd name="T30" fmla="*/ 21 w 25"/>
                  <a:gd name="T31" fmla="*/ 21 h 26"/>
                  <a:gd name="T32" fmla="*/ 21 w 25"/>
                  <a:gd name="T33" fmla="*/ 15 h 26"/>
                  <a:gd name="T34" fmla="*/ 4 w 25"/>
                  <a:gd name="T35" fmla="*/ 5 h 26"/>
                  <a:gd name="T36" fmla="*/ 4 w 25"/>
                  <a:gd name="T37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6">
                    <a:moveTo>
                      <a:pt x="20" y="26"/>
                    </a:moveTo>
                    <a:cubicBezTo>
                      <a:pt x="20" y="26"/>
                      <a:pt x="19" y="26"/>
                      <a:pt x="19" y="2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5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5" y="12"/>
                      <a:pt x="25" y="13"/>
                      <a:pt x="25" y="1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5" y="23"/>
                      <a:pt x="25" y="24"/>
                      <a:pt x="24" y="24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0" y="26"/>
                      <a:pt x="20" y="26"/>
                    </a:cubicBezTo>
                    <a:close/>
                    <a:moveTo>
                      <a:pt x="4" y="13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5" name="Freeform 992">
                <a:extLst>
                  <a:ext uri="{FF2B5EF4-FFF2-40B4-BE49-F238E27FC236}">
                    <a16:creationId xmlns:a16="http://schemas.microsoft.com/office/drawing/2014/main" id="{E0590254-D7C7-45B6-B80A-8B7ECDE1C6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6161033" y="6788387"/>
                <a:ext cx="19713" cy="19713"/>
              </a:xfrm>
              <a:custGeom>
                <a:avLst/>
                <a:gdLst>
                  <a:gd name="T0" fmla="*/ 6 w 8"/>
                  <a:gd name="T1" fmla="*/ 8 h 8"/>
                  <a:gd name="T2" fmla="*/ 5 w 8"/>
                  <a:gd name="T3" fmla="*/ 8 h 8"/>
                  <a:gd name="T4" fmla="*/ 1 w 8"/>
                  <a:gd name="T5" fmla="*/ 6 h 8"/>
                  <a:gd name="T6" fmla="*/ 0 w 8"/>
                  <a:gd name="T7" fmla="*/ 4 h 8"/>
                  <a:gd name="T8" fmla="*/ 1 w 8"/>
                  <a:gd name="T9" fmla="*/ 2 h 8"/>
                  <a:gd name="T10" fmla="*/ 5 w 8"/>
                  <a:gd name="T11" fmla="*/ 0 h 8"/>
                  <a:gd name="T12" fmla="*/ 7 w 8"/>
                  <a:gd name="T13" fmla="*/ 0 h 8"/>
                  <a:gd name="T14" fmla="*/ 8 w 8"/>
                  <a:gd name="T15" fmla="*/ 2 h 8"/>
                  <a:gd name="T16" fmla="*/ 8 w 8"/>
                  <a:gd name="T17" fmla="*/ 6 h 8"/>
                  <a:gd name="T18" fmla="*/ 7 w 8"/>
                  <a:gd name="T19" fmla="*/ 8 h 8"/>
                  <a:gd name="T20" fmla="*/ 6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7" y="8"/>
                    </a:cubicBezTo>
                    <a:cubicBezTo>
                      <a:pt x="7" y="8"/>
                      <a:pt x="6" y="8"/>
                      <a:pt x="6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6" name="Freeform 993">
                <a:extLst>
                  <a:ext uri="{FF2B5EF4-FFF2-40B4-BE49-F238E27FC236}">
                    <a16:creationId xmlns:a16="http://schemas.microsoft.com/office/drawing/2014/main" id="{D4E87774-00BF-4272-976B-89E2174B6F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6876578"/>
                <a:ext cx="62252" cy="73665"/>
              </a:xfrm>
              <a:custGeom>
                <a:avLst/>
                <a:gdLst>
                  <a:gd name="T0" fmla="*/ 23 w 25"/>
                  <a:gd name="T1" fmla="*/ 30 h 30"/>
                  <a:gd name="T2" fmla="*/ 22 w 25"/>
                  <a:gd name="T3" fmla="*/ 30 h 30"/>
                  <a:gd name="T4" fmla="*/ 1 w 25"/>
                  <a:gd name="T5" fmla="*/ 18 h 30"/>
                  <a:gd name="T6" fmla="*/ 0 w 25"/>
                  <a:gd name="T7" fmla="*/ 16 h 30"/>
                  <a:gd name="T8" fmla="*/ 0 w 25"/>
                  <a:gd name="T9" fmla="*/ 15 h 30"/>
                  <a:gd name="T10" fmla="*/ 1 w 25"/>
                  <a:gd name="T11" fmla="*/ 13 h 30"/>
                  <a:gd name="T12" fmla="*/ 22 w 25"/>
                  <a:gd name="T13" fmla="*/ 1 h 30"/>
                  <a:gd name="T14" fmla="*/ 24 w 25"/>
                  <a:gd name="T15" fmla="*/ 1 h 30"/>
                  <a:gd name="T16" fmla="*/ 25 w 25"/>
                  <a:gd name="T17" fmla="*/ 3 h 30"/>
                  <a:gd name="T18" fmla="*/ 25 w 25"/>
                  <a:gd name="T19" fmla="*/ 28 h 30"/>
                  <a:gd name="T20" fmla="*/ 24 w 25"/>
                  <a:gd name="T21" fmla="*/ 30 h 30"/>
                  <a:gd name="T22" fmla="*/ 23 w 25"/>
                  <a:gd name="T23" fmla="*/ 30 h 30"/>
                  <a:gd name="T24" fmla="*/ 5 w 25"/>
                  <a:gd name="T25" fmla="*/ 15 h 30"/>
                  <a:gd name="T26" fmla="*/ 21 w 25"/>
                  <a:gd name="T27" fmla="*/ 25 h 30"/>
                  <a:gd name="T28" fmla="*/ 21 w 25"/>
                  <a:gd name="T29" fmla="*/ 6 h 30"/>
                  <a:gd name="T30" fmla="*/ 5 w 25"/>
                  <a:gd name="T3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30">
                    <a:moveTo>
                      <a:pt x="23" y="30"/>
                    </a:moveTo>
                    <a:cubicBezTo>
                      <a:pt x="22" y="30"/>
                      <a:pt x="22" y="30"/>
                      <a:pt x="22" y="3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3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4" y="29"/>
                      <a:pt x="24" y="30"/>
                    </a:cubicBezTo>
                    <a:cubicBezTo>
                      <a:pt x="24" y="30"/>
                      <a:pt x="23" y="30"/>
                      <a:pt x="23" y="30"/>
                    </a:cubicBezTo>
                    <a:close/>
                    <a:moveTo>
                      <a:pt x="5" y="15"/>
                    </a:moveTo>
                    <a:cubicBezTo>
                      <a:pt x="21" y="25"/>
                      <a:pt x="21" y="25"/>
                      <a:pt x="21" y="25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5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7" name="Freeform 994">
                <a:extLst>
                  <a:ext uri="{FF2B5EF4-FFF2-40B4-BE49-F238E27FC236}">
                    <a16:creationId xmlns:a16="http://schemas.microsoft.com/office/drawing/2014/main" id="{2F2B5D07-94B7-4649-9F7B-3C3876BE2B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85934" y="6364033"/>
                <a:ext cx="519808" cy="629786"/>
              </a:xfrm>
              <a:custGeom>
                <a:avLst/>
                <a:gdLst>
                  <a:gd name="T0" fmla="*/ 129 w 212"/>
                  <a:gd name="T1" fmla="*/ 257 h 257"/>
                  <a:gd name="T2" fmla="*/ 128 w 212"/>
                  <a:gd name="T3" fmla="*/ 201 h 257"/>
                  <a:gd name="T4" fmla="*/ 66 w 212"/>
                  <a:gd name="T5" fmla="*/ 236 h 257"/>
                  <a:gd name="T6" fmla="*/ 65 w 212"/>
                  <a:gd name="T7" fmla="*/ 224 h 257"/>
                  <a:gd name="T8" fmla="*/ 0 w 212"/>
                  <a:gd name="T9" fmla="*/ 185 h 257"/>
                  <a:gd name="T10" fmla="*/ 4 w 212"/>
                  <a:gd name="T11" fmla="*/ 182 h 257"/>
                  <a:gd name="T12" fmla="*/ 68 w 212"/>
                  <a:gd name="T13" fmla="*/ 218 h 257"/>
                  <a:gd name="T14" fmla="*/ 68 w 212"/>
                  <a:gd name="T15" fmla="*/ 144 h 257"/>
                  <a:gd name="T16" fmla="*/ 66 w 212"/>
                  <a:gd name="T17" fmla="*/ 144 h 257"/>
                  <a:gd name="T18" fmla="*/ 65 w 212"/>
                  <a:gd name="T19" fmla="*/ 2 h 257"/>
                  <a:gd name="T20" fmla="*/ 68 w 212"/>
                  <a:gd name="T21" fmla="*/ 0 h 257"/>
                  <a:gd name="T22" fmla="*/ 79 w 212"/>
                  <a:gd name="T23" fmla="*/ 8 h 257"/>
                  <a:gd name="T24" fmla="*/ 211 w 212"/>
                  <a:gd name="T25" fmla="*/ 214 h 257"/>
                  <a:gd name="T26" fmla="*/ 211 w 212"/>
                  <a:gd name="T27" fmla="*/ 217 h 257"/>
                  <a:gd name="T28" fmla="*/ 198 w 212"/>
                  <a:gd name="T29" fmla="*/ 226 h 257"/>
                  <a:gd name="T30" fmla="*/ 190 w 212"/>
                  <a:gd name="T31" fmla="*/ 222 h 257"/>
                  <a:gd name="T32" fmla="*/ 187 w 212"/>
                  <a:gd name="T33" fmla="*/ 223 h 257"/>
                  <a:gd name="T34" fmla="*/ 161 w 212"/>
                  <a:gd name="T35" fmla="*/ 238 h 257"/>
                  <a:gd name="T36" fmla="*/ 131 w 212"/>
                  <a:gd name="T37" fmla="*/ 257 h 257"/>
                  <a:gd name="T38" fmla="*/ 130 w 212"/>
                  <a:gd name="T39" fmla="*/ 196 h 257"/>
                  <a:gd name="T40" fmla="*/ 132 w 212"/>
                  <a:gd name="T41" fmla="*/ 198 h 257"/>
                  <a:gd name="T42" fmla="*/ 157 w 212"/>
                  <a:gd name="T43" fmla="*/ 237 h 257"/>
                  <a:gd name="T44" fmla="*/ 158 w 212"/>
                  <a:gd name="T45" fmla="*/ 203 h 257"/>
                  <a:gd name="T46" fmla="*/ 188 w 212"/>
                  <a:gd name="T47" fmla="*/ 219 h 257"/>
                  <a:gd name="T48" fmla="*/ 191 w 212"/>
                  <a:gd name="T49" fmla="*/ 218 h 257"/>
                  <a:gd name="T50" fmla="*/ 206 w 212"/>
                  <a:gd name="T51" fmla="*/ 215 h 257"/>
                  <a:gd name="T52" fmla="*/ 75 w 212"/>
                  <a:gd name="T53" fmla="*/ 139 h 257"/>
                  <a:gd name="T54" fmla="*/ 69 w 212"/>
                  <a:gd name="T55" fmla="*/ 6 h 257"/>
                  <a:gd name="T56" fmla="*/ 69 w 212"/>
                  <a:gd name="T57" fmla="*/ 140 h 257"/>
                  <a:gd name="T58" fmla="*/ 139 w 212"/>
                  <a:gd name="T59" fmla="*/ 181 h 257"/>
                  <a:gd name="T60" fmla="*/ 69 w 212"/>
                  <a:gd name="T61" fmla="*/ 222 h 257"/>
                  <a:gd name="T62" fmla="*/ 69 w 212"/>
                  <a:gd name="T63" fmla="*/ 223 h 257"/>
                  <a:gd name="T64" fmla="*/ 129 w 212"/>
                  <a:gd name="T65" fmla="*/ 196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2" h="257">
                    <a:moveTo>
                      <a:pt x="130" y="257"/>
                    </a:moveTo>
                    <a:cubicBezTo>
                      <a:pt x="129" y="257"/>
                      <a:pt x="129" y="257"/>
                      <a:pt x="129" y="257"/>
                    </a:cubicBezTo>
                    <a:cubicBezTo>
                      <a:pt x="128" y="256"/>
                      <a:pt x="128" y="256"/>
                      <a:pt x="128" y="255"/>
                    </a:cubicBezTo>
                    <a:cubicBezTo>
                      <a:pt x="128" y="201"/>
                      <a:pt x="128" y="201"/>
                      <a:pt x="128" y="201"/>
                    </a:cubicBezTo>
                    <a:cubicBezTo>
                      <a:pt x="68" y="236"/>
                      <a:pt x="68" y="236"/>
                      <a:pt x="68" y="236"/>
                    </a:cubicBezTo>
                    <a:cubicBezTo>
                      <a:pt x="68" y="236"/>
                      <a:pt x="67" y="236"/>
                      <a:pt x="66" y="236"/>
                    </a:cubicBezTo>
                    <a:cubicBezTo>
                      <a:pt x="66" y="235"/>
                      <a:pt x="65" y="235"/>
                      <a:pt x="65" y="234"/>
                    </a:cubicBezTo>
                    <a:cubicBezTo>
                      <a:pt x="65" y="224"/>
                      <a:pt x="65" y="224"/>
                      <a:pt x="65" y="224"/>
                    </a:cubicBezTo>
                    <a:cubicBezTo>
                      <a:pt x="1" y="187"/>
                      <a:pt x="1" y="187"/>
                      <a:pt x="1" y="187"/>
                    </a:cubicBezTo>
                    <a:cubicBezTo>
                      <a:pt x="1" y="187"/>
                      <a:pt x="0" y="186"/>
                      <a:pt x="0" y="185"/>
                    </a:cubicBezTo>
                    <a:cubicBezTo>
                      <a:pt x="0" y="185"/>
                      <a:pt x="1" y="184"/>
                      <a:pt x="1" y="184"/>
                    </a:cubicBezTo>
                    <a:cubicBezTo>
                      <a:pt x="4" y="182"/>
                      <a:pt x="4" y="182"/>
                      <a:pt x="4" y="182"/>
                    </a:cubicBezTo>
                    <a:cubicBezTo>
                      <a:pt x="5" y="182"/>
                      <a:pt x="5" y="182"/>
                      <a:pt x="6" y="182"/>
                    </a:cubicBezTo>
                    <a:cubicBezTo>
                      <a:pt x="68" y="218"/>
                      <a:pt x="68" y="218"/>
                      <a:pt x="68" y="218"/>
                    </a:cubicBezTo>
                    <a:cubicBezTo>
                      <a:pt x="133" y="181"/>
                      <a:pt x="133" y="181"/>
                      <a:pt x="133" y="181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7" y="144"/>
                      <a:pt x="66" y="144"/>
                    </a:cubicBezTo>
                    <a:cubicBezTo>
                      <a:pt x="66" y="144"/>
                      <a:pt x="65" y="143"/>
                      <a:pt x="65" y="14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5" y="1"/>
                      <a:pt x="66" y="1"/>
                      <a:pt x="66" y="0"/>
                    </a:cubicBezTo>
                    <a:cubicBezTo>
                      <a:pt x="67" y="0"/>
                      <a:pt x="68" y="0"/>
                      <a:pt x="68" y="0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9" y="7"/>
                      <a:pt x="79" y="7"/>
                      <a:pt x="79" y="8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211" y="214"/>
                      <a:pt x="211" y="214"/>
                      <a:pt x="211" y="214"/>
                    </a:cubicBezTo>
                    <a:cubicBezTo>
                      <a:pt x="211" y="214"/>
                      <a:pt x="212" y="215"/>
                      <a:pt x="212" y="215"/>
                    </a:cubicBezTo>
                    <a:cubicBezTo>
                      <a:pt x="212" y="216"/>
                      <a:pt x="211" y="217"/>
                      <a:pt x="211" y="217"/>
                    </a:cubicBezTo>
                    <a:cubicBezTo>
                      <a:pt x="199" y="224"/>
                      <a:pt x="199" y="224"/>
                      <a:pt x="199" y="224"/>
                    </a:cubicBezTo>
                    <a:cubicBezTo>
                      <a:pt x="199" y="225"/>
                      <a:pt x="199" y="225"/>
                      <a:pt x="198" y="226"/>
                    </a:cubicBezTo>
                    <a:cubicBezTo>
                      <a:pt x="197" y="226"/>
                      <a:pt x="197" y="226"/>
                      <a:pt x="196" y="226"/>
                    </a:cubicBezTo>
                    <a:cubicBezTo>
                      <a:pt x="190" y="222"/>
                      <a:pt x="190" y="222"/>
                      <a:pt x="190" y="222"/>
                    </a:cubicBezTo>
                    <a:cubicBezTo>
                      <a:pt x="189" y="223"/>
                      <a:pt x="189" y="223"/>
                      <a:pt x="189" y="223"/>
                    </a:cubicBezTo>
                    <a:cubicBezTo>
                      <a:pt x="188" y="223"/>
                      <a:pt x="188" y="223"/>
                      <a:pt x="187" y="223"/>
                    </a:cubicBezTo>
                    <a:cubicBezTo>
                      <a:pt x="161" y="208"/>
                      <a:pt x="161" y="208"/>
                      <a:pt x="161" y="208"/>
                    </a:cubicBezTo>
                    <a:cubicBezTo>
                      <a:pt x="161" y="238"/>
                      <a:pt x="161" y="238"/>
                      <a:pt x="161" y="238"/>
                    </a:cubicBezTo>
                    <a:cubicBezTo>
                      <a:pt x="161" y="238"/>
                      <a:pt x="161" y="239"/>
                      <a:pt x="160" y="239"/>
                    </a:cubicBezTo>
                    <a:cubicBezTo>
                      <a:pt x="131" y="257"/>
                      <a:pt x="131" y="257"/>
                      <a:pt x="131" y="257"/>
                    </a:cubicBezTo>
                    <a:cubicBezTo>
                      <a:pt x="130" y="257"/>
                      <a:pt x="130" y="257"/>
                      <a:pt x="130" y="257"/>
                    </a:cubicBezTo>
                    <a:close/>
                    <a:moveTo>
                      <a:pt x="130" y="196"/>
                    </a:moveTo>
                    <a:cubicBezTo>
                      <a:pt x="130" y="196"/>
                      <a:pt x="130" y="196"/>
                      <a:pt x="131" y="196"/>
                    </a:cubicBezTo>
                    <a:cubicBezTo>
                      <a:pt x="131" y="196"/>
                      <a:pt x="132" y="197"/>
                      <a:pt x="132" y="198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57" y="237"/>
                      <a:pt x="157" y="237"/>
                      <a:pt x="157" y="237"/>
                    </a:cubicBezTo>
                    <a:cubicBezTo>
                      <a:pt x="157" y="205"/>
                      <a:pt x="157" y="205"/>
                      <a:pt x="157" y="205"/>
                    </a:cubicBezTo>
                    <a:cubicBezTo>
                      <a:pt x="157" y="204"/>
                      <a:pt x="158" y="203"/>
                      <a:pt x="158" y="203"/>
                    </a:cubicBezTo>
                    <a:cubicBezTo>
                      <a:pt x="159" y="202"/>
                      <a:pt x="160" y="202"/>
                      <a:pt x="160" y="203"/>
                    </a:cubicBezTo>
                    <a:cubicBezTo>
                      <a:pt x="188" y="219"/>
                      <a:pt x="188" y="219"/>
                      <a:pt x="188" y="219"/>
                    </a:cubicBezTo>
                    <a:cubicBezTo>
                      <a:pt x="189" y="218"/>
                      <a:pt x="189" y="218"/>
                      <a:pt x="189" y="218"/>
                    </a:cubicBezTo>
                    <a:cubicBezTo>
                      <a:pt x="190" y="218"/>
                      <a:pt x="190" y="218"/>
                      <a:pt x="191" y="218"/>
                    </a:cubicBezTo>
                    <a:cubicBezTo>
                      <a:pt x="196" y="221"/>
                      <a:pt x="196" y="221"/>
                      <a:pt x="196" y="221"/>
                    </a:cubicBezTo>
                    <a:cubicBezTo>
                      <a:pt x="206" y="215"/>
                      <a:pt x="206" y="215"/>
                      <a:pt x="206" y="215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76" y="140"/>
                      <a:pt x="75" y="140"/>
                      <a:pt x="75" y="13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138" y="179"/>
                      <a:pt x="138" y="179"/>
                      <a:pt x="138" y="179"/>
                    </a:cubicBezTo>
                    <a:cubicBezTo>
                      <a:pt x="139" y="180"/>
                      <a:pt x="139" y="180"/>
                      <a:pt x="139" y="181"/>
                    </a:cubicBezTo>
                    <a:cubicBezTo>
                      <a:pt x="139" y="182"/>
                      <a:pt x="139" y="182"/>
                      <a:pt x="138" y="183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3"/>
                      <a:pt x="69" y="223"/>
                      <a:pt x="69" y="223"/>
                    </a:cubicBezTo>
                    <a:cubicBezTo>
                      <a:pt x="69" y="230"/>
                      <a:pt x="69" y="230"/>
                      <a:pt x="69" y="230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196"/>
                      <a:pt x="129" y="196"/>
                      <a:pt x="130" y="19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8" name="Freeform 995">
                <a:extLst>
                  <a:ext uri="{FF2B5EF4-FFF2-40B4-BE49-F238E27FC236}">
                    <a16:creationId xmlns:a16="http://schemas.microsoft.com/office/drawing/2014/main" id="{EAFCABC4-409B-44E1-9B2C-89DAFFF9CE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896460" y="6878653"/>
                <a:ext cx="272873" cy="490756"/>
              </a:xfrm>
              <a:custGeom>
                <a:avLst/>
                <a:gdLst>
                  <a:gd name="T0" fmla="*/ 44 w 111"/>
                  <a:gd name="T1" fmla="*/ 200 h 200"/>
                  <a:gd name="T2" fmla="*/ 43 w 111"/>
                  <a:gd name="T3" fmla="*/ 200 h 200"/>
                  <a:gd name="T4" fmla="*/ 37 w 111"/>
                  <a:gd name="T5" fmla="*/ 196 h 200"/>
                  <a:gd name="T6" fmla="*/ 36 w 111"/>
                  <a:gd name="T7" fmla="*/ 194 h 200"/>
                  <a:gd name="T8" fmla="*/ 36 w 111"/>
                  <a:gd name="T9" fmla="*/ 137 h 200"/>
                  <a:gd name="T10" fmla="*/ 1 w 111"/>
                  <a:gd name="T11" fmla="*/ 117 h 200"/>
                  <a:gd name="T12" fmla="*/ 0 w 111"/>
                  <a:gd name="T13" fmla="*/ 115 h 200"/>
                  <a:gd name="T14" fmla="*/ 0 w 111"/>
                  <a:gd name="T15" fmla="*/ 76 h 200"/>
                  <a:gd name="T16" fmla="*/ 1 w 111"/>
                  <a:gd name="T17" fmla="*/ 75 h 200"/>
                  <a:gd name="T18" fmla="*/ 43 w 111"/>
                  <a:gd name="T19" fmla="*/ 51 h 200"/>
                  <a:gd name="T20" fmla="*/ 43 w 111"/>
                  <a:gd name="T21" fmla="*/ 7 h 200"/>
                  <a:gd name="T22" fmla="*/ 44 w 111"/>
                  <a:gd name="T23" fmla="*/ 5 h 200"/>
                  <a:gd name="T24" fmla="*/ 53 w 111"/>
                  <a:gd name="T25" fmla="*/ 0 h 200"/>
                  <a:gd name="T26" fmla="*/ 55 w 111"/>
                  <a:gd name="T27" fmla="*/ 0 h 200"/>
                  <a:gd name="T28" fmla="*/ 57 w 111"/>
                  <a:gd name="T29" fmla="*/ 1 h 200"/>
                  <a:gd name="T30" fmla="*/ 58 w 111"/>
                  <a:gd name="T31" fmla="*/ 3 h 200"/>
                  <a:gd name="T32" fmla="*/ 58 w 111"/>
                  <a:gd name="T33" fmla="*/ 42 h 200"/>
                  <a:gd name="T34" fmla="*/ 110 w 111"/>
                  <a:gd name="T35" fmla="*/ 72 h 200"/>
                  <a:gd name="T36" fmla="*/ 111 w 111"/>
                  <a:gd name="T37" fmla="*/ 74 h 200"/>
                  <a:gd name="T38" fmla="*/ 111 w 111"/>
                  <a:gd name="T39" fmla="*/ 89 h 200"/>
                  <a:gd name="T40" fmla="*/ 110 w 111"/>
                  <a:gd name="T41" fmla="*/ 90 h 200"/>
                  <a:gd name="T42" fmla="*/ 46 w 111"/>
                  <a:gd name="T43" fmla="*/ 128 h 200"/>
                  <a:gd name="T44" fmla="*/ 46 w 111"/>
                  <a:gd name="T45" fmla="*/ 198 h 200"/>
                  <a:gd name="T46" fmla="*/ 45 w 111"/>
                  <a:gd name="T47" fmla="*/ 200 h 200"/>
                  <a:gd name="T48" fmla="*/ 44 w 111"/>
                  <a:gd name="T49" fmla="*/ 200 h 200"/>
                  <a:gd name="T50" fmla="*/ 40 w 111"/>
                  <a:gd name="T51" fmla="*/ 193 h 200"/>
                  <a:gd name="T52" fmla="*/ 42 w 111"/>
                  <a:gd name="T53" fmla="*/ 194 h 200"/>
                  <a:gd name="T54" fmla="*/ 42 w 111"/>
                  <a:gd name="T55" fmla="*/ 127 h 200"/>
                  <a:gd name="T56" fmla="*/ 43 w 111"/>
                  <a:gd name="T57" fmla="*/ 125 h 200"/>
                  <a:gd name="T58" fmla="*/ 107 w 111"/>
                  <a:gd name="T59" fmla="*/ 88 h 200"/>
                  <a:gd name="T60" fmla="*/ 107 w 111"/>
                  <a:gd name="T61" fmla="*/ 75 h 200"/>
                  <a:gd name="T62" fmla="*/ 55 w 111"/>
                  <a:gd name="T63" fmla="*/ 45 h 200"/>
                  <a:gd name="T64" fmla="*/ 54 w 111"/>
                  <a:gd name="T65" fmla="*/ 43 h 200"/>
                  <a:gd name="T66" fmla="*/ 54 w 111"/>
                  <a:gd name="T67" fmla="*/ 4 h 200"/>
                  <a:gd name="T68" fmla="*/ 54 w 111"/>
                  <a:gd name="T69" fmla="*/ 4 h 200"/>
                  <a:gd name="T70" fmla="*/ 47 w 111"/>
                  <a:gd name="T71" fmla="*/ 8 h 200"/>
                  <a:gd name="T72" fmla="*/ 47 w 111"/>
                  <a:gd name="T73" fmla="*/ 52 h 200"/>
                  <a:gd name="T74" fmla="*/ 46 w 111"/>
                  <a:gd name="T75" fmla="*/ 53 h 200"/>
                  <a:gd name="T76" fmla="*/ 4 w 111"/>
                  <a:gd name="T77" fmla="*/ 78 h 200"/>
                  <a:gd name="T78" fmla="*/ 4 w 111"/>
                  <a:gd name="T79" fmla="*/ 114 h 200"/>
                  <a:gd name="T80" fmla="*/ 39 w 111"/>
                  <a:gd name="T81" fmla="*/ 134 h 200"/>
                  <a:gd name="T82" fmla="*/ 40 w 111"/>
                  <a:gd name="T83" fmla="*/ 135 h 200"/>
                  <a:gd name="T84" fmla="*/ 40 w 111"/>
                  <a:gd name="T85" fmla="*/ 19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1" h="200">
                    <a:moveTo>
                      <a:pt x="44" y="200"/>
                    </a:moveTo>
                    <a:cubicBezTo>
                      <a:pt x="43" y="200"/>
                      <a:pt x="43" y="200"/>
                      <a:pt x="43" y="200"/>
                    </a:cubicBezTo>
                    <a:cubicBezTo>
                      <a:pt x="37" y="196"/>
                      <a:pt x="37" y="196"/>
                      <a:pt x="37" y="196"/>
                    </a:cubicBezTo>
                    <a:cubicBezTo>
                      <a:pt x="36" y="196"/>
                      <a:pt x="36" y="195"/>
                      <a:pt x="36" y="194"/>
                    </a:cubicBezTo>
                    <a:cubicBezTo>
                      <a:pt x="36" y="137"/>
                      <a:pt x="36" y="137"/>
                      <a:pt x="36" y="137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1" y="116"/>
                      <a:pt x="0" y="116"/>
                      <a:pt x="0" y="115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0" y="76"/>
                      <a:pt x="1" y="75"/>
                      <a:pt x="1" y="75"/>
                    </a:cubicBezTo>
                    <a:cubicBezTo>
                      <a:pt x="43" y="51"/>
                      <a:pt x="43" y="51"/>
                      <a:pt x="43" y="51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3" y="6"/>
                      <a:pt x="44" y="5"/>
                      <a:pt x="44" y="5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54" y="0"/>
                      <a:pt x="55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8" y="2"/>
                      <a:pt x="58" y="2"/>
                      <a:pt x="58" y="3"/>
                    </a:cubicBezTo>
                    <a:cubicBezTo>
                      <a:pt x="58" y="42"/>
                      <a:pt x="58" y="42"/>
                      <a:pt x="58" y="42"/>
                    </a:cubicBezTo>
                    <a:cubicBezTo>
                      <a:pt x="110" y="72"/>
                      <a:pt x="110" y="72"/>
                      <a:pt x="110" y="72"/>
                    </a:cubicBezTo>
                    <a:cubicBezTo>
                      <a:pt x="111" y="73"/>
                      <a:pt x="111" y="73"/>
                      <a:pt x="111" y="74"/>
                    </a:cubicBezTo>
                    <a:cubicBezTo>
                      <a:pt x="111" y="89"/>
                      <a:pt x="111" y="89"/>
                      <a:pt x="111" y="89"/>
                    </a:cubicBezTo>
                    <a:cubicBezTo>
                      <a:pt x="111" y="89"/>
                      <a:pt x="111" y="90"/>
                      <a:pt x="110" y="90"/>
                    </a:cubicBezTo>
                    <a:cubicBezTo>
                      <a:pt x="46" y="128"/>
                      <a:pt x="46" y="128"/>
                      <a:pt x="46" y="128"/>
                    </a:cubicBezTo>
                    <a:cubicBezTo>
                      <a:pt x="46" y="198"/>
                      <a:pt x="46" y="198"/>
                      <a:pt x="46" y="198"/>
                    </a:cubicBezTo>
                    <a:cubicBezTo>
                      <a:pt x="46" y="199"/>
                      <a:pt x="45" y="199"/>
                      <a:pt x="45" y="200"/>
                    </a:cubicBezTo>
                    <a:cubicBezTo>
                      <a:pt x="44" y="200"/>
                      <a:pt x="44" y="200"/>
                      <a:pt x="44" y="200"/>
                    </a:cubicBezTo>
                    <a:close/>
                    <a:moveTo>
                      <a:pt x="40" y="193"/>
                    </a:moveTo>
                    <a:cubicBezTo>
                      <a:pt x="42" y="194"/>
                      <a:pt x="42" y="194"/>
                      <a:pt x="42" y="194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42" y="126"/>
                      <a:pt x="42" y="125"/>
                      <a:pt x="43" y="125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4" y="45"/>
                      <a:pt x="54" y="44"/>
                      <a:pt x="54" y="43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52"/>
                      <a:pt x="47" y="52"/>
                      <a:pt x="47" y="52"/>
                    </a:cubicBezTo>
                    <a:cubicBezTo>
                      <a:pt x="47" y="52"/>
                      <a:pt x="47" y="53"/>
                      <a:pt x="46" y="53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114"/>
                      <a:pt x="4" y="114"/>
                      <a:pt x="4" y="114"/>
                    </a:cubicBezTo>
                    <a:cubicBezTo>
                      <a:pt x="39" y="134"/>
                      <a:pt x="39" y="134"/>
                      <a:pt x="39" y="134"/>
                    </a:cubicBezTo>
                    <a:cubicBezTo>
                      <a:pt x="39" y="134"/>
                      <a:pt x="40" y="135"/>
                      <a:pt x="40" y="135"/>
                    </a:cubicBezTo>
                    <a:lnTo>
                      <a:pt x="40" y="19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9" name="Freeform 997">
                <a:extLst>
                  <a:ext uri="{FF2B5EF4-FFF2-40B4-BE49-F238E27FC236}">
                    <a16:creationId xmlns:a16="http://schemas.microsoft.com/office/drawing/2014/main" id="{7678E0F2-EDDB-4B64-92BC-8151E1929C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56241" y="6894216"/>
                <a:ext cx="113092" cy="173269"/>
              </a:xfrm>
              <a:custGeom>
                <a:avLst/>
                <a:gdLst>
                  <a:gd name="T0" fmla="*/ 2 w 46"/>
                  <a:gd name="T1" fmla="*/ 71 h 71"/>
                  <a:gd name="T2" fmla="*/ 1 w 46"/>
                  <a:gd name="T3" fmla="*/ 70 h 71"/>
                  <a:gd name="T4" fmla="*/ 0 w 46"/>
                  <a:gd name="T5" fmla="*/ 69 h 71"/>
                  <a:gd name="T6" fmla="*/ 0 w 46"/>
                  <a:gd name="T7" fmla="*/ 62 h 71"/>
                  <a:gd name="T8" fmla="*/ 1 w 46"/>
                  <a:gd name="T9" fmla="*/ 60 h 71"/>
                  <a:gd name="T10" fmla="*/ 33 w 46"/>
                  <a:gd name="T11" fmla="*/ 42 h 71"/>
                  <a:gd name="T12" fmla="*/ 4 w 46"/>
                  <a:gd name="T13" fmla="*/ 25 h 71"/>
                  <a:gd name="T14" fmla="*/ 3 w 46"/>
                  <a:gd name="T15" fmla="*/ 24 h 71"/>
                  <a:gd name="T16" fmla="*/ 4 w 46"/>
                  <a:gd name="T17" fmla="*/ 22 h 71"/>
                  <a:gd name="T18" fmla="*/ 43 w 46"/>
                  <a:gd name="T19" fmla="*/ 0 h 71"/>
                  <a:gd name="T20" fmla="*/ 45 w 46"/>
                  <a:gd name="T21" fmla="*/ 0 h 71"/>
                  <a:gd name="T22" fmla="*/ 46 w 46"/>
                  <a:gd name="T23" fmla="*/ 2 h 71"/>
                  <a:gd name="T24" fmla="*/ 46 w 46"/>
                  <a:gd name="T25" fmla="*/ 45 h 71"/>
                  <a:gd name="T26" fmla="*/ 45 w 46"/>
                  <a:gd name="T27" fmla="*/ 47 h 71"/>
                  <a:gd name="T28" fmla="*/ 3 w 46"/>
                  <a:gd name="T29" fmla="*/ 70 h 71"/>
                  <a:gd name="T30" fmla="*/ 2 w 46"/>
                  <a:gd name="T31" fmla="*/ 71 h 71"/>
                  <a:gd name="T32" fmla="*/ 4 w 46"/>
                  <a:gd name="T33" fmla="*/ 63 h 71"/>
                  <a:gd name="T34" fmla="*/ 4 w 46"/>
                  <a:gd name="T35" fmla="*/ 65 h 71"/>
                  <a:gd name="T36" fmla="*/ 42 w 46"/>
                  <a:gd name="T37" fmla="*/ 44 h 71"/>
                  <a:gd name="T38" fmla="*/ 42 w 46"/>
                  <a:gd name="T39" fmla="*/ 5 h 71"/>
                  <a:gd name="T40" fmla="*/ 9 w 46"/>
                  <a:gd name="T41" fmla="*/ 24 h 71"/>
                  <a:gd name="T42" fmla="*/ 38 w 46"/>
                  <a:gd name="T43" fmla="*/ 40 h 71"/>
                  <a:gd name="T44" fmla="*/ 39 w 46"/>
                  <a:gd name="T45" fmla="*/ 42 h 71"/>
                  <a:gd name="T46" fmla="*/ 38 w 46"/>
                  <a:gd name="T47" fmla="*/ 44 h 71"/>
                  <a:gd name="T48" fmla="*/ 4 w 46"/>
                  <a:gd name="T49" fmla="*/ 6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71">
                    <a:moveTo>
                      <a:pt x="2" y="71"/>
                    </a:moveTo>
                    <a:cubicBezTo>
                      <a:pt x="2" y="71"/>
                      <a:pt x="2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5"/>
                      <a:pt x="3" y="24"/>
                      <a:pt x="3" y="24"/>
                    </a:cubicBezTo>
                    <a:cubicBezTo>
                      <a:pt x="3" y="23"/>
                      <a:pt x="4" y="22"/>
                      <a:pt x="4" y="2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0"/>
                      <a:pt x="46" y="1"/>
                      <a:pt x="46" y="2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46" y="45"/>
                      <a:pt x="45" y="46"/>
                      <a:pt x="45" y="4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3" y="71"/>
                      <a:pt x="2" y="71"/>
                    </a:cubicBezTo>
                    <a:close/>
                    <a:moveTo>
                      <a:pt x="4" y="63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38" y="40"/>
                      <a:pt x="38" y="40"/>
                      <a:pt x="38" y="40"/>
                    </a:cubicBezTo>
                    <a:cubicBezTo>
                      <a:pt x="39" y="41"/>
                      <a:pt x="39" y="41"/>
                      <a:pt x="39" y="42"/>
                    </a:cubicBezTo>
                    <a:cubicBezTo>
                      <a:pt x="39" y="43"/>
                      <a:pt x="39" y="43"/>
                      <a:pt x="38" y="44"/>
                    </a:cubicBezTo>
                    <a:lnTo>
                      <a:pt x="4" y="6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0" name="Freeform 998">
                <a:extLst>
                  <a:ext uri="{FF2B5EF4-FFF2-40B4-BE49-F238E27FC236}">
                    <a16:creationId xmlns:a16="http://schemas.microsoft.com/office/drawing/2014/main" id="{FF1E06A9-E774-4207-A47E-E77917A9D2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81142" y="6950243"/>
                <a:ext cx="88191" cy="95454"/>
              </a:xfrm>
              <a:custGeom>
                <a:avLst/>
                <a:gdLst>
                  <a:gd name="T0" fmla="*/ 2 w 36"/>
                  <a:gd name="T1" fmla="*/ 39 h 39"/>
                  <a:gd name="T2" fmla="*/ 1 w 36"/>
                  <a:gd name="T3" fmla="*/ 39 h 39"/>
                  <a:gd name="T4" fmla="*/ 0 w 36"/>
                  <a:gd name="T5" fmla="*/ 37 h 39"/>
                  <a:gd name="T6" fmla="*/ 0 w 36"/>
                  <a:gd name="T7" fmla="*/ 2 h 39"/>
                  <a:gd name="T8" fmla="*/ 1 w 36"/>
                  <a:gd name="T9" fmla="*/ 1 h 39"/>
                  <a:gd name="T10" fmla="*/ 3 w 36"/>
                  <a:gd name="T11" fmla="*/ 0 h 39"/>
                  <a:gd name="T12" fmla="*/ 5 w 36"/>
                  <a:gd name="T13" fmla="*/ 0 h 39"/>
                  <a:gd name="T14" fmla="*/ 35 w 36"/>
                  <a:gd name="T15" fmla="*/ 17 h 39"/>
                  <a:gd name="T16" fmla="*/ 36 w 36"/>
                  <a:gd name="T17" fmla="*/ 19 h 39"/>
                  <a:gd name="T18" fmla="*/ 35 w 36"/>
                  <a:gd name="T19" fmla="*/ 21 h 39"/>
                  <a:gd name="T20" fmla="*/ 3 w 36"/>
                  <a:gd name="T21" fmla="*/ 39 h 39"/>
                  <a:gd name="T22" fmla="*/ 2 w 36"/>
                  <a:gd name="T23" fmla="*/ 39 h 39"/>
                  <a:gd name="T24" fmla="*/ 4 w 36"/>
                  <a:gd name="T25" fmla="*/ 4 h 39"/>
                  <a:gd name="T26" fmla="*/ 4 w 36"/>
                  <a:gd name="T27" fmla="*/ 34 h 39"/>
                  <a:gd name="T28" fmla="*/ 30 w 36"/>
                  <a:gd name="T29" fmla="*/ 19 h 39"/>
                  <a:gd name="T30" fmla="*/ 4 w 36"/>
                  <a:gd name="T31" fmla="*/ 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9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8"/>
                      <a:pt x="36" y="18"/>
                      <a:pt x="36" y="19"/>
                    </a:cubicBezTo>
                    <a:cubicBezTo>
                      <a:pt x="36" y="20"/>
                      <a:pt x="35" y="20"/>
                      <a:pt x="35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4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30" y="19"/>
                      <a:pt x="30" y="19"/>
                      <a:pt x="30" y="19"/>
                    </a:cubicBez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1" name="Freeform 999">
                <a:extLst>
                  <a:ext uri="{FF2B5EF4-FFF2-40B4-BE49-F238E27FC236}">
                    <a16:creationId xmlns:a16="http://schemas.microsoft.com/office/drawing/2014/main" id="{246D1DA3-E87C-4E68-81E6-19A936C675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019737" y="5766411"/>
                <a:ext cx="403604" cy="198170"/>
              </a:xfrm>
              <a:custGeom>
                <a:avLst/>
                <a:gdLst>
                  <a:gd name="T0" fmla="*/ 84 w 165"/>
                  <a:gd name="T1" fmla="*/ 81 h 81"/>
                  <a:gd name="T2" fmla="*/ 83 w 165"/>
                  <a:gd name="T3" fmla="*/ 80 h 81"/>
                  <a:gd name="T4" fmla="*/ 82 w 165"/>
                  <a:gd name="T5" fmla="*/ 79 h 81"/>
                  <a:gd name="T6" fmla="*/ 1 w 165"/>
                  <a:gd name="T7" fmla="*/ 32 h 81"/>
                  <a:gd name="T8" fmla="*/ 0 w 165"/>
                  <a:gd name="T9" fmla="*/ 30 h 81"/>
                  <a:gd name="T10" fmla="*/ 1 w 165"/>
                  <a:gd name="T11" fmla="*/ 29 h 81"/>
                  <a:gd name="T12" fmla="*/ 48 w 165"/>
                  <a:gd name="T13" fmla="*/ 1 h 81"/>
                  <a:gd name="T14" fmla="*/ 50 w 165"/>
                  <a:gd name="T15" fmla="*/ 1 h 81"/>
                  <a:gd name="T16" fmla="*/ 78 w 165"/>
                  <a:gd name="T17" fmla="*/ 18 h 81"/>
                  <a:gd name="T18" fmla="*/ 109 w 165"/>
                  <a:gd name="T19" fmla="*/ 0 h 81"/>
                  <a:gd name="T20" fmla="*/ 111 w 165"/>
                  <a:gd name="T21" fmla="*/ 0 h 81"/>
                  <a:gd name="T22" fmla="*/ 164 w 165"/>
                  <a:gd name="T23" fmla="*/ 31 h 81"/>
                  <a:gd name="T24" fmla="*/ 165 w 165"/>
                  <a:gd name="T25" fmla="*/ 33 h 81"/>
                  <a:gd name="T26" fmla="*/ 164 w 165"/>
                  <a:gd name="T27" fmla="*/ 34 h 81"/>
                  <a:gd name="T28" fmla="*/ 85 w 165"/>
                  <a:gd name="T29" fmla="*/ 80 h 81"/>
                  <a:gd name="T30" fmla="*/ 84 w 165"/>
                  <a:gd name="T31" fmla="*/ 81 h 81"/>
                  <a:gd name="T32" fmla="*/ 6 w 165"/>
                  <a:gd name="T33" fmla="*/ 30 h 81"/>
                  <a:gd name="T34" fmla="*/ 84 w 165"/>
                  <a:gd name="T35" fmla="*/ 76 h 81"/>
                  <a:gd name="T36" fmla="*/ 159 w 165"/>
                  <a:gd name="T37" fmla="*/ 33 h 81"/>
                  <a:gd name="T38" fmla="*/ 110 w 165"/>
                  <a:gd name="T39" fmla="*/ 4 h 81"/>
                  <a:gd name="T40" fmla="*/ 79 w 165"/>
                  <a:gd name="T41" fmla="*/ 22 h 81"/>
                  <a:gd name="T42" fmla="*/ 77 w 165"/>
                  <a:gd name="T43" fmla="*/ 22 h 81"/>
                  <a:gd name="T44" fmla="*/ 49 w 165"/>
                  <a:gd name="T45" fmla="*/ 5 h 81"/>
                  <a:gd name="T46" fmla="*/ 6 w 165"/>
                  <a:gd name="T47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5" h="81">
                    <a:moveTo>
                      <a:pt x="84" y="81"/>
                    </a:moveTo>
                    <a:cubicBezTo>
                      <a:pt x="83" y="81"/>
                      <a:pt x="83" y="81"/>
                      <a:pt x="83" y="80"/>
                    </a:cubicBezTo>
                    <a:cubicBezTo>
                      <a:pt x="82" y="80"/>
                      <a:pt x="82" y="79"/>
                      <a:pt x="82" y="79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9" y="1"/>
                      <a:pt x="49" y="1"/>
                      <a:pt x="50" y="1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110" y="0"/>
                      <a:pt x="111" y="0"/>
                    </a:cubicBezTo>
                    <a:cubicBezTo>
                      <a:pt x="164" y="31"/>
                      <a:pt x="164" y="31"/>
                      <a:pt x="164" y="31"/>
                    </a:cubicBezTo>
                    <a:cubicBezTo>
                      <a:pt x="165" y="31"/>
                      <a:pt x="165" y="32"/>
                      <a:pt x="165" y="33"/>
                    </a:cubicBezTo>
                    <a:cubicBezTo>
                      <a:pt x="165" y="33"/>
                      <a:pt x="165" y="34"/>
                      <a:pt x="164" y="34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81"/>
                      <a:pt x="84" y="81"/>
                      <a:pt x="84" y="81"/>
                    </a:cubicBezTo>
                    <a:close/>
                    <a:moveTo>
                      <a:pt x="6" y="30"/>
                    </a:moveTo>
                    <a:cubicBezTo>
                      <a:pt x="84" y="76"/>
                      <a:pt x="84" y="76"/>
                      <a:pt x="84" y="76"/>
                    </a:cubicBezTo>
                    <a:cubicBezTo>
                      <a:pt x="159" y="33"/>
                      <a:pt x="159" y="33"/>
                      <a:pt x="159" y="33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78" y="22"/>
                      <a:pt x="78" y="22"/>
                      <a:pt x="77" y="22"/>
                    </a:cubicBezTo>
                    <a:cubicBezTo>
                      <a:pt x="49" y="5"/>
                      <a:pt x="49" y="5"/>
                      <a:pt x="49" y="5"/>
                    </a:cubicBez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2" name="Freeform 1000">
                <a:extLst>
                  <a:ext uri="{FF2B5EF4-FFF2-40B4-BE49-F238E27FC236}">
                    <a16:creationId xmlns:a16="http://schemas.microsoft.com/office/drawing/2014/main" id="{14439459-170C-4D72-BE18-3DED744AA7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389102" y="5908554"/>
                <a:ext cx="184682" cy="330975"/>
              </a:xfrm>
              <a:custGeom>
                <a:avLst/>
                <a:gdLst>
                  <a:gd name="T0" fmla="*/ 72 w 75"/>
                  <a:gd name="T1" fmla="*/ 135 h 135"/>
                  <a:gd name="T2" fmla="*/ 71 w 75"/>
                  <a:gd name="T3" fmla="*/ 135 h 135"/>
                  <a:gd name="T4" fmla="*/ 7 w 75"/>
                  <a:gd name="T5" fmla="*/ 98 h 135"/>
                  <a:gd name="T6" fmla="*/ 3 w 75"/>
                  <a:gd name="T7" fmla="*/ 101 h 135"/>
                  <a:gd name="T8" fmla="*/ 1 w 75"/>
                  <a:gd name="T9" fmla="*/ 101 h 135"/>
                  <a:gd name="T10" fmla="*/ 0 w 75"/>
                  <a:gd name="T11" fmla="*/ 99 h 135"/>
                  <a:gd name="T12" fmla="*/ 0 w 75"/>
                  <a:gd name="T13" fmla="*/ 24 h 135"/>
                  <a:gd name="T14" fmla="*/ 1 w 75"/>
                  <a:gd name="T15" fmla="*/ 22 h 135"/>
                  <a:gd name="T16" fmla="*/ 5 w 75"/>
                  <a:gd name="T17" fmla="*/ 20 h 135"/>
                  <a:gd name="T18" fmla="*/ 1 w 75"/>
                  <a:gd name="T19" fmla="*/ 18 h 135"/>
                  <a:gd name="T20" fmla="*/ 0 w 75"/>
                  <a:gd name="T21" fmla="*/ 16 h 135"/>
                  <a:gd name="T22" fmla="*/ 0 w 75"/>
                  <a:gd name="T23" fmla="*/ 7 h 135"/>
                  <a:gd name="T24" fmla="*/ 1 w 75"/>
                  <a:gd name="T25" fmla="*/ 6 h 135"/>
                  <a:gd name="T26" fmla="*/ 10 w 75"/>
                  <a:gd name="T27" fmla="*/ 0 h 135"/>
                  <a:gd name="T28" fmla="*/ 12 w 75"/>
                  <a:gd name="T29" fmla="*/ 0 h 135"/>
                  <a:gd name="T30" fmla="*/ 13 w 75"/>
                  <a:gd name="T31" fmla="*/ 2 h 135"/>
                  <a:gd name="T32" fmla="*/ 13 w 75"/>
                  <a:gd name="T33" fmla="*/ 95 h 135"/>
                  <a:gd name="T34" fmla="*/ 74 w 75"/>
                  <a:gd name="T35" fmla="*/ 131 h 135"/>
                  <a:gd name="T36" fmla="*/ 75 w 75"/>
                  <a:gd name="T37" fmla="*/ 132 h 135"/>
                  <a:gd name="T38" fmla="*/ 74 w 75"/>
                  <a:gd name="T39" fmla="*/ 134 h 135"/>
                  <a:gd name="T40" fmla="*/ 73 w 75"/>
                  <a:gd name="T41" fmla="*/ 135 h 135"/>
                  <a:gd name="T42" fmla="*/ 72 w 75"/>
                  <a:gd name="T43" fmla="*/ 135 h 135"/>
                  <a:gd name="T44" fmla="*/ 4 w 75"/>
                  <a:gd name="T45" fmla="*/ 25 h 135"/>
                  <a:gd name="T46" fmla="*/ 4 w 75"/>
                  <a:gd name="T47" fmla="*/ 96 h 135"/>
                  <a:gd name="T48" fmla="*/ 6 w 75"/>
                  <a:gd name="T49" fmla="*/ 94 h 135"/>
                  <a:gd name="T50" fmla="*/ 8 w 75"/>
                  <a:gd name="T51" fmla="*/ 94 h 135"/>
                  <a:gd name="T52" fmla="*/ 9 w 75"/>
                  <a:gd name="T53" fmla="*/ 95 h 135"/>
                  <a:gd name="T54" fmla="*/ 9 w 75"/>
                  <a:gd name="T55" fmla="*/ 22 h 135"/>
                  <a:gd name="T56" fmla="*/ 4 w 75"/>
                  <a:gd name="T57" fmla="*/ 25 h 135"/>
                  <a:gd name="T58" fmla="*/ 4 w 75"/>
                  <a:gd name="T59" fmla="*/ 15 h 135"/>
                  <a:gd name="T60" fmla="*/ 9 w 75"/>
                  <a:gd name="T61" fmla="*/ 18 h 135"/>
                  <a:gd name="T62" fmla="*/ 9 w 75"/>
                  <a:gd name="T63" fmla="*/ 6 h 135"/>
                  <a:gd name="T64" fmla="*/ 4 w 75"/>
                  <a:gd name="T65" fmla="*/ 9 h 135"/>
                  <a:gd name="T66" fmla="*/ 4 w 75"/>
                  <a:gd name="T67" fmla="*/ 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35">
                    <a:moveTo>
                      <a:pt x="72" y="135"/>
                    </a:moveTo>
                    <a:cubicBezTo>
                      <a:pt x="71" y="135"/>
                      <a:pt x="71" y="135"/>
                      <a:pt x="71" y="13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2" y="101"/>
                      <a:pt x="2" y="101"/>
                      <a:pt x="1" y="101"/>
                    </a:cubicBezTo>
                    <a:cubicBezTo>
                      <a:pt x="0" y="100"/>
                      <a:pt x="0" y="100"/>
                      <a:pt x="0" y="9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3" y="1"/>
                      <a:pt x="13" y="1"/>
                      <a:pt x="13" y="2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74" y="131"/>
                      <a:pt x="74" y="131"/>
                      <a:pt x="74" y="131"/>
                    </a:cubicBezTo>
                    <a:cubicBezTo>
                      <a:pt x="75" y="131"/>
                      <a:pt x="75" y="132"/>
                      <a:pt x="75" y="132"/>
                    </a:cubicBezTo>
                    <a:cubicBezTo>
                      <a:pt x="75" y="133"/>
                      <a:pt x="75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2" y="135"/>
                      <a:pt x="72" y="135"/>
                      <a:pt x="72" y="135"/>
                    </a:cubicBezTo>
                    <a:close/>
                    <a:moveTo>
                      <a:pt x="4" y="25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7" y="94"/>
                      <a:pt x="8" y="94"/>
                      <a:pt x="8" y="94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9" y="22"/>
                      <a:pt x="9" y="22"/>
                      <a:pt x="9" y="22"/>
                    </a:cubicBezTo>
                    <a:lnTo>
                      <a:pt x="4" y="25"/>
                    </a:lnTo>
                    <a:close/>
                    <a:moveTo>
                      <a:pt x="4" y="15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3" name="Freeform 1001">
                <a:extLst>
                  <a:ext uri="{FF2B5EF4-FFF2-40B4-BE49-F238E27FC236}">
                    <a16:creationId xmlns:a16="http://schemas.microsoft.com/office/drawing/2014/main" id="{8182881C-B7F2-461B-B826-BD6C86A87F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304023" y="5617005"/>
                <a:ext cx="269761" cy="311262"/>
              </a:xfrm>
              <a:custGeom>
                <a:avLst/>
                <a:gdLst>
                  <a:gd name="T0" fmla="*/ 2 w 110"/>
                  <a:gd name="T1" fmla="*/ 127 h 127"/>
                  <a:gd name="T2" fmla="*/ 1 w 110"/>
                  <a:gd name="T3" fmla="*/ 126 h 127"/>
                  <a:gd name="T4" fmla="*/ 0 w 110"/>
                  <a:gd name="T5" fmla="*/ 125 h 127"/>
                  <a:gd name="T6" fmla="*/ 0 w 110"/>
                  <a:gd name="T7" fmla="*/ 2 h 127"/>
                  <a:gd name="T8" fmla="*/ 1 w 110"/>
                  <a:gd name="T9" fmla="*/ 0 h 127"/>
                  <a:gd name="T10" fmla="*/ 3 w 110"/>
                  <a:gd name="T11" fmla="*/ 0 h 127"/>
                  <a:gd name="T12" fmla="*/ 109 w 110"/>
                  <a:gd name="T13" fmla="*/ 61 h 127"/>
                  <a:gd name="T14" fmla="*/ 110 w 110"/>
                  <a:gd name="T15" fmla="*/ 63 h 127"/>
                  <a:gd name="T16" fmla="*/ 109 w 110"/>
                  <a:gd name="T17" fmla="*/ 65 h 127"/>
                  <a:gd name="T18" fmla="*/ 62 w 110"/>
                  <a:gd name="T19" fmla="*/ 92 h 127"/>
                  <a:gd name="T20" fmla="*/ 60 w 110"/>
                  <a:gd name="T21" fmla="*/ 92 h 127"/>
                  <a:gd name="T22" fmla="*/ 13 w 110"/>
                  <a:gd name="T23" fmla="*/ 65 h 127"/>
                  <a:gd name="T24" fmla="*/ 13 w 110"/>
                  <a:gd name="T25" fmla="*/ 119 h 127"/>
                  <a:gd name="T26" fmla="*/ 12 w 110"/>
                  <a:gd name="T27" fmla="*/ 121 h 127"/>
                  <a:gd name="T28" fmla="*/ 3 w 110"/>
                  <a:gd name="T29" fmla="*/ 126 h 127"/>
                  <a:gd name="T30" fmla="*/ 2 w 110"/>
                  <a:gd name="T31" fmla="*/ 127 h 127"/>
                  <a:gd name="T32" fmla="*/ 4 w 110"/>
                  <a:gd name="T33" fmla="*/ 5 h 127"/>
                  <a:gd name="T34" fmla="*/ 4 w 110"/>
                  <a:gd name="T35" fmla="*/ 121 h 127"/>
                  <a:gd name="T36" fmla="*/ 9 w 110"/>
                  <a:gd name="T37" fmla="*/ 118 h 127"/>
                  <a:gd name="T38" fmla="*/ 9 w 110"/>
                  <a:gd name="T39" fmla="*/ 61 h 127"/>
                  <a:gd name="T40" fmla="*/ 10 w 110"/>
                  <a:gd name="T41" fmla="*/ 60 h 127"/>
                  <a:gd name="T42" fmla="*/ 12 w 110"/>
                  <a:gd name="T43" fmla="*/ 60 h 127"/>
                  <a:gd name="T44" fmla="*/ 61 w 110"/>
                  <a:gd name="T45" fmla="*/ 88 h 127"/>
                  <a:gd name="T46" fmla="*/ 104 w 110"/>
                  <a:gd name="T47" fmla="*/ 63 h 127"/>
                  <a:gd name="T48" fmla="*/ 4 w 110"/>
                  <a:gd name="T49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0" h="127">
                    <a:moveTo>
                      <a:pt x="2" y="127"/>
                    </a:moveTo>
                    <a:cubicBezTo>
                      <a:pt x="2" y="127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9" y="61"/>
                      <a:pt x="109" y="61"/>
                      <a:pt x="109" y="61"/>
                    </a:cubicBezTo>
                    <a:cubicBezTo>
                      <a:pt x="110" y="62"/>
                      <a:pt x="110" y="62"/>
                      <a:pt x="110" y="63"/>
                    </a:cubicBezTo>
                    <a:cubicBezTo>
                      <a:pt x="110" y="64"/>
                      <a:pt x="110" y="65"/>
                      <a:pt x="109" y="65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61" y="92"/>
                      <a:pt x="61" y="92"/>
                      <a:pt x="60" y="92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119"/>
                      <a:pt x="13" y="119"/>
                      <a:pt x="13" y="119"/>
                    </a:cubicBezTo>
                    <a:cubicBezTo>
                      <a:pt x="13" y="120"/>
                      <a:pt x="13" y="121"/>
                      <a:pt x="12" y="121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3" y="126"/>
                      <a:pt x="2" y="127"/>
                      <a:pt x="2" y="127"/>
                    </a:cubicBezTo>
                    <a:close/>
                    <a:moveTo>
                      <a:pt x="4" y="5"/>
                    </a:moveTo>
                    <a:cubicBezTo>
                      <a:pt x="4" y="121"/>
                      <a:pt x="4" y="121"/>
                      <a:pt x="4" y="121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1"/>
                      <a:pt x="9" y="60"/>
                      <a:pt x="10" y="60"/>
                    </a:cubicBezTo>
                    <a:cubicBezTo>
                      <a:pt x="11" y="59"/>
                      <a:pt x="11" y="59"/>
                      <a:pt x="12" y="60"/>
                    </a:cubicBezTo>
                    <a:cubicBezTo>
                      <a:pt x="61" y="88"/>
                      <a:pt x="61" y="88"/>
                      <a:pt x="61" y="88"/>
                    </a:cubicBezTo>
                    <a:cubicBezTo>
                      <a:pt x="104" y="63"/>
                      <a:pt x="104" y="63"/>
                      <a:pt x="104" y="63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4" name="Freeform 1002">
                <a:extLst>
                  <a:ext uri="{FF2B5EF4-FFF2-40B4-BE49-F238E27FC236}">
                    <a16:creationId xmlns:a16="http://schemas.microsoft.com/office/drawing/2014/main" id="{AD1E1C55-CD59-492E-9E23-CFEEF44207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5827626"/>
                <a:ext cx="34239" cy="36314"/>
              </a:xfrm>
              <a:custGeom>
                <a:avLst/>
                <a:gdLst>
                  <a:gd name="T0" fmla="*/ 12 w 14"/>
                  <a:gd name="T1" fmla="*/ 15 h 15"/>
                  <a:gd name="T2" fmla="*/ 11 w 14"/>
                  <a:gd name="T3" fmla="*/ 15 h 15"/>
                  <a:gd name="T4" fmla="*/ 1 w 14"/>
                  <a:gd name="T5" fmla="*/ 9 h 15"/>
                  <a:gd name="T6" fmla="*/ 0 w 14"/>
                  <a:gd name="T7" fmla="*/ 8 h 15"/>
                  <a:gd name="T8" fmla="*/ 1 w 14"/>
                  <a:gd name="T9" fmla="*/ 6 h 15"/>
                  <a:gd name="T10" fmla="*/ 11 w 14"/>
                  <a:gd name="T11" fmla="*/ 0 h 15"/>
                  <a:gd name="T12" fmla="*/ 13 w 14"/>
                  <a:gd name="T13" fmla="*/ 0 h 15"/>
                  <a:gd name="T14" fmla="*/ 14 w 14"/>
                  <a:gd name="T15" fmla="*/ 2 h 15"/>
                  <a:gd name="T16" fmla="*/ 14 w 14"/>
                  <a:gd name="T17" fmla="*/ 13 h 15"/>
                  <a:gd name="T18" fmla="*/ 13 w 14"/>
                  <a:gd name="T19" fmla="*/ 15 h 15"/>
                  <a:gd name="T20" fmla="*/ 12 w 14"/>
                  <a:gd name="T21" fmla="*/ 15 h 15"/>
                  <a:gd name="T22" fmla="*/ 6 w 14"/>
                  <a:gd name="T23" fmla="*/ 8 h 15"/>
                  <a:gd name="T24" fmla="*/ 10 w 14"/>
                  <a:gd name="T25" fmla="*/ 10 h 15"/>
                  <a:gd name="T26" fmla="*/ 10 w 14"/>
                  <a:gd name="T27" fmla="*/ 5 h 15"/>
                  <a:gd name="T28" fmla="*/ 6 w 14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12" y="15"/>
                    </a:moveTo>
                    <a:cubicBezTo>
                      <a:pt x="11" y="15"/>
                      <a:pt x="11" y="15"/>
                      <a:pt x="11" y="15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4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2" y="15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5"/>
                      <a:pt x="10" y="5"/>
                      <a:pt x="10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5" name="Freeform 1003">
                <a:extLst>
                  <a:ext uri="{FF2B5EF4-FFF2-40B4-BE49-F238E27FC236}">
                    <a16:creationId xmlns:a16="http://schemas.microsoft.com/office/drawing/2014/main" id="{1F5F93AD-4ECD-4F38-9316-E342976477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154617" y="5697933"/>
                <a:ext cx="149406" cy="117242"/>
              </a:xfrm>
              <a:custGeom>
                <a:avLst/>
                <a:gdLst>
                  <a:gd name="T0" fmla="*/ 29 w 61"/>
                  <a:gd name="T1" fmla="*/ 48 h 48"/>
                  <a:gd name="T2" fmla="*/ 28 w 61"/>
                  <a:gd name="T3" fmla="*/ 48 h 48"/>
                  <a:gd name="T4" fmla="*/ 1 w 61"/>
                  <a:gd name="T5" fmla="*/ 32 h 48"/>
                  <a:gd name="T6" fmla="*/ 0 w 61"/>
                  <a:gd name="T7" fmla="*/ 30 h 48"/>
                  <a:gd name="T8" fmla="*/ 1 w 61"/>
                  <a:gd name="T9" fmla="*/ 28 h 48"/>
                  <a:gd name="T10" fmla="*/ 11 w 61"/>
                  <a:gd name="T11" fmla="*/ 22 h 48"/>
                  <a:gd name="T12" fmla="*/ 11 w 61"/>
                  <a:gd name="T13" fmla="*/ 2 h 48"/>
                  <a:gd name="T14" fmla="*/ 12 w 61"/>
                  <a:gd name="T15" fmla="*/ 0 h 48"/>
                  <a:gd name="T16" fmla="*/ 14 w 61"/>
                  <a:gd name="T17" fmla="*/ 0 h 48"/>
                  <a:gd name="T18" fmla="*/ 60 w 61"/>
                  <a:gd name="T19" fmla="*/ 27 h 48"/>
                  <a:gd name="T20" fmla="*/ 61 w 61"/>
                  <a:gd name="T21" fmla="*/ 29 h 48"/>
                  <a:gd name="T22" fmla="*/ 60 w 61"/>
                  <a:gd name="T23" fmla="*/ 30 h 48"/>
                  <a:gd name="T24" fmla="*/ 30 w 61"/>
                  <a:gd name="T25" fmla="*/ 48 h 48"/>
                  <a:gd name="T26" fmla="*/ 29 w 61"/>
                  <a:gd name="T27" fmla="*/ 48 h 48"/>
                  <a:gd name="T28" fmla="*/ 6 w 61"/>
                  <a:gd name="T29" fmla="*/ 30 h 48"/>
                  <a:gd name="T30" fmla="*/ 29 w 61"/>
                  <a:gd name="T31" fmla="*/ 44 h 48"/>
                  <a:gd name="T32" fmla="*/ 55 w 61"/>
                  <a:gd name="T33" fmla="*/ 29 h 48"/>
                  <a:gd name="T34" fmla="*/ 15 w 61"/>
                  <a:gd name="T35" fmla="*/ 6 h 48"/>
                  <a:gd name="T36" fmla="*/ 15 w 61"/>
                  <a:gd name="T37" fmla="*/ 23 h 48"/>
                  <a:gd name="T38" fmla="*/ 14 w 61"/>
                  <a:gd name="T39" fmla="*/ 25 h 48"/>
                  <a:gd name="T40" fmla="*/ 6 w 61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8">
                    <a:moveTo>
                      <a:pt x="29" y="48"/>
                    </a:moveTo>
                    <a:cubicBezTo>
                      <a:pt x="29" y="48"/>
                      <a:pt x="28" y="48"/>
                      <a:pt x="28" y="48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9"/>
                      <a:pt x="0" y="29"/>
                      <a:pt x="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1"/>
                      <a:pt x="12" y="1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1" y="27"/>
                      <a:pt x="61" y="28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29" y="48"/>
                      <a:pt x="29" y="48"/>
                    </a:cubicBezTo>
                    <a:close/>
                    <a:moveTo>
                      <a:pt x="6" y="30"/>
                    </a:moveTo>
                    <a:cubicBezTo>
                      <a:pt x="29" y="44"/>
                      <a:pt x="29" y="44"/>
                      <a:pt x="29" y="44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4"/>
                      <a:pt x="15" y="25"/>
                      <a:pt x="14" y="25"/>
                    </a:cubicBez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6" name="Freeform 1004">
                <a:extLst>
                  <a:ext uri="{FF2B5EF4-FFF2-40B4-BE49-F238E27FC236}">
                    <a16:creationId xmlns:a16="http://schemas.microsoft.com/office/drawing/2014/main" id="{830C6F28-A973-45FC-B631-A67256FC14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5670957"/>
                <a:ext cx="171194" cy="178457"/>
              </a:xfrm>
              <a:custGeom>
                <a:avLst/>
                <a:gdLst>
                  <a:gd name="T0" fmla="*/ 56 w 70"/>
                  <a:gd name="T1" fmla="*/ 73 h 73"/>
                  <a:gd name="T2" fmla="*/ 55 w 70"/>
                  <a:gd name="T3" fmla="*/ 72 h 73"/>
                  <a:gd name="T4" fmla="*/ 1 w 70"/>
                  <a:gd name="T5" fmla="*/ 41 h 73"/>
                  <a:gd name="T6" fmla="*/ 0 w 70"/>
                  <a:gd name="T7" fmla="*/ 40 h 73"/>
                  <a:gd name="T8" fmla="*/ 1 w 70"/>
                  <a:gd name="T9" fmla="*/ 38 h 73"/>
                  <a:gd name="T10" fmla="*/ 67 w 70"/>
                  <a:gd name="T11" fmla="*/ 0 h 73"/>
                  <a:gd name="T12" fmla="*/ 69 w 70"/>
                  <a:gd name="T13" fmla="*/ 0 h 73"/>
                  <a:gd name="T14" fmla="*/ 70 w 70"/>
                  <a:gd name="T15" fmla="*/ 2 h 73"/>
                  <a:gd name="T16" fmla="*/ 70 w 70"/>
                  <a:gd name="T17" fmla="*/ 64 h 73"/>
                  <a:gd name="T18" fmla="*/ 69 w 70"/>
                  <a:gd name="T19" fmla="*/ 66 h 73"/>
                  <a:gd name="T20" fmla="*/ 57 w 70"/>
                  <a:gd name="T21" fmla="*/ 72 h 73"/>
                  <a:gd name="T22" fmla="*/ 56 w 70"/>
                  <a:gd name="T23" fmla="*/ 73 h 73"/>
                  <a:gd name="T24" fmla="*/ 6 w 70"/>
                  <a:gd name="T25" fmla="*/ 40 h 73"/>
                  <a:gd name="T26" fmla="*/ 56 w 70"/>
                  <a:gd name="T27" fmla="*/ 68 h 73"/>
                  <a:gd name="T28" fmla="*/ 66 w 70"/>
                  <a:gd name="T29" fmla="*/ 63 h 73"/>
                  <a:gd name="T30" fmla="*/ 66 w 70"/>
                  <a:gd name="T31" fmla="*/ 5 h 73"/>
                  <a:gd name="T32" fmla="*/ 6 w 70"/>
                  <a:gd name="T33" fmla="*/ 4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" h="73">
                    <a:moveTo>
                      <a:pt x="56" y="73"/>
                    </a:moveTo>
                    <a:cubicBezTo>
                      <a:pt x="56" y="73"/>
                      <a:pt x="55" y="72"/>
                      <a:pt x="55" y="7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8" y="0"/>
                      <a:pt x="69" y="0"/>
                    </a:cubicBezTo>
                    <a:cubicBezTo>
                      <a:pt x="69" y="1"/>
                      <a:pt x="70" y="1"/>
                      <a:pt x="70" y="2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5"/>
                      <a:pt x="69" y="65"/>
                      <a:pt x="69" y="6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7" y="72"/>
                      <a:pt x="56" y="73"/>
                      <a:pt x="56" y="73"/>
                    </a:cubicBezTo>
                    <a:close/>
                    <a:moveTo>
                      <a:pt x="6" y="40"/>
                    </a:moveTo>
                    <a:cubicBezTo>
                      <a:pt x="56" y="68"/>
                      <a:pt x="56" y="68"/>
                      <a:pt x="56" y="68"/>
                    </a:cubicBez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5"/>
                      <a:pt x="66" y="5"/>
                      <a:pt x="66" y="5"/>
                    </a:cubicBezTo>
                    <a:lnTo>
                      <a:pt x="6" y="4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7" name="Freeform 1005">
                <a:extLst>
                  <a:ext uri="{FF2B5EF4-FFF2-40B4-BE49-F238E27FC236}">
                    <a16:creationId xmlns:a16="http://schemas.microsoft.com/office/drawing/2014/main" id="{5A0C0A98-661A-4A96-94C3-3F6858AD81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6082860"/>
                <a:ext cx="237597" cy="252122"/>
              </a:xfrm>
              <a:custGeom>
                <a:avLst/>
                <a:gdLst>
                  <a:gd name="T0" fmla="*/ 2 w 97"/>
                  <a:gd name="T1" fmla="*/ 103 h 103"/>
                  <a:gd name="T2" fmla="*/ 1 w 97"/>
                  <a:gd name="T3" fmla="*/ 103 h 103"/>
                  <a:gd name="T4" fmla="*/ 0 w 97"/>
                  <a:gd name="T5" fmla="*/ 101 h 103"/>
                  <a:gd name="T6" fmla="*/ 0 w 97"/>
                  <a:gd name="T7" fmla="*/ 22 h 103"/>
                  <a:gd name="T8" fmla="*/ 1 w 97"/>
                  <a:gd name="T9" fmla="*/ 20 h 103"/>
                  <a:gd name="T10" fmla="*/ 35 w 97"/>
                  <a:gd name="T11" fmla="*/ 0 h 103"/>
                  <a:gd name="T12" fmla="*/ 37 w 97"/>
                  <a:gd name="T13" fmla="*/ 0 h 103"/>
                  <a:gd name="T14" fmla="*/ 96 w 97"/>
                  <a:gd name="T15" fmla="*/ 34 h 103"/>
                  <a:gd name="T16" fmla="*/ 97 w 97"/>
                  <a:gd name="T17" fmla="*/ 36 h 103"/>
                  <a:gd name="T18" fmla="*/ 97 w 97"/>
                  <a:gd name="T19" fmla="*/ 48 h 103"/>
                  <a:gd name="T20" fmla="*/ 96 w 97"/>
                  <a:gd name="T21" fmla="*/ 49 h 103"/>
                  <a:gd name="T22" fmla="*/ 3 w 97"/>
                  <a:gd name="T23" fmla="*/ 103 h 103"/>
                  <a:gd name="T24" fmla="*/ 2 w 97"/>
                  <a:gd name="T25" fmla="*/ 103 h 103"/>
                  <a:gd name="T26" fmla="*/ 4 w 97"/>
                  <a:gd name="T27" fmla="*/ 23 h 103"/>
                  <a:gd name="T28" fmla="*/ 4 w 97"/>
                  <a:gd name="T29" fmla="*/ 98 h 103"/>
                  <a:gd name="T30" fmla="*/ 93 w 97"/>
                  <a:gd name="T31" fmla="*/ 46 h 103"/>
                  <a:gd name="T32" fmla="*/ 93 w 97"/>
                  <a:gd name="T33" fmla="*/ 37 h 103"/>
                  <a:gd name="T34" fmla="*/ 36 w 97"/>
                  <a:gd name="T35" fmla="*/ 4 h 103"/>
                  <a:gd name="T36" fmla="*/ 4 w 97"/>
                  <a:gd name="T37" fmla="*/ 2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103">
                    <a:moveTo>
                      <a:pt x="2" y="103"/>
                    </a:move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1"/>
                      <a:pt x="0" y="21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7" y="0"/>
                      <a:pt x="37" y="0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6" y="35"/>
                      <a:pt x="97" y="35"/>
                      <a:pt x="97" y="36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48"/>
                      <a:pt x="96" y="49"/>
                      <a:pt x="96" y="49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2" y="103"/>
                      <a:pt x="2" y="103"/>
                      <a:pt x="2" y="103"/>
                    </a:cubicBezTo>
                    <a:close/>
                    <a:moveTo>
                      <a:pt x="4" y="23"/>
                    </a:moveTo>
                    <a:cubicBezTo>
                      <a:pt x="4" y="98"/>
                      <a:pt x="4" y="98"/>
                      <a:pt x="4" y="98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93" y="37"/>
                      <a:pt x="93" y="37"/>
                      <a:pt x="93" y="37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8" name="Freeform 1006">
                <a:extLst>
                  <a:ext uri="{FF2B5EF4-FFF2-40B4-BE49-F238E27FC236}">
                    <a16:creationId xmlns:a16="http://schemas.microsoft.com/office/drawing/2014/main" id="{20EC4213-745F-47A6-8FE6-D07C4D57E7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5842151"/>
                <a:ext cx="237597" cy="328900"/>
              </a:xfrm>
              <a:custGeom>
                <a:avLst/>
                <a:gdLst>
                  <a:gd name="T0" fmla="*/ 95 w 97"/>
                  <a:gd name="T1" fmla="*/ 134 h 134"/>
                  <a:gd name="T2" fmla="*/ 94 w 97"/>
                  <a:gd name="T3" fmla="*/ 134 h 134"/>
                  <a:gd name="T4" fmla="*/ 36 w 97"/>
                  <a:gd name="T5" fmla="*/ 100 h 134"/>
                  <a:gd name="T6" fmla="*/ 3 w 97"/>
                  <a:gd name="T7" fmla="*/ 120 h 134"/>
                  <a:gd name="T8" fmla="*/ 1 w 97"/>
                  <a:gd name="T9" fmla="*/ 120 h 134"/>
                  <a:gd name="T10" fmla="*/ 0 w 97"/>
                  <a:gd name="T11" fmla="*/ 118 h 134"/>
                  <a:gd name="T12" fmla="*/ 0 w 97"/>
                  <a:gd name="T13" fmla="*/ 50 h 134"/>
                  <a:gd name="T14" fmla="*/ 1 w 97"/>
                  <a:gd name="T15" fmla="*/ 48 h 134"/>
                  <a:gd name="T16" fmla="*/ 82 w 97"/>
                  <a:gd name="T17" fmla="*/ 1 h 134"/>
                  <a:gd name="T18" fmla="*/ 84 w 97"/>
                  <a:gd name="T19" fmla="*/ 1 h 134"/>
                  <a:gd name="T20" fmla="*/ 96 w 97"/>
                  <a:gd name="T21" fmla="*/ 8 h 134"/>
                  <a:gd name="T22" fmla="*/ 97 w 97"/>
                  <a:gd name="T23" fmla="*/ 9 h 134"/>
                  <a:gd name="T24" fmla="*/ 97 w 97"/>
                  <a:gd name="T25" fmla="*/ 132 h 134"/>
                  <a:gd name="T26" fmla="*/ 96 w 97"/>
                  <a:gd name="T27" fmla="*/ 134 h 134"/>
                  <a:gd name="T28" fmla="*/ 95 w 97"/>
                  <a:gd name="T29" fmla="*/ 134 h 134"/>
                  <a:gd name="T30" fmla="*/ 36 w 97"/>
                  <a:gd name="T31" fmla="*/ 96 h 134"/>
                  <a:gd name="T32" fmla="*/ 37 w 97"/>
                  <a:gd name="T33" fmla="*/ 96 h 134"/>
                  <a:gd name="T34" fmla="*/ 93 w 97"/>
                  <a:gd name="T35" fmla="*/ 129 h 134"/>
                  <a:gd name="T36" fmla="*/ 93 w 97"/>
                  <a:gd name="T37" fmla="*/ 10 h 134"/>
                  <a:gd name="T38" fmla="*/ 83 w 97"/>
                  <a:gd name="T39" fmla="*/ 5 h 134"/>
                  <a:gd name="T40" fmla="*/ 4 w 97"/>
                  <a:gd name="T41" fmla="*/ 51 h 134"/>
                  <a:gd name="T42" fmla="*/ 4 w 97"/>
                  <a:gd name="T43" fmla="*/ 115 h 134"/>
                  <a:gd name="T44" fmla="*/ 35 w 97"/>
                  <a:gd name="T45" fmla="*/ 96 h 134"/>
                  <a:gd name="T46" fmla="*/ 36 w 97"/>
                  <a:gd name="T47" fmla="*/ 9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7" h="134">
                    <a:moveTo>
                      <a:pt x="95" y="134"/>
                    </a:moveTo>
                    <a:cubicBezTo>
                      <a:pt x="94" y="134"/>
                      <a:pt x="94" y="134"/>
                      <a:pt x="94" y="134"/>
                    </a:cubicBezTo>
                    <a:cubicBezTo>
                      <a:pt x="36" y="100"/>
                      <a:pt x="36" y="100"/>
                      <a:pt x="36" y="10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2" y="120"/>
                      <a:pt x="1" y="120"/>
                      <a:pt x="1" y="120"/>
                    </a:cubicBezTo>
                    <a:cubicBezTo>
                      <a:pt x="0" y="119"/>
                      <a:pt x="0" y="119"/>
                      <a:pt x="0" y="118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49"/>
                      <a:pt x="0" y="48"/>
                      <a:pt x="1" y="48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3" y="0"/>
                      <a:pt x="83" y="0"/>
                      <a:pt x="84" y="1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97" y="9"/>
                      <a:pt x="97" y="9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7" y="133"/>
                      <a:pt x="96" y="133"/>
                      <a:pt x="96" y="134"/>
                    </a:cubicBezTo>
                    <a:cubicBezTo>
                      <a:pt x="95" y="134"/>
                      <a:pt x="95" y="134"/>
                      <a:pt x="95" y="134"/>
                    </a:cubicBezTo>
                    <a:close/>
                    <a:moveTo>
                      <a:pt x="36" y="96"/>
                    </a:moveTo>
                    <a:cubicBezTo>
                      <a:pt x="36" y="96"/>
                      <a:pt x="37" y="96"/>
                      <a:pt x="37" y="96"/>
                    </a:cubicBezTo>
                    <a:cubicBezTo>
                      <a:pt x="93" y="129"/>
                      <a:pt x="93" y="129"/>
                      <a:pt x="93" y="12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6"/>
                      <a:pt x="36" y="96"/>
                      <a:pt x="36" y="9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9" name="Freeform 1007">
                <a:extLst>
                  <a:ext uri="{FF2B5EF4-FFF2-40B4-BE49-F238E27FC236}">
                    <a16:creationId xmlns:a16="http://schemas.microsoft.com/office/drawing/2014/main" id="{83406012-ABB0-4233-A94C-1C6475B75CDD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V="1">
                <a:off x="5554071" y="5947980"/>
                <a:ext cx="19713" cy="19713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2 h 8"/>
                  <a:gd name="T8" fmla="*/ 1 w 8"/>
                  <a:gd name="T9" fmla="*/ 0 h 8"/>
                  <a:gd name="T10" fmla="*/ 3 w 8"/>
                  <a:gd name="T11" fmla="*/ 0 h 8"/>
                  <a:gd name="T12" fmla="*/ 7 w 8"/>
                  <a:gd name="T13" fmla="*/ 2 h 8"/>
                  <a:gd name="T14" fmla="*/ 8 w 8"/>
                  <a:gd name="T15" fmla="*/ 4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5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0" name="Freeform 1008">
                <a:extLst>
                  <a:ext uri="{FF2B5EF4-FFF2-40B4-BE49-F238E27FC236}">
                    <a16:creationId xmlns:a16="http://schemas.microsoft.com/office/drawing/2014/main" id="{11C2C036-D410-43E0-84E2-C8556ABDCA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608023" y="6432511"/>
                <a:ext cx="261460" cy="415016"/>
              </a:xfrm>
              <a:custGeom>
                <a:avLst/>
                <a:gdLst>
                  <a:gd name="T0" fmla="*/ 36 w 107"/>
                  <a:gd name="T1" fmla="*/ 169 h 169"/>
                  <a:gd name="T2" fmla="*/ 35 w 107"/>
                  <a:gd name="T3" fmla="*/ 169 h 169"/>
                  <a:gd name="T4" fmla="*/ 16 w 107"/>
                  <a:gd name="T5" fmla="*/ 158 h 169"/>
                  <a:gd name="T6" fmla="*/ 15 w 107"/>
                  <a:gd name="T7" fmla="*/ 156 h 169"/>
                  <a:gd name="T8" fmla="*/ 16 w 107"/>
                  <a:gd name="T9" fmla="*/ 154 h 169"/>
                  <a:gd name="T10" fmla="*/ 26 w 107"/>
                  <a:gd name="T11" fmla="*/ 149 h 169"/>
                  <a:gd name="T12" fmla="*/ 1 w 107"/>
                  <a:gd name="T13" fmla="*/ 135 h 169"/>
                  <a:gd name="T14" fmla="*/ 0 w 107"/>
                  <a:gd name="T15" fmla="*/ 133 h 169"/>
                  <a:gd name="T16" fmla="*/ 0 w 107"/>
                  <a:gd name="T17" fmla="*/ 2 h 169"/>
                  <a:gd name="T18" fmla="*/ 1 w 107"/>
                  <a:gd name="T19" fmla="*/ 0 h 169"/>
                  <a:gd name="T20" fmla="*/ 3 w 107"/>
                  <a:gd name="T21" fmla="*/ 0 h 169"/>
                  <a:gd name="T22" fmla="*/ 106 w 107"/>
                  <a:gd name="T23" fmla="*/ 60 h 169"/>
                  <a:gd name="T24" fmla="*/ 107 w 107"/>
                  <a:gd name="T25" fmla="*/ 62 h 169"/>
                  <a:gd name="T26" fmla="*/ 107 w 107"/>
                  <a:gd name="T27" fmla="*/ 119 h 169"/>
                  <a:gd name="T28" fmla="*/ 106 w 107"/>
                  <a:gd name="T29" fmla="*/ 120 h 169"/>
                  <a:gd name="T30" fmla="*/ 45 w 107"/>
                  <a:gd name="T31" fmla="*/ 156 h 169"/>
                  <a:gd name="T32" fmla="*/ 49 w 107"/>
                  <a:gd name="T33" fmla="*/ 158 h 169"/>
                  <a:gd name="T34" fmla="*/ 50 w 107"/>
                  <a:gd name="T35" fmla="*/ 160 h 169"/>
                  <a:gd name="T36" fmla="*/ 49 w 107"/>
                  <a:gd name="T37" fmla="*/ 162 h 169"/>
                  <a:gd name="T38" fmla="*/ 37 w 107"/>
                  <a:gd name="T39" fmla="*/ 169 h 169"/>
                  <a:gd name="T40" fmla="*/ 36 w 107"/>
                  <a:gd name="T41" fmla="*/ 169 h 169"/>
                  <a:gd name="T42" fmla="*/ 21 w 107"/>
                  <a:gd name="T43" fmla="*/ 156 h 169"/>
                  <a:gd name="T44" fmla="*/ 36 w 107"/>
                  <a:gd name="T45" fmla="*/ 164 h 169"/>
                  <a:gd name="T46" fmla="*/ 44 w 107"/>
                  <a:gd name="T47" fmla="*/ 160 h 169"/>
                  <a:gd name="T48" fmla="*/ 40 w 107"/>
                  <a:gd name="T49" fmla="*/ 157 h 169"/>
                  <a:gd name="T50" fmla="*/ 39 w 107"/>
                  <a:gd name="T51" fmla="*/ 156 h 169"/>
                  <a:gd name="T52" fmla="*/ 40 w 107"/>
                  <a:gd name="T53" fmla="*/ 154 h 169"/>
                  <a:gd name="T54" fmla="*/ 103 w 107"/>
                  <a:gd name="T55" fmla="*/ 118 h 169"/>
                  <a:gd name="T56" fmla="*/ 103 w 107"/>
                  <a:gd name="T57" fmla="*/ 63 h 169"/>
                  <a:gd name="T58" fmla="*/ 4 w 107"/>
                  <a:gd name="T59" fmla="*/ 6 h 169"/>
                  <a:gd name="T60" fmla="*/ 4 w 107"/>
                  <a:gd name="T61" fmla="*/ 132 h 169"/>
                  <a:gd name="T62" fmla="*/ 31 w 107"/>
                  <a:gd name="T63" fmla="*/ 147 h 169"/>
                  <a:gd name="T64" fmla="*/ 32 w 107"/>
                  <a:gd name="T65" fmla="*/ 149 h 169"/>
                  <a:gd name="T66" fmla="*/ 31 w 107"/>
                  <a:gd name="T67" fmla="*/ 151 h 169"/>
                  <a:gd name="T68" fmla="*/ 21 w 107"/>
                  <a:gd name="T69" fmla="*/ 156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169">
                    <a:moveTo>
                      <a:pt x="36" y="169"/>
                    </a:moveTo>
                    <a:cubicBezTo>
                      <a:pt x="36" y="169"/>
                      <a:pt x="35" y="169"/>
                      <a:pt x="35" y="16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16" y="157"/>
                      <a:pt x="15" y="157"/>
                      <a:pt x="15" y="156"/>
                    </a:cubicBezTo>
                    <a:cubicBezTo>
                      <a:pt x="15" y="155"/>
                      <a:pt x="16" y="155"/>
                      <a:pt x="16" y="154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4"/>
                      <a:pt x="0" y="133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06" y="60"/>
                      <a:pt x="106" y="60"/>
                      <a:pt x="106" y="60"/>
                    </a:cubicBezTo>
                    <a:cubicBezTo>
                      <a:pt x="106" y="60"/>
                      <a:pt x="107" y="61"/>
                      <a:pt x="107" y="62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19"/>
                      <a:pt x="106" y="120"/>
                      <a:pt x="106" y="120"/>
                    </a:cubicBezTo>
                    <a:cubicBezTo>
                      <a:pt x="45" y="156"/>
                      <a:pt x="45" y="156"/>
                      <a:pt x="45" y="156"/>
                    </a:cubicBezTo>
                    <a:cubicBezTo>
                      <a:pt x="49" y="158"/>
                      <a:pt x="49" y="158"/>
                      <a:pt x="49" y="158"/>
                    </a:cubicBezTo>
                    <a:cubicBezTo>
                      <a:pt x="50" y="158"/>
                      <a:pt x="50" y="159"/>
                      <a:pt x="50" y="160"/>
                    </a:cubicBezTo>
                    <a:cubicBezTo>
                      <a:pt x="50" y="161"/>
                      <a:pt x="50" y="161"/>
                      <a:pt x="49" y="162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7" y="169"/>
                      <a:pt x="36" y="169"/>
                      <a:pt x="36" y="169"/>
                    </a:cubicBezTo>
                    <a:close/>
                    <a:moveTo>
                      <a:pt x="21" y="156"/>
                    </a:moveTo>
                    <a:cubicBezTo>
                      <a:pt x="36" y="164"/>
                      <a:pt x="36" y="164"/>
                      <a:pt x="36" y="164"/>
                    </a:cubicBezTo>
                    <a:cubicBezTo>
                      <a:pt x="44" y="160"/>
                      <a:pt x="44" y="160"/>
                      <a:pt x="44" y="160"/>
                    </a:cubicBezTo>
                    <a:cubicBezTo>
                      <a:pt x="40" y="157"/>
                      <a:pt x="40" y="157"/>
                      <a:pt x="40" y="157"/>
                    </a:cubicBezTo>
                    <a:cubicBezTo>
                      <a:pt x="39" y="157"/>
                      <a:pt x="39" y="156"/>
                      <a:pt x="39" y="156"/>
                    </a:cubicBezTo>
                    <a:cubicBezTo>
                      <a:pt x="39" y="155"/>
                      <a:pt x="39" y="154"/>
                      <a:pt x="40" y="154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3" y="63"/>
                      <a:pt x="103" y="63"/>
                      <a:pt x="103" y="6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31" y="147"/>
                      <a:pt x="31" y="147"/>
                      <a:pt x="31" y="147"/>
                    </a:cubicBezTo>
                    <a:cubicBezTo>
                      <a:pt x="31" y="148"/>
                      <a:pt x="32" y="148"/>
                      <a:pt x="32" y="149"/>
                    </a:cubicBezTo>
                    <a:cubicBezTo>
                      <a:pt x="32" y="150"/>
                      <a:pt x="31" y="150"/>
                      <a:pt x="31" y="151"/>
                    </a:cubicBezTo>
                    <a:lnTo>
                      <a:pt x="21" y="15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1" name="Freeform 1009">
                <a:extLst>
                  <a:ext uri="{FF2B5EF4-FFF2-40B4-BE49-F238E27FC236}">
                    <a16:creationId xmlns:a16="http://schemas.microsoft.com/office/drawing/2014/main" id="{06BF8BAB-0239-4717-8D34-28C87EA484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41620" y="6702271"/>
                <a:ext cx="73665" cy="240709"/>
              </a:xfrm>
              <a:custGeom>
                <a:avLst/>
                <a:gdLst>
                  <a:gd name="T0" fmla="*/ 28 w 30"/>
                  <a:gd name="T1" fmla="*/ 98 h 98"/>
                  <a:gd name="T2" fmla="*/ 27 w 30"/>
                  <a:gd name="T3" fmla="*/ 98 h 98"/>
                  <a:gd name="T4" fmla="*/ 1 w 30"/>
                  <a:gd name="T5" fmla="*/ 83 h 98"/>
                  <a:gd name="T6" fmla="*/ 0 w 30"/>
                  <a:gd name="T7" fmla="*/ 82 h 98"/>
                  <a:gd name="T8" fmla="*/ 0 w 30"/>
                  <a:gd name="T9" fmla="*/ 10 h 98"/>
                  <a:gd name="T10" fmla="*/ 1 w 30"/>
                  <a:gd name="T11" fmla="*/ 8 h 98"/>
                  <a:gd name="T12" fmla="*/ 14 w 30"/>
                  <a:gd name="T13" fmla="*/ 1 h 98"/>
                  <a:gd name="T14" fmla="*/ 16 w 30"/>
                  <a:gd name="T15" fmla="*/ 1 h 98"/>
                  <a:gd name="T16" fmla="*/ 17 w 30"/>
                  <a:gd name="T17" fmla="*/ 3 h 98"/>
                  <a:gd name="T18" fmla="*/ 17 w 30"/>
                  <a:gd name="T19" fmla="*/ 83 h 98"/>
                  <a:gd name="T20" fmla="*/ 27 w 30"/>
                  <a:gd name="T21" fmla="*/ 77 h 98"/>
                  <a:gd name="T22" fmla="*/ 29 w 30"/>
                  <a:gd name="T23" fmla="*/ 77 h 98"/>
                  <a:gd name="T24" fmla="*/ 30 w 30"/>
                  <a:gd name="T25" fmla="*/ 79 h 98"/>
                  <a:gd name="T26" fmla="*/ 30 w 30"/>
                  <a:gd name="T27" fmla="*/ 96 h 98"/>
                  <a:gd name="T28" fmla="*/ 29 w 30"/>
                  <a:gd name="T29" fmla="*/ 98 h 98"/>
                  <a:gd name="T30" fmla="*/ 28 w 30"/>
                  <a:gd name="T31" fmla="*/ 98 h 98"/>
                  <a:gd name="T32" fmla="*/ 17 w 30"/>
                  <a:gd name="T33" fmla="*/ 88 h 98"/>
                  <a:gd name="T34" fmla="*/ 26 w 30"/>
                  <a:gd name="T35" fmla="*/ 93 h 98"/>
                  <a:gd name="T36" fmla="*/ 26 w 30"/>
                  <a:gd name="T37" fmla="*/ 83 h 98"/>
                  <a:gd name="T38" fmla="*/ 17 w 30"/>
                  <a:gd name="T39" fmla="*/ 88 h 98"/>
                  <a:gd name="T40" fmla="*/ 17 w 30"/>
                  <a:gd name="T41" fmla="*/ 88 h 98"/>
                  <a:gd name="T42" fmla="*/ 4 w 30"/>
                  <a:gd name="T43" fmla="*/ 80 h 98"/>
                  <a:gd name="T44" fmla="*/ 13 w 30"/>
                  <a:gd name="T45" fmla="*/ 85 h 98"/>
                  <a:gd name="T46" fmla="*/ 13 w 30"/>
                  <a:gd name="T47" fmla="*/ 6 h 98"/>
                  <a:gd name="T48" fmla="*/ 4 w 30"/>
                  <a:gd name="T49" fmla="*/ 11 h 98"/>
                  <a:gd name="T50" fmla="*/ 4 w 30"/>
                  <a:gd name="T51" fmla="*/ 8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98">
                    <a:moveTo>
                      <a:pt x="28" y="98"/>
                    </a:moveTo>
                    <a:cubicBezTo>
                      <a:pt x="28" y="98"/>
                      <a:pt x="27" y="98"/>
                      <a:pt x="27" y="98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2"/>
                      <a:pt x="0" y="8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7" y="3"/>
                    </a:cubicBezTo>
                    <a:cubicBezTo>
                      <a:pt x="17" y="83"/>
                      <a:pt x="17" y="83"/>
                      <a:pt x="17" y="83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8" y="77"/>
                      <a:pt x="28" y="77"/>
                      <a:pt x="29" y="77"/>
                    </a:cubicBezTo>
                    <a:cubicBezTo>
                      <a:pt x="30" y="78"/>
                      <a:pt x="30" y="78"/>
                      <a:pt x="30" y="79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7"/>
                      <a:pt x="30" y="98"/>
                      <a:pt x="29" y="98"/>
                    </a:cubicBezTo>
                    <a:cubicBezTo>
                      <a:pt x="29" y="98"/>
                      <a:pt x="28" y="98"/>
                      <a:pt x="28" y="98"/>
                    </a:cubicBezTo>
                    <a:close/>
                    <a:moveTo>
                      <a:pt x="17" y="88"/>
                    </a:moveTo>
                    <a:cubicBezTo>
                      <a:pt x="26" y="93"/>
                      <a:pt x="26" y="93"/>
                      <a:pt x="26" y="93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17" y="88"/>
                      <a:pt x="17" y="88"/>
                      <a:pt x="17" y="88"/>
                    </a:cubicBezTo>
                    <a:cubicBezTo>
                      <a:pt x="17" y="88"/>
                      <a:pt x="17" y="88"/>
                      <a:pt x="17" y="88"/>
                    </a:cubicBezTo>
                    <a:close/>
                    <a:moveTo>
                      <a:pt x="4" y="80"/>
                    </a:move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8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2" name="Freeform 1010">
                <a:extLst>
                  <a:ext uri="{FF2B5EF4-FFF2-40B4-BE49-F238E27FC236}">
                    <a16:creationId xmlns:a16="http://schemas.microsoft.com/office/drawing/2014/main" id="{3D250A0F-6406-427E-BB16-D847877FE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68596" y="6878653"/>
                <a:ext cx="154594" cy="206470"/>
              </a:xfrm>
              <a:custGeom>
                <a:avLst/>
                <a:gdLst>
                  <a:gd name="T0" fmla="*/ 61 w 63"/>
                  <a:gd name="T1" fmla="*/ 84 h 84"/>
                  <a:gd name="T2" fmla="*/ 60 w 63"/>
                  <a:gd name="T3" fmla="*/ 83 h 84"/>
                  <a:gd name="T4" fmla="*/ 1 w 63"/>
                  <a:gd name="T5" fmla="*/ 49 h 84"/>
                  <a:gd name="T6" fmla="*/ 0 w 63"/>
                  <a:gd name="T7" fmla="*/ 48 h 84"/>
                  <a:gd name="T8" fmla="*/ 0 w 63"/>
                  <a:gd name="T9" fmla="*/ 2 h 84"/>
                  <a:gd name="T10" fmla="*/ 1 w 63"/>
                  <a:gd name="T11" fmla="*/ 0 h 84"/>
                  <a:gd name="T12" fmla="*/ 3 w 63"/>
                  <a:gd name="T13" fmla="*/ 0 h 84"/>
                  <a:gd name="T14" fmla="*/ 44 w 63"/>
                  <a:gd name="T15" fmla="*/ 24 h 84"/>
                  <a:gd name="T16" fmla="*/ 44 w 63"/>
                  <a:gd name="T17" fmla="*/ 23 h 84"/>
                  <a:gd name="T18" fmla="*/ 45 w 63"/>
                  <a:gd name="T19" fmla="*/ 21 h 84"/>
                  <a:gd name="T20" fmla="*/ 47 w 63"/>
                  <a:gd name="T21" fmla="*/ 21 h 84"/>
                  <a:gd name="T22" fmla="*/ 62 w 63"/>
                  <a:gd name="T23" fmla="*/ 30 h 84"/>
                  <a:gd name="T24" fmla="*/ 63 w 63"/>
                  <a:gd name="T25" fmla="*/ 31 h 84"/>
                  <a:gd name="T26" fmla="*/ 63 w 63"/>
                  <a:gd name="T27" fmla="*/ 82 h 84"/>
                  <a:gd name="T28" fmla="*/ 62 w 63"/>
                  <a:gd name="T29" fmla="*/ 83 h 84"/>
                  <a:gd name="T30" fmla="*/ 61 w 63"/>
                  <a:gd name="T31" fmla="*/ 84 h 84"/>
                  <a:gd name="T32" fmla="*/ 4 w 63"/>
                  <a:gd name="T33" fmla="*/ 46 h 84"/>
                  <a:gd name="T34" fmla="*/ 59 w 63"/>
                  <a:gd name="T35" fmla="*/ 78 h 84"/>
                  <a:gd name="T36" fmla="*/ 59 w 63"/>
                  <a:gd name="T37" fmla="*/ 33 h 84"/>
                  <a:gd name="T38" fmla="*/ 48 w 63"/>
                  <a:gd name="T39" fmla="*/ 26 h 84"/>
                  <a:gd name="T40" fmla="*/ 48 w 63"/>
                  <a:gd name="T41" fmla="*/ 27 h 84"/>
                  <a:gd name="T42" fmla="*/ 47 w 63"/>
                  <a:gd name="T43" fmla="*/ 29 h 84"/>
                  <a:gd name="T44" fmla="*/ 45 w 63"/>
                  <a:gd name="T45" fmla="*/ 29 h 84"/>
                  <a:gd name="T46" fmla="*/ 4 w 63"/>
                  <a:gd name="T47" fmla="*/ 5 h 84"/>
                  <a:gd name="T48" fmla="*/ 4 w 63"/>
                  <a:gd name="T49" fmla="*/ 4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84">
                    <a:moveTo>
                      <a:pt x="61" y="84"/>
                    </a:moveTo>
                    <a:cubicBezTo>
                      <a:pt x="61" y="84"/>
                      <a:pt x="61" y="84"/>
                      <a:pt x="60" y="83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49"/>
                      <a:pt x="0" y="48"/>
                      <a:pt x="0" y="4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2"/>
                      <a:pt x="45" y="21"/>
                      <a:pt x="45" y="21"/>
                    </a:cubicBezTo>
                    <a:cubicBezTo>
                      <a:pt x="46" y="21"/>
                      <a:pt x="47" y="21"/>
                      <a:pt x="47" y="21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3" y="31"/>
                      <a:pt x="63" y="31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63" y="82"/>
                      <a:pt x="63" y="83"/>
                      <a:pt x="62" y="83"/>
                    </a:cubicBezTo>
                    <a:cubicBezTo>
                      <a:pt x="62" y="84"/>
                      <a:pt x="62" y="84"/>
                      <a:pt x="61" y="84"/>
                    </a:cubicBezTo>
                    <a:close/>
                    <a:moveTo>
                      <a:pt x="4" y="46"/>
                    </a:moveTo>
                    <a:cubicBezTo>
                      <a:pt x="59" y="78"/>
                      <a:pt x="59" y="78"/>
                      <a:pt x="59" y="78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8" y="28"/>
                      <a:pt x="48" y="29"/>
                      <a:pt x="47" y="29"/>
                    </a:cubicBezTo>
                    <a:cubicBezTo>
                      <a:pt x="47" y="29"/>
                      <a:pt x="46" y="29"/>
                      <a:pt x="45" y="2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3" name="Freeform 1011">
                <a:extLst>
                  <a:ext uri="{FF2B5EF4-FFF2-40B4-BE49-F238E27FC236}">
                    <a16:creationId xmlns:a16="http://schemas.microsoft.com/office/drawing/2014/main" id="{96328448-7F13-4BA2-8890-474E06E8B0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69784" y="6901479"/>
                <a:ext cx="615262" cy="592435"/>
              </a:xfrm>
              <a:custGeom>
                <a:avLst/>
                <a:gdLst>
                  <a:gd name="T0" fmla="*/ 213 w 251"/>
                  <a:gd name="T1" fmla="*/ 242 h 242"/>
                  <a:gd name="T2" fmla="*/ 13 w 251"/>
                  <a:gd name="T3" fmla="*/ 239 h 242"/>
                  <a:gd name="T4" fmla="*/ 1 w 251"/>
                  <a:gd name="T5" fmla="*/ 234 h 242"/>
                  <a:gd name="T6" fmla="*/ 1 w 251"/>
                  <a:gd name="T7" fmla="*/ 230 h 242"/>
                  <a:gd name="T8" fmla="*/ 68 w 251"/>
                  <a:gd name="T9" fmla="*/ 193 h 242"/>
                  <a:gd name="T10" fmla="*/ 69 w 251"/>
                  <a:gd name="T11" fmla="*/ 195 h 242"/>
                  <a:gd name="T12" fmla="*/ 127 w 251"/>
                  <a:gd name="T13" fmla="*/ 82 h 242"/>
                  <a:gd name="T14" fmla="*/ 132 w 251"/>
                  <a:gd name="T15" fmla="*/ 78 h 242"/>
                  <a:gd name="T16" fmla="*/ 127 w 251"/>
                  <a:gd name="T17" fmla="*/ 74 h 242"/>
                  <a:gd name="T18" fmla="*/ 111 w 251"/>
                  <a:gd name="T19" fmla="*/ 14 h 242"/>
                  <a:gd name="T20" fmla="*/ 110 w 251"/>
                  <a:gd name="T21" fmla="*/ 3 h 242"/>
                  <a:gd name="T22" fmla="*/ 113 w 251"/>
                  <a:gd name="T23" fmla="*/ 1 h 242"/>
                  <a:gd name="T24" fmla="*/ 140 w 251"/>
                  <a:gd name="T25" fmla="*/ 17 h 242"/>
                  <a:gd name="T26" fmla="*/ 250 w 251"/>
                  <a:gd name="T27" fmla="*/ 211 h 242"/>
                  <a:gd name="T28" fmla="*/ 251 w 251"/>
                  <a:gd name="T29" fmla="*/ 228 h 242"/>
                  <a:gd name="T30" fmla="*/ 248 w 251"/>
                  <a:gd name="T31" fmla="*/ 230 h 242"/>
                  <a:gd name="T32" fmla="*/ 215 w 251"/>
                  <a:gd name="T33" fmla="*/ 242 h 242"/>
                  <a:gd name="T34" fmla="*/ 111 w 251"/>
                  <a:gd name="T35" fmla="*/ 178 h 242"/>
                  <a:gd name="T36" fmla="*/ 214 w 251"/>
                  <a:gd name="T37" fmla="*/ 238 h 242"/>
                  <a:gd name="T38" fmla="*/ 243 w 251"/>
                  <a:gd name="T39" fmla="*/ 222 h 242"/>
                  <a:gd name="T40" fmla="*/ 247 w 251"/>
                  <a:gd name="T41" fmla="*/ 214 h 242"/>
                  <a:gd name="T42" fmla="*/ 136 w 251"/>
                  <a:gd name="T43" fmla="*/ 149 h 242"/>
                  <a:gd name="T44" fmla="*/ 131 w 251"/>
                  <a:gd name="T45" fmla="*/ 83 h 242"/>
                  <a:gd name="T46" fmla="*/ 130 w 251"/>
                  <a:gd name="T47" fmla="*/ 164 h 242"/>
                  <a:gd name="T48" fmla="*/ 66 w 251"/>
                  <a:gd name="T49" fmla="*/ 200 h 242"/>
                  <a:gd name="T50" fmla="*/ 65 w 251"/>
                  <a:gd name="T51" fmla="*/ 198 h 242"/>
                  <a:gd name="T52" fmla="*/ 12 w 251"/>
                  <a:gd name="T53" fmla="*/ 235 h 242"/>
                  <a:gd name="T54" fmla="*/ 111 w 251"/>
                  <a:gd name="T55" fmla="*/ 178 h 242"/>
                  <a:gd name="T56" fmla="*/ 136 w 251"/>
                  <a:gd name="T57" fmla="*/ 75 h 242"/>
                  <a:gd name="T58" fmla="*/ 114 w 251"/>
                  <a:gd name="T59" fmla="*/ 6 h 242"/>
                  <a:gd name="T60" fmla="*/ 130 w 251"/>
                  <a:gd name="T61" fmla="*/ 20 h 242"/>
                  <a:gd name="T62" fmla="*/ 131 w 251"/>
                  <a:gd name="T63" fmla="*/ 7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1" h="242">
                    <a:moveTo>
                      <a:pt x="214" y="242"/>
                    </a:moveTo>
                    <a:cubicBezTo>
                      <a:pt x="214" y="242"/>
                      <a:pt x="214" y="242"/>
                      <a:pt x="213" y="242"/>
                    </a:cubicBezTo>
                    <a:cubicBezTo>
                      <a:pt x="111" y="183"/>
                      <a:pt x="111" y="183"/>
                      <a:pt x="111" y="183"/>
                    </a:cubicBezTo>
                    <a:cubicBezTo>
                      <a:pt x="13" y="239"/>
                      <a:pt x="13" y="239"/>
                      <a:pt x="13" y="239"/>
                    </a:cubicBezTo>
                    <a:cubicBezTo>
                      <a:pt x="13" y="240"/>
                      <a:pt x="12" y="240"/>
                      <a:pt x="11" y="239"/>
                    </a:cubicBezTo>
                    <a:cubicBezTo>
                      <a:pt x="1" y="234"/>
                      <a:pt x="1" y="234"/>
                      <a:pt x="1" y="234"/>
                    </a:cubicBezTo>
                    <a:cubicBezTo>
                      <a:pt x="1" y="233"/>
                      <a:pt x="0" y="233"/>
                      <a:pt x="0" y="232"/>
                    </a:cubicBezTo>
                    <a:cubicBezTo>
                      <a:pt x="0" y="231"/>
                      <a:pt x="1" y="231"/>
                      <a:pt x="1" y="230"/>
                    </a:cubicBezTo>
                    <a:cubicBezTo>
                      <a:pt x="66" y="193"/>
                      <a:pt x="66" y="193"/>
                      <a:pt x="66" y="193"/>
                    </a:cubicBezTo>
                    <a:cubicBezTo>
                      <a:pt x="66" y="193"/>
                      <a:pt x="67" y="193"/>
                      <a:pt x="68" y="193"/>
                    </a:cubicBezTo>
                    <a:cubicBezTo>
                      <a:pt x="68" y="193"/>
                      <a:pt x="69" y="194"/>
                      <a:pt x="69" y="195"/>
                    </a:cubicBezTo>
                    <a:cubicBezTo>
                      <a:pt x="69" y="195"/>
                      <a:pt x="69" y="195"/>
                      <a:pt x="69" y="195"/>
                    </a:cubicBezTo>
                    <a:cubicBezTo>
                      <a:pt x="127" y="161"/>
                      <a:pt x="127" y="161"/>
                      <a:pt x="127" y="161"/>
                    </a:cubicBezTo>
                    <a:cubicBezTo>
                      <a:pt x="127" y="82"/>
                      <a:pt x="127" y="82"/>
                      <a:pt x="127" y="82"/>
                    </a:cubicBezTo>
                    <a:cubicBezTo>
                      <a:pt x="127" y="81"/>
                      <a:pt x="127" y="80"/>
                      <a:pt x="128" y="80"/>
                    </a:cubicBezTo>
                    <a:cubicBezTo>
                      <a:pt x="132" y="78"/>
                      <a:pt x="132" y="78"/>
                      <a:pt x="132" y="78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7" y="75"/>
                      <a:pt x="127" y="74"/>
                      <a:pt x="127" y="74"/>
                    </a:cubicBezTo>
                    <a:cubicBezTo>
                      <a:pt x="127" y="23"/>
                      <a:pt x="127" y="23"/>
                      <a:pt x="127" y="23"/>
                    </a:cubicBezTo>
                    <a:cubicBezTo>
                      <a:pt x="111" y="14"/>
                      <a:pt x="111" y="14"/>
                      <a:pt x="111" y="14"/>
                    </a:cubicBezTo>
                    <a:cubicBezTo>
                      <a:pt x="111" y="13"/>
                      <a:pt x="110" y="13"/>
                      <a:pt x="110" y="12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10" y="2"/>
                      <a:pt x="111" y="1"/>
                      <a:pt x="111" y="1"/>
                    </a:cubicBezTo>
                    <a:cubicBezTo>
                      <a:pt x="112" y="0"/>
                      <a:pt x="113" y="0"/>
                      <a:pt x="113" y="1"/>
                    </a:cubicBezTo>
                    <a:cubicBezTo>
                      <a:pt x="139" y="16"/>
                      <a:pt x="139" y="16"/>
                      <a:pt x="139" y="16"/>
                    </a:cubicBezTo>
                    <a:cubicBezTo>
                      <a:pt x="140" y="16"/>
                      <a:pt x="140" y="17"/>
                      <a:pt x="140" y="17"/>
                    </a:cubicBezTo>
                    <a:cubicBezTo>
                      <a:pt x="140" y="147"/>
                      <a:pt x="140" y="147"/>
                      <a:pt x="140" y="147"/>
                    </a:cubicBezTo>
                    <a:cubicBezTo>
                      <a:pt x="250" y="211"/>
                      <a:pt x="250" y="211"/>
                      <a:pt x="250" y="211"/>
                    </a:cubicBezTo>
                    <a:cubicBezTo>
                      <a:pt x="250" y="211"/>
                      <a:pt x="251" y="212"/>
                      <a:pt x="251" y="212"/>
                    </a:cubicBezTo>
                    <a:cubicBezTo>
                      <a:pt x="251" y="228"/>
                      <a:pt x="251" y="228"/>
                      <a:pt x="251" y="228"/>
                    </a:cubicBezTo>
                    <a:cubicBezTo>
                      <a:pt x="251" y="229"/>
                      <a:pt x="250" y="229"/>
                      <a:pt x="250" y="230"/>
                    </a:cubicBezTo>
                    <a:cubicBezTo>
                      <a:pt x="249" y="230"/>
                      <a:pt x="248" y="230"/>
                      <a:pt x="248" y="230"/>
                    </a:cubicBezTo>
                    <a:cubicBezTo>
                      <a:pt x="242" y="226"/>
                      <a:pt x="242" y="226"/>
                      <a:pt x="242" y="226"/>
                    </a:cubicBezTo>
                    <a:cubicBezTo>
                      <a:pt x="215" y="242"/>
                      <a:pt x="215" y="242"/>
                      <a:pt x="215" y="242"/>
                    </a:cubicBezTo>
                    <a:cubicBezTo>
                      <a:pt x="215" y="242"/>
                      <a:pt x="215" y="242"/>
                      <a:pt x="214" y="242"/>
                    </a:cubicBezTo>
                    <a:close/>
                    <a:moveTo>
                      <a:pt x="111" y="178"/>
                    </a:moveTo>
                    <a:cubicBezTo>
                      <a:pt x="112" y="178"/>
                      <a:pt x="112" y="178"/>
                      <a:pt x="112" y="179"/>
                    </a:cubicBezTo>
                    <a:cubicBezTo>
                      <a:pt x="214" y="238"/>
                      <a:pt x="214" y="238"/>
                      <a:pt x="214" y="238"/>
                    </a:cubicBezTo>
                    <a:cubicBezTo>
                      <a:pt x="241" y="222"/>
                      <a:pt x="241" y="222"/>
                      <a:pt x="241" y="222"/>
                    </a:cubicBezTo>
                    <a:cubicBezTo>
                      <a:pt x="241" y="222"/>
                      <a:pt x="242" y="222"/>
                      <a:pt x="243" y="222"/>
                    </a:cubicBezTo>
                    <a:cubicBezTo>
                      <a:pt x="247" y="225"/>
                      <a:pt x="247" y="225"/>
                      <a:pt x="247" y="225"/>
                    </a:cubicBezTo>
                    <a:cubicBezTo>
                      <a:pt x="247" y="214"/>
                      <a:pt x="247" y="214"/>
                      <a:pt x="247" y="214"/>
                    </a:cubicBezTo>
                    <a:cubicBezTo>
                      <a:pt x="137" y="150"/>
                      <a:pt x="137" y="150"/>
                      <a:pt x="137" y="150"/>
                    </a:cubicBezTo>
                    <a:cubicBezTo>
                      <a:pt x="136" y="150"/>
                      <a:pt x="136" y="149"/>
                      <a:pt x="136" y="149"/>
                    </a:cubicBezTo>
                    <a:cubicBezTo>
                      <a:pt x="136" y="80"/>
                      <a:pt x="136" y="80"/>
                      <a:pt x="136" y="80"/>
                    </a:cubicBezTo>
                    <a:cubicBezTo>
                      <a:pt x="131" y="83"/>
                      <a:pt x="131" y="83"/>
                      <a:pt x="131" y="83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131" y="163"/>
                      <a:pt x="131" y="164"/>
                      <a:pt x="130" y="164"/>
                    </a:cubicBezTo>
                    <a:cubicBezTo>
                      <a:pt x="68" y="200"/>
                      <a:pt x="68" y="200"/>
                      <a:pt x="68" y="200"/>
                    </a:cubicBezTo>
                    <a:cubicBezTo>
                      <a:pt x="67" y="200"/>
                      <a:pt x="66" y="200"/>
                      <a:pt x="66" y="200"/>
                    </a:cubicBezTo>
                    <a:cubicBezTo>
                      <a:pt x="65" y="200"/>
                      <a:pt x="65" y="199"/>
                      <a:pt x="65" y="198"/>
                    </a:cubicBezTo>
                    <a:cubicBezTo>
                      <a:pt x="65" y="198"/>
                      <a:pt x="65" y="198"/>
                      <a:pt x="65" y="198"/>
                    </a:cubicBezTo>
                    <a:cubicBezTo>
                      <a:pt x="6" y="232"/>
                      <a:pt x="6" y="232"/>
                      <a:pt x="6" y="232"/>
                    </a:cubicBezTo>
                    <a:cubicBezTo>
                      <a:pt x="12" y="235"/>
                      <a:pt x="12" y="235"/>
                      <a:pt x="12" y="235"/>
                    </a:cubicBezTo>
                    <a:cubicBezTo>
                      <a:pt x="110" y="179"/>
                      <a:pt x="110" y="179"/>
                      <a:pt x="110" y="179"/>
                    </a:cubicBezTo>
                    <a:cubicBezTo>
                      <a:pt x="111" y="178"/>
                      <a:pt x="111" y="178"/>
                      <a:pt x="111" y="178"/>
                    </a:cubicBezTo>
                    <a:close/>
                    <a:moveTo>
                      <a:pt x="131" y="72"/>
                    </a:moveTo>
                    <a:cubicBezTo>
                      <a:pt x="136" y="75"/>
                      <a:pt x="136" y="75"/>
                      <a:pt x="136" y="75"/>
                    </a:cubicBezTo>
                    <a:cubicBezTo>
                      <a:pt x="136" y="18"/>
                      <a:pt x="136" y="18"/>
                      <a:pt x="136" y="18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1" y="20"/>
                      <a:pt x="131" y="21"/>
                      <a:pt x="131" y="21"/>
                    </a:cubicBezTo>
                    <a:lnTo>
                      <a:pt x="131" y="7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4" name="Freeform 1012">
                <a:extLst>
                  <a:ext uri="{FF2B5EF4-FFF2-40B4-BE49-F238E27FC236}">
                    <a16:creationId xmlns:a16="http://schemas.microsoft.com/office/drawing/2014/main" id="{DD09645F-C6E5-41B6-8C46-3B5F34E315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69784" y="6628606"/>
                <a:ext cx="311262" cy="284286"/>
              </a:xfrm>
              <a:custGeom>
                <a:avLst/>
                <a:gdLst>
                  <a:gd name="T0" fmla="*/ 2 w 127"/>
                  <a:gd name="T1" fmla="*/ 116 h 116"/>
                  <a:gd name="T2" fmla="*/ 1 w 127"/>
                  <a:gd name="T3" fmla="*/ 116 h 116"/>
                  <a:gd name="T4" fmla="*/ 0 w 127"/>
                  <a:gd name="T5" fmla="*/ 114 h 116"/>
                  <a:gd name="T6" fmla="*/ 0 w 127"/>
                  <a:gd name="T7" fmla="*/ 32 h 116"/>
                  <a:gd name="T8" fmla="*/ 1 w 127"/>
                  <a:gd name="T9" fmla="*/ 30 h 116"/>
                  <a:gd name="T10" fmla="*/ 52 w 127"/>
                  <a:gd name="T11" fmla="*/ 0 h 116"/>
                  <a:gd name="T12" fmla="*/ 54 w 127"/>
                  <a:gd name="T13" fmla="*/ 0 h 116"/>
                  <a:gd name="T14" fmla="*/ 126 w 127"/>
                  <a:gd name="T15" fmla="*/ 42 h 116"/>
                  <a:gd name="T16" fmla="*/ 127 w 127"/>
                  <a:gd name="T17" fmla="*/ 43 h 116"/>
                  <a:gd name="T18" fmla="*/ 126 w 127"/>
                  <a:gd name="T19" fmla="*/ 45 h 116"/>
                  <a:gd name="T20" fmla="*/ 17 w 127"/>
                  <a:gd name="T21" fmla="*/ 108 h 116"/>
                  <a:gd name="T22" fmla="*/ 16 w 127"/>
                  <a:gd name="T23" fmla="*/ 108 h 116"/>
                  <a:gd name="T24" fmla="*/ 15 w 127"/>
                  <a:gd name="T25" fmla="*/ 109 h 116"/>
                  <a:gd name="T26" fmla="*/ 3 w 127"/>
                  <a:gd name="T27" fmla="*/ 116 h 116"/>
                  <a:gd name="T28" fmla="*/ 2 w 127"/>
                  <a:gd name="T29" fmla="*/ 116 h 116"/>
                  <a:gd name="T30" fmla="*/ 4 w 127"/>
                  <a:gd name="T31" fmla="*/ 33 h 116"/>
                  <a:gd name="T32" fmla="*/ 4 w 127"/>
                  <a:gd name="T33" fmla="*/ 110 h 116"/>
                  <a:gd name="T34" fmla="*/ 12 w 127"/>
                  <a:gd name="T35" fmla="*/ 106 h 116"/>
                  <a:gd name="T36" fmla="*/ 12 w 127"/>
                  <a:gd name="T37" fmla="*/ 105 h 116"/>
                  <a:gd name="T38" fmla="*/ 13 w 127"/>
                  <a:gd name="T39" fmla="*/ 104 h 116"/>
                  <a:gd name="T40" fmla="*/ 15 w 127"/>
                  <a:gd name="T41" fmla="*/ 104 h 116"/>
                  <a:gd name="T42" fmla="*/ 16 w 127"/>
                  <a:gd name="T43" fmla="*/ 104 h 116"/>
                  <a:gd name="T44" fmla="*/ 121 w 127"/>
                  <a:gd name="T45" fmla="*/ 43 h 116"/>
                  <a:gd name="T46" fmla="*/ 53 w 127"/>
                  <a:gd name="T47" fmla="*/ 5 h 116"/>
                  <a:gd name="T48" fmla="*/ 4 w 127"/>
                  <a:gd name="T49" fmla="*/ 3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7" h="116">
                    <a:moveTo>
                      <a:pt x="2" y="116"/>
                    </a:moveTo>
                    <a:cubicBezTo>
                      <a:pt x="2" y="116"/>
                      <a:pt x="2" y="116"/>
                      <a:pt x="1" y="116"/>
                    </a:cubicBezTo>
                    <a:cubicBezTo>
                      <a:pt x="1" y="115"/>
                      <a:pt x="0" y="115"/>
                      <a:pt x="0" y="11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4" y="0"/>
                      <a:pt x="54" y="0"/>
                    </a:cubicBezTo>
                    <a:cubicBezTo>
                      <a:pt x="126" y="42"/>
                      <a:pt x="126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27" y="44"/>
                      <a:pt x="126" y="45"/>
                      <a:pt x="126" y="45"/>
                    </a:cubicBezTo>
                    <a:cubicBezTo>
                      <a:pt x="17" y="108"/>
                      <a:pt x="17" y="108"/>
                      <a:pt x="17" y="108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3" y="116"/>
                      <a:pt x="3" y="116"/>
                      <a:pt x="3" y="116"/>
                    </a:cubicBezTo>
                    <a:cubicBezTo>
                      <a:pt x="3" y="116"/>
                      <a:pt x="3" y="116"/>
                      <a:pt x="2" y="116"/>
                    </a:cubicBezTo>
                    <a:close/>
                    <a:moveTo>
                      <a:pt x="4" y="33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12" y="106"/>
                      <a:pt x="12" y="106"/>
                      <a:pt x="12" y="106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2" y="105"/>
                      <a:pt x="12" y="104"/>
                      <a:pt x="13" y="104"/>
                    </a:cubicBezTo>
                    <a:cubicBezTo>
                      <a:pt x="14" y="103"/>
                      <a:pt x="14" y="103"/>
                      <a:pt x="15" y="104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21" y="43"/>
                      <a:pt x="121" y="43"/>
                      <a:pt x="121" y="43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5" name="Freeform 1013">
                <a:extLst>
                  <a:ext uri="{FF2B5EF4-FFF2-40B4-BE49-F238E27FC236}">
                    <a16:creationId xmlns:a16="http://schemas.microsoft.com/office/drawing/2014/main" id="{79B9CF53-ED2B-419A-AB44-1E98E0EA90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52146" y="6234341"/>
                <a:ext cx="198170" cy="134880"/>
              </a:xfrm>
              <a:custGeom>
                <a:avLst/>
                <a:gdLst>
                  <a:gd name="T0" fmla="*/ 69 w 81"/>
                  <a:gd name="T1" fmla="*/ 55 h 55"/>
                  <a:gd name="T2" fmla="*/ 68 w 81"/>
                  <a:gd name="T3" fmla="*/ 54 h 55"/>
                  <a:gd name="T4" fmla="*/ 1 w 81"/>
                  <a:gd name="T5" fmla="*/ 15 h 55"/>
                  <a:gd name="T6" fmla="*/ 0 w 81"/>
                  <a:gd name="T7" fmla="*/ 13 h 55"/>
                  <a:gd name="T8" fmla="*/ 1 w 81"/>
                  <a:gd name="T9" fmla="*/ 12 h 55"/>
                  <a:gd name="T10" fmla="*/ 21 w 81"/>
                  <a:gd name="T11" fmla="*/ 0 h 55"/>
                  <a:gd name="T12" fmla="*/ 23 w 81"/>
                  <a:gd name="T13" fmla="*/ 0 h 55"/>
                  <a:gd name="T14" fmla="*/ 80 w 81"/>
                  <a:gd name="T15" fmla="*/ 34 h 55"/>
                  <a:gd name="T16" fmla="*/ 81 w 81"/>
                  <a:gd name="T17" fmla="*/ 35 h 55"/>
                  <a:gd name="T18" fmla="*/ 81 w 81"/>
                  <a:gd name="T19" fmla="*/ 47 h 55"/>
                  <a:gd name="T20" fmla="*/ 80 w 81"/>
                  <a:gd name="T21" fmla="*/ 49 h 55"/>
                  <a:gd name="T22" fmla="*/ 70 w 81"/>
                  <a:gd name="T23" fmla="*/ 54 h 55"/>
                  <a:gd name="T24" fmla="*/ 69 w 81"/>
                  <a:gd name="T25" fmla="*/ 55 h 55"/>
                  <a:gd name="T26" fmla="*/ 6 w 81"/>
                  <a:gd name="T27" fmla="*/ 13 h 55"/>
                  <a:gd name="T28" fmla="*/ 69 w 81"/>
                  <a:gd name="T29" fmla="*/ 50 h 55"/>
                  <a:gd name="T30" fmla="*/ 77 w 81"/>
                  <a:gd name="T31" fmla="*/ 46 h 55"/>
                  <a:gd name="T32" fmla="*/ 77 w 81"/>
                  <a:gd name="T33" fmla="*/ 36 h 55"/>
                  <a:gd name="T34" fmla="*/ 22 w 81"/>
                  <a:gd name="T35" fmla="*/ 4 h 55"/>
                  <a:gd name="T36" fmla="*/ 6 w 81"/>
                  <a:gd name="T3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1" h="55">
                    <a:moveTo>
                      <a:pt x="69" y="55"/>
                    </a:moveTo>
                    <a:cubicBezTo>
                      <a:pt x="69" y="55"/>
                      <a:pt x="69" y="54"/>
                      <a:pt x="68" y="5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80" y="34"/>
                      <a:pt x="80" y="34"/>
                      <a:pt x="80" y="34"/>
                    </a:cubicBezTo>
                    <a:cubicBezTo>
                      <a:pt x="81" y="34"/>
                      <a:pt x="81" y="35"/>
                      <a:pt x="81" y="35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48"/>
                      <a:pt x="81" y="48"/>
                      <a:pt x="80" y="49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70" y="54"/>
                      <a:pt x="70" y="55"/>
                      <a:pt x="69" y="55"/>
                    </a:cubicBezTo>
                    <a:close/>
                    <a:moveTo>
                      <a:pt x="6" y="13"/>
                    </a:moveTo>
                    <a:cubicBezTo>
                      <a:pt x="69" y="50"/>
                      <a:pt x="69" y="50"/>
                      <a:pt x="69" y="50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22" y="4"/>
                      <a:pt x="22" y="4"/>
                      <a:pt x="22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6" name="Freeform 1014">
                <a:extLst>
                  <a:ext uri="{FF2B5EF4-FFF2-40B4-BE49-F238E27FC236}">
                    <a16:creationId xmlns:a16="http://schemas.microsoft.com/office/drawing/2014/main" id="{16E9186E-579F-47B2-9C07-8541C19669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52146" y="6364033"/>
                <a:ext cx="328901" cy="370402"/>
              </a:xfrm>
              <a:custGeom>
                <a:avLst/>
                <a:gdLst>
                  <a:gd name="T0" fmla="*/ 125 w 134"/>
                  <a:gd name="T1" fmla="*/ 151 h 151"/>
                  <a:gd name="T2" fmla="*/ 124 w 134"/>
                  <a:gd name="T3" fmla="*/ 151 h 151"/>
                  <a:gd name="T4" fmla="*/ 53 w 134"/>
                  <a:gd name="T5" fmla="*/ 111 h 151"/>
                  <a:gd name="T6" fmla="*/ 3 w 134"/>
                  <a:gd name="T7" fmla="*/ 139 h 151"/>
                  <a:gd name="T8" fmla="*/ 1 w 134"/>
                  <a:gd name="T9" fmla="*/ 139 h 151"/>
                  <a:gd name="T10" fmla="*/ 0 w 134"/>
                  <a:gd name="T11" fmla="*/ 138 h 151"/>
                  <a:gd name="T12" fmla="*/ 0 w 134"/>
                  <a:gd name="T13" fmla="*/ 72 h 151"/>
                  <a:gd name="T14" fmla="*/ 1 w 134"/>
                  <a:gd name="T15" fmla="*/ 70 h 151"/>
                  <a:gd name="T16" fmla="*/ 123 w 134"/>
                  <a:gd name="T17" fmla="*/ 0 h 151"/>
                  <a:gd name="T18" fmla="*/ 125 w 134"/>
                  <a:gd name="T19" fmla="*/ 0 h 151"/>
                  <a:gd name="T20" fmla="*/ 133 w 134"/>
                  <a:gd name="T21" fmla="*/ 5 h 151"/>
                  <a:gd name="T22" fmla="*/ 134 w 134"/>
                  <a:gd name="T23" fmla="*/ 7 h 151"/>
                  <a:gd name="T24" fmla="*/ 134 w 134"/>
                  <a:gd name="T25" fmla="*/ 34 h 151"/>
                  <a:gd name="T26" fmla="*/ 133 w 134"/>
                  <a:gd name="T27" fmla="*/ 36 h 151"/>
                  <a:gd name="T28" fmla="*/ 131 w 134"/>
                  <a:gd name="T29" fmla="*/ 36 h 151"/>
                  <a:gd name="T30" fmla="*/ 127 w 134"/>
                  <a:gd name="T31" fmla="*/ 33 h 151"/>
                  <a:gd name="T32" fmla="*/ 127 w 134"/>
                  <a:gd name="T33" fmla="*/ 149 h 151"/>
                  <a:gd name="T34" fmla="*/ 126 w 134"/>
                  <a:gd name="T35" fmla="*/ 151 h 151"/>
                  <a:gd name="T36" fmla="*/ 125 w 134"/>
                  <a:gd name="T37" fmla="*/ 151 h 151"/>
                  <a:gd name="T38" fmla="*/ 53 w 134"/>
                  <a:gd name="T39" fmla="*/ 106 h 151"/>
                  <a:gd name="T40" fmla="*/ 54 w 134"/>
                  <a:gd name="T41" fmla="*/ 107 h 151"/>
                  <a:gd name="T42" fmla="*/ 123 w 134"/>
                  <a:gd name="T43" fmla="*/ 146 h 151"/>
                  <a:gd name="T44" fmla="*/ 123 w 134"/>
                  <a:gd name="T45" fmla="*/ 30 h 151"/>
                  <a:gd name="T46" fmla="*/ 124 w 134"/>
                  <a:gd name="T47" fmla="*/ 28 h 151"/>
                  <a:gd name="T48" fmla="*/ 126 w 134"/>
                  <a:gd name="T49" fmla="*/ 28 h 151"/>
                  <a:gd name="T50" fmla="*/ 130 w 134"/>
                  <a:gd name="T51" fmla="*/ 30 h 151"/>
                  <a:gd name="T52" fmla="*/ 130 w 134"/>
                  <a:gd name="T53" fmla="*/ 8 h 151"/>
                  <a:gd name="T54" fmla="*/ 124 w 134"/>
                  <a:gd name="T55" fmla="*/ 4 h 151"/>
                  <a:gd name="T56" fmla="*/ 4 w 134"/>
                  <a:gd name="T57" fmla="*/ 73 h 151"/>
                  <a:gd name="T58" fmla="*/ 4 w 134"/>
                  <a:gd name="T59" fmla="*/ 134 h 151"/>
                  <a:gd name="T60" fmla="*/ 52 w 134"/>
                  <a:gd name="T61" fmla="*/ 107 h 151"/>
                  <a:gd name="T62" fmla="*/ 53 w 134"/>
                  <a:gd name="T63" fmla="*/ 106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4" h="151">
                    <a:moveTo>
                      <a:pt x="125" y="151"/>
                    </a:moveTo>
                    <a:cubicBezTo>
                      <a:pt x="124" y="151"/>
                      <a:pt x="124" y="151"/>
                      <a:pt x="124" y="151"/>
                    </a:cubicBezTo>
                    <a:cubicBezTo>
                      <a:pt x="53" y="111"/>
                      <a:pt x="53" y="111"/>
                      <a:pt x="53" y="11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3" y="140"/>
                      <a:pt x="2" y="140"/>
                      <a:pt x="1" y="139"/>
                    </a:cubicBezTo>
                    <a:cubicBezTo>
                      <a:pt x="1" y="139"/>
                      <a:pt x="0" y="138"/>
                      <a:pt x="0" y="138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1"/>
                      <a:pt x="1" y="71"/>
                      <a:pt x="1" y="7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24" y="0"/>
                      <a:pt x="125" y="0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134" y="6"/>
                      <a:pt x="134" y="6"/>
                      <a:pt x="134" y="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5"/>
                      <a:pt x="134" y="35"/>
                      <a:pt x="133" y="36"/>
                    </a:cubicBezTo>
                    <a:cubicBezTo>
                      <a:pt x="133" y="36"/>
                      <a:pt x="132" y="36"/>
                      <a:pt x="131" y="36"/>
                    </a:cubicBezTo>
                    <a:cubicBezTo>
                      <a:pt x="127" y="33"/>
                      <a:pt x="127" y="33"/>
                      <a:pt x="127" y="33"/>
                    </a:cubicBezTo>
                    <a:cubicBezTo>
                      <a:pt x="127" y="149"/>
                      <a:pt x="127" y="149"/>
                      <a:pt x="127" y="149"/>
                    </a:cubicBezTo>
                    <a:cubicBezTo>
                      <a:pt x="127" y="150"/>
                      <a:pt x="126" y="151"/>
                      <a:pt x="126" y="151"/>
                    </a:cubicBezTo>
                    <a:cubicBezTo>
                      <a:pt x="125" y="151"/>
                      <a:pt x="125" y="151"/>
                      <a:pt x="125" y="151"/>
                    </a:cubicBezTo>
                    <a:close/>
                    <a:moveTo>
                      <a:pt x="53" y="106"/>
                    </a:moveTo>
                    <a:cubicBezTo>
                      <a:pt x="54" y="106"/>
                      <a:pt x="54" y="106"/>
                      <a:pt x="54" y="107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23" y="30"/>
                      <a:pt x="123" y="30"/>
                      <a:pt x="123" y="30"/>
                    </a:cubicBezTo>
                    <a:cubicBezTo>
                      <a:pt x="123" y="29"/>
                      <a:pt x="123" y="28"/>
                      <a:pt x="124" y="28"/>
                    </a:cubicBezTo>
                    <a:cubicBezTo>
                      <a:pt x="124" y="27"/>
                      <a:pt x="125" y="27"/>
                      <a:pt x="126" y="28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24" y="4"/>
                      <a:pt x="124" y="4"/>
                      <a:pt x="124" y="4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52" y="107"/>
                      <a:pt x="52" y="107"/>
                      <a:pt x="52" y="107"/>
                    </a:cubicBezTo>
                    <a:cubicBezTo>
                      <a:pt x="53" y="106"/>
                      <a:pt x="53" y="106"/>
                      <a:pt x="53" y="10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7" name="Freeform 1016">
                <a:extLst>
                  <a:ext uri="{FF2B5EF4-FFF2-40B4-BE49-F238E27FC236}">
                    <a16:creationId xmlns:a16="http://schemas.microsoft.com/office/drawing/2014/main" id="{F4D217A2-5DB6-4A1B-8BB9-81B48F83D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310629" y="6952318"/>
                <a:ext cx="44614" cy="46689"/>
              </a:xfrm>
              <a:custGeom>
                <a:avLst/>
                <a:gdLst>
                  <a:gd name="T0" fmla="*/ 4 w 18"/>
                  <a:gd name="T1" fmla="*/ 19 h 19"/>
                  <a:gd name="T2" fmla="*/ 3 w 18"/>
                  <a:gd name="T3" fmla="*/ 19 h 19"/>
                  <a:gd name="T4" fmla="*/ 1 w 18"/>
                  <a:gd name="T5" fmla="*/ 17 h 19"/>
                  <a:gd name="T6" fmla="*/ 0 w 18"/>
                  <a:gd name="T7" fmla="*/ 16 h 19"/>
                  <a:gd name="T8" fmla="*/ 0 w 18"/>
                  <a:gd name="T9" fmla="*/ 2 h 19"/>
                  <a:gd name="T10" fmla="*/ 1 w 18"/>
                  <a:gd name="T11" fmla="*/ 1 h 19"/>
                  <a:gd name="T12" fmla="*/ 3 w 18"/>
                  <a:gd name="T13" fmla="*/ 1 h 19"/>
                  <a:gd name="T14" fmla="*/ 17 w 18"/>
                  <a:gd name="T15" fmla="*/ 9 h 19"/>
                  <a:gd name="T16" fmla="*/ 18 w 18"/>
                  <a:gd name="T17" fmla="*/ 10 h 19"/>
                  <a:gd name="T18" fmla="*/ 17 w 18"/>
                  <a:gd name="T19" fmla="*/ 12 h 19"/>
                  <a:gd name="T20" fmla="*/ 5 w 18"/>
                  <a:gd name="T21" fmla="*/ 19 h 19"/>
                  <a:gd name="T22" fmla="*/ 4 w 18"/>
                  <a:gd name="T23" fmla="*/ 19 h 19"/>
                  <a:gd name="T24" fmla="*/ 4 w 18"/>
                  <a:gd name="T25" fmla="*/ 14 h 19"/>
                  <a:gd name="T26" fmla="*/ 4 w 18"/>
                  <a:gd name="T27" fmla="*/ 15 h 19"/>
                  <a:gd name="T28" fmla="*/ 12 w 18"/>
                  <a:gd name="T29" fmla="*/ 10 h 19"/>
                  <a:gd name="T30" fmla="*/ 4 w 18"/>
                  <a:gd name="T31" fmla="*/ 6 h 19"/>
                  <a:gd name="T32" fmla="*/ 4 w 18"/>
                  <a:gd name="T3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9">
                    <a:moveTo>
                      <a:pt x="4" y="19"/>
                    </a:moveTo>
                    <a:cubicBezTo>
                      <a:pt x="4" y="19"/>
                      <a:pt x="3" y="19"/>
                      <a:pt x="3" y="1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9"/>
                      <a:pt x="18" y="10"/>
                      <a:pt x="18" y="10"/>
                    </a:cubicBezTo>
                    <a:cubicBezTo>
                      <a:pt x="18" y="11"/>
                      <a:pt x="17" y="12"/>
                      <a:pt x="17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9"/>
                      <a:pt x="4" y="19"/>
                    </a:cubicBezTo>
                    <a:close/>
                    <a:moveTo>
                      <a:pt x="4" y="14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8" name="Freeform 1018">
                <a:extLst>
                  <a:ext uri="{FF2B5EF4-FFF2-40B4-BE49-F238E27FC236}">
                    <a16:creationId xmlns:a16="http://schemas.microsoft.com/office/drawing/2014/main" id="{90274299-282D-4561-949D-9F7738FC1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146697" y="6975144"/>
                <a:ext cx="208546" cy="360026"/>
              </a:xfrm>
              <a:custGeom>
                <a:avLst/>
                <a:gdLst>
                  <a:gd name="T0" fmla="*/ 25 w 85"/>
                  <a:gd name="T1" fmla="*/ 147 h 147"/>
                  <a:gd name="T2" fmla="*/ 24 w 85"/>
                  <a:gd name="T3" fmla="*/ 147 h 147"/>
                  <a:gd name="T4" fmla="*/ 1 w 85"/>
                  <a:gd name="T5" fmla="*/ 133 h 147"/>
                  <a:gd name="T6" fmla="*/ 0 w 85"/>
                  <a:gd name="T7" fmla="*/ 131 h 147"/>
                  <a:gd name="T8" fmla="*/ 0 w 85"/>
                  <a:gd name="T9" fmla="*/ 9 h 147"/>
                  <a:gd name="T10" fmla="*/ 1 w 85"/>
                  <a:gd name="T11" fmla="*/ 7 h 147"/>
                  <a:gd name="T12" fmla="*/ 3 w 85"/>
                  <a:gd name="T13" fmla="*/ 7 h 147"/>
                  <a:gd name="T14" fmla="*/ 4 w 85"/>
                  <a:gd name="T15" fmla="*/ 8 h 147"/>
                  <a:gd name="T16" fmla="*/ 16 w 85"/>
                  <a:gd name="T17" fmla="*/ 1 h 147"/>
                  <a:gd name="T18" fmla="*/ 18 w 85"/>
                  <a:gd name="T19" fmla="*/ 1 h 147"/>
                  <a:gd name="T20" fmla="*/ 84 w 85"/>
                  <a:gd name="T21" fmla="*/ 39 h 147"/>
                  <a:gd name="T22" fmla="*/ 85 w 85"/>
                  <a:gd name="T23" fmla="*/ 41 h 147"/>
                  <a:gd name="T24" fmla="*/ 84 w 85"/>
                  <a:gd name="T25" fmla="*/ 42 h 147"/>
                  <a:gd name="T26" fmla="*/ 70 w 85"/>
                  <a:gd name="T27" fmla="*/ 51 h 147"/>
                  <a:gd name="T28" fmla="*/ 70 w 85"/>
                  <a:gd name="T29" fmla="*/ 120 h 147"/>
                  <a:gd name="T30" fmla="*/ 69 w 85"/>
                  <a:gd name="T31" fmla="*/ 122 h 147"/>
                  <a:gd name="T32" fmla="*/ 26 w 85"/>
                  <a:gd name="T33" fmla="*/ 147 h 147"/>
                  <a:gd name="T34" fmla="*/ 25 w 85"/>
                  <a:gd name="T35" fmla="*/ 147 h 147"/>
                  <a:gd name="T36" fmla="*/ 4 w 85"/>
                  <a:gd name="T37" fmla="*/ 130 h 147"/>
                  <a:gd name="T38" fmla="*/ 25 w 85"/>
                  <a:gd name="T39" fmla="*/ 143 h 147"/>
                  <a:gd name="T40" fmla="*/ 66 w 85"/>
                  <a:gd name="T41" fmla="*/ 119 h 147"/>
                  <a:gd name="T42" fmla="*/ 66 w 85"/>
                  <a:gd name="T43" fmla="*/ 50 h 147"/>
                  <a:gd name="T44" fmla="*/ 67 w 85"/>
                  <a:gd name="T45" fmla="*/ 48 h 147"/>
                  <a:gd name="T46" fmla="*/ 79 w 85"/>
                  <a:gd name="T47" fmla="*/ 41 h 147"/>
                  <a:gd name="T48" fmla="*/ 17 w 85"/>
                  <a:gd name="T49" fmla="*/ 5 h 147"/>
                  <a:gd name="T50" fmla="*/ 5 w 85"/>
                  <a:gd name="T51" fmla="*/ 12 h 147"/>
                  <a:gd name="T52" fmla="*/ 4 w 85"/>
                  <a:gd name="T53" fmla="*/ 12 h 147"/>
                  <a:gd name="T54" fmla="*/ 4 w 85"/>
                  <a:gd name="T55" fmla="*/ 13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147">
                    <a:moveTo>
                      <a:pt x="25" y="147"/>
                    </a:moveTo>
                    <a:cubicBezTo>
                      <a:pt x="25" y="147"/>
                      <a:pt x="24" y="147"/>
                      <a:pt x="24" y="147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" y="6"/>
                      <a:pt x="2" y="6"/>
                      <a:pt x="3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0"/>
                      <a:pt x="18" y="0"/>
                      <a:pt x="18" y="1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5" y="39"/>
                      <a:pt x="85" y="40"/>
                      <a:pt x="85" y="41"/>
                    </a:cubicBezTo>
                    <a:cubicBezTo>
                      <a:pt x="85" y="41"/>
                      <a:pt x="85" y="42"/>
                      <a:pt x="84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70" y="121"/>
                      <a:pt x="69" y="122"/>
                      <a:pt x="69" y="122"/>
                    </a:cubicBezTo>
                    <a:cubicBezTo>
                      <a:pt x="26" y="147"/>
                      <a:pt x="26" y="147"/>
                      <a:pt x="26" y="147"/>
                    </a:cubicBezTo>
                    <a:cubicBezTo>
                      <a:pt x="26" y="147"/>
                      <a:pt x="25" y="147"/>
                      <a:pt x="25" y="147"/>
                    </a:cubicBezTo>
                    <a:close/>
                    <a:moveTo>
                      <a:pt x="4" y="130"/>
                    </a:moveTo>
                    <a:cubicBezTo>
                      <a:pt x="25" y="143"/>
                      <a:pt x="25" y="143"/>
                      <a:pt x="25" y="143"/>
                    </a:cubicBezTo>
                    <a:cubicBezTo>
                      <a:pt x="66" y="119"/>
                      <a:pt x="66" y="119"/>
                      <a:pt x="66" y="11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49"/>
                      <a:pt x="66" y="48"/>
                      <a:pt x="67" y="48"/>
                    </a:cubicBezTo>
                    <a:cubicBezTo>
                      <a:pt x="79" y="41"/>
                      <a:pt x="79" y="41"/>
                      <a:pt x="79" y="41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4" y="12"/>
                      <a:pt x="4" y="12"/>
                    </a:cubicBezTo>
                    <a:lnTo>
                      <a:pt x="4" y="1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9" name="Freeform 1019">
                <a:extLst>
                  <a:ext uri="{FF2B5EF4-FFF2-40B4-BE49-F238E27FC236}">
                    <a16:creationId xmlns:a16="http://schemas.microsoft.com/office/drawing/2014/main" id="{E04A5B67-0D0E-4A75-AE5B-2206F9F6FE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166410" y="6504101"/>
                <a:ext cx="188833" cy="232409"/>
              </a:xfrm>
              <a:custGeom>
                <a:avLst/>
                <a:gdLst>
                  <a:gd name="T0" fmla="*/ 75 w 77"/>
                  <a:gd name="T1" fmla="*/ 95 h 95"/>
                  <a:gd name="T2" fmla="*/ 74 w 77"/>
                  <a:gd name="T3" fmla="*/ 94 h 95"/>
                  <a:gd name="T4" fmla="*/ 4 w 77"/>
                  <a:gd name="T5" fmla="*/ 54 h 95"/>
                  <a:gd name="T6" fmla="*/ 3 w 77"/>
                  <a:gd name="T7" fmla="*/ 55 h 95"/>
                  <a:gd name="T8" fmla="*/ 1 w 77"/>
                  <a:gd name="T9" fmla="*/ 55 h 95"/>
                  <a:gd name="T10" fmla="*/ 0 w 77"/>
                  <a:gd name="T11" fmla="*/ 53 h 95"/>
                  <a:gd name="T12" fmla="*/ 0 w 77"/>
                  <a:gd name="T13" fmla="*/ 44 h 95"/>
                  <a:gd name="T14" fmla="*/ 1 w 77"/>
                  <a:gd name="T15" fmla="*/ 43 h 95"/>
                  <a:gd name="T16" fmla="*/ 74 w 77"/>
                  <a:gd name="T17" fmla="*/ 0 h 95"/>
                  <a:gd name="T18" fmla="*/ 76 w 77"/>
                  <a:gd name="T19" fmla="*/ 0 h 95"/>
                  <a:gd name="T20" fmla="*/ 77 w 77"/>
                  <a:gd name="T21" fmla="*/ 2 h 95"/>
                  <a:gd name="T22" fmla="*/ 77 w 77"/>
                  <a:gd name="T23" fmla="*/ 93 h 95"/>
                  <a:gd name="T24" fmla="*/ 76 w 77"/>
                  <a:gd name="T25" fmla="*/ 94 h 95"/>
                  <a:gd name="T26" fmla="*/ 75 w 77"/>
                  <a:gd name="T27" fmla="*/ 95 h 95"/>
                  <a:gd name="T28" fmla="*/ 4 w 77"/>
                  <a:gd name="T29" fmla="*/ 49 h 95"/>
                  <a:gd name="T30" fmla="*/ 5 w 77"/>
                  <a:gd name="T31" fmla="*/ 50 h 95"/>
                  <a:gd name="T32" fmla="*/ 73 w 77"/>
                  <a:gd name="T33" fmla="*/ 89 h 95"/>
                  <a:gd name="T34" fmla="*/ 73 w 77"/>
                  <a:gd name="T35" fmla="*/ 5 h 95"/>
                  <a:gd name="T36" fmla="*/ 4 w 77"/>
                  <a:gd name="T37" fmla="*/ 46 h 95"/>
                  <a:gd name="T38" fmla="*/ 4 w 77"/>
                  <a:gd name="T39" fmla="*/ 49 h 95"/>
                  <a:gd name="T40" fmla="*/ 4 w 77"/>
                  <a:gd name="T41" fmla="*/ 4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7" h="95">
                    <a:moveTo>
                      <a:pt x="75" y="95"/>
                    </a:moveTo>
                    <a:cubicBezTo>
                      <a:pt x="75" y="95"/>
                      <a:pt x="75" y="94"/>
                      <a:pt x="74" y="9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2" y="55"/>
                      <a:pt x="1" y="55"/>
                      <a:pt x="1" y="55"/>
                    </a:cubicBezTo>
                    <a:cubicBezTo>
                      <a:pt x="0" y="54"/>
                      <a:pt x="0" y="54"/>
                      <a:pt x="0" y="5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4"/>
                      <a:pt x="76" y="94"/>
                    </a:cubicBezTo>
                    <a:cubicBezTo>
                      <a:pt x="76" y="94"/>
                      <a:pt x="76" y="95"/>
                      <a:pt x="75" y="95"/>
                    </a:cubicBezTo>
                    <a:close/>
                    <a:moveTo>
                      <a:pt x="4" y="49"/>
                    </a:moveTo>
                    <a:cubicBezTo>
                      <a:pt x="4" y="49"/>
                      <a:pt x="5" y="49"/>
                      <a:pt x="5" y="50"/>
                    </a:cubicBezTo>
                    <a:cubicBezTo>
                      <a:pt x="73" y="89"/>
                      <a:pt x="73" y="89"/>
                      <a:pt x="73" y="8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0" name="Freeform 1020">
                <a:extLst>
                  <a:ext uri="{FF2B5EF4-FFF2-40B4-BE49-F238E27FC236}">
                    <a16:creationId xmlns:a16="http://schemas.microsoft.com/office/drawing/2014/main" id="{E1DE6C78-FEBA-4ED5-90BD-41A3A5A402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191311" y="6254054"/>
                <a:ext cx="153556" cy="93379"/>
              </a:xfrm>
              <a:custGeom>
                <a:avLst/>
                <a:gdLst>
                  <a:gd name="T0" fmla="*/ 55 w 63"/>
                  <a:gd name="T1" fmla="*/ 38 h 38"/>
                  <a:gd name="T2" fmla="*/ 54 w 63"/>
                  <a:gd name="T3" fmla="*/ 38 h 38"/>
                  <a:gd name="T4" fmla="*/ 1 w 63"/>
                  <a:gd name="T5" fmla="*/ 7 h 38"/>
                  <a:gd name="T6" fmla="*/ 0 w 63"/>
                  <a:gd name="T7" fmla="*/ 5 h 38"/>
                  <a:gd name="T8" fmla="*/ 1 w 63"/>
                  <a:gd name="T9" fmla="*/ 4 h 38"/>
                  <a:gd name="T10" fmla="*/ 6 w 63"/>
                  <a:gd name="T11" fmla="*/ 1 h 38"/>
                  <a:gd name="T12" fmla="*/ 8 w 63"/>
                  <a:gd name="T13" fmla="*/ 1 h 38"/>
                  <a:gd name="T14" fmla="*/ 62 w 63"/>
                  <a:gd name="T15" fmla="*/ 31 h 38"/>
                  <a:gd name="T16" fmla="*/ 63 w 63"/>
                  <a:gd name="T17" fmla="*/ 33 h 38"/>
                  <a:gd name="T18" fmla="*/ 62 w 63"/>
                  <a:gd name="T19" fmla="*/ 35 h 38"/>
                  <a:gd name="T20" fmla="*/ 56 w 63"/>
                  <a:gd name="T21" fmla="*/ 38 h 38"/>
                  <a:gd name="T22" fmla="*/ 55 w 63"/>
                  <a:gd name="T23" fmla="*/ 38 h 38"/>
                  <a:gd name="T24" fmla="*/ 6 w 63"/>
                  <a:gd name="T25" fmla="*/ 5 h 38"/>
                  <a:gd name="T26" fmla="*/ 55 w 63"/>
                  <a:gd name="T27" fmla="*/ 34 h 38"/>
                  <a:gd name="T28" fmla="*/ 57 w 63"/>
                  <a:gd name="T29" fmla="*/ 33 h 38"/>
                  <a:gd name="T30" fmla="*/ 7 w 63"/>
                  <a:gd name="T31" fmla="*/ 5 h 38"/>
                  <a:gd name="T32" fmla="*/ 6 w 63"/>
                  <a:gd name="T33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8">
                    <a:moveTo>
                      <a:pt x="55" y="38"/>
                    </a:moveTo>
                    <a:cubicBezTo>
                      <a:pt x="55" y="38"/>
                      <a:pt x="54" y="38"/>
                      <a:pt x="54" y="3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32"/>
                      <a:pt x="63" y="32"/>
                      <a:pt x="63" y="33"/>
                    </a:cubicBezTo>
                    <a:cubicBezTo>
                      <a:pt x="63" y="34"/>
                      <a:pt x="62" y="34"/>
                      <a:pt x="62" y="35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6" y="38"/>
                      <a:pt x="55" y="38"/>
                      <a:pt x="55" y="38"/>
                    </a:cubicBezTo>
                    <a:close/>
                    <a:moveTo>
                      <a:pt x="6" y="5"/>
                    </a:moveTo>
                    <a:cubicBezTo>
                      <a:pt x="55" y="34"/>
                      <a:pt x="55" y="34"/>
                      <a:pt x="55" y="34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1" name="Freeform 1021">
                <a:extLst>
                  <a:ext uri="{FF2B5EF4-FFF2-40B4-BE49-F238E27FC236}">
                    <a16:creationId xmlns:a16="http://schemas.microsoft.com/office/drawing/2014/main" id="{97C5D264-7A01-41C0-BA9D-0C6C659E86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166410" y="6342245"/>
                <a:ext cx="73665" cy="61215"/>
              </a:xfrm>
              <a:custGeom>
                <a:avLst/>
                <a:gdLst>
                  <a:gd name="T0" fmla="*/ 28 w 30"/>
                  <a:gd name="T1" fmla="*/ 25 h 25"/>
                  <a:gd name="T2" fmla="*/ 27 w 30"/>
                  <a:gd name="T3" fmla="*/ 25 h 25"/>
                  <a:gd name="T4" fmla="*/ 1 w 30"/>
                  <a:gd name="T5" fmla="*/ 10 h 25"/>
                  <a:gd name="T6" fmla="*/ 0 w 30"/>
                  <a:gd name="T7" fmla="*/ 8 h 25"/>
                  <a:gd name="T8" fmla="*/ 1 w 30"/>
                  <a:gd name="T9" fmla="*/ 6 h 25"/>
                  <a:gd name="T10" fmla="*/ 11 w 30"/>
                  <a:gd name="T11" fmla="*/ 0 h 25"/>
                  <a:gd name="T12" fmla="*/ 13 w 30"/>
                  <a:gd name="T13" fmla="*/ 0 h 25"/>
                  <a:gd name="T14" fmla="*/ 29 w 30"/>
                  <a:gd name="T15" fmla="*/ 10 h 25"/>
                  <a:gd name="T16" fmla="*/ 30 w 30"/>
                  <a:gd name="T17" fmla="*/ 12 h 25"/>
                  <a:gd name="T18" fmla="*/ 30 w 30"/>
                  <a:gd name="T19" fmla="*/ 23 h 25"/>
                  <a:gd name="T20" fmla="*/ 29 w 30"/>
                  <a:gd name="T21" fmla="*/ 25 h 25"/>
                  <a:gd name="T22" fmla="*/ 28 w 30"/>
                  <a:gd name="T23" fmla="*/ 25 h 25"/>
                  <a:gd name="T24" fmla="*/ 6 w 30"/>
                  <a:gd name="T25" fmla="*/ 8 h 25"/>
                  <a:gd name="T26" fmla="*/ 26 w 30"/>
                  <a:gd name="T27" fmla="*/ 20 h 25"/>
                  <a:gd name="T28" fmla="*/ 26 w 30"/>
                  <a:gd name="T29" fmla="*/ 13 h 25"/>
                  <a:gd name="T30" fmla="*/ 12 w 30"/>
                  <a:gd name="T31" fmla="*/ 5 h 25"/>
                  <a:gd name="T32" fmla="*/ 6 w 30"/>
                  <a:gd name="T3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5">
                    <a:moveTo>
                      <a:pt x="28" y="25"/>
                    </a:moveTo>
                    <a:cubicBezTo>
                      <a:pt x="28" y="25"/>
                      <a:pt x="28" y="25"/>
                      <a:pt x="27" y="25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0"/>
                      <a:pt x="30" y="11"/>
                      <a:pt x="30" y="12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4"/>
                      <a:pt x="30" y="25"/>
                      <a:pt x="29" y="25"/>
                    </a:cubicBezTo>
                    <a:cubicBezTo>
                      <a:pt x="29" y="25"/>
                      <a:pt x="29" y="25"/>
                      <a:pt x="28" y="25"/>
                    </a:cubicBezTo>
                    <a:close/>
                    <a:moveTo>
                      <a:pt x="6" y="8"/>
                    </a:move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2" y="5"/>
                      <a:pt x="12" y="5"/>
                      <a:pt x="12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2" name="Freeform 1022">
                <a:extLst>
                  <a:ext uri="{FF2B5EF4-FFF2-40B4-BE49-F238E27FC236}">
                    <a16:creationId xmlns:a16="http://schemas.microsoft.com/office/drawing/2014/main" id="{0198E62E-76AC-4F85-821E-E7DE406E38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166410" y="6163788"/>
                <a:ext cx="161856" cy="207508"/>
              </a:xfrm>
              <a:custGeom>
                <a:avLst/>
                <a:gdLst>
                  <a:gd name="T0" fmla="*/ 64 w 66"/>
                  <a:gd name="T1" fmla="*/ 85 h 85"/>
                  <a:gd name="T2" fmla="*/ 63 w 66"/>
                  <a:gd name="T3" fmla="*/ 84 h 85"/>
                  <a:gd name="T4" fmla="*/ 49 w 66"/>
                  <a:gd name="T5" fmla="*/ 76 h 85"/>
                  <a:gd name="T6" fmla="*/ 48 w 66"/>
                  <a:gd name="T7" fmla="*/ 74 h 85"/>
                  <a:gd name="T8" fmla="*/ 49 w 66"/>
                  <a:gd name="T9" fmla="*/ 73 h 85"/>
                  <a:gd name="T10" fmla="*/ 53 w 66"/>
                  <a:gd name="T11" fmla="*/ 70 h 85"/>
                  <a:gd name="T12" fmla="*/ 1 w 66"/>
                  <a:gd name="T13" fmla="*/ 40 h 85"/>
                  <a:gd name="T14" fmla="*/ 0 w 66"/>
                  <a:gd name="T15" fmla="*/ 38 h 85"/>
                  <a:gd name="T16" fmla="*/ 1 w 66"/>
                  <a:gd name="T17" fmla="*/ 37 h 85"/>
                  <a:gd name="T18" fmla="*/ 63 w 66"/>
                  <a:gd name="T19" fmla="*/ 0 h 85"/>
                  <a:gd name="T20" fmla="*/ 65 w 66"/>
                  <a:gd name="T21" fmla="*/ 0 h 85"/>
                  <a:gd name="T22" fmla="*/ 66 w 66"/>
                  <a:gd name="T23" fmla="*/ 2 h 85"/>
                  <a:gd name="T24" fmla="*/ 66 w 66"/>
                  <a:gd name="T25" fmla="*/ 83 h 85"/>
                  <a:gd name="T26" fmla="*/ 65 w 66"/>
                  <a:gd name="T27" fmla="*/ 84 h 85"/>
                  <a:gd name="T28" fmla="*/ 64 w 66"/>
                  <a:gd name="T29" fmla="*/ 85 h 85"/>
                  <a:gd name="T30" fmla="*/ 54 w 66"/>
                  <a:gd name="T31" fmla="*/ 74 h 85"/>
                  <a:gd name="T32" fmla="*/ 62 w 66"/>
                  <a:gd name="T33" fmla="*/ 79 h 85"/>
                  <a:gd name="T34" fmla="*/ 62 w 66"/>
                  <a:gd name="T35" fmla="*/ 6 h 85"/>
                  <a:gd name="T36" fmla="*/ 6 w 66"/>
                  <a:gd name="T37" fmla="*/ 38 h 85"/>
                  <a:gd name="T38" fmla="*/ 58 w 66"/>
                  <a:gd name="T39" fmla="*/ 68 h 85"/>
                  <a:gd name="T40" fmla="*/ 59 w 66"/>
                  <a:gd name="T41" fmla="*/ 70 h 85"/>
                  <a:gd name="T42" fmla="*/ 58 w 66"/>
                  <a:gd name="T43" fmla="*/ 72 h 85"/>
                  <a:gd name="T44" fmla="*/ 54 w 66"/>
                  <a:gd name="T45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" h="85">
                    <a:moveTo>
                      <a:pt x="64" y="85"/>
                    </a:moveTo>
                    <a:cubicBezTo>
                      <a:pt x="64" y="85"/>
                      <a:pt x="64" y="85"/>
                      <a:pt x="63" y="84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6"/>
                      <a:pt x="48" y="75"/>
                      <a:pt x="48" y="74"/>
                    </a:cubicBezTo>
                    <a:cubicBezTo>
                      <a:pt x="48" y="74"/>
                      <a:pt x="48" y="73"/>
                      <a:pt x="49" y="73"/>
                    </a:cubicBezTo>
                    <a:cubicBezTo>
                      <a:pt x="53" y="70"/>
                      <a:pt x="53" y="70"/>
                      <a:pt x="53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8"/>
                      <a:pt x="0" y="37"/>
                      <a:pt x="1" y="37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4" y="0"/>
                      <a:pt x="65" y="0"/>
                      <a:pt x="65" y="0"/>
                    </a:cubicBezTo>
                    <a:cubicBezTo>
                      <a:pt x="66" y="1"/>
                      <a:pt x="66" y="1"/>
                      <a:pt x="66" y="2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83"/>
                      <a:pt x="66" y="84"/>
                      <a:pt x="65" y="84"/>
                    </a:cubicBezTo>
                    <a:cubicBezTo>
                      <a:pt x="65" y="85"/>
                      <a:pt x="65" y="85"/>
                      <a:pt x="64" y="85"/>
                    </a:cubicBezTo>
                    <a:close/>
                    <a:moveTo>
                      <a:pt x="54" y="74"/>
                    </a:moveTo>
                    <a:cubicBezTo>
                      <a:pt x="62" y="79"/>
                      <a:pt x="62" y="79"/>
                      <a:pt x="62" y="7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9" y="69"/>
                      <a:pt x="59" y="69"/>
                      <a:pt x="59" y="70"/>
                    </a:cubicBezTo>
                    <a:cubicBezTo>
                      <a:pt x="59" y="71"/>
                      <a:pt x="59" y="71"/>
                      <a:pt x="58" y="72"/>
                    </a:cubicBezTo>
                    <a:lnTo>
                      <a:pt x="54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3" name="Freeform 1027">
                <a:extLst>
                  <a:ext uri="{FF2B5EF4-FFF2-40B4-BE49-F238E27FC236}">
                    <a16:creationId xmlns:a16="http://schemas.microsoft.com/office/drawing/2014/main" id="{70FA6EC2-96B5-4C40-9A76-9981001753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236963" y="6144075"/>
                <a:ext cx="611112" cy="381815"/>
              </a:xfrm>
              <a:custGeom>
                <a:avLst/>
                <a:gdLst>
                  <a:gd name="T0" fmla="*/ 134 w 249"/>
                  <a:gd name="T1" fmla="*/ 156 h 156"/>
                  <a:gd name="T2" fmla="*/ 133 w 249"/>
                  <a:gd name="T3" fmla="*/ 156 h 156"/>
                  <a:gd name="T4" fmla="*/ 1 w 249"/>
                  <a:gd name="T5" fmla="*/ 80 h 156"/>
                  <a:gd name="T6" fmla="*/ 0 w 249"/>
                  <a:gd name="T7" fmla="*/ 78 h 156"/>
                  <a:gd name="T8" fmla="*/ 1 w 249"/>
                  <a:gd name="T9" fmla="*/ 76 h 156"/>
                  <a:gd name="T10" fmla="*/ 133 w 249"/>
                  <a:gd name="T11" fmla="*/ 0 h 156"/>
                  <a:gd name="T12" fmla="*/ 135 w 249"/>
                  <a:gd name="T13" fmla="*/ 0 h 156"/>
                  <a:gd name="T14" fmla="*/ 150 w 249"/>
                  <a:gd name="T15" fmla="*/ 9 h 156"/>
                  <a:gd name="T16" fmla="*/ 151 w 249"/>
                  <a:gd name="T17" fmla="*/ 11 h 156"/>
                  <a:gd name="T18" fmla="*/ 151 w 249"/>
                  <a:gd name="T19" fmla="*/ 32 h 156"/>
                  <a:gd name="T20" fmla="*/ 248 w 249"/>
                  <a:gd name="T21" fmla="*/ 87 h 156"/>
                  <a:gd name="T22" fmla="*/ 249 w 249"/>
                  <a:gd name="T23" fmla="*/ 89 h 156"/>
                  <a:gd name="T24" fmla="*/ 248 w 249"/>
                  <a:gd name="T25" fmla="*/ 91 h 156"/>
                  <a:gd name="T26" fmla="*/ 135 w 249"/>
                  <a:gd name="T27" fmla="*/ 156 h 156"/>
                  <a:gd name="T28" fmla="*/ 134 w 249"/>
                  <a:gd name="T29" fmla="*/ 156 h 156"/>
                  <a:gd name="T30" fmla="*/ 6 w 249"/>
                  <a:gd name="T31" fmla="*/ 78 h 156"/>
                  <a:gd name="T32" fmla="*/ 134 w 249"/>
                  <a:gd name="T33" fmla="*/ 152 h 156"/>
                  <a:gd name="T34" fmla="*/ 243 w 249"/>
                  <a:gd name="T35" fmla="*/ 89 h 156"/>
                  <a:gd name="T36" fmla="*/ 148 w 249"/>
                  <a:gd name="T37" fmla="*/ 35 h 156"/>
                  <a:gd name="T38" fmla="*/ 147 w 249"/>
                  <a:gd name="T39" fmla="*/ 33 h 156"/>
                  <a:gd name="T40" fmla="*/ 147 w 249"/>
                  <a:gd name="T41" fmla="*/ 12 h 156"/>
                  <a:gd name="T42" fmla="*/ 134 w 249"/>
                  <a:gd name="T43" fmla="*/ 4 h 156"/>
                  <a:gd name="T44" fmla="*/ 6 w 249"/>
                  <a:gd name="T45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9" h="156">
                    <a:moveTo>
                      <a:pt x="134" y="156"/>
                    </a:moveTo>
                    <a:cubicBezTo>
                      <a:pt x="133" y="156"/>
                      <a:pt x="133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77"/>
                      <a:pt x="0" y="77"/>
                      <a:pt x="1" y="76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134" y="0"/>
                      <a:pt x="135" y="0"/>
                    </a:cubicBezTo>
                    <a:cubicBezTo>
                      <a:pt x="150" y="9"/>
                      <a:pt x="150" y="9"/>
                      <a:pt x="150" y="9"/>
                    </a:cubicBezTo>
                    <a:cubicBezTo>
                      <a:pt x="151" y="10"/>
                      <a:pt x="151" y="10"/>
                      <a:pt x="151" y="11"/>
                    </a:cubicBezTo>
                    <a:cubicBezTo>
                      <a:pt x="151" y="32"/>
                      <a:pt x="151" y="32"/>
                      <a:pt x="151" y="32"/>
                    </a:cubicBezTo>
                    <a:cubicBezTo>
                      <a:pt x="248" y="87"/>
                      <a:pt x="248" y="87"/>
                      <a:pt x="248" y="87"/>
                    </a:cubicBezTo>
                    <a:cubicBezTo>
                      <a:pt x="248" y="88"/>
                      <a:pt x="249" y="88"/>
                      <a:pt x="249" y="89"/>
                    </a:cubicBezTo>
                    <a:cubicBezTo>
                      <a:pt x="249" y="90"/>
                      <a:pt x="248" y="90"/>
                      <a:pt x="248" y="91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4" y="156"/>
                      <a:pt x="134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3" y="89"/>
                      <a:pt x="243" y="89"/>
                      <a:pt x="243" y="89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8" y="34"/>
                      <a:pt x="147" y="34"/>
                      <a:pt x="147" y="33"/>
                    </a:cubicBezTo>
                    <a:cubicBezTo>
                      <a:pt x="147" y="12"/>
                      <a:pt x="147" y="12"/>
                      <a:pt x="147" y="12"/>
                    </a:cubicBezTo>
                    <a:cubicBezTo>
                      <a:pt x="134" y="4"/>
                      <a:pt x="134" y="4"/>
                      <a:pt x="134" y="4"/>
                    </a:cubicBezTo>
                    <a:lnTo>
                      <a:pt x="6" y="7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4" name="Freeform 1032">
                <a:extLst>
                  <a:ext uri="{FF2B5EF4-FFF2-40B4-BE49-F238E27FC236}">
                    <a16:creationId xmlns:a16="http://schemas.microsoft.com/office/drawing/2014/main" id="{FB1BB5A5-5EA9-4349-9B84-3F2A0BB0D2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210835" y="5621155"/>
                <a:ext cx="254198" cy="215808"/>
              </a:xfrm>
              <a:custGeom>
                <a:avLst/>
                <a:gdLst>
                  <a:gd name="T0" fmla="*/ 58 w 104"/>
                  <a:gd name="T1" fmla="*/ 88 h 88"/>
                  <a:gd name="T2" fmla="*/ 57 w 104"/>
                  <a:gd name="T3" fmla="*/ 87 h 88"/>
                  <a:gd name="T4" fmla="*/ 1 w 104"/>
                  <a:gd name="T5" fmla="*/ 55 h 88"/>
                  <a:gd name="T6" fmla="*/ 0 w 104"/>
                  <a:gd name="T7" fmla="*/ 53 h 88"/>
                  <a:gd name="T8" fmla="*/ 0 w 104"/>
                  <a:gd name="T9" fmla="*/ 2 h 88"/>
                  <a:gd name="T10" fmla="*/ 1 w 104"/>
                  <a:gd name="T11" fmla="*/ 0 h 88"/>
                  <a:gd name="T12" fmla="*/ 3 w 104"/>
                  <a:gd name="T13" fmla="*/ 0 h 88"/>
                  <a:gd name="T14" fmla="*/ 103 w 104"/>
                  <a:gd name="T15" fmla="*/ 58 h 88"/>
                  <a:gd name="T16" fmla="*/ 104 w 104"/>
                  <a:gd name="T17" fmla="*/ 60 h 88"/>
                  <a:gd name="T18" fmla="*/ 103 w 104"/>
                  <a:gd name="T19" fmla="*/ 61 h 88"/>
                  <a:gd name="T20" fmla="*/ 59 w 104"/>
                  <a:gd name="T21" fmla="*/ 87 h 88"/>
                  <a:gd name="T22" fmla="*/ 58 w 104"/>
                  <a:gd name="T23" fmla="*/ 88 h 88"/>
                  <a:gd name="T24" fmla="*/ 4 w 104"/>
                  <a:gd name="T25" fmla="*/ 52 h 88"/>
                  <a:gd name="T26" fmla="*/ 58 w 104"/>
                  <a:gd name="T27" fmla="*/ 83 h 88"/>
                  <a:gd name="T28" fmla="*/ 98 w 104"/>
                  <a:gd name="T29" fmla="*/ 60 h 88"/>
                  <a:gd name="T30" fmla="*/ 4 w 104"/>
                  <a:gd name="T31" fmla="*/ 5 h 88"/>
                  <a:gd name="T32" fmla="*/ 4 w 104"/>
                  <a:gd name="T33" fmla="*/ 5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88">
                    <a:moveTo>
                      <a:pt x="58" y="88"/>
                    </a:moveTo>
                    <a:cubicBezTo>
                      <a:pt x="57" y="88"/>
                      <a:pt x="57" y="87"/>
                      <a:pt x="57" y="87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4" y="58"/>
                      <a:pt x="104" y="59"/>
                      <a:pt x="104" y="60"/>
                    </a:cubicBezTo>
                    <a:cubicBezTo>
                      <a:pt x="104" y="60"/>
                      <a:pt x="104" y="61"/>
                      <a:pt x="103" y="61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58" y="87"/>
                      <a:pt x="58" y="88"/>
                      <a:pt x="58" y="88"/>
                    </a:cubicBezTo>
                    <a:close/>
                    <a:moveTo>
                      <a:pt x="4" y="52"/>
                    </a:moveTo>
                    <a:cubicBezTo>
                      <a:pt x="58" y="83"/>
                      <a:pt x="58" y="83"/>
                      <a:pt x="58" y="83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5" name="Freeform 1033">
                <a:extLst>
                  <a:ext uri="{FF2B5EF4-FFF2-40B4-BE49-F238E27FC236}">
                    <a16:creationId xmlns:a16="http://schemas.microsoft.com/office/drawing/2014/main" id="{7FDC9797-A09C-49E1-A2F9-0C0E82AC1F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322889" y="5575503"/>
                <a:ext cx="541597" cy="376627"/>
              </a:xfrm>
              <a:custGeom>
                <a:avLst/>
                <a:gdLst>
                  <a:gd name="T0" fmla="*/ 138 w 221"/>
                  <a:gd name="T1" fmla="*/ 154 h 154"/>
                  <a:gd name="T2" fmla="*/ 137 w 221"/>
                  <a:gd name="T3" fmla="*/ 154 h 154"/>
                  <a:gd name="T4" fmla="*/ 12 w 221"/>
                  <a:gd name="T5" fmla="*/ 82 h 154"/>
                  <a:gd name="T6" fmla="*/ 12 w 221"/>
                  <a:gd name="T7" fmla="*/ 84 h 154"/>
                  <a:gd name="T8" fmla="*/ 11 w 221"/>
                  <a:gd name="T9" fmla="*/ 86 h 154"/>
                  <a:gd name="T10" fmla="*/ 9 w 221"/>
                  <a:gd name="T11" fmla="*/ 86 h 154"/>
                  <a:gd name="T12" fmla="*/ 1 w 221"/>
                  <a:gd name="T13" fmla="*/ 80 h 154"/>
                  <a:gd name="T14" fmla="*/ 0 w 221"/>
                  <a:gd name="T15" fmla="*/ 79 h 154"/>
                  <a:gd name="T16" fmla="*/ 1 w 221"/>
                  <a:gd name="T17" fmla="*/ 77 h 154"/>
                  <a:gd name="T18" fmla="*/ 132 w 221"/>
                  <a:gd name="T19" fmla="*/ 1 h 154"/>
                  <a:gd name="T20" fmla="*/ 134 w 221"/>
                  <a:gd name="T21" fmla="*/ 1 h 154"/>
                  <a:gd name="T22" fmla="*/ 165 w 221"/>
                  <a:gd name="T23" fmla="*/ 18 h 154"/>
                  <a:gd name="T24" fmla="*/ 166 w 221"/>
                  <a:gd name="T25" fmla="*/ 20 h 154"/>
                  <a:gd name="T26" fmla="*/ 166 w 221"/>
                  <a:gd name="T27" fmla="*/ 72 h 154"/>
                  <a:gd name="T28" fmla="*/ 220 w 221"/>
                  <a:gd name="T29" fmla="*/ 104 h 154"/>
                  <a:gd name="T30" fmla="*/ 221 w 221"/>
                  <a:gd name="T31" fmla="*/ 105 h 154"/>
                  <a:gd name="T32" fmla="*/ 220 w 221"/>
                  <a:gd name="T33" fmla="*/ 107 h 154"/>
                  <a:gd name="T34" fmla="*/ 139 w 221"/>
                  <a:gd name="T35" fmla="*/ 154 h 154"/>
                  <a:gd name="T36" fmla="*/ 138 w 221"/>
                  <a:gd name="T37" fmla="*/ 154 h 154"/>
                  <a:gd name="T38" fmla="*/ 10 w 221"/>
                  <a:gd name="T39" fmla="*/ 76 h 154"/>
                  <a:gd name="T40" fmla="*/ 11 w 221"/>
                  <a:gd name="T41" fmla="*/ 77 h 154"/>
                  <a:gd name="T42" fmla="*/ 138 w 221"/>
                  <a:gd name="T43" fmla="*/ 150 h 154"/>
                  <a:gd name="T44" fmla="*/ 215 w 221"/>
                  <a:gd name="T45" fmla="*/ 105 h 154"/>
                  <a:gd name="T46" fmla="*/ 163 w 221"/>
                  <a:gd name="T47" fmla="*/ 75 h 154"/>
                  <a:gd name="T48" fmla="*/ 162 w 221"/>
                  <a:gd name="T49" fmla="*/ 73 h 154"/>
                  <a:gd name="T50" fmla="*/ 162 w 221"/>
                  <a:gd name="T51" fmla="*/ 21 h 154"/>
                  <a:gd name="T52" fmla="*/ 133 w 221"/>
                  <a:gd name="T53" fmla="*/ 5 h 154"/>
                  <a:gd name="T54" fmla="*/ 6 w 221"/>
                  <a:gd name="T55" fmla="*/ 79 h 154"/>
                  <a:gd name="T56" fmla="*/ 8 w 221"/>
                  <a:gd name="T57" fmla="*/ 80 h 154"/>
                  <a:gd name="T58" fmla="*/ 8 w 221"/>
                  <a:gd name="T59" fmla="*/ 78 h 154"/>
                  <a:gd name="T60" fmla="*/ 9 w 221"/>
                  <a:gd name="T61" fmla="*/ 77 h 154"/>
                  <a:gd name="T62" fmla="*/ 10 w 221"/>
                  <a:gd name="T63" fmla="*/ 7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54">
                    <a:moveTo>
                      <a:pt x="138" y="154"/>
                    </a:moveTo>
                    <a:cubicBezTo>
                      <a:pt x="138" y="154"/>
                      <a:pt x="137" y="154"/>
                      <a:pt x="137" y="154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5"/>
                      <a:pt x="12" y="85"/>
                      <a:pt x="11" y="86"/>
                    </a:cubicBezTo>
                    <a:cubicBezTo>
                      <a:pt x="11" y="86"/>
                      <a:pt x="10" y="86"/>
                      <a:pt x="9" y="8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80"/>
                      <a:pt x="0" y="79"/>
                      <a:pt x="0" y="79"/>
                    </a:cubicBezTo>
                    <a:cubicBezTo>
                      <a:pt x="0" y="78"/>
                      <a:pt x="0" y="77"/>
                      <a:pt x="1" y="77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3" y="0"/>
                      <a:pt x="134" y="0"/>
                      <a:pt x="134" y="1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5" y="19"/>
                      <a:pt x="166" y="19"/>
                      <a:pt x="166" y="20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1" y="104"/>
                      <a:pt x="221" y="105"/>
                      <a:pt x="221" y="105"/>
                    </a:cubicBezTo>
                    <a:cubicBezTo>
                      <a:pt x="221" y="106"/>
                      <a:pt x="221" y="107"/>
                      <a:pt x="220" y="107"/>
                    </a:cubicBezTo>
                    <a:cubicBezTo>
                      <a:pt x="139" y="154"/>
                      <a:pt x="139" y="154"/>
                      <a:pt x="139" y="154"/>
                    </a:cubicBezTo>
                    <a:cubicBezTo>
                      <a:pt x="139" y="154"/>
                      <a:pt x="139" y="154"/>
                      <a:pt x="138" y="154"/>
                    </a:cubicBezTo>
                    <a:close/>
                    <a:moveTo>
                      <a:pt x="10" y="76"/>
                    </a:moveTo>
                    <a:cubicBezTo>
                      <a:pt x="11" y="76"/>
                      <a:pt x="11" y="76"/>
                      <a:pt x="11" y="77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215" y="105"/>
                      <a:pt x="215" y="105"/>
                      <a:pt x="215" y="105"/>
                    </a:cubicBezTo>
                    <a:cubicBezTo>
                      <a:pt x="163" y="75"/>
                      <a:pt x="163" y="75"/>
                      <a:pt x="163" y="75"/>
                    </a:cubicBezTo>
                    <a:cubicBezTo>
                      <a:pt x="162" y="75"/>
                      <a:pt x="162" y="74"/>
                      <a:pt x="162" y="7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9" y="77"/>
                      <a:pt x="9" y="77"/>
                    </a:cubicBezTo>
                    <a:cubicBezTo>
                      <a:pt x="10" y="76"/>
                      <a:pt x="10" y="76"/>
                      <a:pt x="10" y="7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6" name="Freeform 1034">
                <a:extLst>
                  <a:ext uri="{FF2B5EF4-FFF2-40B4-BE49-F238E27FC236}">
                    <a16:creationId xmlns:a16="http://schemas.microsoft.com/office/drawing/2014/main" id="{AC498C2E-E95E-42CF-820D-D2A22A797D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756581" y="5969768"/>
                <a:ext cx="277024" cy="271835"/>
              </a:xfrm>
              <a:custGeom>
                <a:avLst/>
                <a:gdLst>
                  <a:gd name="T0" fmla="*/ 111 w 113"/>
                  <a:gd name="T1" fmla="*/ 111 h 111"/>
                  <a:gd name="T2" fmla="*/ 110 w 113"/>
                  <a:gd name="T3" fmla="*/ 111 h 111"/>
                  <a:gd name="T4" fmla="*/ 1 w 113"/>
                  <a:gd name="T5" fmla="*/ 48 h 111"/>
                  <a:gd name="T6" fmla="*/ 0 w 113"/>
                  <a:gd name="T7" fmla="*/ 46 h 111"/>
                  <a:gd name="T8" fmla="*/ 1 w 113"/>
                  <a:gd name="T9" fmla="*/ 45 h 111"/>
                  <a:gd name="T10" fmla="*/ 78 w 113"/>
                  <a:gd name="T11" fmla="*/ 0 h 111"/>
                  <a:gd name="T12" fmla="*/ 80 w 113"/>
                  <a:gd name="T13" fmla="*/ 0 h 111"/>
                  <a:gd name="T14" fmla="*/ 81 w 113"/>
                  <a:gd name="T15" fmla="*/ 2 h 111"/>
                  <a:gd name="T16" fmla="*/ 81 w 113"/>
                  <a:gd name="T17" fmla="*/ 70 h 111"/>
                  <a:gd name="T18" fmla="*/ 112 w 113"/>
                  <a:gd name="T19" fmla="*/ 88 h 111"/>
                  <a:gd name="T20" fmla="*/ 113 w 113"/>
                  <a:gd name="T21" fmla="*/ 90 h 111"/>
                  <a:gd name="T22" fmla="*/ 113 w 113"/>
                  <a:gd name="T23" fmla="*/ 109 h 111"/>
                  <a:gd name="T24" fmla="*/ 112 w 113"/>
                  <a:gd name="T25" fmla="*/ 111 h 111"/>
                  <a:gd name="T26" fmla="*/ 111 w 113"/>
                  <a:gd name="T27" fmla="*/ 111 h 111"/>
                  <a:gd name="T28" fmla="*/ 6 w 113"/>
                  <a:gd name="T29" fmla="*/ 46 h 111"/>
                  <a:gd name="T30" fmla="*/ 109 w 113"/>
                  <a:gd name="T31" fmla="*/ 106 h 111"/>
                  <a:gd name="T32" fmla="*/ 109 w 113"/>
                  <a:gd name="T33" fmla="*/ 91 h 111"/>
                  <a:gd name="T34" fmla="*/ 78 w 113"/>
                  <a:gd name="T35" fmla="*/ 73 h 111"/>
                  <a:gd name="T36" fmla="*/ 77 w 113"/>
                  <a:gd name="T37" fmla="*/ 72 h 111"/>
                  <a:gd name="T38" fmla="*/ 77 w 113"/>
                  <a:gd name="T39" fmla="*/ 5 h 111"/>
                  <a:gd name="T40" fmla="*/ 6 w 113"/>
                  <a:gd name="T41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1">
                    <a:moveTo>
                      <a:pt x="111" y="111"/>
                    </a:moveTo>
                    <a:cubicBezTo>
                      <a:pt x="111" y="111"/>
                      <a:pt x="111" y="111"/>
                      <a:pt x="110" y="11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0" y="47"/>
                      <a:pt x="0" y="46"/>
                    </a:cubicBezTo>
                    <a:cubicBezTo>
                      <a:pt x="0" y="46"/>
                      <a:pt x="1" y="45"/>
                      <a:pt x="1" y="45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ubicBezTo>
                      <a:pt x="81" y="0"/>
                      <a:pt x="81" y="1"/>
                      <a:pt x="81" y="2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3" y="89"/>
                      <a:pt x="113" y="89"/>
                      <a:pt x="113" y="90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113" y="110"/>
                      <a:pt x="113" y="111"/>
                      <a:pt x="112" y="111"/>
                    </a:cubicBezTo>
                    <a:cubicBezTo>
                      <a:pt x="112" y="111"/>
                      <a:pt x="112" y="111"/>
                      <a:pt x="111" y="111"/>
                    </a:cubicBezTo>
                    <a:close/>
                    <a:moveTo>
                      <a:pt x="6" y="46"/>
                    </a:moveTo>
                    <a:cubicBezTo>
                      <a:pt x="109" y="106"/>
                      <a:pt x="109" y="106"/>
                      <a:pt x="109" y="106"/>
                    </a:cubicBezTo>
                    <a:cubicBezTo>
                      <a:pt x="109" y="91"/>
                      <a:pt x="109" y="91"/>
                      <a:pt x="109" y="9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78" y="73"/>
                      <a:pt x="77" y="72"/>
                      <a:pt x="77" y="72"/>
                    </a:cubicBezTo>
                    <a:cubicBezTo>
                      <a:pt x="77" y="5"/>
                      <a:pt x="77" y="5"/>
                      <a:pt x="77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7" name="Freeform 1035">
                <a:extLst>
                  <a:ext uri="{FF2B5EF4-FFF2-40B4-BE49-F238E27FC236}">
                    <a16:creationId xmlns:a16="http://schemas.microsoft.com/office/drawing/2014/main" id="{8E464B8E-65EF-49C5-B1B9-7BE74E699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61033" y="5408460"/>
                <a:ext cx="304000" cy="440954"/>
              </a:xfrm>
              <a:custGeom>
                <a:avLst/>
                <a:gdLst>
                  <a:gd name="T0" fmla="*/ 67 w 124"/>
                  <a:gd name="T1" fmla="*/ 180 h 180"/>
                  <a:gd name="T2" fmla="*/ 66 w 124"/>
                  <a:gd name="T3" fmla="*/ 180 h 180"/>
                  <a:gd name="T4" fmla="*/ 58 w 124"/>
                  <a:gd name="T5" fmla="*/ 175 h 180"/>
                  <a:gd name="T6" fmla="*/ 57 w 124"/>
                  <a:gd name="T7" fmla="*/ 173 h 180"/>
                  <a:gd name="T8" fmla="*/ 58 w 124"/>
                  <a:gd name="T9" fmla="*/ 172 h 180"/>
                  <a:gd name="T10" fmla="*/ 102 w 124"/>
                  <a:gd name="T11" fmla="*/ 147 h 180"/>
                  <a:gd name="T12" fmla="*/ 1 w 124"/>
                  <a:gd name="T13" fmla="*/ 89 h 180"/>
                  <a:gd name="T14" fmla="*/ 0 w 124"/>
                  <a:gd name="T15" fmla="*/ 87 h 180"/>
                  <a:gd name="T16" fmla="*/ 0 w 124"/>
                  <a:gd name="T17" fmla="*/ 2 h 180"/>
                  <a:gd name="T18" fmla="*/ 1 w 124"/>
                  <a:gd name="T19" fmla="*/ 1 h 180"/>
                  <a:gd name="T20" fmla="*/ 3 w 124"/>
                  <a:gd name="T21" fmla="*/ 1 h 180"/>
                  <a:gd name="T22" fmla="*/ 123 w 124"/>
                  <a:gd name="T23" fmla="*/ 70 h 180"/>
                  <a:gd name="T24" fmla="*/ 124 w 124"/>
                  <a:gd name="T25" fmla="*/ 71 h 180"/>
                  <a:gd name="T26" fmla="*/ 124 w 124"/>
                  <a:gd name="T27" fmla="*/ 144 h 180"/>
                  <a:gd name="T28" fmla="*/ 123 w 124"/>
                  <a:gd name="T29" fmla="*/ 146 h 180"/>
                  <a:gd name="T30" fmla="*/ 101 w 124"/>
                  <a:gd name="T31" fmla="*/ 159 h 180"/>
                  <a:gd name="T32" fmla="*/ 101 w 124"/>
                  <a:gd name="T33" fmla="*/ 167 h 180"/>
                  <a:gd name="T34" fmla="*/ 100 w 124"/>
                  <a:gd name="T35" fmla="*/ 169 h 180"/>
                  <a:gd name="T36" fmla="*/ 98 w 124"/>
                  <a:gd name="T37" fmla="*/ 169 h 180"/>
                  <a:gd name="T38" fmla="*/ 92 w 124"/>
                  <a:gd name="T39" fmla="*/ 166 h 180"/>
                  <a:gd name="T40" fmla="*/ 68 w 124"/>
                  <a:gd name="T41" fmla="*/ 180 h 180"/>
                  <a:gd name="T42" fmla="*/ 67 w 124"/>
                  <a:gd name="T43" fmla="*/ 180 h 180"/>
                  <a:gd name="T44" fmla="*/ 63 w 124"/>
                  <a:gd name="T45" fmla="*/ 173 h 180"/>
                  <a:gd name="T46" fmla="*/ 67 w 124"/>
                  <a:gd name="T47" fmla="*/ 176 h 180"/>
                  <a:gd name="T48" fmla="*/ 91 w 124"/>
                  <a:gd name="T49" fmla="*/ 162 h 180"/>
                  <a:gd name="T50" fmla="*/ 93 w 124"/>
                  <a:gd name="T51" fmla="*/ 162 h 180"/>
                  <a:gd name="T52" fmla="*/ 97 w 124"/>
                  <a:gd name="T53" fmla="*/ 164 h 180"/>
                  <a:gd name="T54" fmla="*/ 97 w 124"/>
                  <a:gd name="T55" fmla="*/ 158 h 180"/>
                  <a:gd name="T56" fmla="*/ 98 w 124"/>
                  <a:gd name="T57" fmla="*/ 156 h 180"/>
                  <a:gd name="T58" fmla="*/ 120 w 124"/>
                  <a:gd name="T59" fmla="*/ 143 h 180"/>
                  <a:gd name="T60" fmla="*/ 120 w 124"/>
                  <a:gd name="T61" fmla="*/ 73 h 180"/>
                  <a:gd name="T62" fmla="*/ 4 w 124"/>
                  <a:gd name="T63" fmla="*/ 6 h 180"/>
                  <a:gd name="T64" fmla="*/ 4 w 124"/>
                  <a:gd name="T65" fmla="*/ 86 h 180"/>
                  <a:gd name="T66" fmla="*/ 107 w 124"/>
                  <a:gd name="T67" fmla="*/ 145 h 180"/>
                  <a:gd name="T68" fmla="*/ 108 w 124"/>
                  <a:gd name="T69" fmla="*/ 147 h 180"/>
                  <a:gd name="T70" fmla="*/ 107 w 124"/>
                  <a:gd name="T71" fmla="*/ 148 h 180"/>
                  <a:gd name="T72" fmla="*/ 63 w 124"/>
                  <a:gd name="T73" fmla="*/ 17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180">
                    <a:moveTo>
                      <a:pt x="67" y="180"/>
                    </a:moveTo>
                    <a:cubicBezTo>
                      <a:pt x="67" y="180"/>
                      <a:pt x="66" y="180"/>
                      <a:pt x="66" y="180"/>
                    </a:cubicBezTo>
                    <a:cubicBezTo>
                      <a:pt x="58" y="175"/>
                      <a:pt x="58" y="175"/>
                      <a:pt x="58" y="175"/>
                    </a:cubicBezTo>
                    <a:cubicBezTo>
                      <a:pt x="58" y="175"/>
                      <a:pt x="57" y="174"/>
                      <a:pt x="57" y="173"/>
                    </a:cubicBezTo>
                    <a:cubicBezTo>
                      <a:pt x="57" y="173"/>
                      <a:pt x="58" y="172"/>
                      <a:pt x="58" y="17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1" y="88"/>
                      <a:pt x="0" y="88"/>
                      <a:pt x="0" y="8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23" y="70"/>
                      <a:pt x="123" y="70"/>
                      <a:pt x="123" y="70"/>
                    </a:cubicBezTo>
                    <a:cubicBezTo>
                      <a:pt x="123" y="70"/>
                      <a:pt x="124" y="71"/>
                      <a:pt x="124" y="71"/>
                    </a:cubicBezTo>
                    <a:cubicBezTo>
                      <a:pt x="124" y="144"/>
                      <a:pt x="124" y="144"/>
                      <a:pt x="124" y="144"/>
                    </a:cubicBezTo>
                    <a:cubicBezTo>
                      <a:pt x="124" y="145"/>
                      <a:pt x="123" y="146"/>
                      <a:pt x="123" y="146"/>
                    </a:cubicBezTo>
                    <a:cubicBezTo>
                      <a:pt x="101" y="159"/>
                      <a:pt x="101" y="159"/>
                      <a:pt x="101" y="159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1" y="168"/>
                      <a:pt x="101" y="169"/>
                      <a:pt x="100" y="169"/>
                    </a:cubicBezTo>
                    <a:cubicBezTo>
                      <a:pt x="99" y="170"/>
                      <a:pt x="99" y="170"/>
                      <a:pt x="98" y="169"/>
                    </a:cubicBezTo>
                    <a:cubicBezTo>
                      <a:pt x="92" y="166"/>
                      <a:pt x="92" y="166"/>
                      <a:pt x="92" y="166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7" y="180"/>
                      <a:pt x="67" y="180"/>
                    </a:cubicBezTo>
                    <a:close/>
                    <a:moveTo>
                      <a:pt x="63" y="173"/>
                    </a:moveTo>
                    <a:cubicBezTo>
                      <a:pt x="67" y="176"/>
                      <a:pt x="67" y="176"/>
                      <a:pt x="67" y="176"/>
                    </a:cubicBezTo>
                    <a:cubicBezTo>
                      <a:pt x="91" y="162"/>
                      <a:pt x="91" y="162"/>
                      <a:pt x="91" y="162"/>
                    </a:cubicBezTo>
                    <a:cubicBezTo>
                      <a:pt x="92" y="161"/>
                      <a:pt x="92" y="161"/>
                      <a:pt x="93" y="162"/>
                    </a:cubicBezTo>
                    <a:cubicBezTo>
                      <a:pt x="97" y="164"/>
                      <a:pt x="97" y="164"/>
                      <a:pt x="97" y="164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57"/>
                      <a:pt x="97" y="156"/>
                      <a:pt x="98" y="156"/>
                    </a:cubicBezTo>
                    <a:cubicBezTo>
                      <a:pt x="120" y="143"/>
                      <a:pt x="120" y="143"/>
                      <a:pt x="120" y="143"/>
                    </a:cubicBezTo>
                    <a:cubicBezTo>
                      <a:pt x="120" y="73"/>
                      <a:pt x="120" y="73"/>
                      <a:pt x="120" y="7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107" y="145"/>
                      <a:pt x="107" y="145"/>
                      <a:pt x="107" y="145"/>
                    </a:cubicBezTo>
                    <a:cubicBezTo>
                      <a:pt x="107" y="145"/>
                      <a:pt x="108" y="146"/>
                      <a:pt x="108" y="147"/>
                    </a:cubicBezTo>
                    <a:cubicBezTo>
                      <a:pt x="108" y="147"/>
                      <a:pt x="107" y="148"/>
                      <a:pt x="107" y="148"/>
                    </a:cubicBezTo>
                    <a:lnTo>
                      <a:pt x="63" y="1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8" name="Freeform 1036">
                <a:extLst>
                  <a:ext uri="{FF2B5EF4-FFF2-40B4-BE49-F238E27FC236}">
                    <a16:creationId xmlns:a16="http://schemas.microsoft.com/office/drawing/2014/main" id="{BFABBFDD-2961-4A67-87BA-711AFA8581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75954" y="6082860"/>
                <a:ext cx="93379" cy="188832"/>
              </a:xfrm>
              <a:custGeom>
                <a:avLst/>
                <a:gdLst>
                  <a:gd name="T0" fmla="*/ 36 w 38"/>
                  <a:gd name="T1" fmla="*/ 77 h 77"/>
                  <a:gd name="T2" fmla="*/ 35 w 38"/>
                  <a:gd name="T3" fmla="*/ 77 h 77"/>
                  <a:gd name="T4" fmla="*/ 1 w 38"/>
                  <a:gd name="T5" fmla="*/ 57 h 77"/>
                  <a:gd name="T6" fmla="*/ 0 w 38"/>
                  <a:gd name="T7" fmla="*/ 55 h 77"/>
                  <a:gd name="T8" fmla="*/ 0 w 38"/>
                  <a:gd name="T9" fmla="*/ 2 h 77"/>
                  <a:gd name="T10" fmla="*/ 1 w 38"/>
                  <a:gd name="T11" fmla="*/ 0 h 77"/>
                  <a:gd name="T12" fmla="*/ 3 w 38"/>
                  <a:gd name="T13" fmla="*/ 0 h 77"/>
                  <a:gd name="T14" fmla="*/ 37 w 38"/>
                  <a:gd name="T15" fmla="*/ 20 h 77"/>
                  <a:gd name="T16" fmla="*/ 38 w 38"/>
                  <a:gd name="T17" fmla="*/ 21 h 77"/>
                  <a:gd name="T18" fmla="*/ 38 w 38"/>
                  <a:gd name="T19" fmla="*/ 75 h 77"/>
                  <a:gd name="T20" fmla="*/ 37 w 38"/>
                  <a:gd name="T21" fmla="*/ 77 h 77"/>
                  <a:gd name="T22" fmla="*/ 36 w 38"/>
                  <a:gd name="T23" fmla="*/ 77 h 77"/>
                  <a:gd name="T24" fmla="*/ 4 w 38"/>
                  <a:gd name="T25" fmla="*/ 54 h 77"/>
                  <a:gd name="T26" fmla="*/ 34 w 38"/>
                  <a:gd name="T27" fmla="*/ 71 h 77"/>
                  <a:gd name="T28" fmla="*/ 34 w 38"/>
                  <a:gd name="T29" fmla="*/ 22 h 77"/>
                  <a:gd name="T30" fmla="*/ 4 w 38"/>
                  <a:gd name="T31" fmla="*/ 5 h 77"/>
                  <a:gd name="T32" fmla="*/ 4 w 38"/>
                  <a:gd name="T33" fmla="*/ 5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77">
                    <a:moveTo>
                      <a:pt x="36" y="77"/>
                    </a:moveTo>
                    <a:cubicBezTo>
                      <a:pt x="36" y="77"/>
                      <a:pt x="35" y="77"/>
                      <a:pt x="35" y="77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7"/>
                      <a:pt x="0" y="56"/>
                      <a:pt x="0" y="5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0"/>
                      <a:pt x="38" y="21"/>
                      <a:pt x="38" y="21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8" y="76"/>
                      <a:pt x="38" y="76"/>
                      <a:pt x="37" y="77"/>
                    </a:cubicBezTo>
                    <a:cubicBezTo>
                      <a:pt x="37" y="77"/>
                      <a:pt x="36" y="77"/>
                      <a:pt x="36" y="77"/>
                    </a:cubicBezTo>
                    <a:close/>
                    <a:moveTo>
                      <a:pt x="4" y="54"/>
                    </a:move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9" name="Freeform 1037">
                <a:extLst>
                  <a:ext uri="{FF2B5EF4-FFF2-40B4-BE49-F238E27FC236}">
                    <a16:creationId xmlns:a16="http://schemas.microsoft.com/office/drawing/2014/main" id="{9A1D59FA-89DF-453E-B12D-19A4D78D63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119531" y="6261317"/>
                <a:ext cx="274949" cy="163931"/>
              </a:xfrm>
              <a:custGeom>
                <a:avLst/>
                <a:gdLst>
                  <a:gd name="T0" fmla="*/ 17 w 112"/>
                  <a:gd name="T1" fmla="*/ 67 h 67"/>
                  <a:gd name="T2" fmla="*/ 16 w 112"/>
                  <a:gd name="T3" fmla="*/ 67 h 67"/>
                  <a:gd name="T4" fmla="*/ 1 w 112"/>
                  <a:gd name="T5" fmla="*/ 58 h 67"/>
                  <a:gd name="T6" fmla="*/ 0 w 112"/>
                  <a:gd name="T7" fmla="*/ 57 h 67"/>
                  <a:gd name="T8" fmla="*/ 1 w 112"/>
                  <a:gd name="T9" fmla="*/ 55 h 67"/>
                  <a:gd name="T10" fmla="*/ 92 w 112"/>
                  <a:gd name="T11" fmla="*/ 2 h 67"/>
                  <a:gd name="T12" fmla="*/ 93 w 112"/>
                  <a:gd name="T13" fmla="*/ 0 h 67"/>
                  <a:gd name="T14" fmla="*/ 95 w 112"/>
                  <a:gd name="T15" fmla="*/ 0 h 67"/>
                  <a:gd name="T16" fmla="*/ 111 w 112"/>
                  <a:gd name="T17" fmla="*/ 10 h 67"/>
                  <a:gd name="T18" fmla="*/ 112 w 112"/>
                  <a:gd name="T19" fmla="*/ 11 h 67"/>
                  <a:gd name="T20" fmla="*/ 111 w 112"/>
                  <a:gd name="T21" fmla="*/ 13 h 67"/>
                  <a:gd name="T22" fmla="*/ 18 w 112"/>
                  <a:gd name="T23" fmla="*/ 67 h 67"/>
                  <a:gd name="T24" fmla="*/ 17 w 112"/>
                  <a:gd name="T25" fmla="*/ 67 h 67"/>
                  <a:gd name="T26" fmla="*/ 6 w 112"/>
                  <a:gd name="T27" fmla="*/ 57 h 67"/>
                  <a:gd name="T28" fmla="*/ 17 w 112"/>
                  <a:gd name="T29" fmla="*/ 63 h 67"/>
                  <a:gd name="T30" fmla="*/ 106 w 112"/>
                  <a:gd name="T31" fmla="*/ 11 h 67"/>
                  <a:gd name="T32" fmla="*/ 95 w 112"/>
                  <a:gd name="T33" fmla="*/ 5 h 67"/>
                  <a:gd name="T34" fmla="*/ 95 w 112"/>
                  <a:gd name="T35" fmla="*/ 5 h 67"/>
                  <a:gd name="T36" fmla="*/ 6 w 112"/>
                  <a:gd name="T37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" h="67">
                    <a:moveTo>
                      <a:pt x="17" y="67"/>
                    </a:moveTo>
                    <a:cubicBezTo>
                      <a:pt x="17" y="67"/>
                      <a:pt x="16" y="67"/>
                      <a:pt x="16" y="67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1" y="55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3" y="1"/>
                      <a:pt x="93" y="0"/>
                    </a:cubicBezTo>
                    <a:cubicBezTo>
                      <a:pt x="94" y="0"/>
                      <a:pt x="95" y="0"/>
                      <a:pt x="95" y="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2" y="10"/>
                      <a:pt x="112" y="11"/>
                      <a:pt x="112" y="11"/>
                    </a:cubicBezTo>
                    <a:cubicBezTo>
                      <a:pt x="112" y="12"/>
                      <a:pt x="112" y="13"/>
                      <a:pt x="111" y="13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7"/>
                      <a:pt x="17" y="67"/>
                      <a:pt x="17" y="67"/>
                    </a:cubicBezTo>
                    <a:close/>
                    <a:moveTo>
                      <a:pt x="6" y="57"/>
                    </a:moveTo>
                    <a:cubicBezTo>
                      <a:pt x="17" y="63"/>
                      <a:pt x="17" y="63"/>
                      <a:pt x="17" y="63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5" y="5"/>
                      <a:pt x="95" y="5"/>
                      <a:pt x="95" y="5"/>
                    </a:cubicBezTo>
                    <a:lnTo>
                      <a:pt x="6" y="5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0" name="Freeform 1038">
                <a:extLst>
                  <a:ext uri="{FF2B5EF4-FFF2-40B4-BE49-F238E27FC236}">
                    <a16:creationId xmlns:a16="http://schemas.microsoft.com/office/drawing/2014/main" id="{F7EF67A3-CDF8-442E-AA85-3B95EC2A2E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081142" y="6217740"/>
                <a:ext cx="88191" cy="72628"/>
              </a:xfrm>
              <a:custGeom>
                <a:avLst/>
                <a:gdLst>
                  <a:gd name="T0" fmla="*/ 20 w 36"/>
                  <a:gd name="T1" fmla="*/ 30 h 30"/>
                  <a:gd name="T2" fmla="*/ 19 w 36"/>
                  <a:gd name="T3" fmla="*/ 30 h 30"/>
                  <a:gd name="T4" fmla="*/ 1 w 36"/>
                  <a:gd name="T5" fmla="*/ 20 h 30"/>
                  <a:gd name="T6" fmla="*/ 0 w 36"/>
                  <a:gd name="T7" fmla="*/ 18 h 30"/>
                  <a:gd name="T8" fmla="*/ 0 w 36"/>
                  <a:gd name="T9" fmla="*/ 2 h 30"/>
                  <a:gd name="T10" fmla="*/ 1 w 36"/>
                  <a:gd name="T11" fmla="*/ 1 h 30"/>
                  <a:gd name="T12" fmla="*/ 3 w 36"/>
                  <a:gd name="T13" fmla="*/ 1 h 30"/>
                  <a:gd name="T14" fmla="*/ 35 w 36"/>
                  <a:gd name="T15" fmla="*/ 19 h 30"/>
                  <a:gd name="T16" fmla="*/ 36 w 36"/>
                  <a:gd name="T17" fmla="*/ 20 h 30"/>
                  <a:gd name="T18" fmla="*/ 35 w 36"/>
                  <a:gd name="T19" fmla="*/ 22 h 30"/>
                  <a:gd name="T20" fmla="*/ 21 w 36"/>
                  <a:gd name="T21" fmla="*/ 30 h 30"/>
                  <a:gd name="T22" fmla="*/ 20 w 36"/>
                  <a:gd name="T23" fmla="*/ 30 h 30"/>
                  <a:gd name="T24" fmla="*/ 4 w 36"/>
                  <a:gd name="T25" fmla="*/ 17 h 30"/>
                  <a:gd name="T26" fmla="*/ 20 w 36"/>
                  <a:gd name="T27" fmla="*/ 26 h 30"/>
                  <a:gd name="T28" fmla="*/ 30 w 36"/>
                  <a:gd name="T29" fmla="*/ 20 h 30"/>
                  <a:gd name="T30" fmla="*/ 4 w 36"/>
                  <a:gd name="T31" fmla="*/ 6 h 30"/>
                  <a:gd name="T32" fmla="*/ 4 w 36"/>
                  <a:gd name="T33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30">
                    <a:moveTo>
                      <a:pt x="20" y="30"/>
                    </a:moveTo>
                    <a:cubicBezTo>
                      <a:pt x="20" y="30"/>
                      <a:pt x="19" y="30"/>
                      <a:pt x="1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6" y="20"/>
                      <a:pt x="36" y="20"/>
                    </a:cubicBezTo>
                    <a:cubicBezTo>
                      <a:pt x="36" y="21"/>
                      <a:pt x="35" y="22"/>
                      <a:pt x="35" y="22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0" y="30"/>
                      <a:pt x="20" y="30"/>
                    </a:cubicBezTo>
                    <a:close/>
                    <a:moveTo>
                      <a:pt x="4" y="17"/>
                    </a:moveTo>
                    <a:cubicBezTo>
                      <a:pt x="20" y="26"/>
                      <a:pt x="20" y="26"/>
                      <a:pt x="20" y="26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1" name="Freeform 1039">
                <a:extLst>
                  <a:ext uri="{FF2B5EF4-FFF2-40B4-BE49-F238E27FC236}">
                    <a16:creationId xmlns:a16="http://schemas.microsoft.com/office/drawing/2014/main" id="{53F8AF6A-7DC5-4D61-A4C7-E61BAE864F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862411" y="6467787"/>
                <a:ext cx="208546" cy="455480"/>
              </a:xfrm>
              <a:custGeom>
                <a:avLst/>
                <a:gdLst>
                  <a:gd name="T0" fmla="*/ 71 w 85"/>
                  <a:gd name="T1" fmla="*/ 186 h 186"/>
                  <a:gd name="T2" fmla="*/ 70 w 85"/>
                  <a:gd name="T3" fmla="*/ 185 h 186"/>
                  <a:gd name="T4" fmla="*/ 8 w 85"/>
                  <a:gd name="T5" fmla="*/ 149 h 186"/>
                  <a:gd name="T6" fmla="*/ 7 w 85"/>
                  <a:gd name="T7" fmla="*/ 147 h 186"/>
                  <a:gd name="T8" fmla="*/ 8 w 85"/>
                  <a:gd name="T9" fmla="*/ 146 h 186"/>
                  <a:gd name="T10" fmla="*/ 15 w 85"/>
                  <a:gd name="T11" fmla="*/ 142 h 186"/>
                  <a:gd name="T12" fmla="*/ 1 w 85"/>
                  <a:gd name="T13" fmla="*/ 134 h 186"/>
                  <a:gd name="T14" fmla="*/ 0 w 85"/>
                  <a:gd name="T15" fmla="*/ 132 h 186"/>
                  <a:gd name="T16" fmla="*/ 1 w 85"/>
                  <a:gd name="T17" fmla="*/ 130 h 186"/>
                  <a:gd name="T18" fmla="*/ 5 w 85"/>
                  <a:gd name="T19" fmla="*/ 128 h 186"/>
                  <a:gd name="T20" fmla="*/ 5 w 85"/>
                  <a:gd name="T21" fmla="*/ 2 h 186"/>
                  <a:gd name="T22" fmla="*/ 6 w 85"/>
                  <a:gd name="T23" fmla="*/ 0 h 186"/>
                  <a:gd name="T24" fmla="*/ 8 w 85"/>
                  <a:gd name="T25" fmla="*/ 0 h 186"/>
                  <a:gd name="T26" fmla="*/ 84 w 85"/>
                  <a:gd name="T27" fmla="*/ 44 h 186"/>
                  <a:gd name="T28" fmla="*/ 85 w 85"/>
                  <a:gd name="T29" fmla="*/ 46 h 186"/>
                  <a:gd name="T30" fmla="*/ 85 w 85"/>
                  <a:gd name="T31" fmla="*/ 179 h 186"/>
                  <a:gd name="T32" fmla="*/ 84 w 85"/>
                  <a:gd name="T33" fmla="*/ 181 h 186"/>
                  <a:gd name="T34" fmla="*/ 82 w 85"/>
                  <a:gd name="T35" fmla="*/ 181 h 186"/>
                  <a:gd name="T36" fmla="*/ 81 w 85"/>
                  <a:gd name="T37" fmla="*/ 180 h 186"/>
                  <a:gd name="T38" fmla="*/ 72 w 85"/>
                  <a:gd name="T39" fmla="*/ 185 h 186"/>
                  <a:gd name="T40" fmla="*/ 71 w 85"/>
                  <a:gd name="T41" fmla="*/ 186 h 186"/>
                  <a:gd name="T42" fmla="*/ 13 w 85"/>
                  <a:gd name="T43" fmla="*/ 147 h 186"/>
                  <a:gd name="T44" fmla="*/ 71 w 85"/>
                  <a:gd name="T45" fmla="*/ 181 h 186"/>
                  <a:gd name="T46" fmla="*/ 80 w 85"/>
                  <a:gd name="T47" fmla="*/ 176 h 186"/>
                  <a:gd name="T48" fmla="*/ 81 w 85"/>
                  <a:gd name="T49" fmla="*/ 176 h 186"/>
                  <a:gd name="T50" fmla="*/ 81 w 85"/>
                  <a:gd name="T51" fmla="*/ 47 h 186"/>
                  <a:gd name="T52" fmla="*/ 9 w 85"/>
                  <a:gd name="T53" fmla="*/ 5 h 186"/>
                  <a:gd name="T54" fmla="*/ 9 w 85"/>
                  <a:gd name="T55" fmla="*/ 129 h 186"/>
                  <a:gd name="T56" fmla="*/ 8 w 85"/>
                  <a:gd name="T57" fmla="*/ 131 h 186"/>
                  <a:gd name="T58" fmla="*/ 6 w 85"/>
                  <a:gd name="T59" fmla="*/ 132 h 186"/>
                  <a:gd name="T60" fmla="*/ 20 w 85"/>
                  <a:gd name="T61" fmla="*/ 140 h 186"/>
                  <a:gd name="T62" fmla="*/ 21 w 85"/>
                  <a:gd name="T63" fmla="*/ 142 h 186"/>
                  <a:gd name="T64" fmla="*/ 20 w 85"/>
                  <a:gd name="T65" fmla="*/ 143 h 186"/>
                  <a:gd name="T66" fmla="*/ 13 w 85"/>
                  <a:gd name="T67" fmla="*/ 147 h 186"/>
                  <a:gd name="T68" fmla="*/ 7 w 85"/>
                  <a:gd name="T69" fmla="*/ 129 h 186"/>
                  <a:gd name="T70" fmla="*/ 7 w 85"/>
                  <a:gd name="T7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86">
                    <a:moveTo>
                      <a:pt x="71" y="186"/>
                    </a:moveTo>
                    <a:cubicBezTo>
                      <a:pt x="71" y="186"/>
                      <a:pt x="71" y="186"/>
                      <a:pt x="70" y="185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7" y="149"/>
                      <a:pt x="7" y="148"/>
                      <a:pt x="7" y="147"/>
                    </a:cubicBezTo>
                    <a:cubicBezTo>
                      <a:pt x="7" y="147"/>
                      <a:pt x="7" y="146"/>
                      <a:pt x="8" y="146"/>
                    </a:cubicBezTo>
                    <a:cubicBezTo>
                      <a:pt x="15" y="142"/>
                      <a:pt x="15" y="142"/>
                      <a:pt x="15" y="14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0" y="133"/>
                      <a:pt x="0" y="133"/>
                      <a:pt x="0" y="132"/>
                    </a:cubicBezTo>
                    <a:cubicBezTo>
                      <a:pt x="0" y="131"/>
                      <a:pt x="0" y="131"/>
                      <a:pt x="1" y="130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85" y="44"/>
                      <a:pt x="85" y="45"/>
                      <a:pt x="85" y="46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5" y="180"/>
                      <a:pt x="85" y="180"/>
                      <a:pt x="84" y="181"/>
                    </a:cubicBezTo>
                    <a:cubicBezTo>
                      <a:pt x="84" y="181"/>
                      <a:pt x="83" y="181"/>
                      <a:pt x="82" y="181"/>
                    </a:cubicBezTo>
                    <a:cubicBezTo>
                      <a:pt x="81" y="180"/>
                      <a:pt x="81" y="180"/>
                      <a:pt x="81" y="180"/>
                    </a:cubicBezTo>
                    <a:cubicBezTo>
                      <a:pt x="72" y="185"/>
                      <a:pt x="72" y="185"/>
                      <a:pt x="72" y="185"/>
                    </a:cubicBezTo>
                    <a:cubicBezTo>
                      <a:pt x="72" y="186"/>
                      <a:pt x="72" y="186"/>
                      <a:pt x="71" y="186"/>
                    </a:cubicBezTo>
                    <a:close/>
                    <a:moveTo>
                      <a:pt x="13" y="147"/>
                    </a:moveTo>
                    <a:cubicBezTo>
                      <a:pt x="71" y="181"/>
                      <a:pt x="71" y="181"/>
                      <a:pt x="71" y="181"/>
                    </a:cubicBezTo>
                    <a:cubicBezTo>
                      <a:pt x="80" y="176"/>
                      <a:pt x="80" y="176"/>
                      <a:pt x="80" y="176"/>
                    </a:cubicBezTo>
                    <a:cubicBezTo>
                      <a:pt x="81" y="176"/>
                      <a:pt x="81" y="176"/>
                      <a:pt x="81" y="176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129"/>
                      <a:pt x="9" y="129"/>
                      <a:pt x="9" y="129"/>
                    </a:cubicBezTo>
                    <a:cubicBezTo>
                      <a:pt x="9" y="130"/>
                      <a:pt x="8" y="131"/>
                      <a:pt x="8" y="131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0" y="140"/>
                      <a:pt x="21" y="141"/>
                      <a:pt x="21" y="142"/>
                    </a:cubicBezTo>
                    <a:cubicBezTo>
                      <a:pt x="21" y="142"/>
                      <a:pt x="20" y="143"/>
                      <a:pt x="20" y="143"/>
                    </a:cubicBezTo>
                    <a:lnTo>
                      <a:pt x="13" y="147"/>
                    </a:lnTo>
                    <a:close/>
                    <a:moveTo>
                      <a:pt x="7" y="129"/>
                    </a:moveTo>
                    <a:cubicBezTo>
                      <a:pt x="7" y="129"/>
                      <a:pt x="7" y="129"/>
                      <a:pt x="7" y="12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2" name="Freeform 1040">
                <a:extLst>
                  <a:ext uri="{FF2B5EF4-FFF2-40B4-BE49-F238E27FC236}">
                    <a16:creationId xmlns:a16="http://schemas.microsoft.com/office/drawing/2014/main" id="{7CC37F04-C13E-408A-AC15-688DC588F4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756581" y="6082860"/>
                <a:ext cx="301925" cy="357951"/>
              </a:xfrm>
              <a:custGeom>
                <a:avLst/>
                <a:gdLst>
                  <a:gd name="T0" fmla="*/ 3 w 123"/>
                  <a:gd name="T1" fmla="*/ 146 h 146"/>
                  <a:gd name="T2" fmla="*/ 2 w 123"/>
                  <a:gd name="T3" fmla="*/ 146 h 146"/>
                  <a:gd name="T4" fmla="*/ 1 w 123"/>
                  <a:gd name="T5" fmla="*/ 145 h 146"/>
                  <a:gd name="T6" fmla="*/ 0 w 123"/>
                  <a:gd name="T7" fmla="*/ 143 h 146"/>
                  <a:gd name="T8" fmla="*/ 0 w 123"/>
                  <a:gd name="T9" fmla="*/ 8 h 146"/>
                  <a:gd name="T10" fmla="*/ 1 w 123"/>
                  <a:gd name="T11" fmla="*/ 6 h 146"/>
                  <a:gd name="T12" fmla="*/ 11 w 123"/>
                  <a:gd name="T13" fmla="*/ 0 h 146"/>
                  <a:gd name="T14" fmla="*/ 13 w 123"/>
                  <a:gd name="T15" fmla="*/ 0 h 146"/>
                  <a:gd name="T16" fmla="*/ 122 w 123"/>
                  <a:gd name="T17" fmla="*/ 63 h 146"/>
                  <a:gd name="T18" fmla="*/ 123 w 123"/>
                  <a:gd name="T19" fmla="*/ 65 h 146"/>
                  <a:gd name="T20" fmla="*/ 123 w 123"/>
                  <a:gd name="T21" fmla="*/ 75 h 146"/>
                  <a:gd name="T22" fmla="*/ 122 w 123"/>
                  <a:gd name="T23" fmla="*/ 77 h 146"/>
                  <a:gd name="T24" fmla="*/ 4 w 123"/>
                  <a:gd name="T25" fmla="*/ 146 h 146"/>
                  <a:gd name="T26" fmla="*/ 3 w 123"/>
                  <a:gd name="T27" fmla="*/ 146 h 146"/>
                  <a:gd name="T28" fmla="*/ 4 w 123"/>
                  <a:gd name="T29" fmla="*/ 9 h 146"/>
                  <a:gd name="T30" fmla="*/ 4 w 123"/>
                  <a:gd name="T31" fmla="*/ 141 h 146"/>
                  <a:gd name="T32" fmla="*/ 119 w 123"/>
                  <a:gd name="T33" fmla="*/ 74 h 146"/>
                  <a:gd name="T34" fmla="*/ 119 w 123"/>
                  <a:gd name="T35" fmla="*/ 66 h 146"/>
                  <a:gd name="T36" fmla="*/ 12 w 123"/>
                  <a:gd name="T37" fmla="*/ 4 h 146"/>
                  <a:gd name="T38" fmla="*/ 4 w 123"/>
                  <a:gd name="T39" fmla="*/ 9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3" h="146">
                    <a:moveTo>
                      <a:pt x="3" y="146"/>
                    </a:moveTo>
                    <a:cubicBezTo>
                      <a:pt x="3" y="146"/>
                      <a:pt x="2" y="146"/>
                      <a:pt x="2" y="146"/>
                    </a:cubicBezTo>
                    <a:cubicBezTo>
                      <a:pt x="1" y="145"/>
                      <a:pt x="1" y="145"/>
                      <a:pt x="1" y="145"/>
                    </a:cubicBezTo>
                    <a:cubicBezTo>
                      <a:pt x="0" y="144"/>
                      <a:pt x="0" y="144"/>
                      <a:pt x="0" y="14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4"/>
                      <a:pt x="123" y="64"/>
                      <a:pt x="123" y="65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23" y="76"/>
                      <a:pt x="123" y="77"/>
                      <a:pt x="122" y="77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4" y="146"/>
                      <a:pt x="3" y="146"/>
                      <a:pt x="3" y="146"/>
                    </a:cubicBezTo>
                    <a:close/>
                    <a:moveTo>
                      <a:pt x="4" y="9"/>
                    </a:moveTo>
                    <a:cubicBezTo>
                      <a:pt x="4" y="141"/>
                      <a:pt x="4" y="141"/>
                      <a:pt x="4" y="141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2" y="4"/>
                      <a:pt x="12" y="4"/>
                      <a:pt x="12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3" name="Freeform 1041">
                <a:extLst>
                  <a:ext uri="{FF2B5EF4-FFF2-40B4-BE49-F238E27FC236}">
                    <a16:creationId xmlns:a16="http://schemas.microsoft.com/office/drawing/2014/main" id="{E19236CC-8D97-44CF-8FF6-56EEEE3192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53318" y="6367146"/>
                <a:ext cx="118280" cy="90266"/>
              </a:xfrm>
              <a:custGeom>
                <a:avLst/>
                <a:gdLst>
                  <a:gd name="T0" fmla="*/ 37 w 48"/>
                  <a:gd name="T1" fmla="*/ 37 h 37"/>
                  <a:gd name="T2" fmla="*/ 36 w 48"/>
                  <a:gd name="T3" fmla="*/ 36 h 37"/>
                  <a:gd name="T4" fmla="*/ 1 w 48"/>
                  <a:gd name="T5" fmla="*/ 16 h 37"/>
                  <a:gd name="T6" fmla="*/ 0 w 48"/>
                  <a:gd name="T7" fmla="*/ 14 h 37"/>
                  <a:gd name="T8" fmla="*/ 0 w 48"/>
                  <a:gd name="T9" fmla="*/ 3 h 37"/>
                  <a:gd name="T10" fmla="*/ 1 w 48"/>
                  <a:gd name="T11" fmla="*/ 1 h 37"/>
                  <a:gd name="T12" fmla="*/ 3 w 48"/>
                  <a:gd name="T13" fmla="*/ 1 h 37"/>
                  <a:gd name="T14" fmla="*/ 47 w 48"/>
                  <a:gd name="T15" fmla="*/ 26 h 37"/>
                  <a:gd name="T16" fmla="*/ 48 w 48"/>
                  <a:gd name="T17" fmla="*/ 28 h 37"/>
                  <a:gd name="T18" fmla="*/ 48 w 48"/>
                  <a:gd name="T19" fmla="*/ 29 h 37"/>
                  <a:gd name="T20" fmla="*/ 47 w 48"/>
                  <a:gd name="T21" fmla="*/ 31 h 37"/>
                  <a:gd name="T22" fmla="*/ 38 w 48"/>
                  <a:gd name="T23" fmla="*/ 36 h 37"/>
                  <a:gd name="T24" fmla="*/ 37 w 48"/>
                  <a:gd name="T25" fmla="*/ 37 h 37"/>
                  <a:gd name="T26" fmla="*/ 4 w 48"/>
                  <a:gd name="T27" fmla="*/ 13 h 37"/>
                  <a:gd name="T28" fmla="*/ 37 w 48"/>
                  <a:gd name="T29" fmla="*/ 32 h 37"/>
                  <a:gd name="T30" fmla="*/ 43 w 48"/>
                  <a:gd name="T31" fmla="*/ 29 h 37"/>
                  <a:gd name="T32" fmla="*/ 4 w 48"/>
                  <a:gd name="T33" fmla="*/ 6 h 37"/>
                  <a:gd name="T34" fmla="*/ 4 w 48"/>
                  <a:gd name="T35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7">
                    <a:moveTo>
                      <a:pt x="37" y="37"/>
                    </a:moveTo>
                    <a:cubicBezTo>
                      <a:pt x="37" y="37"/>
                      <a:pt x="36" y="37"/>
                      <a:pt x="36" y="3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7"/>
                      <a:pt x="48" y="27"/>
                      <a:pt x="48" y="28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30"/>
                      <a:pt x="48" y="31"/>
                      <a:pt x="47" y="31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7" y="37"/>
                      <a:pt x="37" y="37"/>
                    </a:cubicBezTo>
                    <a:close/>
                    <a:moveTo>
                      <a:pt x="4" y="13"/>
                    </a:moveTo>
                    <a:cubicBezTo>
                      <a:pt x="37" y="32"/>
                      <a:pt x="37" y="32"/>
                      <a:pt x="37" y="32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4" name="Freeform 1042">
                <a:extLst>
                  <a:ext uri="{FF2B5EF4-FFF2-40B4-BE49-F238E27FC236}">
                    <a16:creationId xmlns:a16="http://schemas.microsoft.com/office/drawing/2014/main" id="{9A19A095-4234-4504-8161-AF20F4A2AB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166410" y="5861864"/>
                <a:ext cx="316450" cy="397378"/>
              </a:xfrm>
              <a:custGeom>
                <a:avLst/>
                <a:gdLst>
                  <a:gd name="T0" fmla="*/ 63 w 129"/>
                  <a:gd name="T1" fmla="*/ 162 h 162"/>
                  <a:gd name="T2" fmla="*/ 62 w 129"/>
                  <a:gd name="T3" fmla="*/ 162 h 162"/>
                  <a:gd name="T4" fmla="*/ 1 w 129"/>
                  <a:gd name="T5" fmla="*/ 127 h 162"/>
                  <a:gd name="T6" fmla="*/ 0 w 129"/>
                  <a:gd name="T7" fmla="*/ 125 h 162"/>
                  <a:gd name="T8" fmla="*/ 0 w 129"/>
                  <a:gd name="T9" fmla="*/ 2 h 162"/>
                  <a:gd name="T10" fmla="*/ 1 w 129"/>
                  <a:gd name="T11" fmla="*/ 0 h 162"/>
                  <a:gd name="T12" fmla="*/ 3 w 129"/>
                  <a:gd name="T13" fmla="*/ 0 h 162"/>
                  <a:gd name="T14" fmla="*/ 128 w 129"/>
                  <a:gd name="T15" fmla="*/ 73 h 162"/>
                  <a:gd name="T16" fmla="*/ 129 w 129"/>
                  <a:gd name="T17" fmla="*/ 75 h 162"/>
                  <a:gd name="T18" fmla="*/ 129 w 129"/>
                  <a:gd name="T19" fmla="*/ 123 h 162"/>
                  <a:gd name="T20" fmla="*/ 128 w 129"/>
                  <a:gd name="T21" fmla="*/ 125 h 162"/>
                  <a:gd name="T22" fmla="*/ 64 w 129"/>
                  <a:gd name="T23" fmla="*/ 162 h 162"/>
                  <a:gd name="T24" fmla="*/ 63 w 129"/>
                  <a:gd name="T25" fmla="*/ 162 h 162"/>
                  <a:gd name="T26" fmla="*/ 4 w 129"/>
                  <a:gd name="T27" fmla="*/ 124 h 162"/>
                  <a:gd name="T28" fmla="*/ 63 w 129"/>
                  <a:gd name="T29" fmla="*/ 158 h 162"/>
                  <a:gd name="T30" fmla="*/ 125 w 129"/>
                  <a:gd name="T31" fmla="*/ 122 h 162"/>
                  <a:gd name="T32" fmla="*/ 125 w 129"/>
                  <a:gd name="T33" fmla="*/ 76 h 162"/>
                  <a:gd name="T34" fmla="*/ 4 w 129"/>
                  <a:gd name="T35" fmla="*/ 6 h 162"/>
                  <a:gd name="T36" fmla="*/ 4 w 129"/>
                  <a:gd name="T37" fmla="*/ 12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9" h="162">
                    <a:moveTo>
                      <a:pt x="63" y="162"/>
                    </a:moveTo>
                    <a:cubicBezTo>
                      <a:pt x="63" y="162"/>
                      <a:pt x="63" y="162"/>
                      <a:pt x="62" y="16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0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4"/>
                      <a:pt x="129" y="125"/>
                      <a:pt x="128" y="125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4" y="162"/>
                      <a:pt x="64" y="162"/>
                      <a:pt x="63" y="162"/>
                    </a:cubicBezTo>
                    <a:close/>
                    <a:moveTo>
                      <a:pt x="4" y="124"/>
                    </a:moveTo>
                    <a:cubicBezTo>
                      <a:pt x="63" y="158"/>
                      <a:pt x="63" y="158"/>
                      <a:pt x="63" y="158"/>
                    </a:cubicBezTo>
                    <a:cubicBezTo>
                      <a:pt x="125" y="122"/>
                      <a:pt x="125" y="122"/>
                      <a:pt x="125" y="122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5" name="Freeform 1043">
                <a:extLst>
                  <a:ext uri="{FF2B5EF4-FFF2-40B4-BE49-F238E27FC236}">
                    <a16:creationId xmlns:a16="http://schemas.microsoft.com/office/drawing/2014/main" id="{4E9EBF9F-FBDA-4612-A759-8059BC9432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92745" y="6628606"/>
                <a:ext cx="262498" cy="328900"/>
              </a:xfrm>
              <a:custGeom>
                <a:avLst/>
                <a:gdLst>
                  <a:gd name="T0" fmla="*/ 2 w 107"/>
                  <a:gd name="T1" fmla="*/ 134 h 134"/>
                  <a:gd name="T2" fmla="*/ 1 w 107"/>
                  <a:gd name="T3" fmla="*/ 133 h 134"/>
                  <a:gd name="T4" fmla="*/ 0 w 107"/>
                  <a:gd name="T5" fmla="*/ 132 h 134"/>
                  <a:gd name="T6" fmla="*/ 0 w 107"/>
                  <a:gd name="T7" fmla="*/ 4 h 134"/>
                  <a:gd name="T8" fmla="*/ 1 w 107"/>
                  <a:gd name="T9" fmla="*/ 2 h 134"/>
                  <a:gd name="T10" fmla="*/ 3 w 107"/>
                  <a:gd name="T11" fmla="*/ 0 h 134"/>
                  <a:gd name="T12" fmla="*/ 5 w 107"/>
                  <a:gd name="T13" fmla="*/ 0 h 134"/>
                  <a:gd name="T14" fmla="*/ 76 w 107"/>
                  <a:gd name="T15" fmla="*/ 42 h 134"/>
                  <a:gd name="T16" fmla="*/ 77 w 107"/>
                  <a:gd name="T17" fmla="*/ 43 h 134"/>
                  <a:gd name="T18" fmla="*/ 77 w 107"/>
                  <a:gd name="T19" fmla="*/ 54 h 134"/>
                  <a:gd name="T20" fmla="*/ 106 w 107"/>
                  <a:gd name="T21" fmla="*/ 70 h 134"/>
                  <a:gd name="T22" fmla="*/ 107 w 107"/>
                  <a:gd name="T23" fmla="*/ 72 h 134"/>
                  <a:gd name="T24" fmla="*/ 106 w 107"/>
                  <a:gd name="T25" fmla="*/ 74 h 134"/>
                  <a:gd name="T26" fmla="*/ 3 w 107"/>
                  <a:gd name="T27" fmla="*/ 133 h 134"/>
                  <a:gd name="T28" fmla="*/ 2 w 107"/>
                  <a:gd name="T29" fmla="*/ 134 h 134"/>
                  <a:gd name="T30" fmla="*/ 4 w 107"/>
                  <a:gd name="T31" fmla="*/ 5 h 134"/>
                  <a:gd name="T32" fmla="*/ 4 w 107"/>
                  <a:gd name="T33" fmla="*/ 128 h 134"/>
                  <a:gd name="T34" fmla="*/ 101 w 107"/>
                  <a:gd name="T35" fmla="*/ 72 h 134"/>
                  <a:gd name="T36" fmla="*/ 74 w 107"/>
                  <a:gd name="T37" fmla="*/ 57 h 134"/>
                  <a:gd name="T38" fmla="*/ 73 w 107"/>
                  <a:gd name="T39" fmla="*/ 55 h 134"/>
                  <a:gd name="T40" fmla="*/ 73 w 107"/>
                  <a:gd name="T41" fmla="*/ 45 h 134"/>
                  <a:gd name="T42" fmla="*/ 4 w 107"/>
                  <a:gd name="T43" fmla="*/ 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34">
                    <a:moveTo>
                      <a:pt x="2" y="134"/>
                    </a:moveTo>
                    <a:cubicBezTo>
                      <a:pt x="1" y="134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7" y="42"/>
                      <a:pt x="77" y="43"/>
                      <a:pt x="77" y="43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1"/>
                      <a:pt x="107" y="71"/>
                      <a:pt x="107" y="72"/>
                    </a:cubicBezTo>
                    <a:cubicBezTo>
                      <a:pt x="107" y="73"/>
                      <a:pt x="106" y="73"/>
                      <a:pt x="106" y="74"/>
                    </a:cubicBezTo>
                    <a:cubicBezTo>
                      <a:pt x="3" y="133"/>
                      <a:pt x="3" y="133"/>
                      <a:pt x="3" y="133"/>
                    </a:cubicBezTo>
                    <a:cubicBezTo>
                      <a:pt x="2" y="133"/>
                      <a:pt x="2" y="134"/>
                      <a:pt x="2" y="134"/>
                    </a:cubicBezTo>
                    <a:close/>
                    <a:moveTo>
                      <a:pt x="4" y="5"/>
                    </a:moveTo>
                    <a:cubicBezTo>
                      <a:pt x="4" y="128"/>
                      <a:pt x="4" y="128"/>
                      <a:pt x="4" y="128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74" y="57"/>
                      <a:pt x="74" y="57"/>
                      <a:pt x="74" y="57"/>
                    </a:cubicBezTo>
                    <a:cubicBezTo>
                      <a:pt x="74" y="56"/>
                      <a:pt x="73" y="56"/>
                      <a:pt x="73" y="55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6" name="Freeform 1044">
                <a:extLst>
                  <a:ext uri="{FF2B5EF4-FFF2-40B4-BE49-F238E27FC236}">
                    <a16:creationId xmlns:a16="http://schemas.microsoft.com/office/drawing/2014/main" id="{2113AA6E-7712-401A-A099-2E0AE14219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053318" y="6099461"/>
                <a:ext cx="118280" cy="336163"/>
              </a:xfrm>
              <a:custGeom>
                <a:avLst/>
                <a:gdLst>
                  <a:gd name="T0" fmla="*/ 46 w 48"/>
                  <a:gd name="T1" fmla="*/ 137 h 137"/>
                  <a:gd name="T2" fmla="*/ 45 w 48"/>
                  <a:gd name="T3" fmla="*/ 137 h 137"/>
                  <a:gd name="T4" fmla="*/ 1 w 48"/>
                  <a:gd name="T5" fmla="*/ 111 h 137"/>
                  <a:gd name="T6" fmla="*/ 0 w 48"/>
                  <a:gd name="T7" fmla="*/ 110 h 137"/>
                  <a:gd name="T8" fmla="*/ 0 w 48"/>
                  <a:gd name="T9" fmla="*/ 27 h 137"/>
                  <a:gd name="T10" fmla="*/ 1 w 48"/>
                  <a:gd name="T11" fmla="*/ 26 h 137"/>
                  <a:gd name="T12" fmla="*/ 45 w 48"/>
                  <a:gd name="T13" fmla="*/ 0 h 137"/>
                  <a:gd name="T14" fmla="*/ 47 w 48"/>
                  <a:gd name="T15" fmla="*/ 0 h 137"/>
                  <a:gd name="T16" fmla="*/ 48 w 48"/>
                  <a:gd name="T17" fmla="*/ 2 h 137"/>
                  <a:gd name="T18" fmla="*/ 48 w 48"/>
                  <a:gd name="T19" fmla="*/ 135 h 137"/>
                  <a:gd name="T20" fmla="*/ 47 w 48"/>
                  <a:gd name="T21" fmla="*/ 137 h 137"/>
                  <a:gd name="T22" fmla="*/ 46 w 48"/>
                  <a:gd name="T23" fmla="*/ 137 h 137"/>
                  <a:gd name="T24" fmla="*/ 4 w 48"/>
                  <a:gd name="T25" fmla="*/ 109 h 137"/>
                  <a:gd name="T26" fmla="*/ 44 w 48"/>
                  <a:gd name="T27" fmla="*/ 132 h 137"/>
                  <a:gd name="T28" fmla="*/ 44 w 48"/>
                  <a:gd name="T29" fmla="*/ 5 h 137"/>
                  <a:gd name="T30" fmla="*/ 4 w 48"/>
                  <a:gd name="T31" fmla="*/ 28 h 137"/>
                  <a:gd name="T32" fmla="*/ 4 w 48"/>
                  <a:gd name="T33" fmla="*/ 10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137">
                    <a:moveTo>
                      <a:pt x="46" y="137"/>
                    </a:moveTo>
                    <a:cubicBezTo>
                      <a:pt x="46" y="137"/>
                      <a:pt x="45" y="137"/>
                      <a:pt x="45" y="137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6"/>
                      <a:pt x="1" y="2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6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6"/>
                      <a:pt x="47" y="137"/>
                    </a:cubicBezTo>
                    <a:cubicBezTo>
                      <a:pt x="47" y="137"/>
                      <a:pt x="46" y="137"/>
                      <a:pt x="46" y="137"/>
                    </a:cubicBezTo>
                    <a:close/>
                    <a:moveTo>
                      <a:pt x="4" y="109"/>
                    </a:moveTo>
                    <a:cubicBezTo>
                      <a:pt x="44" y="132"/>
                      <a:pt x="44" y="132"/>
                      <a:pt x="44" y="132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10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7" name="Freeform 1045">
                <a:extLst>
                  <a:ext uri="{FF2B5EF4-FFF2-40B4-BE49-F238E27FC236}">
                    <a16:creationId xmlns:a16="http://schemas.microsoft.com/office/drawing/2014/main" id="{7D0E71E9-7ED8-4AF1-AA3C-DA2EAC8BCD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6553223" y="6263392"/>
                <a:ext cx="505283" cy="316450"/>
              </a:xfrm>
              <a:custGeom>
                <a:avLst/>
                <a:gdLst>
                  <a:gd name="T0" fmla="*/ 78 w 206"/>
                  <a:gd name="T1" fmla="*/ 129 h 129"/>
                  <a:gd name="T2" fmla="*/ 77 w 206"/>
                  <a:gd name="T3" fmla="*/ 129 h 129"/>
                  <a:gd name="T4" fmla="*/ 1 w 206"/>
                  <a:gd name="T5" fmla="*/ 84 h 129"/>
                  <a:gd name="T6" fmla="*/ 0 w 206"/>
                  <a:gd name="T7" fmla="*/ 83 h 129"/>
                  <a:gd name="T8" fmla="*/ 0 w 206"/>
                  <a:gd name="T9" fmla="*/ 72 h 129"/>
                  <a:gd name="T10" fmla="*/ 1 w 206"/>
                  <a:gd name="T11" fmla="*/ 71 h 129"/>
                  <a:gd name="T12" fmla="*/ 2 w 206"/>
                  <a:gd name="T13" fmla="*/ 70 h 129"/>
                  <a:gd name="T14" fmla="*/ 4 w 206"/>
                  <a:gd name="T15" fmla="*/ 70 h 129"/>
                  <a:gd name="T16" fmla="*/ 12 w 206"/>
                  <a:gd name="T17" fmla="*/ 75 h 129"/>
                  <a:gd name="T18" fmla="*/ 140 w 206"/>
                  <a:gd name="T19" fmla="*/ 1 h 129"/>
                  <a:gd name="T20" fmla="*/ 142 w 206"/>
                  <a:gd name="T21" fmla="*/ 1 h 129"/>
                  <a:gd name="T22" fmla="*/ 205 w 206"/>
                  <a:gd name="T23" fmla="*/ 37 h 129"/>
                  <a:gd name="T24" fmla="*/ 206 w 206"/>
                  <a:gd name="T25" fmla="*/ 39 h 129"/>
                  <a:gd name="T26" fmla="*/ 205 w 206"/>
                  <a:gd name="T27" fmla="*/ 41 h 129"/>
                  <a:gd name="T28" fmla="*/ 80 w 206"/>
                  <a:gd name="T29" fmla="*/ 113 h 129"/>
                  <a:gd name="T30" fmla="*/ 80 w 206"/>
                  <a:gd name="T31" fmla="*/ 127 h 129"/>
                  <a:gd name="T32" fmla="*/ 79 w 206"/>
                  <a:gd name="T33" fmla="*/ 129 h 129"/>
                  <a:gd name="T34" fmla="*/ 78 w 206"/>
                  <a:gd name="T35" fmla="*/ 129 h 129"/>
                  <a:gd name="T36" fmla="*/ 4 w 206"/>
                  <a:gd name="T37" fmla="*/ 82 h 129"/>
                  <a:gd name="T38" fmla="*/ 76 w 206"/>
                  <a:gd name="T39" fmla="*/ 123 h 129"/>
                  <a:gd name="T40" fmla="*/ 76 w 206"/>
                  <a:gd name="T41" fmla="*/ 112 h 129"/>
                  <a:gd name="T42" fmla="*/ 77 w 206"/>
                  <a:gd name="T43" fmla="*/ 110 h 129"/>
                  <a:gd name="T44" fmla="*/ 200 w 206"/>
                  <a:gd name="T45" fmla="*/ 39 h 129"/>
                  <a:gd name="T46" fmla="*/ 141 w 206"/>
                  <a:gd name="T47" fmla="*/ 5 h 129"/>
                  <a:gd name="T48" fmla="*/ 13 w 206"/>
                  <a:gd name="T49" fmla="*/ 79 h 129"/>
                  <a:gd name="T50" fmla="*/ 11 w 206"/>
                  <a:gd name="T51" fmla="*/ 79 h 129"/>
                  <a:gd name="T52" fmla="*/ 4 w 206"/>
                  <a:gd name="T53" fmla="*/ 74 h 129"/>
                  <a:gd name="T54" fmla="*/ 4 w 206"/>
                  <a:gd name="T55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6" h="129">
                    <a:moveTo>
                      <a:pt x="78" y="129"/>
                    </a:moveTo>
                    <a:cubicBezTo>
                      <a:pt x="78" y="129"/>
                      <a:pt x="77" y="129"/>
                      <a:pt x="77" y="129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0" y="84"/>
                      <a:pt x="0" y="83"/>
                      <a:pt x="0" y="83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3" y="70"/>
                      <a:pt x="3" y="70"/>
                      <a:pt x="4" y="70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40" y="0"/>
                      <a:pt x="141" y="0"/>
                      <a:pt x="142" y="1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6" y="38"/>
                      <a:pt x="206" y="38"/>
                      <a:pt x="206" y="39"/>
                    </a:cubicBezTo>
                    <a:cubicBezTo>
                      <a:pt x="206" y="40"/>
                      <a:pt x="206" y="41"/>
                      <a:pt x="205" y="41"/>
                    </a:cubicBezTo>
                    <a:cubicBezTo>
                      <a:pt x="80" y="113"/>
                      <a:pt x="80" y="113"/>
                      <a:pt x="80" y="113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8"/>
                      <a:pt x="80" y="128"/>
                      <a:pt x="79" y="129"/>
                    </a:cubicBezTo>
                    <a:cubicBezTo>
                      <a:pt x="79" y="129"/>
                      <a:pt x="78" y="129"/>
                      <a:pt x="78" y="129"/>
                    </a:cubicBezTo>
                    <a:close/>
                    <a:moveTo>
                      <a:pt x="4" y="82"/>
                    </a:moveTo>
                    <a:cubicBezTo>
                      <a:pt x="76" y="123"/>
                      <a:pt x="76" y="123"/>
                      <a:pt x="76" y="123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1"/>
                      <a:pt x="77" y="111"/>
                      <a:pt x="77" y="110"/>
                    </a:cubicBezTo>
                    <a:cubicBezTo>
                      <a:pt x="200" y="39"/>
                      <a:pt x="200" y="39"/>
                      <a:pt x="200" y="39"/>
                    </a:cubicBezTo>
                    <a:cubicBezTo>
                      <a:pt x="141" y="5"/>
                      <a:pt x="141" y="5"/>
                      <a:pt x="141" y="5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12" y="79"/>
                      <a:pt x="12" y="79"/>
                      <a:pt x="11" y="79"/>
                    </a:cubicBezTo>
                    <a:cubicBezTo>
                      <a:pt x="4" y="74"/>
                      <a:pt x="4" y="74"/>
                      <a:pt x="4" y="74"/>
                    </a:cubicBezTo>
                    <a:lnTo>
                      <a:pt x="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8" name="Freeform 1046">
                <a:extLst>
                  <a:ext uri="{FF2B5EF4-FFF2-40B4-BE49-F238E27FC236}">
                    <a16:creationId xmlns:a16="http://schemas.microsoft.com/office/drawing/2014/main" id="{126540B0-3348-4F10-A8F5-7D971F0AB2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7209987" y="6167938"/>
                <a:ext cx="272873" cy="196095"/>
              </a:xfrm>
              <a:custGeom>
                <a:avLst/>
                <a:gdLst>
                  <a:gd name="T0" fmla="*/ 99 w 111"/>
                  <a:gd name="T1" fmla="*/ 80 h 80"/>
                  <a:gd name="T2" fmla="*/ 98 w 111"/>
                  <a:gd name="T3" fmla="*/ 80 h 80"/>
                  <a:gd name="T4" fmla="*/ 1 w 111"/>
                  <a:gd name="T5" fmla="*/ 24 h 80"/>
                  <a:gd name="T6" fmla="*/ 0 w 111"/>
                  <a:gd name="T7" fmla="*/ 22 h 80"/>
                  <a:gd name="T8" fmla="*/ 0 w 111"/>
                  <a:gd name="T9" fmla="*/ 2 h 80"/>
                  <a:gd name="T10" fmla="*/ 1 w 111"/>
                  <a:gd name="T11" fmla="*/ 0 h 80"/>
                  <a:gd name="T12" fmla="*/ 3 w 111"/>
                  <a:gd name="T13" fmla="*/ 0 h 80"/>
                  <a:gd name="T14" fmla="*/ 63 w 111"/>
                  <a:gd name="T15" fmla="*/ 35 h 80"/>
                  <a:gd name="T16" fmla="*/ 64 w 111"/>
                  <a:gd name="T17" fmla="*/ 36 h 80"/>
                  <a:gd name="T18" fmla="*/ 63 w 111"/>
                  <a:gd name="T19" fmla="*/ 38 h 80"/>
                  <a:gd name="T20" fmla="*/ 58 w 111"/>
                  <a:gd name="T21" fmla="*/ 40 h 80"/>
                  <a:gd name="T22" fmla="*/ 110 w 111"/>
                  <a:gd name="T23" fmla="*/ 71 h 80"/>
                  <a:gd name="T24" fmla="*/ 111 w 111"/>
                  <a:gd name="T25" fmla="*/ 72 h 80"/>
                  <a:gd name="T26" fmla="*/ 110 w 111"/>
                  <a:gd name="T27" fmla="*/ 74 h 80"/>
                  <a:gd name="T28" fmla="*/ 100 w 111"/>
                  <a:gd name="T29" fmla="*/ 80 h 80"/>
                  <a:gd name="T30" fmla="*/ 99 w 111"/>
                  <a:gd name="T31" fmla="*/ 80 h 80"/>
                  <a:gd name="T32" fmla="*/ 4 w 111"/>
                  <a:gd name="T33" fmla="*/ 21 h 80"/>
                  <a:gd name="T34" fmla="*/ 99 w 111"/>
                  <a:gd name="T35" fmla="*/ 76 h 80"/>
                  <a:gd name="T36" fmla="*/ 105 w 111"/>
                  <a:gd name="T37" fmla="*/ 72 h 80"/>
                  <a:gd name="T38" fmla="*/ 53 w 111"/>
                  <a:gd name="T39" fmla="*/ 42 h 80"/>
                  <a:gd name="T40" fmla="*/ 52 w 111"/>
                  <a:gd name="T41" fmla="*/ 40 h 80"/>
                  <a:gd name="T42" fmla="*/ 53 w 111"/>
                  <a:gd name="T43" fmla="*/ 39 h 80"/>
                  <a:gd name="T44" fmla="*/ 58 w 111"/>
                  <a:gd name="T45" fmla="*/ 36 h 80"/>
                  <a:gd name="T46" fmla="*/ 4 w 111"/>
                  <a:gd name="T47" fmla="*/ 5 h 80"/>
                  <a:gd name="T48" fmla="*/ 4 w 111"/>
                  <a:gd name="T49" fmla="*/ 2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1" h="80">
                    <a:moveTo>
                      <a:pt x="99" y="80"/>
                    </a:moveTo>
                    <a:cubicBezTo>
                      <a:pt x="99" y="80"/>
                      <a:pt x="99" y="80"/>
                      <a:pt x="98" y="80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4" y="36"/>
                      <a:pt x="64" y="36"/>
                    </a:cubicBezTo>
                    <a:cubicBezTo>
                      <a:pt x="64" y="37"/>
                      <a:pt x="63" y="38"/>
                      <a:pt x="63" y="38"/>
                    </a:cubicBezTo>
                    <a:cubicBezTo>
                      <a:pt x="58" y="40"/>
                      <a:pt x="58" y="40"/>
                      <a:pt x="58" y="40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1" y="71"/>
                      <a:pt x="111" y="72"/>
                      <a:pt x="111" y="72"/>
                    </a:cubicBezTo>
                    <a:cubicBezTo>
                      <a:pt x="111" y="73"/>
                      <a:pt x="111" y="74"/>
                      <a:pt x="110" y="74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80"/>
                      <a:pt x="100" y="80"/>
                      <a:pt x="99" y="80"/>
                    </a:cubicBezTo>
                    <a:close/>
                    <a:moveTo>
                      <a:pt x="4" y="21"/>
                    </a:moveTo>
                    <a:cubicBezTo>
                      <a:pt x="99" y="76"/>
                      <a:pt x="99" y="76"/>
                      <a:pt x="99" y="76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3" y="42"/>
                      <a:pt x="52" y="41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9" name="Freeform 1051">
                <a:extLst>
                  <a:ext uri="{FF2B5EF4-FFF2-40B4-BE49-F238E27FC236}">
                    <a16:creationId xmlns:a16="http://schemas.microsoft.com/office/drawing/2014/main" id="{4CD1C734-4F84-4C09-AD1A-A82DB81E17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6959581"/>
                <a:ext cx="237597" cy="480381"/>
              </a:xfrm>
              <a:custGeom>
                <a:avLst/>
                <a:gdLst>
                  <a:gd name="T0" fmla="*/ 2 w 97"/>
                  <a:gd name="T1" fmla="*/ 196 h 196"/>
                  <a:gd name="T2" fmla="*/ 1 w 97"/>
                  <a:gd name="T3" fmla="*/ 196 h 196"/>
                  <a:gd name="T4" fmla="*/ 0 w 97"/>
                  <a:gd name="T5" fmla="*/ 194 h 196"/>
                  <a:gd name="T6" fmla="*/ 0 w 97"/>
                  <a:gd name="T7" fmla="*/ 56 h 196"/>
                  <a:gd name="T8" fmla="*/ 1 w 97"/>
                  <a:gd name="T9" fmla="*/ 54 h 196"/>
                  <a:gd name="T10" fmla="*/ 94 w 97"/>
                  <a:gd name="T11" fmla="*/ 0 h 196"/>
                  <a:gd name="T12" fmla="*/ 96 w 97"/>
                  <a:gd name="T13" fmla="*/ 0 h 196"/>
                  <a:gd name="T14" fmla="*/ 97 w 97"/>
                  <a:gd name="T15" fmla="*/ 2 h 196"/>
                  <a:gd name="T16" fmla="*/ 97 w 97"/>
                  <a:gd name="T17" fmla="*/ 140 h 196"/>
                  <a:gd name="T18" fmla="*/ 97 w 97"/>
                  <a:gd name="T19" fmla="*/ 140 h 196"/>
                  <a:gd name="T20" fmla="*/ 96 w 97"/>
                  <a:gd name="T21" fmla="*/ 142 h 196"/>
                  <a:gd name="T22" fmla="*/ 3 w 97"/>
                  <a:gd name="T23" fmla="*/ 196 h 196"/>
                  <a:gd name="T24" fmla="*/ 2 w 97"/>
                  <a:gd name="T25" fmla="*/ 196 h 196"/>
                  <a:gd name="T26" fmla="*/ 4 w 97"/>
                  <a:gd name="T27" fmla="*/ 57 h 196"/>
                  <a:gd name="T28" fmla="*/ 4 w 97"/>
                  <a:gd name="T29" fmla="*/ 191 h 196"/>
                  <a:gd name="T30" fmla="*/ 93 w 97"/>
                  <a:gd name="T31" fmla="*/ 139 h 196"/>
                  <a:gd name="T32" fmla="*/ 93 w 97"/>
                  <a:gd name="T33" fmla="*/ 6 h 196"/>
                  <a:gd name="T34" fmla="*/ 4 w 97"/>
                  <a:gd name="T35" fmla="*/ 57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196">
                    <a:moveTo>
                      <a:pt x="2" y="196"/>
                    </a:moveTo>
                    <a:cubicBezTo>
                      <a:pt x="1" y="196"/>
                      <a:pt x="1" y="196"/>
                      <a:pt x="1" y="196"/>
                    </a:cubicBezTo>
                    <a:cubicBezTo>
                      <a:pt x="0" y="196"/>
                      <a:pt x="0" y="195"/>
                      <a:pt x="0" y="19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5"/>
                      <a:pt x="0" y="55"/>
                      <a:pt x="1" y="54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95" y="0"/>
                      <a:pt x="96" y="0"/>
                    </a:cubicBezTo>
                    <a:cubicBezTo>
                      <a:pt x="96" y="1"/>
                      <a:pt x="97" y="2"/>
                      <a:pt x="97" y="2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1"/>
                      <a:pt x="97" y="142"/>
                      <a:pt x="96" y="142"/>
                    </a:cubicBezTo>
                    <a:cubicBezTo>
                      <a:pt x="3" y="196"/>
                      <a:pt x="3" y="196"/>
                      <a:pt x="3" y="196"/>
                    </a:cubicBezTo>
                    <a:cubicBezTo>
                      <a:pt x="2" y="196"/>
                      <a:pt x="2" y="196"/>
                      <a:pt x="2" y="196"/>
                    </a:cubicBezTo>
                    <a:close/>
                    <a:moveTo>
                      <a:pt x="4" y="57"/>
                    </a:moveTo>
                    <a:cubicBezTo>
                      <a:pt x="4" y="191"/>
                      <a:pt x="4" y="191"/>
                      <a:pt x="4" y="191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93" y="6"/>
                      <a:pt x="93" y="6"/>
                      <a:pt x="93" y="6"/>
                    </a:cubicBezTo>
                    <a:lnTo>
                      <a:pt x="4" y="5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0" name="Freeform 1053">
                <a:extLst>
                  <a:ext uri="{FF2B5EF4-FFF2-40B4-BE49-F238E27FC236}">
                    <a16:creationId xmlns:a16="http://schemas.microsoft.com/office/drawing/2014/main" id="{20A28BD0-47CE-49BE-880F-A22DF8315D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73048" y="6450149"/>
                <a:ext cx="298812" cy="500094"/>
              </a:xfrm>
              <a:custGeom>
                <a:avLst/>
                <a:gdLst>
                  <a:gd name="T0" fmla="*/ 120 w 122"/>
                  <a:gd name="T1" fmla="*/ 204 h 204"/>
                  <a:gd name="T2" fmla="*/ 119 w 122"/>
                  <a:gd name="T3" fmla="*/ 204 h 204"/>
                  <a:gd name="T4" fmla="*/ 116 w 122"/>
                  <a:gd name="T5" fmla="*/ 203 h 204"/>
                  <a:gd name="T6" fmla="*/ 116 w 122"/>
                  <a:gd name="T7" fmla="*/ 203 h 204"/>
                  <a:gd name="T8" fmla="*/ 114 w 122"/>
                  <a:gd name="T9" fmla="*/ 203 h 204"/>
                  <a:gd name="T10" fmla="*/ 39 w 122"/>
                  <a:gd name="T11" fmla="*/ 160 h 204"/>
                  <a:gd name="T12" fmla="*/ 38 w 122"/>
                  <a:gd name="T13" fmla="*/ 159 h 204"/>
                  <a:gd name="T14" fmla="*/ 39 w 122"/>
                  <a:gd name="T15" fmla="*/ 157 h 204"/>
                  <a:gd name="T16" fmla="*/ 54 w 122"/>
                  <a:gd name="T17" fmla="*/ 149 h 204"/>
                  <a:gd name="T18" fmla="*/ 1 w 122"/>
                  <a:gd name="T19" fmla="*/ 118 h 204"/>
                  <a:gd name="T20" fmla="*/ 0 w 122"/>
                  <a:gd name="T21" fmla="*/ 116 h 204"/>
                  <a:gd name="T22" fmla="*/ 1 w 122"/>
                  <a:gd name="T23" fmla="*/ 115 h 204"/>
                  <a:gd name="T24" fmla="*/ 6 w 122"/>
                  <a:gd name="T25" fmla="*/ 112 h 204"/>
                  <a:gd name="T26" fmla="*/ 6 w 122"/>
                  <a:gd name="T27" fmla="*/ 2 h 204"/>
                  <a:gd name="T28" fmla="*/ 7 w 122"/>
                  <a:gd name="T29" fmla="*/ 0 h 204"/>
                  <a:gd name="T30" fmla="*/ 9 w 122"/>
                  <a:gd name="T31" fmla="*/ 0 h 204"/>
                  <a:gd name="T32" fmla="*/ 121 w 122"/>
                  <a:gd name="T33" fmla="*/ 65 h 204"/>
                  <a:gd name="T34" fmla="*/ 122 w 122"/>
                  <a:gd name="T35" fmla="*/ 66 h 204"/>
                  <a:gd name="T36" fmla="*/ 122 w 122"/>
                  <a:gd name="T37" fmla="*/ 202 h 204"/>
                  <a:gd name="T38" fmla="*/ 121 w 122"/>
                  <a:gd name="T39" fmla="*/ 204 h 204"/>
                  <a:gd name="T40" fmla="*/ 120 w 122"/>
                  <a:gd name="T41" fmla="*/ 204 h 204"/>
                  <a:gd name="T42" fmla="*/ 115 w 122"/>
                  <a:gd name="T43" fmla="*/ 197 h 204"/>
                  <a:gd name="T44" fmla="*/ 116 w 122"/>
                  <a:gd name="T45" fmla="*/ 198 h 204"/>
                  <a:gd name="T46" fmla="*/ 118 w 122"/>
                  <a:gd name="T47" fmla="*/ 199 h 204"/>
                  <a:gd name="T48" fmla="*/ 118 w 122"/>
                  <a:gd name="T49" fmla="*/ 68 h 204"/>
                  <a:gd name="T50" fmla="*/ 10 w 122"/>
                  <a:gd name="T51" fmla="*/ 5 h 204"/>
                  <a:gd name="T52" fmla="*/ 10 w 122"/>
                  <a:gd name="T53" fmla="*/ 113 h 204"/>
                  <a:gd name="T54" fmla="*/ 9 w 122"/>
                  <a:gd name="T55" fmla="*/ 115 h 204"/>
                  <a:gd name="T56" fmla="*/ 6 w 122"/>
                  <a:gd name="T57" fmla="*/ 116 h 204"/>
                  <a:gd name="T58" fmla="*/ 59 w 122"/>
                  <a:gd name="T59" fmla="*/ 147 h 204"/>
                  <a:gd name="T60" fmla="*/ 60 w 122"/>
                  <a:gd name="T61" fmla="*/ 149 h 204"/>
                  <a:gd name="T62" fmla="*/ 59 w 122"/>
                  <a:gd name="T63" fmla="*/ 150 h 204"/>
                  <a:gd name="T64" fmla="*/ 44 w 122"/>
                  <a:gd name="T65" fmla="*/ 159 h 204"/>
                  <a:gd name="T66" fmla="*/ 113 w 122"/>
                  <a:gd name="T67" fmla="*/ 198 h 204"/>
                  <a:gd name="T68" fmla="*/ 114 w 122"/>
                  <a:gd name="T69" fmla="*/ 198 h 204"/>
                  <a:gd name="T70" fmla="*/ 115 w 122"/>
                  <a:gd name="T71" fmla="*/ 19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2" h="204">
                    <a:moveTo>
                      <a:pt x="120" y="204"/>
                    </a:moveTo>
                    <a:cubicBezTo>
                      <a:pt x="119" y="204"/>
                      <a:pt x="119" y="204"/>
                      <a:pt x="119" y="204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5" y="204"/>
                      <a:pt x="114" y="204"/>
                      <a:pt x="114" y="203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60"/>
                      <a:pt x="38" y="159"/>
                      <a:pt x="38" y="159"/>
                    </a:cubicBezTo>
                    <a:cubicBezTo>
                      <a:pt x="38" y="158"/>
                      <a:pt x="39" y="157"/>
                      <a:pt x="39" y="157"/>
                    </a:cubicBezTo>
                    <a:cubicBezTo>
                      <a:pt x="54" y="149"/>
                      <a:pt x="54" y="149"/>
                      <a:pt x="54" y="149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8"/>
                      <a:pt x="0" y="117"/>
                      <a:pt x="0" y="116"/>
                    </a:cubicBezTo>
                    <a:cubicBezTo>
                      <a:pt x="0" y="116"/>
                      <a:pt x="0" y="115"/>
                      <a:pt x="1" y="115"/>
                    </a:cubicBezTo>
                    <a:cubicBezTo>
                      <a:pt x="6" y="112"/>
                      <a:pt x="6" y="112"/>
                      <a:pt x="6" y="11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6" y="0"/>
                      <a:pt x="7" y="0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121" y="65"/>
                      <a:pt x="121" y="65"/>
                      <a:pt x="121" y="65"/>
                    </a:cubicBezTo>
                    <a:cubicBezTo>
                      <a:pt x="121" y="65"/>
                      <a:pt x="122" y="66"/>
                      <a:pt x="122" y="66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2" y="203"/>
                      <a:pt x="121" y="204"/>
                      <a:pt x="121" y="204"/>
                    </a:cubicBezTo>
                    <a:cubicBezTo>
                      <a:pt x="120" y="204"/>
                      <a:pt x="120" y="204"/>
                      <a:pt x="120" y="204"/>
                    </a:cubicBezTo>
                    <a:close/>
                    <a:moveTo>
                      <a:pt x="115" y="197"/>
                    </a:moveTo>
                    <a:cubicBezTo>
                      <a:pt x="115" y="197"/>
                      <a:pt x="115" y="198"/>
                      <a:pt x="116" y="198"/>
                    </a:cubicBezTo>
                    <a:cubicBezTo>
                      <a:pt x="118" y="199"/>
                      <a:pt x="118" y="199"/>
                      <a:pt x="118" y="199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4"/>
                      <a:pt x="9" y="114"/>
                      <a:pt x="9" y="11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59" y="147"/>
                      <a:pt x="60" y="148"/>
                      <a:pt x="60" y="149"/>
                    </a:cubicBezTo>
                    <a:cubicBezTo>
                      <a:pt x="60" y="149"/>
                      <a:pt x="59" y="150"/>
                      <a:pt x="59" y="150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113" y="198"/>
                      <a:pt x="113" y="198"/>
                      <a:pt x="113" y="198"/>
                    </a:cubicBezTo>
                    <a:cubicBezTo>
                      <a:pt x="113" y="198"/>
                      <a:pt x="114" y="198"/>
                      <a:pt x="114" y="198"/>
                    </a:cubicBezTo>
                    <a:cubicBezTo>
                      <a:pt x="114" y="198"/>
                      <a:pt x="114" y="197"/>
                      <a:pt x="115" y="19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1" name="Freeform 1057">
                <a:extLst>
                  <a:ext uri="{FF2B5EF4-FFF2-40B4-BE49-F238E27FC236}">
                    <a16:creationId xmlns:a16="http://schemas.microsoft.com/office/drawing/2014/main" id="{AE0DBCB9-CACB-4623-B019-BD6E44B163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4985498" y="6837151"/>
                <a:ext cx="421242" cy="260422"/>
              </a:xfrm>
              <a:custGeom>
                <a:avLst/>
                <a:gdLst>
                  <a:gd name="T0" fmla="*/ 77 w 172"/>
                  <a:gd name="T1" fmla="*/ 106 h 106"/>
                  <a:gd name="T2" fmla="*/ 76 w 172"/>
                  <a:gd name="T3" fmla="*/ 106 h 106"/>
                  <a:gd name="T4" fmla="*/ 75 w 172"/>
                  <a:gd name="T5" fmla="*/ 104 h 106"/>
                  <a:gd name="T6" fmla="*/ 75 w 172"/>
                  <a:gd name="T7" fmla="*/ 99 h 106"/>
                  <a:gd name="T8" fmla="*/ 1 w 172"/>
                  <a:gd name="T9" fmla="*/ 56 h 106"/>
                  <a:gd name="T10" fmla="*/ 0 w 172"/>
                  <a:gd name="T11" fmla="*/ 55 h 106"/>
                  <a:gd name="T12" fmla="*/ 1 w 172"/>
                  <a:gd name="T13" fmla="*/ 53 h 106"/>
                  <a:gd name="T14" fmla="*/ 93 w 172"/>
                  <a:gd name="T15" fmla="*/ 0 h 106"/>
                  <a:gd name="T16" fmla="*/ 95 w 172"/>
                  <a:gd name="T17" fmla="*/ 0 h 106"/>
                  <a:gd name="T18" fmla="*/ 171 w 172"/>
                  <a:gd name="T19" fmla="*/ 44 h 106"/>
                  <a:gd name="T20" fmla="*/ 172 w 172"/>
                  <a:gd name="T21" fmla="*/ 45 h 106"/>
                  <a:gd name="T22" fmla="*/ 172 w 172"/>
                  <a:gd name="T23" fmla="*/ 50 h 106"/>
                  <a:gd name="T24" fmla="*/ 171 w 172"/>
                  <a:gd name="T25" fmla="*/ 52 h 106"/>
                  <a:gd name="T26" fmla="*/ 78 w 172"/>
                  <a:gd name="T27" fmla="*/ 106 h 106"/>
                  <a:gd name="T28" fmla="*/ 77 w 172"/>
                  <a:gd name="T29" fmla="*/ 106 h 106"/>
                  <a:gd name="T30" fmla="*/ 6 w 172"/>
                  <a:gd name="T31" fmla="*/ 55 h 106"/>
                  <a:gd name="T32" fmla="*/ 78 w 172"/>
                  <a:gd name="T33" fmla="*/ 96 h 106"/>
                  <a:gd name="T34" fmla="*/ 79 w 172"/>
                  <a:gd name="T35" fmla="*/ 97 h 106"/>
                  <a:gd name="T36" fmla="*/ 79 w 172"/>
                  <a:gd name="T37" fmla="*/ 101 h 106"/>
                  <a:gd name="T38" fmla="*/ 168 w 172"/>
                  <a:gd name="T39" fmla="*/ 49 h 106"/>
                  <a:gd name="T40" fmla="*/ 168 w 172"/>
                  <a:gd name="T41" fmla="*/ 47 h 106"/>
                  <a:gd name="T42" fmla="*/ 94 w 172"/>
                  <a:gd name="T43" fmla="*/ 4 h 106"/>
                  <a:gd name="T44" fmla="*/ 6 w 172"/>
                  <a:gd name="T45" fmla="*/ 5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2" h="106">
                    <a:moveTo>
                      <a:pt x="77" y="106"/>
                    </a:moveTo>
                    <a:cubicBezTo>
                      <a:pt x="76" y="106"/>
                      <a:pt x="76" y="106"/>
                      <a:pt x="76" y="106"/>
                    </a:cubicBezTo>
                    <a:cubicBezTo>
                      <a:pt x="75" y="106"/>
                      <a:pt x="75" y="105"/>
                      <a:pt x="75" y="104"/>
                    </a:cubicBezTo>
                    <a:cubicBezTo>
                      <a:pt x="75" y="99"/>
                      <a:pt x="75" y="99"/>
                      <a:pt x="75" y="99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" y="56"/>
                      <a:pt x="0" y="55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4" y="0"/>
                      <a:pt x="95" y="0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1" y="44"/>
                      <a:pt x="172" y="45"/>
                      <a:pt x="172" y="45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1"/>
                      <a:pt x="171" y="52"/>
                      <a:pt x="171" y="52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7" y="106"/>
                      <a:pt x="77" y="106"/>
                      <a:pt x="77" y="106"/>
                    </a:cubicBezTo>
                    <a:close/>
                    <a:moveTo>
                      <a:pt x="6" y="55"/>
                    </a:move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6"/>
                      <a:pt x="79" y="97"/>
                      <a:pt x="79" y="97"/>
                    </a:cubicBezTo>
                    <a:cubicBezTo>
                      <a:pt x="79" y="101"/>
                      <a:pt x="79" y="101"/>
                      <a:pt x="79" y="101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94" y="4"/>
                      <a:pt x="94" y="4"/>
                      <a:pt x="94" y="4"/>
                    </a:cubicBezTo>
                    <a:lnTo>
                      <a:pt x="6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2" name="Freeform 1063">
                <a:extLst>
                  <a:ext uri="{FF2B5EF4-FFF2-40B4-BE49-F238E27FC236}">
                    <a16:creationId xmlns:a16="http://schemas.microsoft.com/office/drawing/2014/main" id="{B668F745-BBE3-4B0F-A524-6C32F42649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217907" y="6939868"/>
                <a:ext cx="328901" cy="481418"/>
              </a:xfrm>
              <a:custGeom>
                <a:avLst/>
                <a:gdLst>
                  <a:gd name="T0" fmla="*/ 111 w 134"/>
                  <a:gd name="T1" fmla="*/ 196 h 196"/>
                  <a:gd name="T2" fmla="*/ 110 w 134"/>
                  <a:gd name="T3" fmla="*/ 196 h 196"/>
                  <a:gd name="T4" fmla="*/ 1 w 134"/>
                  <a:gd name="T5" fmla="*/ 133 h 196"/>
                  <a:gd name="T6" fmla="*/ 0 w 134"/>
                  <a:gd name="T7" fmla="*/ 132 h 196"/>
                  <a:gd name="T8" fmla="*/ 0 w 134"/>
                  <a:gd name="T9" fmla="*/ 2 h 196"/>
                  <a:gd name="T10" fmla="*/ 1 w 134"/>
                  <a:gd name="T11" fmla="*/ 1 h 196"/>
                  <a:gd name="T12" fmla="*/ 3 w 134"/>
                  <a:gd name="T13" fmla="*/ 1 h 196"/>
                  <a:gd name="T14" fmla="*/ 39 w 134"/>
                  <a:gd name="T15" fmla="*/ 22 h 196"/>
                  <a:gd name="T16" fmla="*/ 57 w 134"/>
                  <a:gd name="T17" fmla="*/ 12 h 196"/>
                  <a:gd name="T18" fmla="*/ 59 w 134"/>
                  <a:gd name="T19" fmla="*/ 12 h 196"/>
                  <a:gd name="T20" fmla="*/ 133 w 134"/>
                  <a:gd name="T21" fmla="*/ 55 h 196"/>
                  <a:gd name="T22" fmla="*/ 134 w 134"/>
                  <a:gd name="T23" fmla="*/ 56 h 196"/>
                  <a:gd name="T24" fmla="*/ 134 w 134"/>
                  <a:gd name="T25" fmla="*/ 63 h 196"/>
                  <a:gd name="T26" fmla="*/ 133 w 134"/>
                  <a:gd name="T27" fmla="*/ 65 h 196"/>
                  <a:gd name="T28" fmla="*/ 113 w 134"/>
                  <a:gd name="T29" fmla="*/ 77 h 196"/>
                  <a:gd name="T30" fmla="*/ 113 w 134"/>
                  <a:gd name="T31" fmla="*/ 194 h 196"/>
                  <a:gd name="T32" fmla="*/ 112 w 134"/>
                  <a:gd name="T33" fmla="*/ 196 h 196"/>
                  <a:gd name="T34" fmla="*/ 111 w 134"/>
                  <a:gd name="T35" fmla="*/ 196 h 196"/>
                  <a:gd name="T36" fmla="*/ 4 w 134"/>
                  <a:gd name="T37" fmla="*/ 130 h 196"/>
                  <a:gd name="T38" fmla="*/ 109 w 134"/>
                  <a:gd name="T39" fmla="*/ 191 h 196"/>
                  <a:gd name="T40" fmla="*/ 109 w 134"/>
                  <a:gd name="T41" fmla="*/ 75 h 196"/>
                  <a:gd name="T42" fmla="*/ 110 w 134"/>
                  <a:gd name="T43" fmla="*/ 74 h 196"/>
                  <a:gd name="T44" fmla="*/ 130 w 134"/>
                  <a:gd name="T45" fmla="*/ 62 h 196"/>
                  <a:gd name="T46" fmla="*/ 130 w 134"/>
                  <a:gd name="T47" fmla="*/ 58 h 196"/>
                  <a:gd name="T48" fmla="*/ 58 w 134"/>
                  <a:gd name="T49" fmla="*/ 16 h 196"/>
                  <a:gd name="T50" fmla="*/ 40 w 134"/>
                  <a:gd name="T51" fmla="*/ 26 h 196"/>
                  <a:gd name="T52" fmla="*/ 38 w 134"/>
                  <a:gd name="T53" fmla="*/ 26 h 196"/>
                  <a:gd name="T54" fmla="*/ 4 w 134"/>
                  <a:gd name="T55" fmla="*/ 6 h 196"/>
                  <a:gd name="T56" fmla="*/ 4 w 134"/>
                  <a:gd name="T57" fmla="*/ 130 h 196"/>
                  <a:gd name="T58" fmla="*/ 132 w 134"/>
                  <a:gd name="T59" fmla="*/ 63 h 196"/>
                  <a:gd name="T60" fmla="*/ 132 w 134"/>
                  <a:gd name="T61" fmla="*/ 63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4" h="196">
                    <a:moveTo>
                      <a:pt x="111" y="196"/>
                    </a:moveTo>
                    <a:cubicBezTo>
                      <a:pt x="110" y="196"/>
                      <a:pt x="110" y="196"/>
                      <a:pt x="110" y="196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57" y="12"/>
                      <a:pt x="57" y="12"/>
                      <a:pt x="57" y="12"/>
                    </a:cubicBezTo>
                    <a:cubicBezTo>
                      <a:pt x="57" y="11"/>
                      <a:pt x="58" y="11"/>
                      <a:pt x="59" y="12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4" y="56"/>
                      <a:pt x="134" y="56"/>
                    </a:cubicBezTo>
                    <a:cubicBezTo>
                      <a:pt x="134" y="63"/>
                      <a:pt x="134" y="63"/>
                      <a:pt x="134" y="63"/>
                    </a:cubicBezTo>
                    <a:cubicBezTo>
                      <a:pt x="134" y="64"/>
                      <a:pt x="133" y="64"/>
                      <a:pt x="133" y="65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3" y="194"/>
                      <a:pt x="113" y="194"/>
                      <a:pt x="113" y="194"/>
                    </a:cubicBezTo>
                    <a:cubicBezTo>
                      <a:pt x="113" y="195"/>
                      <a:pt x="112" y="196"/>
                      <a:pt x="112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lose/>
                    <a:moveTo>
                      <a:pt x="4" y="130"/>
                    </a:moveTo>
                    <a:cubicBezTo>
                      <a:pt x="109" y="191"/>
                      <a:pt x="109" y="191"/>
                      <a:pt x="109" y="191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09" y="75"/>
                      <a:pt x="109" y="74"/>
                      <a:pt x="110" y="74"/>
                    </a:cubicBezTo>
                    <a:cubicBezTo>
                      <a:pt x="130" y="62"/>
                      <a:pt x="130" y="62"/>
                      <a:pt x="130" y="62"/>
                    </a:cubicBezTo>
                    <a:cubicBezTo>
                      <a:pt x="130" y="58"/>
                      <a:pt x="130" y="58"/>
                      <a:pt x="130" y="58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39" y="26"/>
                      <a:pt x="38" y="2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0"/>
                    </a:lnTo>
                    <a:close/>
                    <a:moveTo>
                      <a:pt x="132" y="63"/>
                    </a:moveTo>
                    <a:cubicBezTo>
                      <a:pt x="132" y="63"/>
                      <a:pt x="132" y="63"/>
                      <a:pt x="132" y="6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3" name="Freeform 1065">
                <a:extLst>
                  <a:ext uri="{FF2B5EF4-FFF2-40B4-BE49-F238E27FC236}">
                    <a16:creationId xmlns:a16="http://schemas.microsoft.com/office/drawing/2014/main" id="{5DA8C3AB-1081-4F11-9520-715072A874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 flipV="1">
                <a:off x="5550958" y="5844226"/>
                <a:ext cx="802020" cy="1052065"/>
              </a:xfrm>
              <a:custGeom>
                <a:avLst/>
                <a:gdLst>
                  <a:gd name="T0" fmla="*/ 66 w 327"/>
                  <a:gd name="T1" fmla="*/ 429 h 429"/>
                  <a:gd name="T2" fmla="*/ 65 w 327"/>
                  <a:gd name="T3" fmla="*/ 275 h 429"/>
                  <a:gd name="T4" fmla="*/ 0 w 327"/>
                  <a:gd name="T5" fmla="*/ 236 h 429"/>
                  <a:gd name="T6" fmla="*/ 94 w 327"/>
                  <a:gd name="T7" fmla="*/ 181 h 429"/>
                  <a:gd name="T8" fmla="*/ 111 w 327"/>
                  <a:gd name="T9" fmla="*/ 189 h 429"/>
                  <a:gd name="T10" fmla="*/ 76 w 327"/>
                  <a:gd name="T11" fmla="*/ 99 h 429"/>
                  <a:gd name="T12" fmla="*/ 75 w 327"/>
                  <a:gd name="T13" fmla="*/ 44 h 429"/>
                  <a:gd name="T14" fmla="*/ 110 w 327"/>
                  <a:gd name="T15" fmla="*/ 23 h 429"/>
                  <a:gd name="T16" fmla="*/ 118 w 327"/>
                  <a:gd name="T17" fmla="*/ 17 h 429"/>
                  <a:gd name="T18" fmla="*/ 119 w 327"/>
                  <a:gd name="T19" fmla="*/ 7 h 429"/>
                  <a:gd name="T20" fmla="*/ 132 w 327"/>
                  <a:gd name="T21" fmla="*/ 1 h 429"/>
                  <a:gd name="T22" fmla="*/ 133 w 327"/>
                  <a:gd name="T23" fmla="*/ 7 h 429"/>
                  <a:gd name="T24" fmla="*/ 186 w 327"/>
                  <a:gd name="T25" fmla="*/ 39 h 429"/>
                  <a:gd name="T26" fmla="*/ 185 w 327"/>
                  <a:gd name="T27" fmla="*/ 57 h 429"/>
                  <a:gd name="T28" fmla="*/ 121 w 327"/>
                  <a:gd name="T29" fmla="*/ 168 h 429"/>
                  <a:gd name="T30" fmla="*/ 130 w 327"/>
                  <a:gd name="T31" fmla="*/ 163 h 429"/>
                  <a:gd name="T32" fmla="*/ 327 w 327"/>
                  <a:gd name="T33" fmla="*/ 278 h 429"/>
                  <a:gd name="T34" fmla="*/ 318 w 327"/>
                  <a:gd name="T35" fmla="*/ 284 h 429"/>
                  <a:gd name="T36" fmla="*/ 317 w 327"/>
                  <a:gd name="T37" fmla="*/ 352 h 429"/>
                  <a:gd name="T38" fmla="*/ 302 w 327"/>
                  <a:gd name="T39" fmla="*/ 360 h 429"/>
                  <a:gd name="T40" fmla="*/ 301 w 327"/>
                  <a:gd name="T41" fmla="*/ 302 h 429"/>
                  <a:gd name="T42" fmla="*/ 177 w 327"/>
                  <a:gd name="T43" fmla="*/ 255 h 429"/>
                  <a:gd name="T44" fmla="*/ 78 w 327"/>
                  <a:gd name="T45" fmla="*/ 314 h 429"/>
                  <a:gd name="T46" fmla="*/ 77 w 327"/>
                  <a:gd name="T47" fmla="*/ 387 h 429"/>
                  <a:gd name="T48" fmla="*/ 77 w 327"/>
                  <a:gd name="T49" fmla="*/ 391 h 429"/>
                  <a:gd name="T50" fmla="*/ 78 w 327"/>
                  <a:gd name="T51" fmla="*/ 422 h 429"/>
                  <a:gd name="T52" fmla="*/ 68 w 327"/>
                  <a:gd name="T53" fmla="*/ 429 h 429"/>
                  <a:gd name="T54" fmla="*/ 69 w 327"/>
                  <a:gd name="T55" fmla="*/ 391 h 429"/>
                  <a:gd name="T56" fmla="*/ 74 w 327"/>
                  <a:gd name="T57" fmla="*/ 420 h 429"/>
                  <a:gd name="T58" fmla="*/ 69 w 327"/>
                  <a:gd name="T59" fmla="*/ 391 h 429"/>
                  <a:gd name="T60" fmla="*/ 68 w 327"/>
                  <a:gd name="T61" fmla="*/ 272 h 429"/>
                  <a:gd name="T62" fmla="*/ 69 w 327"/>
                  <a:gd name="T63" fmla="*/ 387 h 429"/>
                  <a:gd name="T64" fmla="*/ 74 w 327"/>
                  <a:gd name="T65" fmla="*/ 312 h 429"/>
                  <a:gd name="T66" fmla="*/ 173 w 327"/>
                  <a:gd name="T67" fmla="*/ 254 h 429"/>
                  <a:gd name="T68" fmla="*/ 174 w 327"/>
                  <a:gd name="T69" fmla="*/ 225 h 429"/>
                  <a:gd name="T70" fmla="*/ 304 w 327"/>
                  <a:gd name="T71" fmla="*/ 299 h 429"/>
                  <a:gd name="T72" fmla="*/ 305 w 327"/>
                  <a:gd name="T73" fmla="*/ 354 h 429"/>
                  <a:gd name="T74" fmla="*/ 314 w 327"/>
                  <a:gd name="T75" fmla="*/ 283 h 429"/>
                  <a:gd name="T76" fmla="*/ 321 w 327"/>
                  <a:gd name="T77" fmla="*/ 278 h 429"/>
                  <a:gd name="T78" fmla="*/ 120 w 327"/>
                  <a:gd name="T79" fmla="*/ 173 h 429"/>
                  <a:gd name="T80" fmla="*/ 117 w 327"/>
                  <a:gd name="T81" fmla="*/ 171 h 429"/>
                  <a:gd name="T82" fmla="*/ 118 w 327"/>
                  <a:gd name="T83" fmla="*/ 92 h 429"/>
                  <a:gd name="T84" fmla="*/ 182 w 327"/>
                  <a:gd name="T85" fmla="*/ 40 h 429"/>
                  <a:gd name="T86" fmla="*/ 129 w 327"/>
                  <a:gd name="T87" fmla="*/ 8 h 429"/>
                  <a:gd name="T88" fmla="*/ 122 w 327"/>
                  <a:gd name="T89" fmla="*/ 10 h 429"/>
                  <a:gd name="T90" fmla="*/ 121 w 327"/>
                  <a:gd name="T91" fmla="*/ 20 h 429"/>
                  <a:gd name="T92" fmla="*/ 113 w 327"/>
                  <a:gd name="T93" fmla="*/ 25 h 429"/>
                  <a:gd name="T94" fmla="*/ 79 w 327"/>
                  <a:gd name="T95" fmla="*/ 96 h 429"/>
                  <a:gd name="T96" fmla="*/ 115 w 327"/>
                  <a:gd name="T97" fmla="*/ 117 h 429"/>
                  <a:gd name="T98" fmla="*/ 114 w 327"/>
                  <a:gd name="T99" fmla="*/ 194 h 429"/>
                  <a:gd name="T100" fmla="*/ 95 w 327"/>
                  <a:gd name="T101" fmla="*/ 185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7" h="429">
                    <a:moveTo>
                      <a:pt x="67" y="429"/>
                    </a:move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8"/>
                      <a:pt x="65" y="428"/>
                      <a:pt x="65" y="427"/>
                    </a:cubicBezTo>
                    <a:cubicBezTo>
                      <a:pt x="65" y="275"/>
                      <a:pt x="65" y="275"/>
                      <a:pt x="65" y="275"/>
                    </a:cubicBezTo>
                    <a:cubicBezTo>
                      <a:pt x="1" y="238"/>
                      <a:pt x="1" y="238"/>
                      <a:pt x="1" y="238"/>
                    </a:cubicBezTo>
                    <a:cubicBezTo>
                      <a:pt x="0" y="238"/>
                      <a:pt x="0" y="237"/>
                      <a:pt x="0" y="236"/>
                    </a:cubicBezTo>
                    <a:cubicBezTo>
                      <a:pt x="0" y="236"/>
                      <a:pt x="0" y="235"/>
                      <a:pt x="1" y="235"/>
                    </a:cubicBezTo>
                    <a:cubicBezTo>
                      <a:pt x="94" y="181"/>
                      <a:pt x="94" y="181"/>
                      <a:pt x="94" y="181"/>
                    </a:cubicBezTo>
                    <a:cubicBezTo>
                      <a:pt x="95" y="180"/>
                      <a:pt x="95" y="180"/>
                      <a:pt x="96" y="181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118"/>
                      <a:pt x="111" y="118"/>
                      <a:pt x="111" y="118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98"/>
                      <a:pt x="75" y="98"/>
                      <a:pt x="75" y="97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5" y="43"/>
                      <a:pt x="76" y="42"/>
                      <a:pt x="76" y="42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0" y="22"/>
                      <a:pt x="110" y="22"/>
                      <a:pt x="111" y="22"/>
                    </a:cubicBezTo>
                    <a:cubicBezTo>
                      <a:pt x="118" y="17"/>
                      <a:pt x="118" y="17"/>
                      <a:pt x="118" y="17"/>
                    </a:cubicBezTo>
                    <a:cubicBezTo>
                      <a:pt x="118" y="9"/>
                      <a:pt x="118" y="9"/>
                      <a:pt x="118" y="9"/>
                    </a:cubicBezTo>
                    <a:cubicBezTo>
                      <a:pt x="118" y="8"/>
                      <a:pt x="119" y="7"/>
                      <a:pt x="119" y="7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1" y="0"/>
                      <a:pt x="132" y="1"/>
                    </a:cubicBezTo>
                    <a:cubicBezTo>
                      <a:pt x="133" y="1"/>
                      <a:pt x="133" y="2"/>
                      <a:pt x="133" y="2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6" y="38"/>
                      <a:pt x="186" y="38"/>
                      <a:pt x="186" y="39"/>
                    </a:cubicBezTo>
                    <a:cubicBezTo>
                      <a:pt x="186" y="55"/>
                      <a:pt x="186" y="55"/>
                      <a:pt x="186" y="55"/>
                    </a:cubicBezTo>
                    <a:cubicBezTo>
                      <a:pt x="186" y="56"/>
                      <a:pt x="186" y="57"/>
                      <a:pt x="185" y="57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68"/>
                      <a:pt x="121" y="168"/>
                      <a:pt x="121" y="168"/>
                    </a:cubicBezTo>
                    <a:cubicBezTo>
                      <a:pt x="128" y="163"/>
                      <a:pt x="128" y="163"/>
                      <a:pt x="128" y="163"/>
                    </a:cubicBezTo>
                    <a:cubicBezTo>
                      <a:pt x="129" y="163"/>
                      <a:pt x="130" y="163"/>
                      <a:pt x="130" y="163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7"/>
                      <a:pt x="327" y="277"/>
                      <a:pt x="327" y="278"/>
                    </a:cubicBezTo>
                    <a:cubicBezTo>
                      <a:pt x="327" y="279"/>
                      <a:pt x="326" y="279"/>
                      <a:pt x="326" y="280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8" y="351"/>
                      <a:pt x="318" y="351"/>
                      <a:pt x="318" y="351"/>
                    </a:cubicBezTo>
                    <a:cubicBezTo>
                      <a:pt x="318" y="351"/>
                      <a:pt x="317" y="352"/>
                      <a:pt x="317" y="352"/>
                    </a:cubicBezTo>
                    <a:cubicBezTo>
                      <a:pt x="304" y="360"/>
                      <a:pt x="304" y="360"/>
                      <a:pt x="304" y="360"/>
                    </a:cubicBezTo>
                    <a:cubicBezTo>
                      <a:pt x="304" y="360"/>
                      <a:pt x="303" y="360"/>
                      <a:pt x="302" y="360"/>
                    </a:cubicBezTo>
                    <a:cubicBezTo>
                      <a:pt x="302" y="359"/>
                      <a:pt x="301" y="359"/>
                      <a:pt x="301" y="358"/>
                    </a:cubicBezTo>
                    <a:cubicBezTo>
                      <a:pt x="301" y="302"/>
                      <a:pt x="301" y="302"/>
                      <a:pt x="301" y="302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177" y="255"/>
                      <a:pt x="177" y="255"/>
                      <a:pt x="177" y="255"/>
                    </a:cubicBezTo>
                    <a:cubicBezTo>
                      <a:pt x="177" y="256"/>
                      <a:pt x="176" y="257"/>
                      <a:pt x="176" y="257"/>
                    </a:cubicBezTo>
                    <a:cubicBezTo>
                      <a:pt x="78" y="314"/>
                      <a:pt x="78" y="314"/>
                      <a:pt x="78" y="314"/>
                    </a:cubicBezTo>
                    <a:cubicBezTo>
                      <a:pt x="78" y="385"/>
                      <a:pt x="78" y="385"/>
                      <a:pt x="78" y="385"/>
                    </a:cubicBezTo>
                    <a:cubicBezTo>
                      <a:pt x="78" y="386"/>
                      <a:pt x="77" y="386"/>
                      <a:pt x="77" y="387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7" y="391"/>
                      <a:pt x="77" y="391"/>
                      <a:pt x="77" y="391"/>
                    </a:cubicBezTo>
                    <a:cubicBezTo>
                      <a:pt x="77" y="392"/>
                      <a:pt x="78" y="392"/>
                      <a:pt x="78" y="393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8" y="422"/>
                      <a:pt x="77" y="423"/>
                      <a:pt x="77" y="423"/>
                    </a:cubicBezTo>
                    <a:cubicBezTo>
                      <a:pt x="68" y="429"/>
                      <a:pt x="68" y="429"/>
                      <a:pt x="68" y="429"/>
                    </a:cubicBezTo>
                    <a:cubicBezTo>
                      <a:pt x="67" y="429"/>
                      <a:pt x="67" y="429"/>
                      <a:pt x="67" y="429"/>
                    </a:cubicBezTo>
                    <a:close/>
                    <a:moveTo>
                      <a:pt x="69" y="391"/>
                    </a:moveTo>
                    <a:cubicBezTo>
                      <a:pt x="69" y="423"/>
                      <a:pt x="69" y="423"/>
                      <a:pt x="69" y="423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4" y="394"/>
                      <a:pt x="74" y="394"/>
                      <a:pt x="74" y="394"/>
                    </a:cubicBezTo>
                    <a:lnTo>
                      <a:pt x="69" y="391"/>
                    </a:lnTo>
                    <a:close/>
                    <a:moveTo>
                      <a:pt x="6" y="236"/>
                    </a:moveTo>
                    <a:cubicBezTo>
                      <a:pt x="68" y="272"/>
                      <a:pt x="68" y="272"/>
                      <a:pt x="68" y="272"/>
                    </a:cubicBezTo>
                    <a:cubicBezTo>
                      <a:pt x="68" y="273"/>
                      <a:pt x="69" y="273"/>
                      <a:pt x="69" y="274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4" y="312"/>
                      <a:pt x="74" y="311"/>
                      <a:pt x="75" y="311"/>
                    </a:cubicBezTo>
                    <a:cubicBezTo>
                      <a:pt x="173" y="254"/>
                      <a:pt x="173" y="254"/>
                      <a:pt x="173" y="254"/>
                    </a:cubicBezTo>
                    <a:cubicBezTo>
                      <a:pt x="173" y="226"/>
                      <a:pt x="173" y="226"/>
                      <a:pt x="173" y="226"/>
                    </a:cubicBezTo>
                    <a:cubicBezTo>
                      <a:pt x="173" y="226"/>
                      <a:pt x="173" y="225"/>
                      <a:pt x="174" y="225"/>
                    </a:cubicBezTo>
                    <a:cubicBezTo>
                      <a:pt x="174" y="224"/>
                      <a:pt x="175" y="224"/>
                      <a:pt x="176" y="225"/>
                    </a:cubicBezTo>
                    <a:cubicBezTo>
                      <a:pt x="304" y="299"/>
                      <a:pt x="304" y="299"/>
                      <a:pt x="304" y="299"/>
                    </a:cubicBezTo>
                    <a:cubicBezTo>
                      <a:pt x="305" y="299"/>
                      <a:pt x="305" y="300"/>
                      <a:pt x="305" y="301"/>
                    </a:cubicBezTo>
                    <a:cubicBezTo>
                      <a:pt x="305" y="354"/>
                      <a:pt x="305" y="354"/>
                      <a:pt x="305" y="354"/>
                    </a:cubicBezTo>
                    <a:cubicBezTo>
                      <a:pt x="314" y="349"/>
                      <a:pt x="314" y="349"/>
                      <a:pt x="314" y="349"/>
                    </a:cubicBezTo>
                    <a:cubicBezTo>
                      <a:pt x="314" y="283"/>
                      <a:pt x="314" y="283"/>
                      <a:pt x="314" y="283"/>
                    </a:cubicBezTo>
                    <a:cubicBezTo>
                      <a:pt x="314" y="282"/>
                      <a:pt x="314" y="282"/>
                      <a:pt x="315" y="281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129" y="167"/>
                      <a:pt x="129" y="167"/>
                      <a:pt x="129" y="167"/>
                    </a:cubicBezTo>
                    <a:cubicBezTo>
                      <a:pt x="120" y="173"/>
                      <a:pt x="120" y="173"/>
                      <a:pt x="120" y="173"/>
                    </a:cubicBezTo>
                    <a:cubicBezTo>
                      <a:pt x="119" y="173"/>
                      <a:pt x="118" y="173"/>
                      <a:pt x="118" y="173"/>
                    </a:cubicBezTo>
                    <a:cubicBezTo>
                      <a:pt x="117" y="173"/>
                      <a:pt x="117" y="172"/>
                      <a:pt x="117" y="171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7" y="93"/>
                      <a:pt x="117" y="92"/>
                      <a:pt x="118" y="92"/>
                    </a:cubicBezTo>
                    <a:cubicBezTo>
                      <a:pt x="182" y="54"/>
                      <a:pt x="182" y="54"/>
                      <a:pt x="182" y="54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9"/>
                      <a:pt x="129" y="8"/>
                    </a:cubicBezTo>
                    <a:cubicBezTo>
                      <a:pt x="129" y="6"/>
                      <a:pt x="129" y="6"/>
                      <a:pt x="129" y="6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2" y="19"/>
                      <a:pt x="122" y="20"/>
                      <a:pt x="121" y="20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4" y="25"/>
                      <a:pt x="114" y="25"/>
                      <a:pt x="113" y="25"/>
                    </a:cubicBezTo>
                    <a:cubicBezTo>
                      <a:pt x="79" y="45"/>
                      <a:pt x="79" y="45"/>
                      <a:pt x="79" y="45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114" y="116"/>
                      <a:pt x="114" y="116"/>
                      <a:pt x="114" y="116"/>
                    </a:cubicBezTo>
                    <a:cubicBezTo>
                      <a:pt x="114" y="116"/>
                      <a:pt x="115" y="117"/>
                      <a:pt x="115" y="117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4" y="194"/>
                      <a:pt x="114" y="194"/>
                    </a:cubicBezTo>
                    <a:cubicBezTo>
                      <a:pt x="113" y="195"/>
                      <a:pt x="112" y="195"/>
                      <a:pt x="112" y="194"/>
                    </a:cubicBezTo>
                    <a:cubicBezTo>
                      <a:pt x="95" y="185"/>
                      <a:pt x="95" y="185"/>
                      <a:pt x="95" y="185"/>
                    </a:cubicBezTo>
                    <a:lnTo>
                      <a:pt x="6" y="23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4" name="Freeform 567">
                <a:extLst>
                  <a:ext uri="{FF2B5EF4-FFF2-40B4-BE49-F238E27FC236}">
                    <a16:creationId xmlns:a16="http://schemas.microsoft.com/office/drawing/2014/main" id="{09F40FCB-F519-46FD-B9F0-3C7705F17E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48147" y="5126162"/>
                <a:ext cx="649501" cy="377664"/>
              </a:xfrm>
              <a:custGeom>
                <a:avLst/>
                <a:gdLst>
                  <a:gd name="T0" fmla="*/ 132 w 265"/>
                  <a:gd name="T1" fmla="*/ 154 h 154"/>
                  <a:gd name="T2" fmla="*/ 131 w 265"/>
                  <a:gd name="T3" fmla="*/ 154 h 154"/>
                  <a:gd name="T4" fmla="*/ 1 w 265"/>
                  <a:gd name="T5" fmla="*/ 79 h 154"/>
                  <a:gd name="T6" fmla="*/ 0 w 265"/>
                  <a:gd name="T7" fmla="*/ 77 h 154"/>
                  <a:gd name="T8" fmla="*/ 1 w 265"/>
                  <a:gd name="T9" fmla="*/ 75 h 154"/>
                  <a:gd name="T10" fmla="*/ 131 w 265"/>
                  <a:gd name="T11" fmla="*/ 0 h 154"/>
                  <a:gd name="T12" fmla="*/ 133 w 265"/>
                  <a:gd name="T13" fmla="*/ 0 h 154"/>
                  <a:gd name="T14" fmla="*/ 264 w 265"/>
                  <a:gd name="T15" fmla="*/ 75 h 154"/>
                  <a:gd name="T16" fmla="*/ 265 w 265"/>
                  <a:gd name="T17" fmla="*/ 77 h 154"/>
                  <a:gd name="T18" fmla="*/ 264 w 265"/>
                  <a:gd name="T19" fmla="*/ 79 h 154"/>
                  <a:gd name="T20" fmla="*/ 133 w 265"/>
                  <a:gd name="T21" fmla="*/ 154 h 154"/>
                  <a:gd name="T22" fmla="*/ 132 w 265"/>
                  <a:gd name="T23" fmla="*/ 154 h 154"/>
                  <a:gd name="T24" fmla="*/ 6 w 265"/>
                  <a:gd name="T25" fmla="*/ 77 h 154"/>
                  <a:gd name="T26" fmla="*/ 132 w 265"/>
                  <a:gd name="T27" fmla="*/ 150 h 154"/>
                  <a:gd name="T28" fmla="*/ 259 w 265"/>
                  <a:gd name="T29" fmla="*/ 77 h 154"/>
                  <a:gd name="T30" fmla="*/ 132 w 265"/>
                  <a:gd name="T31" fmla="*/ 4 h 154"/>
                  <a:gd name="T32" fmla="*/ 6 w 265"/>
                  <a:gd name="T33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4">
                    <a:moveTo>
                      <a:pt x="132" y="154"/>
                    </a:moveTo>
                    <a:cubicBezTo>
                      <a:pt x="132" y="154"/>
                      <a:pt x="131" y="154"/>
                      <a:pt x="131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78"/>
                      <a:pt x="0" y="78"/>
                      <a:pt x="0" y="77"/>
                    </a:cubicBezTo>
                    <a:cubicBezTo>
                      <a:pt x="0" y="76"/>
                      <a:pt x="0" y="76"/>
                      <a:pt x="1" y="75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3" y="0"/>
                      <a:pt x="133" y="0"/>
                    </a:cubicBezTo>
                    <a:cubicBezTo>
                      <a:pt x="264" y="75"/>
                      <a:pt x="264" y="75"/>
                      <a:pt x="264" y="75"/>
                    </a:cubicBezTo>
                    <a:cubicBezTo>
                      <a:pt x="264" y="76"/>
                      <a:pt x="265" y="76"/>
                      <a:pt x="265" y="77"/>
                    </a:cubicBezTo>
                    <a:cubicBezTo>
                      <a:pt x="265" y="78"/>
                      <a:pt x="264" y="78"/>
                      <a:pt x="264" y="79"/>
                    </a:cubicBezTo>
                    <a:cubicBezTo>
                      <a:pt x="133" y="154"/>
                      <a:pt x="133" y="154"/>
                      <a:pt x="133" y="154"/>
                    </a:cubicBezTo>
                    <a:cubicBezTo>
                      <a:pt x="133" y="154"/>
                      <a:pt x="132" y="154"/>
                      <a:pt x="132" y="154"/>
                    </a:cubicBezTo>
                    <a:close/>
                    <a:moveTo>
                      <a:pt x="6" y="77"/>
                    </a:moveTo>
                    <a:cubicBezTo>
                      <a:pt x="132" y="150"/>
                      <a:pt x="132" y="150"/>
                      <a:pt x="132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2" y="4"/>
                      <a:pt x="132" y="4"/>
                      <a:pt x="132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5" name="Freeform 568">
                <a:extLst>
                  <a:ext uri="{FF2B5EF4-FFF2-40B4-BE49-F238E27FC236}">
                    <a16:creationId xmlns:a16="http://schemas.microsoft.com/office/drawing/2014/main" id="{BD5733DD-2F70-4B36-B00D-1EF996E76C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57485" y="5131350"/>
                <a:ext cx="631863" cy="370402"/>
              </a:xfrm>
              <a:custGeom>
                <a:avLst/>
                <a:gdLst>
                  <a:gd name="T0" fmla="*/ 129 w 258"/>
                  <a:gd name="T1" fmla="*/ 151 h 151"/>
                  <a:gd name="T2" fmla="*/ 128 w 258"/>
                  <a:gd name="T3" fmla="*/ 150 h 151"/>
                  <a:gd name="T4" fmla="*/ 1 w 258"/>
                  <a:gd name="T5" fmla="*/ 77 h 151"/>
                  <a:gd name="T6" fmla="*/ 0 w 258"/>
                  <a:gd name="T7" fmla="*/ 75 h 151"/>
                  <a:gd name="T8" fmla="*/ 1 w 258"/>
                  <a:gd name="T9" fmla="*/ 73 h 151"/>
                  <a:gd name="T10" fmla="*/ 128 w 258"/>
                  <a:gd name="T11" fmla="*/ 0 h 151"/>
                  <a:gd name="T12" fmla="*/ 130 w 258"/>
                  <a:gd name="T13" fmla="*/ 0 h 151"/>
                  <a:gd name="T14" fmla="*/ 257 w 258"/>
                  <a:gd name="T15" fmla="*/ 73 h 151"/>
                  <a:gd name="T16" fmla="*/ 258 w 258"/>
                  <a:gd name="T17" fmla="*/ 75 h 151"/>
                  <a:gd name="T18" fmla="*/ 257 w 258"/>
                  <a:gd name="T19" fmla="*/ 77 h 151"/>
                  <a:gd name="T20" fmla="*/ 130 w 258"/>
                  <a:gd name="T21" fmla="*/ 150 h 151"/>
                  <a:gd name="T22" fmla="*/ 129 w 258"/>
                  <a:gd name="T23" fmla="*/ 151 h 151"/>
                  <a:gd name="T24" fmla="*/ 6 w 258"/>
                  <a:gd name="T25" fmla="*/ 75 h 151"/>
                  <a:gd name="T26" fmla="*/ 129 w 258"/>
                  <a:gd name="T27" fmla="*/ 146 h 151"/>
                  <a:gd name="T28" fmla="*/ 252 w 258"/>
                  <a:gd name="T29" fmla="*/ 75 h 151"/>
                  <a:gd name="T30" fmla="*/ 129 w 258"/>
                  <a:gd name="T31" fmla="*/ 4 h 151"/>
                  <a:gd name="T32" fmla="*/ 6 w 258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8" h="151">
                    <a:moveTo>
                      <a:pt x="129" y="151"/>
                    </a:moveTo>
                    <a:cubicBezTo>
                      <a:pt x="129" y="151"/>
                      <a:pt x="128" y="150"/>
                      <a:pt x="128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76"/>
                      <a:pt x="0" y="76"/>
                      <a:pt x="0" y="75"/>
                    </a:cubicBezTo>
                    <a:cubicBezTo>
                      <a:pt x="0" y="74"/>
                      <a:pt x="0" y="74"/>
                      <a:pt x="1" y="73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30" y="0"/>
                      <a:pt x="130" y="0"/>
                    </a:cubicBezTo>
                    <a:cubicBezTo>
                      <a:pt x="257" y="73"/>
                      <a:pt x="257" y="73"/>
                      <a:pt x="257" y="73"/>
                    </a:cubicBezTo>
                    <a:cubicBezTo>
                      <a:pt x="258" y="74"/>
                      <a:pt x="258" y="74"/>
                      <a:pt x="258" y="75"/>
                    </a:cubicBezTo>
                    <a:cubicBezTo>
                      <a:pt x="258" y="76"/>
                      <a:pt x="258" y="76"/>
                      <a:pt x="257" y="77"/>
                    </a:cubicBezTo>
                    <a:cubicBezTo>
                      <a:pt x="130" y="150"/>
                      <a:pt x="130" y="150"/>
                      <a:pt x="130" y="150"/>
                    </a:cubicBezTo>
                    <a:cubicBezTo>
                      <a:pt x="130" y="150"/>
                      <a:pt x="129" y="151"/>
                      <a:pt x="129" y="151"/>
                    </a:cubicBezTo>
                    <a:close/>
                    <a:moveTo>
                      <a:pt x="6" y="75"/>
                    </a:moveTo>
                    <a:cubicBezTo>
                      <a:pt x="129" y="146"/>
                      <a:pt x="129" y="146"/>
                      <a:pt x="129" y="146"/>
                    </a:cubicBezTo>
                    <a:cubicBezTo>
                      <a:pt x="252" y="75"/>
                      <a:pt x="252" y="75"/>
                      <a:pt x="252" y="75"/>
                    </a:cubicBezTo>
                    <a:cubicBezTo>
                      <a:pt x="129" y="4"/>
                      <a:pt x="129" y="4"/>
                      <a:pt x="129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6" name="Freeform 569">
                <a:extLst>
                  <a:ext uri="{FF2B5EF4-FFF2-40B4-BE49-F238E27FC236}">
                    <a16:creationId xmlns:a16="http://schemas.microsoft.com/office/drawing/2014/main" id="{79243991-AE72-4AE1-B9C1-E1D2548ED9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11873" y="5126162"/>
                <a:ext cx="649501" cy="377664"/>
              </a:xfrm>
              <a:custGeom>
                <a:avLst/>
                <a:gdLst>
                  <a:gd name="T0" fmla="*/ 133 w 265"/>
                  <a:gd name="T1" fmla="*/ 154 h 154"/>
                  <a:gd name="T2" fmla="*/ 132 w 265"/>
                  <a:gd name="T3" fmla="*/ 154 h 154"/>
                  <a:gd name="T4" fmla="*/ 1 w 265"/>
                  <a:gd name="T5" fmla="*/ 79 h 154"/>
                  <a:gd name="T6" fmla="*/ 0 w 265"/>
                  <a:gd name="T7" fmla="*/ 77 h 154"/>
                  <a:gd name="T8" fmla="*/ 1 w 265"/>
                  <a:gd name="T9" fmla="*/ 75 h 154"/>
                  <a:gd name="T10" fmla="*/ 132 w 265"/>
                  <a:gd name="T11" fmla="*/ 0 h 154"/>
                  <a:gd name="T12" fmla="*/ 134 w 265"/>
                  <a:gd name="T13" fmla="*/ 0 h 154"/>
                  <a:gd name="T14" fmla="*/ 264 w 265"/>
                  <a:gd name="T15" fmla="*/ 75 h 154"/>
                  <a:gd name="T16" fmla="*/ 265 w 265"/>
                  <a:gd name="T17" fmla="*/ 77 h 154"/>
                  <a:gd name="T18" fmla="*/ 264 w 265"/>
                  <a:gd name="T19" fmla="*/ 79 h 154"/>
                  <a:gd name="T20" fmla="*/ 134 w 265"/>
                  <a:gd name="T21" fmla="*/ 154 h 154"/>
                  <a:gd name="T22" fmla="*/ 133 w 265"/>
                  <a:gd name="T23" fmla="*/ 154 h 154"/>
                  <a:gd name="T24" fmla="*/ 6 w 265"/>
                  <a:gd name="T25" fmla="*/ 77 h 154"/>
                  <a:gd name="T26" fmla="*/ 133 w 265"/>
                  <a:gd name="T27" fmla="*/ 150 h 154"/>
                  <a:gd name="T28" fmla="*/ 259 w 265"/>
                  <a:gd name="T29" fmla="*/ 77 h 154"/>
                  <a:gd name="T30" fmla="*/ 133 w 265"/>
                  <a:gd name="T31" fmla="*/ 4 h 154"/>
                  <a:gd name="T32" fmla="*/ 6 w 265"/>
                  <a:gd name="T33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4">
                    <a:moveTo>
                      <a:pt x="133" y="154"/>
                    </a:moveTo>
                    <a:cubicBezTo>
                      <a:pt x="132" y="154"/>
                      <a:pt x="132" y="154"/>
                      <a:pt x="132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1" y="78"/>
                      <a:pt x="0" y="78"/>
                      <a:pt x="0" y="77"/>
                    </a:cubicBezTo>
                    <a:cubicBezTo>
                      <a:pt x="0" y="76"/>
                      <a:pt x="1" y="76"/>
                      <a:pt x="1" y="75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32" y="0"/>
                      <a:pt x="133" y="0"/>
                      <a:pt x="134" y="0"/>
                    </a:cubicBezTo>
                    <a:cubicBezTo>
                      <a:pt x="264" y="75"/>
                      <a:pt x="264" y="75"/>
                      <a:pt x="264" y="75"/>
                    </a:cubicBezTo>
                    <a:cubicBezTo>
                      <a:pt x="265" y="76"/>
                      <a:pt x="265" y="76"/>
                      <a:pt x="265" y="77"/>
                    </a:cubicBezTo>
                    <a:cubicBezTo>
                      <a:pt x="265" y="78"/>
                      <a:pt x="265" y="78"/>
                      <a:pt x="264" y="79"/>
                    </a:cubicBezTo>
                    <a:cubicBezTo>
                      <a:pt x="134" y="154"/>
                      <a:pt x="134" y="154"/>
                      <a:pt x="134" y="154"/>
                    </a:cubicBezTo>
                    <a:cubicBezTo>
                      <a:pt x="133" y="154"/>
                      <a:pt x="133" y="154"/>
                      <a:pt x="133" y="154"/>
                    </a:cubicBezTo>
                    <a:close/>
                    <a:moveTo>
                      <a:pt x="6" y="77"/>
                    </a:moveTo>
                    <a:cubicBezTo>
                      <a:pt x="133" y="150"/>
                      <a:pt x="133" y="150"/>
                      <a:pt x="133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3" y="4"/>
                      <a:pt x="133" y="4"/>
                      <a:pt x="133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7" name="Freeform 570">
                <a:extLst>
                  <a:ext uri="{FF2B5EF4-FFF2-40B4-BE49-F238E27FC236}">
                    <a16:creationId xmlns:a16="http://schemas.microsoft.com/office/drawing/2014/main" id="{9AA6C6F8-8DEC-4A6E-9F04-856A70B6A6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20173" y="5131350"/>
                <a:ext cx="633938" cy="370402"/>
              </a:xfrm>
              <a:custGeom>
                <a:avLst/>
                <a:gdLst>
                  <a:gd name="T0" fmla="*/ 130 w 259"/>
                  <a:gd name="T1" fmla="*/ 151 h 151"/>
                  <a:gd name="T2" fmla="*/ 129 w 259"/>
                  <a:gd name="T3" fmla="*/ 150 h 151"/>
                  <a:gd name="T4" fmla="*/ 1 w 259"/>
                  <a:gd name="T5" fmla="*/ 77 h 151"/>
                  <a:gd name="T6" fmla="*/ 0 w 259"/>
                  <a:gd name="T7" fmla="*/ 75 h 151"/>
                  <a:gd name="T8" fmla="*/ 1 w 259"/>
                  <a:gd name="T9" fmla="*/ 73 h 151"/>
                  <a:gd name="T10" fmla="*/ 129 w 259"/>
                  <a:gd name="T11" fmla="*/ 0 h 151"/>
                  <a:gd name="T12" fmla="*/ 131 w 259"/>
                  <a:gd name="T13" fmla="*/ 0 h 151"/>
                  <a:gd name="T14" fmla="*/ 258 w 259"/>
                  <a:gd name="T15" fmla="*/ 73 h 151"/>
                  <a:gd name="T16" fmla="*/ 259 w 259"/>
                  <a:gd name="T17" fmla="*/ 75 h 151"/>
                  <a:gd name="T18" fmla="*/ 258 w 259"/>
                  <a:gd name="T19" fmla="*/ 77 h 151"/>
                  <a:gd name="T20" fmla="*/ 131 w 259"/>
                  <a:gd name="T21" fmla="*/ 150 h 151"/>
                  <a:gd name="T22" fmla="*/ 130 w 259"/>
                  <a:gd name="T23" fmla="*/ 151 h 151"/>
                  <a:gd name="T24" fmla="*/ 6 w 259"/>
                  <a:gd name="T25" fmla="*/ 75 h 151"/>
                  <a:gd name="T26" fmla="*/ 130 w 259"/>
                  <a:gd name="T27" fmla="*/ 146 h 151"/>
                  <a:gd name="T28" fmla="*/ 253 w 259"/>
                  <a:gd name="T29" fmla="*/ 75 h 151"/>
                  <a:gd name="T30" fmla="*/ 130 w 259"/>
                  <a:gd name="T31" fmla="*/ 4 h 151"/>
                  <a:gd name="T32" fmla="*/ 6 w 259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51">
                    <a:moveTo>
                      <a:pt x="130" y="151"/>
                    </a:moveTo>
                    <a:cubicBezTo>
                      <a:pt x="129" y="151"/>
                      <a:pt x="129" y="150"/>
                      <a:pt x="129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6"/>
                      <a:pt x="0" y="75"/>
                    </a:cubicBezTo>
                    <a:cubicBezTo>
                      <a:pt x="0" y="74"/>
                      <a:pt x="1" y="74"/>
                      <a:pt x="1" y="73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0"/>
                      <a:pt x="130" y="0"/>
                      <a:pt x="131" y="0"/>
                    </a:cubicBezTo>
                    <a:cubicBezTo>
                      <a:pt x="258" y="73"/>
                      <a:pt x="258" y="73"/>
                      <a:pt x="258" y="73"/>
                    </a:cubicBezTo>
                    <a:cubicBezTo>
                      <a:pt x="258" y="74"/>
                      <a:pt x="259" y="74"/>
                      <a:pt x="259" y="75"/>
                    </a:cubicBezTo>
                    <a:cubicBezTo>
                      <a:pt x="259" y="76"/>
                      <a:pt x="258" y="76"/>
                      <a:pt x="258" y="77"/>
                    </a:cubicBezTo>
                    <a:cubicBezTo>
                      <a:pt x="131" y="150"/>
                      <a:pt x="131" y="150"/>
                      <a:pt x="131" y="150"/>
                    </a:cubicBezTo>
                    <a:cubicBezTo>
                      <a:pt x="130" y="150"/>
                      <a:pt x="130" y="151"/>
                      <a:pt x="130" y="151"/>
                    </a:cubicBezTo>
                    <a:close/>
                    <a:moveTo>
                      <a:pt x="6" y="75"/>
                    </a:moveTo>
                    <a:cubicBezTo>
                      <a:pt x="130" y="146"/>
                      <a:pt x="130" y="146"/>
                      <a:pt x="130" y="146"/>
                    </a:cubicBezTo>
                    <a:cubicBezTo>
                      <a:pt x="253" y="75"/>
                      <a:pt x="253" y="75"/>
                      <a:pt x="253" y="75"/>
                    </a:cubicBezTo>
                    <a:cubicBezTo>
                      <a:pt x="130" y="4"/>
                      <a:pt x="130" y="4"/>
                      <a:pt x="130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8" name="Freeform 571">
                <a:extLst>
                  <a:ext uri="{FF2B5EF4-FFF2-40B4-BE49-F238E27FC236}">
                    <a16:creationId xmlns:a16="http://schemas.microsoft.com/office/drawing/2014/main" id="{DD974622-16F7-4FA5-B555-46387E1B34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58111" y="5672945"/>
                <a:ext cx="649501" cy="379739"/>
              </a:xfrm>
              <a:custGeom>
                <a:avLst/>
                <a:gdLst>
                  <a:gd name="T0" fmla="*/ 132 w 265"/>
                  <a:gd name="T1" fmla="*/ 155 h 155"/>
                  <a:gd name="T2" fmla="*/ 131 w 265"/>
                  <a:gd name="T3" fmla="*/ 154 h 155"/>
                  <a:gd name="T4" fmla="*/ 1 w 265"/>
                  <a:gd name="T5" fmla="*/ 79 h 155"/>
                  <a:gd name="T6" fmla="*/ 0 w 265"/>
                  <a:gd name="T7" fmla="*/ 77 h 155"/>
                  <a:gd name="T8" fmla="*/ 1 w 265"/>
                  <a:gd name="T9" fmla="*/ 76 h 155"/>
                  <a:gd name="T10" fmla="*/ 131 w 265"/>
                  <a:gd name="T11" fmla="*/ 0 h 155"/>
                  <a:gd name="T12" fmla="*/ 133 w 265"/>
                  <a:gd name="T13" fmla="*/ 0 h 155"/>
                  <a:gd name="T14" fmla="*/ 264 w 265"/>
                  <a:gd name="T15" fmla="*/ 76 h 155"/>
                  <a:gd name="T16" fmla="*/ 265 w 265"/>
                  <a:gd name="T17" fmla="*/ 77 h 155"/>
                  <a:gd name="T18" fmla="*/ 264 w 265"/>
                  <a:gd name="T19" fmla="*/ 79 h 155"/>
                  <a:gd name="T20" fmla="*/ 133 w 265"/>
                  <a:gd name="T21" fmla="*/ 154 h 155"/>
                  <a:gd name="T22" fmla="*/ 132 w 265"/>
                  <a:gd name="T23" fmla="*/ 155 h 155"/>
                  <a:gd name="T24" fmla="*/ 6 w 265"/>
                  <a:gd name="T25" fmla="*/ 77 h 155"/>
                  <a:gd name="T26" fmla="*/ 132 w 265"/>
                  <a:gd name="T27" fmla="*/ 150 h 155"/>
                  <a:gd name="T28" fmla="*/ 259 w 265"/>
                  <a:gd name="T29" fmla="*/ 77 h 155"/>
                  <a:gd name="T30" fmla="*/ 132 w 265"/>
                  <a:gd name="T31" fmla="*/ 4 h 155"/>
                  <a:gd name="T32" fmla="*/ 6 w 265"/>
                  <a:gd name="T33" fmla="*/ 77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5" h="155">
                    <a:moveTo>
                      <a:pt x="132" y="155"/>
                    </a:moveTo>
                    <a:cubicBezTo>
                      <a:pt x="132" y="155"/>
                      <a:pt x="131" y="155"/>
                      <a:pt x="131" y="154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79"/>
                      <a:pt x="0" y="78"/>
                      <a:pt x="0" y="77"/>
                    </a:cubicBezTo>
                    <a:cubicBezTo>
                      <a:pt x="0" y="77"/>
                      <a:pt x="0" y="76"/>
                      <a:pt x="1" y="76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2" y="0"/>
                      <a:pt x="133" y="0"/>
                    </a:cubicBezTo>
                    <a:cubicBezTo>
                      <a:pt x="264" y="76"/>
                      <a:pt x="264" y="76"/>
                      <a:pt x="264" y="76"/>
                    </a:cubicBezTo>
                    <a:cubicBezTo>
                      <a:pt x="264" y="76"/>
                      <a:pt x="265" y="77"/>
                      <a:pt x="265" y="77"/>
                    </a:cubicBezTo>
                    <a:cubicBezTo>
                      <a:pt x="265" y="78"/>
                      <a:pt x="264" y="79"/>
                      <a:pt x="264" y="79"/>
                    </a:cubicBezTo>
                    <a:cubicBezTo>
                      <a:pt x="133" y="154"/>
                      <a:pt x="133" y="154"/>
                      <a:pt x="133" y="154"/>
                    </a:cubicBezTo>
                    <a:cubicBezTo>
                      <a:pt x="133" y="155"/>
                      <a:pt x="132" y="155"/>
                      <a:pt x="132" y="155"/>
                    </a:cubicBezTo>
                    <a:close/>
                    <a:moveTo>
                      <a:pt x="6" y="77"/>
                    </a:moveTo>
                    <a:cubicBezTo>
                      <a:pt x="132" y="150"/>
                      <a:pt x="132" y="150"/>
                      <a:pt x="132" y="150"/>
                    </a:cubicBezTo>
                    <a:cubicBezTo>
                      <a:pt x="259" y="77"/>
                      <a:pt x="259" y="77"/>
                      <a:pt x="259" y="77"/>
                    </a:cubicBezTo>
                    <a:cubicBezTo>
                      <a:pt x="132" y="4"/>
                      <a:pt x="132" y="4"/>
                      <a:pt x="132" y="4"/>
                    </a:cubicBezTo>
                    <a:lnTo>
                      <a:pt x="6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9" name="Freeform 572">
                <a:extLst>
                  <a:ext uri="{FF2B5EF4-FFF2-40B4-BE49-F238E27FC236}">
                    <a16:creationId xmlns:a16="http://schemas.microsoft.com/office/drawing/2014/main" id="{F20A4EAB-3D4E-4D4B-BF6F-BD2A2B7FF3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68486" y="5678133"/>
                <a:ext cx="631863" cy="370402"/>
              </a:xfrm>
              <a:custGeom>
                <a:avLst/>
                <a:gdLst>
                  <a:gd name="T0" fmla="*/ 129 w 258"/>
                  <a:gd name="T1" fmla="*/ 151 h 151"/>
                  <a:gd name="T2" fmla="*/ 128 w 258"/>
                  <a:gd name="T3" fmla="*/ 150 h 151"/>
                  <a:gd name="T4" fmla="*/ 1 w 258"/>
                  <a:gd name="T5" fmla="*/ 77 h 151"/>
                  <a:gd name="T6" fmla="*/ 0 w 258"/>
                  <a:gd name="T7" fmla="*/ 75 h 151"/>
                  <a:gd name="T8" fmla="*/ 1 w 258"/>
                  <a:gd name="T9" fmla="*/ 74 h 151"/>
                  <a:gd name="T10" fmla="*/ 128 w 258"/>
                  <a:gd name="T11" fmla="*/ 0 h 151"/>
                  <a:gd name="T12" fmla="*/ 130 w 258"/>
                  <a:gd name="T13" fmla="*/ 0 h 151"/>
                  <a:gd name="T14" fmla="*/ 257 w 258"/>
                  <a:gd name="T15" fmla="*/ 74 h 151"/>
                  <a:gd name="T16" fmla="*/ 258 w 258"/>
                  <a:gd name="T17" fmla="*/ 75 h 151"/>
                  <a:gd name="T18" fmla="*/ 257 w 258"/>
                  <a:gd name="T19" fmla="*/ 77 h 151"/>
                  <a:gd name="T20" fmla="*/ 130 w 258"/>
                  <a:gd name="T21" fmla="*/ 150 h 151"/>
                  <a:gd name="T22" fmla="*/ 129 w 258"/>
                  <a:gd name="T23" fmla="*/ 151 h 151"/>
                  <a:gd name="T24" fmla="*/ 6 w 258"/>
                  <a:gd name="T25" fmla="*/ 75 h 151"/>
                  <a:gd name="T26" fmla="*/ 129 w 258"/>
                  <a:gd name="T27" fmla="*/ 146 h 151"/>
                  <a:gd name="T28" fmla="*/ 252 w 258"/>
                  <a:gd name="T29" fmla="*/ 75 h 151"/>
                  <a:gd name="T30" fmla="*/ 129 w 258"/>
                  <a:gd name="T31" fmla="*/ 4 h 151"/>
                  <a:gd name="T32" fmla="*/ 6 w 258"/>
                  <a:gd name="T33" fmla="*/ 7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8" h="151">
                    <a:moveTo>
                      <a:pt x="129" y="151"/>
                    </a:moveTo>
                    <a:cubicBezTo>
                      <a:pt x="129" y="151"/>
                      <a:pt x="128" y="151"/>
                      <a:pt x="128" y="15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77"/>
                      <a:pt x="0" y="76"/>
                      <a:pt x="0" y="75"/>
                    </a:cubicBezTo>
                    <a:cubicBezTo>
                      <a:pt x="0" y="75"/>
                      <a:pt x="0" y="74"/>
                      <a:pt x="1" y="74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9" y="0"/>
                      <a:pt x="129" y="0"/>
                      <a:pt x="130" y="0"/>
                    </a:cubicBezTo>
                    <a:cubicBezTo>
                      <a:pt x="257" y="74"/>
                      <a:pt x="257" y="74"/>
                      <a:pt x="257" y="74"/>
                    </a:cubicBezTo>
                    <a:cubicBezTo>
                      <a:pt x="258" y="74"/>
                      <a:pt x="258" y="75"/>
                      <a:pt x="258" y="75"/>
                    </a:cubicBezTo>
                    <a:cubicBezTo>
                      <a:pt x="258" y="76"/>
                      <a:pt x="258" y="77"/>
                      <a:pt x="257" y="77"/>
                    </a:cubicBezTo>
                    <a:cubicBezTo>
                      <a:pt x="130" y="150"/>
                      <a:pt x="130" y="150"/>
                      <a:pt x="130" y="150"/>
                    </a:cubicBezTo>
                    <a:cubicBezTo>
                      <a:pt x="130" y="151"/>
                      <a:pt x="129" y="151"/>
                      <a:pt x="129" y="151"/>
                    </a:cubicBezTo>
                    <a:close/>
                    <a:moveTo>
                      <a:pt x="6" y="75"/>
                    </a:moveTo>
                    <a:cubicBezTo>
                      <a:pt x="129" y="146"/>
                      <a:pt x="129" y="146"/>
                      <a:pt x="129" y="146"/>
                    </a:cubicBezTo>
                    <a:cubicBezTo>
                      <a:pt x="252" y="75"/>
                      <a:pt x="252" y="75"/>
                      <a:pt x="252" y="75"/>
                    </a:cubicBezTo>
                    <a:cubicBezTo>
                      <a:pt x="129" y="4"/>
                      <a:pt x="129" y="4"/>
                      <a:pt x="129" y="4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0" name="Freeform 581">
                <a:extLst>
                  <a:ext uri="{FF2B5EF4-FFF2-40B4-BE49-F238E27FC236}">
                    <a16:creationId xmlns:a16="http://schemas.microsoft.com/office/drawing/2014/main" id="{C561710D-DE5F-4C65-AF3D-4E9C4ABF96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596801" y="6471851"/>
                <a:ext cx="59140" cy="84041"/>
              </a:xfrm>
              <a:custGeom>
                <a:avLst/>
                <a:gdLst>
                  <a:gd name="T0" fmla="*/ 22 w 24"/>
                  <a:gd name="T1" fmla="*/ 34 h 34"/>
                  <a:gd name="T2" fmla="*/ 21 w 24"/>
                  <a:gd name="T3" fmla="*/ 34 h 34"/>
                  <a:gd name="T4" fmla="*/ 1 w 24"/>
                  <a:gd name="T5" fmla="*/ 23 h 34"/>
                  <a:gd name="T6" fmla="*/ 0 w 24"/>
                  <a:gd name="T7" fmla="*/ 21 h 34"/>
                  <a:gd name="T8" fmla="*/ 0 w 24"/>
                  <a:gd name="T9" fmla="*/ 2 h 34"/>
                  <a:gd name="T10" fmla="*/ 1 w 24"/>
                  <a:gd name="T11" fmla="*/ 0 h 34"/>
                  <a:gd name="T12" fmla="*/ 3 w 24"/>
                  <a:gd name="T13" fmla="*/ 0 h 34"/>
                  <a:gd name="T14" fmla="*/ 23 w 24"/>
                  <a:gd name="T15" fmla="*/ 11 h 34"/>
                  <a:gd name="T16" fmla="*/ 24 w 24"/>
                  <a:gd name="T17" fmla="*/ 13 h 34"/>
                  <a:gd name="T18" fmla="*/ 24 w 24"/>
                  <a:gd name="T19" fmla="*/ 32 h 34"/>
                  <a:gd name="T20" fmla="*/ 23 w 24"/>
                  <a:gd name="T21" fmla="*/ 34 h 34"/>
                  <a:gd name="T22" fmla="*/ 22 w 24"/>
                  <a:gd name="T23" fmla="*/ 34 h 34"/>
                  <a:gd name="T24" fmla="*/ 4 w 24"/>
                  <a:gd name="T25" fmla="*/ 20 h 34"/>
                  <a:gd name="T26" fmla="*/ 20 w 24"/>
                  <a:gd name="T27" fmla="*/ 29 h 34"/>
                  <a:gd name="T28" fmla="*/ 20 w 24"/>
                  <a:gd name="T29" fmla="*/ 14 h 34"/>
                  <a:gd name="T30" fmla="*/ 4 w 24"/>
                  <a:gd name="T31" fmla="*/ 5 h 34"/>
                  <a:gd name="T32" fmla="*/ 4 w 24"/>
                  <a:gd name="T33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4">
                    <a:moveTo>
                      <a:pt x="22" y="34"/>
                    </a:moveTo>
                    <a:cubicBezTo>
                      <a:pt x="21" y="34"/>
                      <a:pt x="21" y="34"/>
                      <a:pt x="21" y="34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3"/>
                      <a:pt x="23" y="34"/>
                      <a:pt x="23" y="34"/>
                    </a:cubicBezTo>
                    <a:cubicBezTo>
                      <a:pt x="22" y="34"/>
                      <a:pt x="22" y="34"/>
                      <a:pt x="22" y="34"/>
                    </a:cubicBezTo>
                    <a:close/>
                    <a:moveTo>
                      <a:pt x="4" y="20"/>
                    </a:moveTo>
                    <a:cubicBezTo>
                      <a:pt x="20" y="29"/>
                      <a:pt x="20" y="29"/>
                      <a:pt x="20" y="29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1" name="Freeform 583">
                <a:extLst>
                  <a:ext uri="{FF2B5EF4-FFF2-40B4-BE49-F238E27FC236}">
                    <a16:creationId xmlns:a16="http://schemas.microsoft.com/office/drawing/2014/main" id="{BFED0C28-734A-4D14-83B3-8001D46DB7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50753" y="6293394"/>
                <a:ext cx="156669" cy="181569"/>
              </a:xfrm>
              <a:custGeom>
                <a:avLst/>
                <a:gdLst>
                  <a:gd name="T0" fmla="*/ 62 w 64"/>
                  <a:gd name="T1" fmla="*/ 74 h 74"/>
                  <a:gd name="T2" fmla="*/ 61 w 64"/>
                  <a:gd name="T3" fmla="*/ 74 h 74"/>
                  <a:gd name="T4" fmla="*/ 1 w 64"/>
                  <a:gd name="T5" fmla="*/ 39 h 74"/>
                  <a:gd name="T6" fmla="*/ 0 w 64"/>
                  <a:gd name="T7" fmla="*/ 37 h 74"/>
                  <a:gd name="T8" fmla="*/ 1 w 64"/>
                  <a:gd name="T9" fmla="*/ 35 h 74"/>
                  <a:gd name="T10" fmla="*/ 61 w 64"/>
                  <a:gd name="T11" fmla="*/ 0 h 74"/>
                  <a:gd name="T12" fmla="*/ 63 w 64"/>
                  <a:gd name="T13" fmla="*/ 0 h 74"/>
                  <a:gd name="T14" fmla="*/ 64 w 64"/>
                  <a:gd name="T15" fmla="*/ 2 h 74"/>
                  <a:gd name="T16" fmla="*/ 64 w 64"/>
                  <a:gd name="T17" fmla="*/ 72 h 74"/>
                  <a:gd name="T18" fmla="*/ 63 w 64"/>
                  <a:gd name="T19" fmla="*/ 74 h 74"/>
                  <a:gd name="T20" fmla="*/ 62 w 64"/>
                  <a:gd name="T21" fmla="*/ 74 h 74"/>
                  <a:gd name="T22" fmla="*/ 6 w 64"/>
                  <a:gd name="T23" fmla="*/ 37 h 74"/>
                  <a:gd name="T24" fmla="*/ 60 w 64"/>
                  <a:gd name="T25" fmla="*/ 68 h 74"/>
                  <a:gd name="T26" fmla="*/ 60 w 64"/>
                  <a:gd name="T27" fmla="*/ 5 h 74"/>
                  <a:gd name="T28" fmla="*/ 6 w 64"/>
                  <a:gd name="T29" fmla="*/ 3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4" h="74">
                    <a:moveTo>
                      <a:pt x="62" y="74"/>
                    </a:moveTo>
                    <a:cubicBezTo>
                      <a:pt x="62" y="74"/>
                      <a:pt x="62" y="74"/>
                      <a:pt x="61" y="74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38"/>
                      <a:pt x="0" y="38"/>
                      <a:pt x="0" y="37"/>
                    </a:cubicBezTo>
                    <a:cubicBezTo>
                      <a:pt x="0" y="36"/>
                      <a:pt x="0" y="36"/>
                      <a:pt x="1" y="35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3" y="0"/>
                    </a:cubicBezTo>
                    <a:cubicBezTo>
                      <a:pt x="64" y="1"/>
                      <a:pt x="64" y="1"/>
                      <a:pt x="64" y="2"/>
                    </a:cubicBezTo>
                    <a:cubicBezTo>
                      <a:pt x="64" y="72"/>
                      <a:pt x="64" y="72"/>
                      <a:pt x="64" y="72"/>
                    </a:cubicBezTo>
                    <a:cubicBezTo>
                      <a:pt x="64" y="73"/>
                      <a:pt x="64" y="73"/>
                      <a:pt x="63" y="74"/>
                    </a:cubicBezTo>
                    <a:cubicBezTo>
                      <a:pt x="63" y="74"/>
                      <a:pt x="63" y="74"/>
                      <a:pt x="62" y="74"/>
                    </a:cubicBezTo>
                    <a:close/>
                    <a:moveTo>
                      <a:pt x="6" y="37"/>
                    </a:move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5"/>
                      <a:pt x="60" y="5"/>
                      <a:pt x="60" y="5"/>
                    </a:cubicBezTo>
                    <a:lnTo>
                      <a:pt x="6" y="3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2" name="Freeform 584">
                <a:extLst>
                  <a:ext uri="{FF2B5EF4-FFF2-40B4-BE49-F238E27FC236}">
                    <a16:creationId xmlns:a16="http://schemas.microsoft.com/office/drawing/2014/main" id="{449ED0D2-4FE4-4FC6-B76A-A64672DE32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596801" y="6263305"/>
                <a:ext cx="59140" cy="240709"/>
              </a:xfrm>
              <a:custGeom>
                <a:avLst/>
                <a:gdLst>
                  <a:gd name="T0" fmla="*/ 22 w 24"/>
                  <a:gd name="T1" fmla="*/ 98 h 98"/>
                  <a:gd name="T2" fmla="*/ 21 w 24"/>
                  <a:gd name="T3" fmla="*/ 98 h 98"/>
                  <a:gd name="T4" fmla="*/ 1 w 24"/>
                  <a:gd name="T5" fmla="*/ 87 h 98"/>
                  <a:gd name="T6" fmla="*/ 0 w 24"/>
                  <a:gd name="T7" fmla="*/ 85 h 98"/>
                  <a:gd name="T8" fmla="*/ 0 w 24"/>
                  <a:gd name="T9" fmla="*/ 13 h 98"/>
                  <a:gd name="T10" fmla="*/ 1 w 24"/>
                  <a:gd name="T11" fmla="*/ 11 h 98"/>
                  <a:gd name="T12" fmla="*/ 21 w 24"/>
                  <a:gd name="T13" fmla="*/ 0 h 98"/>
                  <a:gd name="T14" fmla="*/ 23 w 24"/>
                  <a:gd name="T15" fmla="*/ 0 h 98"/>
                  <a:gd name="T16" fmla="*/ 24 w 24"/>
                  <a:gd name="T17" fmla="*/ 2 h 98"/>
                  <a:gd name="T18" fmla="*/ 24 w 24"/>
                  <a:gd name="T19" fmla="*/ 96 h 98"/>
                  <a:gd name="T20" fmla="*/ 23 w 24"/>
                  <a:gd name="T21" fmla="*/ 98 h 98"/>
                  <a:gd name="T22" fmla="*/ 22 w 24"/>
                  <a:gd name="T23" fmla="*/ 98 h 98"/>
                  <a:gd name="T24" fmla="*/ 4 w 24"/>
                  <a:gd name="T25" fmla="*/ 84 h 98"/>
                  <a:gd name="T26" fmla="*/ 20 w 24"/>
                  <a:gd name="T27" fmla="*/ 93 h 98"/>
                  <a:gd name="T28" fmla="*/ 20 w 24"/>
                  <a:gd name="T29" fmla="*/ 5 h 98"/>
                  <a:gd name="T30" fmla="*/ 4 w 24"/>
                  <a:gd name="T31" fmla="*/ 14 h 98"/>
                  <a:gd name="T32" fmla="*/ 4 w 24"/>
                  <a:gd name="T33" fmla="*/ 8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98">
                    <a:moveTo>
                      <a:pt x="22" y="98"/>
                    </a:moveTo>
                    <a:cubicBezTo>
                      <a:pt x="21" y="98"/>
                      <a:pt x="21" y="98"/>
                      <a:pt x="21" y="98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0" y="86"/>
                      <a:pt x="0" y="86"/>
                      <a:pt x="0" y="8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2"/>
                      <a:pt x="1" y="11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3" y="0"/>
                      <a:pt x="24" y="1"/>
                      <a:pt x="24" y="2"/>
                    </a:cubicBezTo>
                    <a:cubicBezTo>
                      <a:pt x="24" y="96"/>
                      <a:pt x="24" y="96"/>
                      <a:pt x="24" y="96"/>
                    </a:cubicBezTo>
                    <a:cubicBezTo>
                      <a:pt x="24" y="97"/>
                      <a:pt x="23" y="98"/>
                      <a:pt x="23" y="98"/>
                    </a:cubicBezTo>
                    <a:cubicBezTo>
                      <a:pt x="22" y="98"/>
                      <a:pt x="22" y="98"/>
                      <a:pt x="22" y="98"/>
                    </a:cubicBezTo>
                    <a:close/>
                    <a:moveTo>
                      <a:pt x="4" y="84"/>
                    </a:moveTo>
                    <a:cubicBezTo>
                      <a:pt x="20" y="93"/>
                      <a:pt x="20" y="93"/>
                      <a:pt x="20" y="93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8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3" name="Freeform 586">
                <a:extLst>
                  <a:ext uri="{FF2B5EF4-FFF2-40B4-BE49-F238E27FC236}">
                    <a16:creationId xmlns:a16="http://schemas.microsoft.com/office/drawing/2014/main" id="{8A01D09D-E3D4-4E1E-8063-F835E33BE8C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77729" y="6493639"/>
                <a:ext cx="14526" cy="15563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1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5" y="6"/>
                      <a:pt x="5" y="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4" name="Freeform 587">
                <a:extLst>
                  <a:ext uri="{FF2B5EF4-FFF2-40B4-BE49-F238E27FC236}">
                    <a16:creationId xmlns:a16="http://schemas.microsoft.com/office/drawing/2014/main" id="{47ACE80D-17A7-4FC4-9323-9EE37F938C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511722" y="6851590"/>
                <a:ext cx="320600" cy="196095"/>
              </a:xfrm>
              <a:custGeom>
                <a:avLst/>
                <a:gdLst>
                  <a:gd name="T0" fmla="*/ 63 w 131"/>
                  <a:gd name="T1" fmla="*/ 80 h 80"/>
                  <a:gd name="T2" fmla="*/ 62 w 131"/>
                  <a:gd name="T3" fmla="*/ 79 h 80"/>
                  <a:gd name="T4" fmla="*/ 1 w 131"/>
                  <a:gd name="T5" fmla="*/ 44 h 80"/>
                  <a:gd name="T6" fmla="*/ 0 w 131"/>
                  <a:gd name="T7" fmla="*/ 42 h 80"/>
                  <a:gd name="T8" fmla="*/ 1 w 131"/>
                  <a:gd name="T9" fmla="*/ 40 h 80"/>
                  <a:gd name="T10" fmla="*/ 60 w 131"/>
                  <a:gd name="T11" fmla="*/ 6 h 80"/>
                  <a:gd name="T12" fmla="*/ 60 w 131"/>
                  <a:gd name="T13" fmla="*/ 3 h 80"/>
                  <a:gd name="T14" fmla="*/ 61 w 131"/>
                  <a:gd name="T15" fmla="*/ 1 h 80"/>
                  <a:gd name="T16" fmla="*/ 62 w 131"/>
                  <a:gd name="T17" fmla="*/ 1 h 80"/>
                  <a:gd name="T18" fmla="*/ 64 w 131"/>
                  <a:gd name="T19" fmla="*/ 1 h 80"/>
                  <a:gd name="T20" fmla="*/ 130 w 131"/>
                  <a:gd name="T21" fmla="*/ 38 h 80"/>
                  <a:gd name="T22" fmla="*/ 131 w 131"/>
                  <a:gd name="T23" fmla="*/ 40 h 80"/>
                  <a:gd name="T24" fmla="*/ 130 w 131"/>
                  <a:gd name="T25" fmla="*/ 42 h 80"/>
                  <a:gd name="T26" fmla="*/ 64 w 131"/>
                  <a:gd name="T27" fmla="*/ 79 h 80"/>
                  <a:gd name="T28" fmla="*/ 63 w 131"/>
                  <a:gd name="T29" fmla="*/ 80 h 80"/>
                  <a:gd name="T30" fmla="*/ 6 w 131"/>
                  <a:gd name="T31" fmla="*/ 42 h 80"/>
                  <a:gd name="T32" fmla="*/ 63 w 131"/>
                  <a:gd name="T33" fmla="*/ 75 h 80"/>
                  <a:gd name="T34" fmla="*/ 125 w 131"/>
                  <a:gd name="T35" fmla="*/ 40 h 80"/>
                  <a:gd name="T36" fmla="*/ 64 w 131"/>
                  <a:gd name="T37" fmla="*/ 5 h 80"/>
                  <a:gd name="T38" fmla="*/ 64 w 131"/>
                  <a:gd name="T39" fmla="*/ 7 h 80"/>
                  <a:gd name="T40" fmla="*/ 63 w 131"/>
                  <a:gd name="T41" fmla="*/ 9 h 80"/>
                  <a:gd name="T42" fmla="*/ 6 w 131"/>
                  <a:gd name="T43" fmla="*/ 4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1" h="80">
                    <a:moveTo>
                      <a:pt x="63" y="80"/>
                    </a:moveTo>
                    <a:cubicBezTo>
                      <a:pt x="63" y="80"/>
                      <a:pt x="63" y="79"/>
                      <a:pt x="62" y="79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0"/>
                      <a:pt x="1" y="40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0" y="2"/>
                      <a:pt x="61" y="2"/>
                      <a:pt x="61" y="1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3" y="0"/>
                      <a:pt x="64" y="0"/>
                      <a:pt x="64" y="1"/>
                    </a:cubicBezTo>
                    <a:cubicBezTo>
                      <a:pt x="130" y="38"/>
                      <a:pt x="130" y="38"/>
                      <a:pt x="130" y="38"/>
                    </a:cubicBezTo>
                    <a:cubicBezTo>
                      <a:pt x="130" y="39"/>
                      <a:pt x="131" y="39"/>
                      <a:pt x="131" y="40"/>
                    </a:cubicBezTo>
                    <a:cubicBezTo>
                      <a:pt x="131" y="41"/>
                      <a:pt x="130" y="41"/>
                      <a:pt x="130" y="42"/>
                    </a:cubicBezTo>
                    <a:cubicBezTo>
                      <a:pt x="64" y="79"/>
                      <a:pt x="64" y="79"/>
                      <a:pt x="64" y="79"/>
                    </a:cubicBezTo>
                    <a:cubicBezTo>
                      <a:pt x="64" y="79"/>
                      <a:pt x="64" y="80"/>
                      <a:pt x="63" y="80"/>
                    </a:cubicBezTo>
                    <a:close/>
                    <a:moveTo>
                      <a:pt x="6" y="42"/>
                    </a:moveTo>
                    <a:cubicBezTo>
                      <a:pt x="63" y="75"/>
                      <a:pt x="63" y="75"/>
                      <a:pt x="63" y="75"/>
                    </a:cubicBezTo>
                    <a:cubicBezTo>
                      <a:pt x="125" y="40"/>
                      <a:pt x="125" y="40"/>
                      <a:pt x="125" y="40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8"/>
                      <a:pt x="64" y="8"/>
                      <a:pt x="63" y="9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5" name="Freeform 588">
                <a:extLst>
                  <a:ext uri="{FF2B5EF4-FFF2-40B4-BE49-F238E27FC236}">
                    <a16:creationId xmlns:a16="http://schemas.microsoft.com/office/drawing/2014/main" id="{61575548-E5B8-4357-8DB0-A74AF6C6846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77729" y="6856778"/>
                <a:ext cx="164969" cy="100641"/>
              </a:xfrm>
              <a:custGeom>
                <a:avLst/>
                <a:gdLst>
                  <a:gd name="T0" fmla="*/ 4 w 67"/>
                  <a:gd name="T1" fmla="*/ 41 h 41"/>
                  <a:gd name="T2" fmla="*/ 3 w 67"/>
                  <a:gd name="T3" fmla="*/ 41 h 41"/>
                  <a:gd name="T4" fmla="*/ 1 w 67"/>
                  <a:gd name="T5" fmla="*/ 40 h 41"/>
                  <a:gd name="T6" fmla="*/ 0 w 67"/>
                  <a:gd name="T7" fmla="*/ 38 h 41"/>
                  <a:gd name="T8" fmla="*/ 1 w 67"/>
                  <a:gd name="T9" fmla="*/ 36 h 41"/>
                  <a:gd name="T10" fmla="*/ 64 w 67"/>
                  <a:gd name="T11" fmla="*/ 0 h 41"/>
                  <a:gd name="T12" fmla="*/ 66 w 67"/>
                  <a:gd name="T13" fmla="*/ 0 h 41"/>
                  <a:gd name="T14" fmla="*/ 67 w 67"/>
                  <a:gd name="T15" fmla="*/ 2 h 41"/>
                  <a:gd name="T16" fmla="*/ 67 w 67"/>
                  <a:gd name="T17" fmla="*/ 4 h 41"/>
                  <a:gd name="T18" fmla="*/ 66 w 67"/>
                  <a:gd name="T19" fmla="*/ 6 h 41"/>
                  <a:gd name="T20" fmla="*/ 5 w 67"/>
                  <a:gd name="T21" fmla="*/ 41 h 41"/>
                  <a:gd name="T22" fmla="*/ 4 w 67"/>
                  <a:gd name="T2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41">
                    <a:moveTo>
                      <a:pt x="4" y="41"/>
                    </a:moveTo>
                    <a:cubicBezTo>
                      <a:pt x="4" y="41"/>
                      <a:pt x="3" y="41"/>
                      <a:pt x="3" y="41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39"/>
                      <a:pt x="0" y="39"/>
                      <a:pt x="0" y="38"/>
                    </a:cubicBezTo>
                    <a:cubicBezTo>
                      <a:pt x="0" y="37"/>
                      <a:pt x="1" y="37"/>
                      <a:pt x="1" y="36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4" y="0"/>
                      <a:pt x="65" y="0"/>
                      <a:pt x="66" y="0"/>
                    </a:cubicBezTo>
                    <a:cubicBezTo>
                      <a:pt x="66" y="1"/>
                      <a:pt x="67" y="1"/>
                      <a:pt x="67" y="2"/>
                    </a:cubicBezTo>
                    <a:cubicBezTo>
                      <a:pt x="67" y="4"/>
                      <a:pt x="67" y="4"/>
                      <a:pt x="67" y="4"/>
                    </a:cubicBezTo>
                    <a:cubicBezTo>
                      <a:pt x="67" y="5"/>
                      <a:pt x="66" y="5"/>
                      <a:pt x="66" y="6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5" y="41"/>
                      <a:pt x="4" y="41"/>
                      <a:pt x="4" y="4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6" name="Freeform 598">
                <a:extLst>
                  <a:ext uri="{FF2B5EF4-FFF2-40B4-BE49-F238E27FC236}">
                    <a16:creationId xmlns:a16="http://schemas.microsoft.com/office/drawing/2014/main" id="{2C740D93-4E45-4F54-8039-4AAC9BD514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39585" y="6959494"/>
                <a:ext cx="159781" cy="113092"/>
              </a:xfrm>
              <a:custGeom>
                <a:avLst/>
                <a:gdLst>
                  <a:gd name="T0" fmla="*/ 11 w 65"/>
                  <a:gd name="T1" fmla="*/ 46 h 46"/>
                  <a:gd name="T2" fmla="*/ 10 w 65"/>
                  <a:gd name="T3" fmla="*/ 46 h 46"/>
                  <a:gd name="T4" fmla="*/ 1 w 65"/>
                  <a:gd name="T5" fmla="*/ 41 h 46"/>
                  <a:gd name="T6" fmla="*/ 0 w 65"/>
                  <a:gd name="T7" fmla="*/ 39 h 46"/>
                  <a:gd name="T8" fmla="*/ 0 w 65"/>
                  <a:gd name="T9" fmla="*/ 37 h 46"/>
                  <a:gd name="T10" fmla="*/ 1 w 65"/>
                  <a:gd name="T11" fmla="*/ 35 h 46"/>
                  <a:gd name="T12" fmla="*/ 62 w 65"/>
                  <a:gd name="T13" fmla="*/ 0 h 46"/>
                  <a:gd name="T14" fmla="*/ 64 w 65"/>
                  <a:gd name="T15" fmla="*/ 0 h 46"/>
                  <a:gd name="T16" fmla="*/ 65 w 65"/>
                  <a:gd name="T17" fmla="*/ 2 h 46"/>
                  <a:gd name="T18" fmla="*/ 65 w 65"/>
                  <a:gd name="T19" fmla="*/ 14 h 46"/>
                  <a:gd name="T20" fmla="*/ 64 w 65"/>
                  <a:gd name="T21" fmla="*/ 16 h 46"/>
                  <a:gd name="T22" fmla="*/ 12 w 65"/>
                  <a:gd name="T23" fmla="*/ 46 h 46"/>
                  <a:gd name="T24" fmla="*/ 11 w 65"/>
                  <a:gd name="T25" fmla="*/ 46 h 46"/>
                  <a:gd name="T26" fmla="*/ 4 w 65"/>
                  <a:gd name="T27" fmla="*/ 38 h 46"/>
                  <a:gd name="T28" fmla="*/ 11 w 65"/>
                  <a:gd name="T29" fmla="*/ 42 h 46"/>
                  <a:gd name="T30" fmla="*/ 61 w 65"/>
                  <a:gd name="T31" fmla="*/ 13 h 46"/>
                  <a:gd name="T32" fmla="*/ 61 w 65"/>
                  <a:gd name="T33" fmla="*/ 5 h 46"/>
                  <a:gd name="T34" fmla="*/ 4 w 65"/>
                  <a:gd name="T35" fmla="*/ 3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46">
                    <a:moveTo>
                      <a:pt x="11" y="46"/>
                    </a:moveTo>
                    <a:cubicBezTo>
                      <a:pt x="11" y="46"/>
                      <a:pt x="11" y="46"/>
                      <a:pt x="10" y="46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3" y="0"/>
                      <a:pt x="64" y="0"/>
                    </a:cubicBezTo>
                    <a:cubicBezTo>
                      <a:pt x="64" y="0"/>
                      <a:pt x="65" y="1"/>
                      <a:pt x="65" y="2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5"/>
                      <a:pt x="64" y="16"/>
                      <a:pt x="64" y="16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2" y="46"/>
                      <a:pt x="11" y="46"/>
                    </a:cubicBezTo>
                    <a:close/>
                    <a:moveTo>
                      <a:pt x="4" y="38"/>
                    </a:moveTo>
                    <a:cubicBezTo>
                      <a:pt x="11" y="42"/>
                      <a:pt x="11" y="42"/>
                      <a:pt x="11" y="42"/>
                    </a:cubicBezTo>
                    <a:cubicBezTo>
                      <a:pt x="61" y="13"/>
                      <a:pt x="61" y="13"/>
                      <a:pt x="61" y="13"/>
                    </a:cubicBezTo>
                    <a:cubicBezTo>
                      <a:pt x="61" y="5"/>
                      <a:pt x="61" y="5"/>
                      <a:pt x="61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7" name="Freeform 599">
                <a:extLst>
                  <a:ext uri="{FF2B5EF4-FFF2-40B4-BE49-F238E27FC236}">
                    <a16:creationId xmlns:a16="http://schemas.microsoft.com/office/drawing/2014/main" id="{E4CFFF63-C634-49CA-A2CA-B75E4AB0D7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37510" y="6993733"/>
                <a:ext cx="161856" cy="262497"/>
              </a:xfrm>
              <a:custGeom>
                <a:avLst/>
                <a:gdLst>
                  <a:gd name="T0" fmla="*/ 8 w 66"/>
                  <a:gd name="T1" fmla="*/ 107 h 107"/>
                  <a:gd name="T2" fmla="*/ 7 w 66"/>
                  <a:gd name="T3" fmla="*/ 107 h 107"/>
                  <a:gd name="T4" fmla="*/ 1 w 66"/>
                  <a:gd name="T5" fmla="*/ 103 h 107"/>
                  <a:gd name="T6" fmla="*/ 0 w 66"/>
                  <a:gd name="T7" fmla="*/ 102 h 107"/>
                  <a:gd name="T8" fmla="*/ 0 w 66"/>
                  <a:gd name="T9" fmla="*/ 93 h 107"/>
                  <a:gd name="T10" fmla="*/ 1 w 66"/>
                  <a:gd name="T11" fmla="*/ 92 h 107"/>
                  <a:gd name="T12" fmla="*/ 57 w 66"/>
                  <a:gd name="T13" fmla="*/ 59 h 107"/>
                  <a:gd name="T14" fmla="*/ 12 w 66"/>
                  <a:gd name="T15" fmla="*/ 33 h 107"/>
                  <a:gd name="T16" fmla="*/ 11 w 66"/>
                  <a:gd name="T17" fmla="*/ 31 h 107"/>
                  <a:gd name="T18" fmla="*/ 12 w 66"/>
                  <a:gd name="T19" fmla="*/ 29 h 107"/>
                  <a:gd name="T20" fmla="*/ 62 w 66"/>
                  <a:gd name="T21" fmla="*/ 1 h 107"/>
                  <a:gd name="T22" fmla="*/ 64 w 66"/>
                  <a:gd name="T23" fmla="*/ 1 h 107"/>
                  <a:gd name="T24" fmla="*/ 65 w 66"/>
                  <a:gd name="T25" fmla="*/ 2 h 107"/>
                  <a:gd name="T26" fmla="*/ 65 w 66"/>
                  <a:gd name="T27" fmla="*/ 62 h 107"/>
                  <a:gd name="T28" fmla="*/ 66 w 66"/>
                  <a:gd name="T29" fmla="*/ 63 h 107"/>
                  <a:gd name="T30" fmla="*/ 66 w 66"/>
                  <a:gd name="T31" fmla="*/ 73 h 107"/>
                  <a:gd name="T32" fmla="*/ 65 w 66"/>
                  <a:gd name="T33" fmla="*/ 75 h 107"/>
                  <a:gd name="T34" fmla="*/ 9 w 66"/>
                  <a:gd name="T35" fmla="*/ 107 h 107"/>
                  <a:gd name="T36" fmla="*/ 8 w 66"/>
                  <a:gd name="T37" fmla="*/ 107 h 107"/>
                  <a:gd name="T38" fmla="*/ 4 w 66"/>
                  <a:gd name="T39" fmla="*/ 100 h 107"/>
                  <a:gd name="T40" fmla="*/ 8 w 66"/>
                  <a:gd name="T41" fmla="*/ 103 h 107"/>
                  <a:gd name="T42" fmla="*/ 62 w 66"/>
                  <a:gd name="T43" fmla="*/ 72 h 107"/>
                  <a:gd name="T44" fmla="*/ 62 w 66"/>
                  <a:gd name="T45" fmla="*/ 64 h 107"/>
                  <a:gd name="T46" fmla="*/ 61 w 66"/>
                  <a:gd name="T47" fmla="*/ 63 h 107"/>
                  <a:gd name="T48" fmla="*/ 61 w 66"/>
                  <a:gd name="T49" fmla="*/ 62 h 107"/>
                  <a:gd name="T50" fmla="*/ 4 w 66"/>
                  <a:gd name="T51" fmla="*/ 94 h 107"/>
                  <a:gd name="T52" fmla="*/ 4 w 66"/>
                  <a:gd name="T53" fmla="*/ 100 h 107"/>
                  <a:gd name="T54" fmla="*/ 17 w 66"/>
                  <a:gd name="T55" fmla="*/ 31 h 107"/>
                  <a:gd name="T56" fmla="*/ 61 w 66"/>
                  <a:gd name="T57" fmla="*/ 56 h 107"/>
                  <a:gd name="T58" fmla="*/ 61 w 66"/>
                  <a:gd name="T59" fmla="*/ 6 h 107"/>
                  <a:gd name="T60" fmla="*/ 17 w 66"/>
                  <a:gd name="T61" fmla="*/ 3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6" h="107">
                    <a:moveTo>
                      <a:pt x="8" y="107"/>
                    </a:moveTo>
                    <a:cubicBezTo>
                      <a:pt x="8" y="107"/>
                      <a:pt x="8" y="107"/>
                      <a:pt x="7" y="10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2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3"/>
                      <a:pt x="0" y="92"/>
                      <a:pt x="1" y="92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1" y="32"/>
                      <a:pt x="11" y="32"/>
                      <a:pt x="11" y="31"/>
                    </a:cubicBezTo>
                    <a:cubicBezTo>
                      <a:pt x="11" y="30"/>
                      <a:pt x="11" y="30"/>
                      <a:pt x="12" y="29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0"/>
                      <a:pt x="63" y="0"/>
                      <a:pt x="64" y="1"/>
                    </a:cubicBezTo>
                    <a:cubicBezTo>
                      <a:pt x="64" y="1"/>
                      <a:pt x="65" y="2"/>
                      <a:pt x="65" y="2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6" y="62"/>
                      <a:pt x="66" y="63"/>
                      <a:pt x="66" y="63"/>
                    </a:cubicBezTo>
                    <a:cubicBezTo>
                      <a:pt x="66" y="73"/>
                      <a:pt x="66" y="73"/>
                      <a:pt x="66" y="73"/>
                    </a:cubicBezTo>
                    <a:cubicBezTo>
                      <a:pt x="66" y="74"/>
                      <a:pt x="66" y="74"/>
                      <a:pt x="65" y="75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9" y="107"/>
                      <a:pt x="9" y="107"/>
                      <a:pt x="8" y="107"/>
                    </a:cubicBezTo>
                    <a:close/>
                    <a:moveTo>
                      <a:pt x="4" y="100"/>
                    </a:moveTo>
                    <a:cubicBezTo>
                      <a:pt x="8" y="103"/>
                      <a:pt x="8" y="103"/>
                      <a:pt x="8" y="103"/>
                    </a:cubicBezTo>
                    <a:cubicBezTo>
                      <a:pt x="62" y="72"/>
                      <a:pt x="62" y="72"/>
                      <a:pt x="62" y="72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1" y="64"/>
                      <a:pt x="61" y="63"/>
                      <a:pt x="61" y="63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4" y="94"/>
                      <a:pt x="4" y="94"/>
                      <a:pt x="4" y="94"/>
                    </a:cubicBezTo>
                    <a:lnTo>
                      <a:pt x="4" y="100"/>
                    </a:lnTo>
                    <a:close/>
                    <a:moveTo>
                      <a:pt x="17" y="31"/>
                    </a:moveTo>
                    <a:cubicBezTo>
                      <a:pt x="61" y="56"/>
                      <a:pt x="61" y="56"/>
                      <a:pt x="61" y="56"/>
                    </a:cubicBezTo>
                    <a:cubicBezTo>
                      <a:pt x="61" y="6"/>
                      <a:pt x="61" y="6"/>
                      <a:pt x="61" y="6"/>
                    </a:cubicBezTo>
                    <a:lnTo>
                      <a:pt x="17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8" name="Freeform 604">
                <a:extLst>
                  <a:ext uri="{FF2B5EF4-FFF2-40B4-BE49-F238E27FC236}">
                    <a16:creationId xmlns:a16="http://schemas.microsoft.com/office/drawing/2014/main" id="{50D0415C-A0E5-460B-B504-5585C3A05D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77729" y="6959494"/>
                <a:ext cx="169119" cy="280136"/>
              </a:xfrm>
              <a:custGeom>
                <a:avLst/>
                <a:gdLst>
                  <a:gd name="T0" fmla="*/ 66 w 69"/>
                  <a:gd name="T1" fmla="*/ 114 h 114"/>
                  <a:gd name="T2" fmla="*/ 65 w 69"/>
                  <a:gd name="T3" fmla="*/ 114 h 114"/>
                  <a:gd name="T4" fmla="*/ 3 w 69"/>
                  <a:gd name="T5" fmla="*/ 78 h 114"/>
                  <a:gd name="T6" fmla="*/ 2 w 69"/>
                  <a:gd name="T7" fmla="*/ 76 h 114"/>
                  <a:gd name="T8" fmla="*/ 2 w 69"/>
                  <a:gd name="T9" fmla="*/ 15 h 114"/>
                  <a:gd name="T10" fmla="*/ 1 w 69"/>
                  <a:gd name="T11" fmla="*/ 15 h 114"/>
                  <a:gd name="T12" fmla="*/ 0 w 69"/>
                  <a:gd name="T13" fmla="*/ 13 h 114"/>
                  <a:gd name="T14" fmla="*/ 0 w 69"/>
                  <a:gd name="T15" fmla="*/ 2 h 114"/>
                  <a:gd name="T16" fmla="*/ 1 w 69"/>
                  <a:gd name="T17" fmla="*/ 0 h 114"/>
                  <a:gd name="T18" fmla="*/ 3 w 69"/>
                  <a:gd name="T19" fmla="*/ 0 h 114"/>
                  <a:gd name="T20" fmla="*/ 68 w 69"/>
                  <a:gd name="T21" fmla="*/ 37 h 114"/>
                  <a:gd name="T22" fmla="*/ 69 w 69"/>
                  <a:gd name="T23" fmla="*/ 39 h 114"/>
                  <a:gd name="T24" fmla="*/ 69 w 69"/>
                  <a:gd name="T25" fmla="*/ 50 h 114"/>
                  <a:gd name="T26" fmla="*/ 68 w 69"/>
                  <a:gd name="T27" fmla="*/ 52 h 114"/>
                  <a:gd name="T28" fmla="*/ 68 w 69"/>
                  <a:gd name="T29" fmla="*/ 52 h 114"/>
                  <a:gd name="T30" fmla="*/ 68 w 69"/>
                  <a:gd name="T31" fmla="*/ 112 h 114"/>
                  <a:gd name="T32" fmla="*/ 67 w 69"/>
                  <a:gd name="T33" fmla="*/ 114 h 114"/>
                  <a:gd name="T34" fmla="*/ 66 w 69"/>
                  <a:gd name="T35" fmla="*/ 114 h 114"/>
                  <a:gd name="T36" fmla="*/ 6 w 69"/>
                  <a:gd name="T37" fmla="*/ 75 h 114"/>
                  <a:gd name="T38" fmla="*/ 64 w 69"/>
                  <a:gd name="T39" fmla="*/ 109 h 114"/>
                  <a:gd name="T40" fmla="*/ 64 w 69"/>
                  <a:gd name="T41" fmla="*/ 50 h 114"/>
                  <a:gd name="T42" fmla="*/ 65 w 69"/>
                  <a:gd name="T43" fmla="*/ 49 h 114"/>
                  <a:gd name="T44" fmla="*/ 65 w 69"/>
                  <a:gd name="T45" fmla="*/ 49 h 114"/>
                  <a:gd name="T46" fmla="*/ 65 w 69"/>
                  <a:gd name="T47" fmla="*/ 40 h 114"/>
                  <a:gd name="T48" fmla="*/ 4 w 69"/>
                  <a:gd name="T49" fmla="*/ 5 h 114"/>
                  <a:gd name="T50" fmla="*/ 4 w 69"/>
                  <a:gd name="T51" fmla="*/ 11 h 114"/>
                  <a:gd name="T52" fmla="*/ 5 w 69"/>
                  <a:gd name="T53" fmla="*/ 11 h 114"/>
                  <a:gd name="T54" fmla="*/ 6 w 69"/>
                  <a:gd name="T55" fmla="*/ 13 h 114"/>
                  <a:gd name="T56" fmla="*/ 6 w 69"/>
                  <a:gd name="T57" fmla="*/ 7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9" h="114">
                    <a:moveTo>
                      <a:pt x="66" y="114"/>
                    </a:moveTo>
                    <a:cubicBezTo>
                      <a:pt x="65" y="114"/>
                      <a:pt x="65" y="114"/>
                      <a:pt x="65" y="114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2" y="78"/>
                      <a:pt x="2" y="77"/>
                      <a:pt x="2" y="76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1" y="15"/>
                    </a:cubicBezTo>
                    <a:cubicBezTo>
                      <a:pt x="1" y="15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37"/>
                      <a:pt x="69" y="38"/>
                      <a:pt x="69" y="39"/>
                    </a:cubicBezTo>
                    <a:cubicBezTo>
                      <a:pt x="69" y="50"/>
                      <a:pt x="69" y="50"/>
                      <a:pt x="69" y="50"/>
                    </a:cubicBezTo>
                    <a:cubicBezTo>
                      <a:pt x="69" y="51"/>
                      <a:pt x="68" y="51"/>
                      <a:pt x="68" y="52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3"/>
                      <a:pt x="67" y="114"/>
                      <a:pt x="67" y="114"/>
                    </a:cubicBezTo>
                    <a:cubicBezTo>
                      <a:pt x="66" y="114"/>
                      <a:pt x="66" y="114"/>
                      <a:pt x="66" y="114"/>
                    </a:cubicBezTo>
                    <a:close/>
                    <a:moveTo>
                      <a:pt x="6" y="75"/>
                    </a:moveTo>
                    <a:cubicBezTo>
                      <a:pt x="64" y="109"/>
                      <a:pt x="64" y="109"/>
                      <a:pt x="64" y="109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4" y="50"/>
                      <a:pt x="64" y="49"/>
                      <a:pt x="65" y="4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5" y="40"/>
                      <a:pt x="65" y="40"/>
                      <a:pt x="65" y="4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6" y="12"/>
                      <a:pt x="6" y="13"/>
                    </a:cubicBezTo>
                    <a:lnTo>
                      <a:pt x="6" y="7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9" name="Freeform 606">
                <a:extLst>
                  <a:ext uri="{FF2B5EF4-FFF2-40B4-BE49-F238E27FC236}">
                    <a16:creationId xmlns:a16="http://schemas.microsoft.com/office/drawing/2014/main" id="{C243E797-FA01-484C-ABCE-BCF3703355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577087" y="6552779"/>
                <a:ext cx="26976" cy="32164"/>
              </a:xfrm>
              <a:custGeom>
                <a:avLst/>
                <a:gdLst>
                  <a:gd name="T0" fmla="*/ 2 w 11"/>
                  <a:gd name="T1" fmla="*/ 13 h 13"/>
                  <a:gd name="T2" fmla="*/ 1 w 11"/>
                  <a:gd name="T3" fmla="*/ 12 h 13"/>
                  <a:gd name="T4" fmla="*/ 0 w 11"/>
                  <a:gd name="T5" fmla="*/ 11 h 13"/>
                  <a:gd name="T6" fmla="*/ 0 w 11"/>
                  <a:gd name="T7" fmla="*/ 2 h 13"/>
                  <a:gd name="T8" fmla="*/ 1 w 11"/>
                  <a:gd name="T9" fmla="*/ 0 h 13"/>
                  <a:gd name="T10" fmla="*/ 3 w 11"/>
                  <a:gd name="T11" fmla="*/ 0 h 13"/>
                  <a:gd name="T12" fmla="*/ 10 w 11"/>
                  <a:gd name="T13" fmla="*/ 5 h 13"/>
                  <a:gd name="T14" fmla="*/ 11 w 11"/>
                  <a:gd name="T15" fmla="*/ 6 h 13"/>
                  <a:gd name="T16" fmla="*/ 10 w 11"/>
                  <a:gd name="T17" fmla="*/ 8 h 13"/>
                  <a:gd name="T18" fmla="*/ 3 w 11"/>
                  <a:gd name="T19" fmla="*/ 12 h 13"/>
                  <a:gd name="T20" fmla="*/ 2 w 11"/>
                  <a:gd name="T21" fmla="*/ 13 h 13"/>
                  <a:gd name="T22" fmla="*/ 4 w 11"/>
                  <a:gd name="T23" fmla="*/ 6 h 13"/>
                  <a:gd name="T24" fmla="*/ 4 w 11"/>
                  <a:gd name="T25" fmla="*/ 7 h 13"/>
                  <a:gd name="T26" fmla="*/ 5 w 11"/>
                  <a:gd name="T27" fmla="*/ 6 h 13"/>
                  <a:gd name="T28" fmla="*/ 4 w 11"/>
                  <a:gd name="T2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2" y="13"/>
                    </a:moveTo>
                    <a:cubicBezTo>
                      <a:pt x="2" y="13"/>
                      <a:pt x="2" y="12"/>
                      <a:pt x="1" y="12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5"/>
                      <a:pt x="11" y="6"/>
                      <a:pt x="11" y="6"/>
                    </a:cubicBezTo>
                    <a:cubicBezTo>
                      <a:pt x="11" y="7"/>
                      <a:pt x="11" y="8"/>
                      <a:pt x="1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3"/>
                      <a:pt x="2" y="13"/>
                    </a:cubicBezTo>
                    <a:close/>
                    <a:moveTo>
                      <a:pt x="4" y="6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0" name="Freeform 608">
                <a:extLst>
                  <a:ext uri="{FF2B5EF4-FFF2-40B4-BE49-F238E27FC236}">
                    <a16:creationId xmlns:a16="http://schemas.microsoft.com/office/drawing/2014/main" id="{6F4C8930-723E-40FC-BD5F-DC64782A7F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99818" y="6937706"/>
                <a:ext cx="70553" cy="83003"/>
              </a:xfrm>
              <a:custGeom>
                <a:avLst/>
                <a:gdLst>
                  <a:gd name="T0" fmla="*/ 2 w 29"/>
                  <a:gd name="T1" fmla="*/ 34 h 34"/>
                  <a:gd name="T2" fmla="*/ 1 w 29"/>
                  <a:gd name="T3" fmla="*/ 33 h 34"/>
                  <a:gd name="T4" fmla="*/ 0 w 29"/>
                  <a:gd name="T5" fmla="*/ 32 h 34"/>
                  <a:gd name="T6" fmla="*/ 0 w 29"/>
                  <a:gd name="T7" fmla="*/ 2 h 34"/>
                  <a:gd name="T8" fmla="*/ 1 w 29"/>
                  <a:gd name="T9" fmla="*/ 0 h 34"/>
                  <a:gd name="T10" fmla="*/ 3 w 29"/>
                  <a:gd name="T11" fmla="*/ 0 h 34"/>
                  <a:gd name="T12" fmla="*/ 28 w 29"/>
                  <a:gd name="T13" fmla="*/ 15 h 34"/>
                  <a:gd name="T14" fmla="*/ 29 w 29"/>
                  <a:gd name="T15" fmla="*/ 17 h 34"/>
                  <a:gd name="T16" fmla="*/ 28 w 29"/>
                  <a:gd name="T17" fmla="*/ 19 h 34"/>
                  <a:gd name="T18" fmla="*/ 3 w 29"/>
                  <a:gd name="T19" fmla="*/ 33 h 34"/>
                  <a:gd name="T20" fmla="*/ 2 w 29"/>
                  <a:gd name="T21" fmla="*/ 34 h 34"/>
                  <a:gd name="T22" fmla="*/ 4 w 29"/>
                  <a:gd name="T23" fmla="*/ 6 h 34"/>
                  <a:gd name="T24" fmla="*/ 4 w 29"/>
                  <a:gd name="T25" fmla="*/ 28 h 34"/>
                  <a:gd name="T26" fmla="*/ 23 w 29"/>
                  <a:gd name="T27" fmla="*/ 17 h 34"/>
                  <a:gd name="T28" fmla="*/ 4 w 29"/>
                  <a:gd name="T2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34">
                    <a:moveTo>
                      <a:pt x="2" y="34"/>
                    </a:moveTo>
                    <a:cubicBezTo>
                      <a:pt x="1" y="34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29" y="16"/>
                      <a:pt x="29" y="17"/>
                    </a:cubicBezTo>
                    <a:cubicBezTo>
                      <a:pt x="29" y="18"/>
                      <a:pt x="29" y="18"/>
                      <a:pt x="28" y="19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2" y="33"/>
                      <a:pt x="2" y="34"/>
                      <a:pt x="2" y="34"/>
                    </a:cubicBezTo>
                    <a:close/>
                    <a:moveTo>
                      <a:pt x="4" y="6"/>
                    </a:moveTo>
                    <a:cubicBezTo>
                      <a:pt x="4" y="28"/>
                      <a:pt x="4" y="28"/>
                      <a:pt x="4" y="28"/>
                    </a:cubicBezTo>
                    <a:cubicBezTo>
                      <a:pt x="23" y="17"/>
                      <a:pt x="23" y="17"/>
                      <a:pt x="23" y="1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1" name="Freeform 610">
                <a:extLst>
                  <a:ext uri="{FF2B5EF4-FFF2-40B4-BE49-F238E27FC236}">
                    <a16:creationId xmlns:a16="http://schemas.microsoft.com/office/drawing/2014/main" id="{F9C2A57B-2E7B-45F9-B08C-5C7A4C8E65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873634" y="6984395"/>
                <a:ext cx="134880" cy="237597"/>
              </a:xfrm>
              <a:custGeom>
                <a:avLst/>
                <a:gdLst>
                  <a:gd name="T0" fmla="*/ 2 w 55"/>
                  <a:gd name="T1" fmla="*/ 97 h 97"/>
                  <a:gd name="T2" fmla="*/ 1 w 55"/>
                  <a:gd name="T3" fmla="*/ 97 h 97"/>
                  <a:gd name="T4" fmla="*/ 0 w 55"/>
                  <a:gd name="T5" fmla="*/ 95 h 97"/>
                  <a:gd name="T6" fmla="*/ 0 w 55"/>
                  <a:gd name="T7" fmla="*/ 21 h 97"/>
                  <a:gd name="T8" fmla="*/ 1 w 55"/>
                  <a:gd name="T9" fmla="*/ 20 h 97"/>
                  <a:gd name="T10" fmla="*/ 35 w 55"/>
                  <a:gd name="T11" fmla="*/ 0 h 97"/>
                  <a:gd name="T12" fmla="*/ 37 w 55"/>
                  <a:gd name="T13" fmla="*/ 0 h 97"/>
                  <a:gd name="T14" fmla="*/ 54 w 55"/>
                  <a:gd name="T15" fmla="*/ 10 h 97"/>
                  <a:gd name="T16" fmla="*/ 55 w 55"/>
                  <a:gd name="T17" fmla="*/ 12 h 97"/>
                  <a:gd name="T18" fmla="*/ 55 w 55"/>
                  <a:gd name="T19" fmla="*/ 66 h 97"/>
                  <a:gd name="T20" fmla="*/ 54 w 55"/>
                  <a:gd name="T21" fmla="*/ 68 h 97"/>
                  <a:gd name="T22" fmla="*/ 3 w 55"/>
                  <a:gd name="T23" fmla="*/ 97 h 97"/>
                  <a:gd name="T24" fmla="*/ 2 w 55"/>
                  <a:gd name="T25" fmla="*/ 97 h 97"/>
                  <a:gd name="T26" fmla="*/ 4 w 55"/>
                  <a:gd name="T27" fmla="*/ 23 h 97"/>
                  <a:gd name="T28" fmla="*/ 4 w 55"/>
                  <a:gd name="T29" fmla="*/ 92 h 97"/>
                  <a:gd name="T30" fmla="*/ 51 w 55"/>
                  <a:gd name="T31" fmla="*/ 65 h 97"/>
                  <a:gd name="T32" fmla="*/ 51 w 55"/>
                  <a:gd name="T33" fmla="*/ 13 h 97"/>
                  <a:gd name="T34" fmla="*/ 36 w 55"/>
                  <a:gd name="T35" fmla="*/ 4 h 97"/>
                  <a:gd name="T36" fmla="*/ 4 w 55"/>
                  <a:gd name="T37" fmla="*/ 23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" h="97">
                    <a:moveTo>
                      <a:pt x="2" y="97"/>
                    </a:moveTo>
                    <a:cubicBezTo>
                      <a:pt x="1" y="97"/>
                      <a:pt x="1" y="97"/>
                      <a:pt x="1" y="97"/>
                    </a:cubicBezTo>
                    <a:cubicBezTo>
                      <a:pt x="0" y="97"/>
                      <a:pt x="0" y="96"/>
                      <a:pt x="0" y="9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0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6" y="0"/>
                      <a:pt x="37" y="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5" y="10"/>
                      <a:pt x="55" y="11"/>
                      <a:pt x="55" y="12"/>
                    </a:cubicBezTo>
                    <a:cubicBezTo>
                      <a:pt x="55" y="66"/>
                      <a:pt x="55" y="66"/>
                      <a:pt x="55" y="66"/>
                    </a:cubicBezTo>
                    <a:cubicBezTo>
                      <a:pt x="55" y="66"/>
                      <a:pt x="55" y="67"/>
                      <a:pt x="54" y="68"/>
                    </a:cubicBezTo>
                    <a:cubicBezTo>
                      <a:pt x="3" y="97"/>
                      <a:pt x="3" y="97"/>
                      <a:pt x="3" y="97"/>
                    </a:cubicBezTo>
                    <a:cubicBezTo>
                      <a:pt x="2" y="97"/>
                      <a:pt x="2" y="97"/>
                      <a:pt x="2" y="97"/>
                    </a:cubicBezTo>
                    <a:close/>
                    <a:moveTo>
                      <a:pt x="4" y="23"/>
                    </a:moveTo>
                    <a:cubicBezTo>
                      <a:pt x="4" y="92"/>
                      <a:pt x="4" y="92"/>
                      <a:pt x="4" y="92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2" name="Freeform 611">
                <a:extLst>
                  <a:ext uri="{FF2B5EF4-FFF2-40B4-BE49-F238E27FC236}">
                    <a16:creationId xmlns:a16="http://schemas.microsoft.com/office/drawing/2014/main" id="{49442736-75BA-476D-89EF-95A5318ADC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70126" y="6928368"/>
                <a:ext cx="129693" cy="80928"/>
              </a:xfrm>
              <a:custGeom>
                <a:avLst/>
                <a:gdLst>
                  <a:gd name="T0" fmla="*/ 19 w 53"/>
                  <a:gd name="T1" fmla="*/ 33 h 33"/>
                  <a:gd name="T2" fmla="*/ 18 w 53"/>
                  <a:gd name="T3" fmla="*/ 32 h 33"/>
                  <a:gd name="T4" fmla="*/ 1 w 53"/>
                  <a:gd name="T5" fmla="*/ 23 h 33"/>
                  <a:gd name="T6" fmla="*/ 0 w 53"/>
                  <a:gd name="T7" fmla="*/ 21 h 33"/>
                  <a:gd name="T8" fmla="*/ 1 w 53"/>
                  <a:gd name="T9" fmla="*/ 19 h 33"/>
                  <a:gd name="T10" fmla="*/ 33 w 53"/>
                  <a:gd name="T11" fmla="*/ 0 h 33"/>
                  <a:gd name="T12" fmla="*/ 35 w 53"/>
                  <a:gd name="T13" fmla="*/ 0 h 33"/>
                  <a:gd name="T14" fmla="*/ 52 w 53"/>
                  <a:gd name="T15" fmla="*/ 10 h 33"/>
                  <a:gd name="T16" fmla="*/ 53 w 53"/>
                  <a:gd name="T17" fmla="*/ 12 h 33"/>
                  <a:gd name="T18" fmla="*/ 52 w 53"/>
                  <a:gd name="T19" fmla="*/ 14 h 33"/>
                  <a:gd name="T20" fmla="*/ 20 w 53"/>
                  <a:gd name="T21" fmla="*/ 32 h 33"/>
                  <a:gd name="T22" fmla="*/ 19 w 53"/>
                  <a:gd name="T23" fmla="*/ 33 h 33"/>
                  <a:gd name="T24" fmla="*/ 6 w 53"/>
                  <a:gd name="T25" fmla="*/ 21 h 33"/>
                  <a:gd name="T26" fmla="*/ 19 w 53"/>
                  <a:gd name="T27" fmla="*/ 28 h 33"/>
                  <a:gd name="T28" fmla="*/ 47 w 53"/>
                  <a:gd name="T29" fmla="*/ 12 h 33"/>
                  <a:gd name="T30" fmla="*/ 34 w 53"/>
                  <a:gd name="T31" fmla="*/ 4 h 33"/>
                  <a:gd name="T32" fmla="*/ 6 w 53"/>
                  <a:gd name="T33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33">
                    <a:moveTo>
                      <a:pt x="19" y="33"/>
                    </a:moveTo>
                    <a:cubicBezTo>
                      <a:pt x="18" y="33"/>
                      <a:pt x="18" y="33"/>
                      <a:pt x="18" y="32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19"/>
                      <a:pt x="1" y="19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4" y="0"/>
                      <a:pt x="34" y="0"/>
                      <a:pt x="35" y="0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3" y="11"/>
                      <a:pt x="53" y="11"/>
                      <a:pt x="53" y="12"/>
                    </a:cubicBezTo>
                    <a:cubicBezTo>
                      <a:pt x="53" y="13"/>
                      <a:pt x="53" y="13"/>
                      <a:pt x="52" y="14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19" y="33"/>
                      <a:pt x="19" y="33"/>
                      <a:pt x="19" y="33"/>
                    </a:cubicBezTo>
                    <a:close/>
                    <a:moveTo>
                      <a:pt x="6" y="21"/>
                    </a:moveTo>
                    <a:cubicBezTo>
                      <a:pt x="19" y="28"/>
                      <a:pt x="19" y="28"/>
                      <a:pt x="19" y="2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4" y="4"/>
                      <a:pt x="34" y="4"/>
                      <a:pt x="34" y="4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3" name="Freeform 612">
                <a:extLst>
                  <a:ext uri="{FF2B5EF4-FFF2-40B4-BE49-F238E27FC236}">
                    <a16:creationId xmlns:a16="http://schemas.microsoft.com/office/drawing/2014/main" id="{CF89A31D-1187-4177-A18B-44FA30C207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53129" y="6977132"/>
                <a:ext cx="117242" cy="75740"/>
              </a:xfrm>
              <a:custGeom>
                <a:avLst/>
                <a:gdLst>
                  <a:gd name="T0" fmla="*/ 17 w 48"/>
                  <a:gd name="T1" fmla="*/ 31 h 31"/>
                  <a:gd name="T2" fmla="*/ 16 w 48"/>
                  <a:gd name="T3" fmla="*/ 30 h 31"/>
                  <a:gd name="T4" fmla="*/ 1 w 48"/>
                  <a:gd name="T5" fmla="*/ 22 h 31"/>
                  <a:gd name="T6" fmla="*/ 0 w 48"/>
                  <a:gd name="T7" fmla="*/ 20 h 31"/>
                  <a:gd name="T8" fmla="*/ 0 w 48"/>
                  <a:gd name="T9" fmla="*/ 17 h 31"/>
                  <a:gd name="T10" fmla="*/ 1 w 48"/>
                  <a:gd name="T11" fmla="*/ 16 h 31"/>
                  <a:gd name="T12" fmla="*/ 28 w 48"/>
                  <a:gd name="T13" fmla="*/ 0 h 31"/>
                  <a:gd name="T14" fmla="*/ 30 w 48"/>
                  <a:gd name="T15" fmla="*/ 0 h 31"/>
                  <a:gd name="T16" fmla="*/ 47 w 48"/>
                  <a:gd name="T17" fmla="*/ 10 h 31"/>
                  <a:gd name="T18" fmla="*/ 48 w 48"/>
                  <a:gd name="T19" fmla="*/ 12 h 31"/>
                  <a:gd name="T20" fmla="*/ 47 w 48"/>
                  <a:gd name="T21" fmla="*/ 13 h 31"/>
                  <a:gd name="T22" fmla="*/ 18 w 48"/>
                  <a:gd name="T23" fmla="*/ 30 h 31"/>
                  <a:gd name="T24" fmla="*/ 17 w 48"/>
                  <a:gd name="T25" fmla="*/ 31 h 31"/>
                  <a:gd name="T26" fmla="*/ 4 w 48"/>
                  <a:gd name="T27" fmla="*/ 19 h 31"/>
                  <a:gd name="T28" fmla="*/ 17 w 48"/>
                  <a:gd name="T29" fmla="*/ 26 h 31"/>
                  <a:gd name="T30" fmla="*/ 42 w 48"/>
                  <a:gd name="T31" fmla="*/ 12 h 31"/>
                  <a:gd name="T32" fmla="*/ 29 w 48"/>
                  <a:gd name="T33" fmla="*/ 4 h 31"/>
                  <a:gd name="T34" fmla="*/ 4 w 48"/>
                  <a:gd name="T35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1">
                    <a:moveTo>
                      <a:pt x="17" y="31"/>
                    </a:moveTo>
                    <a:cubicBezTo>
                      <a:pt x="16" y="31"/>
                      <a:pt x="16" y="31"/>
                      <a:pt x="16" y="30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6"/>
                      <a:pt x="1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30" y="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8" y="10"/>
                      <a:pt x="48" y="11"/>
                      <a:pt x="48" y="12"/>
                    </a:cubicBezTo>
                    <a:cubicBezTo>
                      <a:pt x="48" y="12"/>
                      <a:pt x="48" y="13"/>
                      <a:pt x="47" y="13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17" y="31"/>
                      <a:pt x="17" y="31"/>
                      <a:pt x="17" y="31"/>
                    </a:cubicBezTo>
                    <a:close/>
                    <a:moveTo>
                      <a:pt x="4" y="19"/>
                    </a:moveTo>
                    <a:cubicBezTo>
                      <a:pt x="17" y="26"/>
                      <a:pt x="17" y="26"/>
                      <a:pt x="17" y="26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4" y="19"/>
                      <a:pt x="4" y="19"/>
                      <a:pt x="4" y="1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4" name="Freeform 613">
                <a:extLst>
                  <a:ext uri="{FF2B5EF4-FFF2-40B4-BE49-F238E27FC236}">
                    <a16:creationId xmlns:a16="http://schemas.microsoft.com/office/drawing/2014/main" id="{A289E2FF-4B35-4D35-B712-146B92AFE9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20324" y="6955344"/>
                <a:ext cx="134880" cy="83003"/>
              </a:xfrm>
              <a:custGeom>
                <a:avLst/>
                <a:gdLst>
                  <a:gd name="T0" fmla="*/ 21 w 55"/>
                  <a:gd name="T1" fmla="*/ 34 h 34"/>
                  <a:gd name="T2" fmla="*/ 20 w 55"/>
                  <a:gd name="T3" fmla="*/ 33 h 34"/>
                  <a:gd name="T4" fmla="*/ 19 w 55"/>
                  <a:gd name="T5" fmla="*/ 33 h 34"/>
                  <a:gd name="T6" fmla="*/ 1 w 55"/>
                  <a:gd name="T7" fmla="*/ 22 h 34"/>
                  <a:gd name="T8" fmla="*/ 0 w 55"/>
                  <a:gd name="T9" fmla="*/ 21 h 34"/>
                  <a:gd name="T10" fmla="*/ 1 w 55"/>
                  <a:gd name="T11" fmla="*/ 19 h 34"/>
                  <a:gd name="T12" fmla="*/ 34 w 55"/>
                  <a:gd name="T13" fmla="*/ 0 h 34"/>
                  <a:gd name="T14" fmla="*/ 36 w 55"/>
                  <a:gd name="T15" fmla="*/ 0 h 34"/>
                  <a:gd name="T16" fmla="*/ 54 w 55"/>
                  <a:gd name="T17" fmla="*/ 11 h 34"/>
                  <a:gd name="T18" fmla="*/ 55 w 55"/>
                  <a:gd name="T19" fmla="*/ 13 h 34"/>
                  <a:gd name="T20" fmla="*/ 54 w 55"/>
                  <a:gd name="T21" fmla="*/ 14 h 34"/>
                  <a:gd name="T22" fmla="*/ 22 w 55"/>
                  <a:gd name="T23" fmla="*/ 33 h 34"/>
                  <a:gd name="T24" fmla="*/ 21 w 55"/>
                  <a:gd name="T25" fmla="*/ 34 h 34"/>
                  <a:gd name="T26" fmla="*/ 6 w 55"/>
                  <a:gd name="T27" fmla="*/ 21 h 34"/>
                  <a:gd name="T28" fmla="*/ 21 w 55"/>
                  <a:gd name="T29" fmla="*/ 29 h 34"/>
                  <a:gd name="T30" fmla="*/ 49 w 55"/>
                  <a:gd name="T31" fmla="*/ 13 h 34"/>
                  <a:gd name="T32" fmla="*/ 35 w 55"/>
                  <a:gd name="T33" fmla="*/ 4 h 34"/>
                  <a:gd name="T34" fmla="*/ 6 w 55"/>
                  <a:gd name="T35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5" h="34">
                    <a:moveTo>
                      <a:pt x="21" y="34"/>
                    </a:moveTo>
                    <a:cubicBezTo>
                      <a:pt x="20" y="34"/>
                      <a:pt x="20" y="33"/>
                      <a:pt x="20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0" y="21"/>
                      <a:pt x="0" y="21"/>
                    </a:cubicBezTo>
                    <a:cubicBezTo>
                      <a:pt x="0" y="20"/>
                      <a:pt x="1" y="19"/>
                      <a:pt x="1" y="19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5" y="0"/>
                      <a:pt x="36" y="0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5" y="11"/>
                      <a:pt x="55" y="12"/>
                      <a:pt x="55" y="13"/>
                    </a:cubicBezTo>
                    <a:cubicBezTo>
                      <a:pt x="55" y="13"/>
                      <a:pt x="55" y="14"/>
                      <a:pt x="54" y="14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1" y="33"/>
                      <a:pt x="21" y="34"/>
                      <a:pt x="21" y="34"/>
                    </a:cubicBezTo>
                    <a:close/>
                    <a:moveTo>
                      <a:pt x="6" y="21"/>
                    </a:moveTo>
                    <a:cubicBezTo>
                      <a:pt x="21" y="29"/>
                      <a:pt x="21" y="29"/>
                      <a:pt x="21" y="29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35" y="4"/>
                      <a:pt x="35" y="4"/>
                      <a:pt x="35" y="4"/>
                    </a:cubicBez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5" name="Freeform 615">
                <a:extLst>
                  <a:ext uri="{FF2B5EF4-FFF2-40B4-BE49-F238E27FC236}">
                    <a16:creationId xmlns:a16="http://schemas.microsoft.com/office/drawing/2014/main" id="{0A512993-2DCD-4A7F-B684-F85420AEF27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873634" y="6959494"/>
                <a:ext cx="15563" cy="15563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6" y="5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6" name="Freeform 627">
                <a:extLst>
                  <a:ext uri="{FF2B5EF4-FFF2-40B4-BE49-F238E27FC236}">
                    <a16:creationId xmlns:a16="http://schemas.microsoft.com/office/drawing/2014/main" id="{F2DC853D-DA4C-4F79-90EE-58E8E46E5B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57129" y="6097299"/>
                <a:ext cx="43577" cy="41502"/>
              </a:xfrm>
              <a:custGeom>
                <a:avLst/>
                <a:gdLst>
                  <a:gd name="T0" fmla="*/ 9 w 18"/>
                  <a:gd name="T1" fmla="*/ 17 h 17"/>
                  <a:gd name="T2" fmla="*/ 8 w 18"/>
                  <a:gd name="T3" fmla="*/ 17 h 17"/>
                  <a:gd name="T4" fmla="*/ 1 w 18"/>
                  <a:gd name="T5" fmla="*/ 12 h 17"/>
                  <a:gd name="T6" fmla="*/ 0 w 18"/>
                  <a:gd name="T7" fmla="*/ 11 h 17"/>
                  <a:gd name="T8" fmla="*/ 1 w 18"/>
                  <a:gd name="T9" fmla="*/ 9 h 17"/>
                  <a:gd name="T10" fmla="*/ 15 w 18"/>
                  <a:gd name="T11" fmla="*/ 1 h 17"/>
                  <a:gd name="T12" fmla="*/ 17 w 18"/>
                  <a:gd name="T13" fmla="*/ 1 h 17"/>
                  <a:gd name="T14" fmla="*/ 18 w 18"/>
                  <a:gd name="T15" fmla="*/ 3 h 17"/>
                  <a:gd name="T16" fmla="*/ 18 w 18"/>
                  <a:gd name="T17" fmla="*/ 11 h 17"/>
                  <a:gd name="T18" fmla="*/ 17 w 18"/>
                  <a:gd name="T19" fmla="*/ 13 h 17"/>
                  <a:gd name="T20" fmla="*/ 10 w 18"/>
                  <a:gd name="T21" fmla="*/ 17 h 17"/>
                  <a:gd name="T22" fmla="*/ 9 w 18"/>
                  <a:gd name="T23" fmla="*/ 17 h 17"/>
                  <a:gd name="T24" fmla="*/ 6 w 18"/>
                  <a:gd name="T25" fmla="*/ 11 h 17"/>
                  <a:gd name="T26" fmla="*/ 9 w 18"/>
                  <a:gd name="T27" fmla="*/ 13 h 17"/>
                  <a:gd name="T28" fmla="*/ 14 w 18"/>
                  <a:gd name="T29" fmla="*/ 10 h 17"/>
                  <a:gd name="T30" fmla="*/ 14 w 18"/>
                  <a:gd name="T31" fmla="*/ 6 h 17"/>
                  <a:gd name="T32" fmla="*/ 6 w 18"/>
                  <a:gd name="T33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7">
                    <a:moveTo>
                      <a:pt x="9" y="17"/>
                    </a:moveTo>
                    <a:cubicBezTo>
                      <a:pt x="9" y="17"/>
                      <a:pt x="8" y="17"/>
                      <a:pt x="8" y="17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1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6" y="0"/>
                      <a:pt x="17" y="1"/>
                    </a:cubicBezTo>
                    <a:cubicBezTo>
                      <a:pt x="18" y="1"/>
                      <a:pt x="18" y="2"/>
                      <a:pt x="18" y="3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2"/>
                      <a:pt x="18" y="12"/>
                      <a:pt x="17" y="13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9" y="17"/>
                      <a:pt x="9" y="17"/>
                    </a:cubicBezTo>
                    <a:close/>
                    <a:moveTo>
                      <a:pt x="6" y="11"/>
                    </a:moveTo>
                    <a:cubicBezTo>
                      <a:pt x="9" y="13"/>
                      <a:pt x="9" y="13"/>
                      <a:pt x="9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6"/>
                      <a:pt x="14" y="6"/>
                      <a:pt x="14" y="6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7" name="Freeform 630">
                <a:extLst>
                  <a:ext uri="{FF2B5EF4-FFF2-40B4-BE49-F238E27FC236}">
                    <a16:creationId xmlns:a16="http://schemas.microsoft.com/office/drawing/2014/main" id="{82337470-F317-4C62-92B7-D82FFD16B0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47054" y="6971945"/>
                <a:ext cx="131768" cy="102716"/>
              </a:xfrm>
              <a:custGeom>
                <a:avLst/>
                <a:gdLst>
                  <a:gd name="T0" fmla="*/ 52 w 54"/>
                  <a:gd name="T1" fmla="*/ 42 h 42"/>
                  <a:gd name="T2" fmla="*/ 51 w 54"/>
                  <a:gd name="T3" fmla="*/ 42 h 42"/>
                  <a:gd name="T4" fmla="*/ 10 w 54"/>
                  <a:gd name="T5" fmla="*/ 18 h 42"/>
                  <a:gd name="T6" fmla="*/ 10 w 54"/>
                  <a:gd name="T7" fmla="*/ 19 h 42"/>
                  <a:gd name="T8" fmla="*/ 9 w 54"/>
                  <a:gd name="T9" fmla="*/ 21 h 42"/>
                  <a:gd name="T10" fmla="*/ 7 w 54"/>
                  <a:gd name="T11" fmla="*/ 21 h 42"/>
                  <a:gd name="T12" fmla="*/ 1 w 54"/>
                  <a:gd name="T13" fmla="*/ 17 h 42"/>
                  <a:gd name="T14" fmla="*/ 0 w 54"/>
                  <a:gd name="T15" fmla="*/ 16 h 42"/>
                  <a:gd name="T16" fmla="*/ 0 w 54"/>
                  <a:gd name="T17" fmla="*/ 2 h 42"/>
                  <a:gd name="T18" fmla="*/ 1 w 54"/>
                  <a:gd name="T19" fmla="*/ 0 h 42"/>
                  <a:gd name="T20" fmla="*/ 3 w 54"/>
                  <a:gd name="T21" fmla="*/ 0 h 42"/>
                  <a:gd name="T22" fmla="*/ 53 w 54"/>
                  <a:gd name="T23" fmla="*/ 29 h 42"/>
                  <a:gd name="T24" fmla="*/ 54 w 54"/>
                  <a:gd name="T25" fmla="*/ 31 h 42"/>
                  <a:gd name="T26" fmla="*/ 54 w 54"/>
                  <a:gd name="T27" fmla="*/ 40 h 42"/>
                  <a:gd name="T28" fmla="*/ 53 w 54"/>
                  <a:gd name="T29" fmla="*/ 42 h 42"/>
                  <a:gd name="T30" fmla="*/ 52 w 54"/>
                  <a:gd name="T31" fmla="*/ 42 h 42"/>
                  <a:gd name="T32" fmla="*/ 8 w 54"/>
                  <a:gd name="T33" fmla="*/ 13 h 42"/>
                  <a:gd name="T34" fmla="*/ 9 w 54"/>
                  <a:gd name="T35" fmla="*/ 13 h 42"/>
                  <a:gd name="T36" fmla="*/ 50 w 54"/>
                  <a:gd name="T37" fmla="*/ 36 h 42"/>
                  <a:gd name="T38" fmla="*/ 50 w 54"/>
                  <a:gd name="T39" fmla="*/ 32 h 42"/>
                  <a:gd name="T40" fmla="*/ 4 w 54"/>
                  <a:gd name="T41" fmla="*/ 5 h 42"/>
                  <a:gd name="T42" fmla="*/ 4 w 54"/>
                  <a:gd name="T43" fmla="*/ 14 h 42"/>
                  <a:gd name="T44" fmla="*/ 6 w 54"/>
                  <a:gd name="T45" fmla="*/ 16 h 42"/>
                  <a:gd name="T46" fmla="*/ 6 w 54"/>
                  <a:gd name="T47" fmla="*/ 15 h 42"/>
                  <a:gd name="T48" fmla="*/ 7 w 54"/>
                  <a:gd name="T49" fmla="*/ 13 h 42"/>
                  <a:gd name="T50" fmla="*/ 8 w 54"/>
                  <a:gd name="T51" fmla="*/ 1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42">
                    <a:moveTo>
                      <a:pt x="52" y="42"/>
                    </a:moveTo>
                    <a:cubicBezTo>
                      <a:pt x="51" y="42"/>
                      <a:pt x="51" y="42"/>
                      <a:pt x="51" y="42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20"/>
                      <a:pt x="9" y="20"/>
                      <a:pt x="9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53" y="29"/>
                      <a:pt x="53" y="29"/>
                      <a:pt x="53" y="29"/>
                    </a:cubicBezTo>
                    <a:cubicBezTo>
                      <a:pt x="53" y="29"/>
                      <a:pt x="54" y="30"/>
                      <a:pt x="54" y="31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4" y="41"/>
                      <a:pt x="53" y="41"/>
                      <a:pt x="53" y="42"/>
                    </a:cubicBezTo>
                    <a:cubicBezTo>
                      <a:pt x="52" y="42"/>
                      <a:pt x="52" y="42"/>
                      <a:pt x="52" y="42"/>
                    </a:cubicBezTo>
                    <a:close/>
                    <a:moveTo>
                      <a:pt x="8" y="13"/>
                    </a:moveTo>
                    <a:cubicBezTo>
                      <a:pt x="8" y="13"/>
                      <a:pt x="8" y="13"/>
                      <a:pt x="9" y="13"/>
                    </a:cubicBezTo>
                    <a:cubicBezTo>
                      <a:pt x="50" y="36"/>
                      <a:pt x="50" y="36"/>
                      <a:pt x="50" y="3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4"/>
                      <a:pt x="6" y="13"/>
                      <a:pt x="7" y="13"/>
                    </a:cubicBezTo>
                    <a:cubicBezTo>
                      <a:pt x="7" y="13"/>
                      <a:pt x="7" y="13"/>
                      <a:pt x="8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8" name="Freeform 632">
                <a:extLst>
                  <a:ext uri="{FF2B5EF4-FFF2-40B4-BE49-F238E27FC236}">
                    <a16:creationId xmlns:a16="http://schemas.microsoft.com/office/drawing/2014/main" id="{6661B6D8-5121-49B2-8ED5-2E04C7F4A8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47054" y="6867153"/>
                <a:ext cx="158744" cy="180532"/>
              </a:xfrm>
              <a:custGeom>
                <a:avLst/>
                <a:gdLst>
                  <a:gd name="T0" fmla="*/ 63 w 65"/>
                  <a:gd name="T1" fmla="*/ 74 h 74"/>
                  <a:gd name="T2" fmla="*/ 62 w 65"/>
                  <a:gd name="T3" fmla="*/ 73 h 74"/>
                  <a:gd name="T4" fmla="*/ 12 w 65"/>
                  <a:gd name="T5" fmla="*/ 45 h 74"/>
                  <a:gd name="T6" fmla="*/ 11 w 65"/>
                  <a:gd name="T7" fmla="*/ 43 h 74"/>
                  <a:gd name="T8" fmla="*/ 11 w 65"/>
                  <a:gd name="T9" fmla="*/ 40 h 74"/>
                  <a:gd name="T10" fmla="*/ 9 w 65"/>
                  <a:gd name="T11" fmla="*/ 42 h 74"/>
                  <a:gd name="T12" fmla="*/ 7 w 65"/>
                  <a:gd name="T13" fmla="*/ 42 h 74"/>
                  <a:gd name="T14" fmla="*/ 1 w 65"/>
                  <a:gd name="T15" fmla="*/ 38 h 74"/>
                  <a:gd name="T16" fmla="*/ 0 w 65"/>
                  <a:gd name="T17" fmla="*/ 37 h 74"/>
                  <a:gd name="T18" fmla="*/ 1 w 65"/>
                  <a:gd name="T19" fmla="*/ 35 h 74"/>
                  <a:gd name="T20" fmla="*/ 62 w 65"/>
                  <a:gd name="T21" fmla="*/ 0 h 74"/>
                  <a:gd name="T22" fmla="*/ 64 w 65"/>
                  <a:gd name="T23" fmla="*/ 0 h 74"/>
                  <a:gd name="T24" fmla="*/ 65 w 65"/>
                  <a:gd name="T25" fmla="*/ 2 h 74"/>
                  <a:gd name="T26" fmla="*/ 65 w 65"/>
                  <a:gd name="T27" fmla="*/ 72 h 74"/>
                  <a:gd name="T28" fmla="*/ 64 w 65"/>
                  <a:gd name="T29" fmla="*/ 73 h 74"/>
                  <a:gd name="T30" fmla="*/ 63 w 65"/>
                  <a:gd name="T31" fmla="*/ 74 h 74"/>
                  <a:gd name="T32" fmla="*/ 15 w 65"/>
                  <a:gd name="T33" fmla="*/ 42 h 74"/>
                  <a:gd name="T34" fmla="*/ 61 w 65"/>
                  <a:gd name="T35" fmla="*/ 68 h 74"/>
                  <a:gd name="T36" fmla="*/ 61 w 65"/>
                  <a:gd name="T37" fmla="*/ 5 h 74"/>
                  <a:gd name="T38" fmla="*/ 6 w 65"/>
                  <a:gd name="T39" fmla="*/ 37 h 74"/>
                  <a:gd name="T40" fmla="*/ 8 w 65"/>
                  <a:gd name="T41" fmla="*/ 38 h 74"/>
                  <a:gd name="T42" fmla="*/ 12 w 65"/>
                  <a:gd name="T43" fmla="*/ 35 h 74"/>
                  <a:gd name="T44" fmla="*/ 14 w 65"/>
                  <a:gd name="T45" fmla="*/ 35 h 74"/>
                  <a:gd name="T46" fmla="*/ 15 w 65"/>
                  <a:gd name="T47" fmla="*/ 37 h 74"/>
                  <a:gd name="T48" fmla="*/ 15 w 65"/>
                  <a:gd name="T49" fmla="*/ 4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5" h="74">
                    <a:moveTo>
                      <a:pt x="63" y="74"/>
                    </a:moveTo>
                    <a:cubicBezTo>
                      <a:pt x="62" y="74"/>
                      <a:pt x="62" y="74"/>
                      <a:pt x="62" y="73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1" y="44"/>
                      <a:pt x="11" y="44"/>
                      <a:pt x="11" y="43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8" y="42"/>
                      <a:pt x="7" y="42"/>
                      <a:pt x="7" y="42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7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3" y="0"/>
                      <a:pt x="64" y="0"/>
                    </a:cubicBezTo>
                    <a:cubicBezTo>
                      <a:pt x="64" y="0"/>
                      <a:pt x="65" y="1"/>
                      <a:pt x="65" y="2"/>
                    </a:cubicBezTo>
                    <a:cubicBezTo>
                      <a:pt x="65" y="72"/>
                      <a:pt x="65" y="72"/>
                      <a:pt x="65" y="72"/>
                    </a:cubicBezTo>
                    <a:cubicBezTo>
                      <a:pt x="65" y="72"/>
                      <a:pt x="64" y="73"/>
                      <a:pt x="64" y="73"/>
                    </a:cubicBezTo>
                    <a:cubicBezTo>
                      <a:pt x="63" y="74"/>
                      <a:pt x="63" y="74"/>
                      <a:pt x="63" y="74"/>
                    </a:cubicBezTo>
                    <a:close/>
                    <a:moveTo>
                      <a:pt x="15" y="42"/>
                    </a:moveTo>
                    <a:cubicBezTo>
                      <a:pt x="61" y="68"/>
                      <a:pt x="61" y="68"/>
                      <a:pt x="61" y="68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5"/>
                      <a:pt x="13" y="35"/>
                      <a:pt x="14" y="35"/>
                    </a:cubicBezTo>
                    <a:cubicBezTo>
                      <a:pt x="14" y="36"/>
                      <a:pt x="15" y="36"/>
                      <a:pt x="15" y="37"/>
                    </a:cubicBezTo>
                    <a:lnTo>
                      <a:pt x="15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9" name="Freeform 633">
                <a:extLst>
                  <a:ext uri="{FF2B5EF4-FFF2-40B4-BE49-F238E27FC236}">
                    <a16:creationId xmlns:a16="http://schemas.microsoft.com/office/drawing/2014/main" id="{9CE5D71E-CA10-44B5-BECA-8C2F235E5D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873634" y="6964682"/>
                <a:ext cx="46689" cy="48764"/>
              </a:xfrm>
              <a:custGeom>
                <a:avLst/>
                <a:gdLst>
                  <a:gd name="T0" fmla="*/ 17 w 19"/>
                  <a:gd name="T1" fmla="*/ 20 h 20"/>
                  <a:gd name="T2" fmla="*/ 16 w 19"/>
                  <a:gd name="T3" fmla="*/ 19 h 20"/>
                  <a:gd name="T4" fmla="*/ 1 w 19"/>
                  <a:gd name="T5" fmla="*/ 10 h 20"/>
                  <a:gd name="T6" fmla="*/ 0 w 19"/>
                  <a:gd name="T7" fmla="*/ 9 h 20"/>
                  <a:gd name="T8" fmla="*/ 1 w 19"/>
                  <a:gd name="T9" fmla="*/ 7 h 20"/>
                  <a:gd name="T10" fmla="*/ 13 w 19"/>
                  <a:gd name="T11" fmla="*/ 0 h 20"/>
                  <a:gd name="T12" fmla="*/ 15 w 19"/>
                  <a:gd name="T13" fmla="*/ 0 h 20"/>
                  <a:gd name="T14" fmla="*/ 18 w 19"/>
                  <a:gd name="T15" fmla="*/ 2 h 20"/>
                  <a:gd name="T16" fmla="*/ 19 w 19"/>
                  <a:gd name="T17" fmla="*/ 4 h 20"/>
                  <a:gd name="T18" fmla="*/ 19 w 19"/>
                  <a:gd name="T19" fmla="*/ 18 h 20"/>
                  <a:gd name="T20" fmla="*/ 18 w 19"/>
                  <a:gd name="T21" fmla="*/ 19 h 20"/>
                  <a:gd name="T22" fmla="*/ 17 w 19"/>
                  <a:gd name="T23" fmla="*/ 20 h 20"/>
                  <a:gd name="T24" fmla="*/ 6 w 19"/>
                  <a:gd name="T25" fmla="*/ 9 h 20"/>
                  <a:gd name="T26" fmla="*/ 15 w 19"/>
                  <a:gd name="T27" fmla="*/ 14 h 20"/>
                  <a:gd name="T28" fmla="*/ 15 w 19"/>
                  <a:gd name="T29" fmla="*/ 5 h 20"/>
                  <a:gd name="T30" fmla="*/ 14 w 19"/>
                  <a:gd name="T31" fmla="*/ 4 h 20"/>
                  <a:gd name="T32" fmla="*/ 6 w 19"/>
                  <a:gd name="T33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20">
                    <a:moveTo>
                      <a:pt x="17" y="20"/>
                    </a:moveTo>
                    <a:cubicBezTo>
                      <a:pt x="17" y="20"/>
                      <a:pt x="16" y="20"/>
                      <a:pt x="16" y="1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2"/>
                      <a:pt x="19" y="3"/>
                      <a:pt x="19" y="4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9"/>
                      <a:pt x="18" y="19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6" y="9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4"/>
                      <a:pt x="14" y="4"/>
                      <a:pt x="14" y="4"/>
                    </a:cubicBez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0" name="Freeform 636">
                <a:extLst>
                  <a:ext uri="{FF2B5EF4-FFF2-40B4-BE49-F238E27FC236}">
                    <a16:creationId xmlns:a16="http://schemas.microsoft.com/office/drawing/2014/main" id="{816AD9F5-BB91-43FE-844A-175C85FE0F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531436" y="6501939"/>
                <a:ext cx="72628" cy="68478"/>
              </a:xfrm>
              <a:custGeom>
                <a:avLst/>
                <a:gdLst>
                  <a:gd name="T0" fmla="*/ 11 w 30"/>
                  <a:gd name="T1" fmla="*/ 28 h 28"/>
                  <a:gd name="T2" fmla="*/ 10 w 30"/>
                  <a:gd name="T3" fmla="*/ 28 h 28"/>
                  <a:gd name="T4" fmla="*/ 1 w 30"/>
                  <a:gd name="T5" fmla="*/ 23 h 28"/>
                  <a:gd name="T6" fmla="*/ 0 w 30"/>
                  <a:gd name="T7" fmla="*/ 21 h 28"/>
                  <a:gd name="T8" fmla="*/ 0 w 30"/>
                  <a:gd name="T9" fmla="*/ 2 h 28"/>
                  <a:gd name="T10" fmla="*/ 1 w 30"/>
                  <a:gd name="T11" fmla="*/ 0 h 28"/>
                  <a:gd name="T12" fmla="*/ 3 w 30"/>
                  <a:gd name="T13" fmla="*/ 0 h 28"/>
                  <a:gd name="T14" fmla="*/ 29 w 30"/>
                  <a:gd name="T15" fmla="*/ 15 h 28"/>
                  <a:gd name="T16" fmla="*/ 30 w 30"/>
                  <a:gd name="T17" fmla="*/ 17 h 28"/>
                  <a:gd name="T18" fmla="*/ 29 w 30"/>
                  <a:gd name="T19" fmla="*/ 18 h 28"/>
                  <a:gd name="T20" fmla="*/ 12 w 30"/>
                  <a:gd name="T21" fmla="*/ 28 h 28"/>
                  <a:gd name="T22" fmla="*/ 11 w 30"/>
                  <a:gd name="T23" fmla="*/ 28 h 28"/>
                  <a:gd name="T24" fmla="*/ 4 w 30"/>
                  <a:gd name="T25" fmla="*/ 20 h 28"/>
                  <a:gd name="T26" fmla="*/ 11 w 30"/>
                  <a:gd name="T27" fmla="*/ 24 h 28"/>
                  <a:gd name="T28" fmla="*/ 24 w 30"/>
                  <a:gd name="T29" fmla="*/ 17 h 28"/>
                  <a:gd name="T30" fmla="*/ 4 w 30"/>
                  <a:gd name="T31" fmla="*/ 5 h 28"/>
                  <a:gd name="T32" fmla="*/ 4 w 30"/>
                  <a:gd name="T33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8">
                    <a:moveTo>
                      <a:pt x="11" y="28"/>
                    </a:moveTo>
                    <a:cubicBezTo>
                      <a:pt x="11" y="28"/>
                      <a:pt x="10" y="28"/>
                      <a:pt x="10" y="28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30" y="16"/>
                      <a:pt x="30" y="17"/>
                    </a:cubicBezTo>
                    <a:cubicBezTo>
                      <a:pt x="30" y="17"/>
                      <a:pt x="29" y="18"/>
                      <a:pt x="29" y="1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28"/>
                      <a:pt x="11" y="28"/>
                      <a:pt x="11" y="28"/>
                    </a:cubicBezTo>
                    <a:close/>
                    <a:moveTo>
                      <a:pt x="4" y="20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1" name="Freeform 639">
                <a:extLst>
                  <a:ext uri="{FF2B5EF4-FFF2-40B4-BE49-F238E27FC236}">
                    <a16:creationId xmlns:a16="http://schemas.microsoft.com/office/drawing/2014/main" id="{0A55D0B6-5036-429A-AB9A-77A724EBF96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94179" y="6719822"/>
                <a:ext cx="12450" cy="335125"/>
              </a:xfrm>
              <a:custGeom>
                <a:avLst/>
                <a:gdLst>
                  <a:gd name="T0" fmla="*/ 2 w 5"/>
                  <a:gd name="T1" fmla="*/ 137 h 137"/>
                  <a:gd name="T2" fmla="*/ 0 w 5"/>
                  <a:gd name="T3" fmla="*/ 135 h 137"/>
                  <a:gd name="T4" fmla="*/ 0 w 5"/>
                  <a:gd name="T5" fmla="*/ 2 h 137"/>
                  <a:gd name="T6" fmla="*/ 1 w 5"/>
                  <a:gd name="T7" fmla="*/ 0 h 137"/>
                  <a:gd name="T8" fmla="*/ 3 w 5"/>
                  <a:gd name="T9" fmla="*/ 0 h 137"/>
                  <a:gd name="T10" fmla="*/ 4 w 5"/>
                  <a:gd name="T11" fmla="*/ 1 h 137"/>
                  <a:gd name="T12" fmla="*/ 5 w 5"/>
                  <a:gd name="T13" fmla="*/ 3 h 137"/>
                  <a:gd name="T14" fmla="*/ 5 w 5"/>
                  <a:gd name="T15" fmla="*/ 134 h 137"/>
                  <a:gd name="T16" fmla="*/ 4 w 5"/>
                  <a:gd name="T17" fmla="*/ 136 h 137"/>
                  <a:gd name="T18" fmla="*/ 3 w 5"/>
                  <a:gd name="T19" fmla="*/ 137 h 137"/>
                  <a:gd name="T20" fmla="*/ 2 w 5"/>
                  <a:gd name="T21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37">
                    <a:moveTo>
                      <a:pt x="2" y="137"/>
                    </a:moveTo>
                    <a:cubicBezTo>
                      <a:pt x="1" y="137"/>
                      <a:pt x="0" y="136"/>
                      <a:pt x="0" y="13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134"/>
                      <a:pt x="5" y="134"/>
                      <a:pt x="5" y="134"/>
                    </a:cubicBezTo>
                    <a:cubicBezTo>
                      <a:pt x="5" y="135"/>
                      <a:pt x="5" y="135"/>
                      <a:pt x="4" y="136"/>
                    </a:cubicBezTo>
                    <a:cubicBezTo>
                      <a:pt x="3" y="137"/>
                      <a:pt x="3" y="137"/>
                      <a:pt x="3" y="137"/>
                    </a:cubicBezTo>
                    <a:cubicBezTo>
                      <a:pt x="2" y="137"/>
                      <a:pt x="2" y="137"/>
                      <a:pt x="2" y="1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2" name="Freeform 640">
                <a:extLst>
                  <a:ext uri="{FF2B5EF4-FFF2-40B4-BE49-F238E27FC236}">
                    <a16:creationId xmlns:a16="http://schemas.microsoft.com/office/drawing/2014/main" id="{EA54FC12-2A98-45C5-8F97-35A0653B1C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77729" y="6498827"/>
                <a:ext cx="328901" cy="551971"/>
              </a:xfrm>
              <a:custGeom>
                <a:avLst/>
                <a:gdLst>
                  <a:gd name="T0" fmla="*/ 5 w 134"/>
                  <a:gd name="T1" fmla="*/ 225 h 225"/>
                  <a:gd name="T2" fmla="*/ 4 w 134"/>
                  <a:gd name="T3" fmla="*/ 225 h 225"/>
                  <a:gd name="T4" fmla="*/ 3 w 134"/>
                  <a:gd name="T5" fmla="*/ 223 h 225"/>
                  <a:gd name="T6" fmla="*/ 3 w 134"/>
                  <a:gd name="T7" fmla="*/ 93 h 225"/>
                  <a:gd name="T8" fmla="*/ 1 w 134"/>
                  <a:gd name="T9" fmla="*/ 92 h 225"/>
                  <a:gd name="T10" fmla="*/ 0 w 134"/>
                  <a:gd name="T11" fmla="*/ 90 h 225"/>
                  <a:gd name="T12" fmla="*/ 0 w 134"/>
                  <a:gd name="T13" fmla="*/ 75 h 225"/>
                  <a:gd name="T14" fmla="*/ 1 w 134"/>
                  <a:gd name="T15" fmla="*/ 73 h 225"/>
                  <a:gd name="T16" fmla="*/ 127 w 134"/>
                  <a:gd name="T17" fmla="*/ 0 h 225"/>
                  <a:gd name="T18" fmla="*/ 129 w 134"/>
                  <a:gd name="T19" fmla="*/ 0 h 225"/>
                  <a:gd name="T20" fmla="*/ 133 w 134"/>
                  <a:gd name="T21" fmla="*/ 2 h 225"/>
                  <a:gd name="T22" fmla="*/ 134 w 134"/>
                  <a:gd name="T23" fmla="*/ 4 h 225"/>
                  <a:gd name="T24" fmla="*/ 134 w 134"/>
                  <a:gd name="T25" fmla="*/ 146 h 225"/>
                  <a:gd name="T26" fmla="*/ 133 w 134"/>
                  <a:gd name="T27" fmla="*/ 148 h 225"/>
                  <a:gd name="T28" fmla="*/ 70 w 134"/>
                  <a:gd name="T29" fmla="*/ 184 h 225"/>
                  <a:gd name="T30" fmla="*/ 70 w 134"/>
                  <a:gd name="T31" fmla="*/ 184 h 225"/>
                  <a:gd name="T32" fmla="*/ 71 w 134"/>
                  <a:gd name="T33" fmla="*/ 186 h 225"/>
                  <a:gd name="T34" fmla="*/ 70 w 134"/>
                  <a:gd name="T35" fmla="*/ 188 h 225"/>
                  <a:gd name="T36" fmla="*/ 68 w 134"/>
                  <a:gd name="T37" fmla="*/ 189 h 225"/>
                  <a:gd name="T38" fmla="*/ 67 w 134"/>
                  <a:gd name="T39" fmla="*/ 189 h 225"/>
                  <a:gd name="T40" fmla="*/ 67 w 134"/>
                  <a:gd name="T41" fmla="*/ 190 h 225"/>
                  <a:gd name="T42" fmla="*/ 6 w 134"/>
                  <a:gd name="T43" fmla="*/ 225 h 225"/>
                  <a:gd name="T44" fmla="*/ 5 w 134"/>
                  <a:gd name="T45" fmla="*/ 225 h 225"/>
                  <a:gd name="T46" fmla="*/ 4 w 134"/>
                  <a:gd name="T47" fmla="*/ 89 h 225"/>
                  <a:gd name="T48" fmla="*/ 6 w 134"/>
                  <a:gd name="T49" fmla="*/ 90 h 225"/>
                  <a:gd name="T50" fmla="*/ 7 w 134"/>
                  <a:gd name="T51" fmla="*/ 92 h 225"/>
                  <a:gd name="T52" fmla="*/ 7 w 134"/>
                  <a:gd name="T53" fmla="*/ 219 h 225"/>
                  <a:gd name="T54" fmla="*/ 64 w 134"/>
                  <a:gd name="T55" fmla="*/ 187 h 225"/>
                  <a:gd name="T56" fmla="*/ 65 w 134"/>
                  <a:gd name="T57" fmla="*/ 185 h 225"/>
                  <a:gd name="T58" fmla="*/ 64 w 134"/>
                  <a:gd name="T59" fmla="*/ 184 h 225"/>
                  <a:gd name="T60" fmla="*/ 65 w 134"/>
                  <a:gd name="T61" fmla="*/ 182 h 225"/>
                  <a:gd name="T62" fmla="*/ 130 w 134"/>
                  <a:gd name="T63" fmla="*/ 145 h 225"/>
                  <a:gd name="T64" fmla="*/ 130 w 134"/>
                  <a:gd name="T65" fmla="*/ 5 h 225"/>
                  <a:gd name="T66" fmla="*/ 128 w 134"/>
                  <a:gd name="T67" fmla="*/ 4 h 225"/>
                  <a:gd name="T68" fmla="*/ 4 w 134"/>
                  <a:gd name="T69" fmla="*/ 76 h 225"/>
                  <a:gd name="T70" fmla="*/ 4 w 134"/>
                  <a:gd name="T71" fmla="*/ 89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4" h="225">
                    <a:moveTo>
                      <a:pt x="5" y="225"/>
                    </a:moveTo>
                    <a:cubicBezTo>
                      <a:pt x="5" y="225"/>
                      <a:pt x="4" y="225"/>
                      <a:pt x="4" y="225"/>
                    </a:cubicBezTo>
                    <a:cubicBezTo>
                      <a:pt x="3" y="224"/>
                      <a:pt x="3" y="224"/>
                      <a:pt x="3" y="223"/>
                    </a:cubicBezTo>
                    <a:cubicBezTo>
                      <a:pt x="3" y="93"/>
                      <a:pt x="3" y="93"/>
                      <a:pt x="3" y="93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1"/>
                      <a:pt x="0" y="90"/>
                      <a:pt x="0" y="9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4"/>
                      <a:pt x="0" y="74"/>
                      <a:pt x="1" y="73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8" y="0"/>
                      <a:pt x="128" y="0"/>
                      <a:pt x="129" y="0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3" y="3"/>
                      <a:pt x="134" y="3"/>
                      <a:pt x="134" y="4"/>
                    </a:cubicBezTo>
                    <a:cubicBezTo>
                      <a:pt x="134" y="146"/>
                      <a:pt x="134" y="146"/>
                      <a:pt x="134" y="146"/>
                    </a:cubicBezTo>
                    <a:cubicBezTo>
                      <a:pt x="134" y="147"/>
                      <a:pt x="133" y="148"/>
                      <a:pt x="133" y="148"/>
                    </a:cubicBezTo>
                    <a:cubicBezTo>
                      <a:pt x="70" y="184"/>
                      <a:pt x="70" y="184"/>
                      <a:pt x="70" y="184"/>
                    </a:cubicBezTo>
                    <a:cubicBezTo>
                      <a:pt x="70" y="184"/>
                      <a:pt x="70" y="184"/>
                      <a:pt x="70" y="184"/>
                    </a:cubicBezTo>
                    <a:cubicBezTo>
                      <a:pt x="71" y="184"/>
                      <a:pt x="71" y="185"/>
                      <a:pt x="71" y="186"/>
                    </a:cubicBezTo>
                    <a:cubicBezTo>
                      <a:pt x="71" y="187"/>
                      <a:pt x="71" y="187"/>
                      <a:pt x="70" y="188"/>
                    </a:cubicBezTo>
                    <a:cubicBezTo>
                      <a:pt x="68" y="189"/>
                      <a:pt x="68" y="189"/>
                      <a:pt x="68" y="189"/>
                    </a:cubicBezTo>
                    <a:cubicBezTo>
                      <a:pt x="68" y="189"/>
                      <a:pt x="67" y="189"/>
                      <a:pt x="67" y="189"/>
                    </a:cubicBezTo>
                    <a:cubicBezTo>
                      <a:pt x="67" y="189"/>
                      <a:pt x="67" y="190"/>
                      <a:pt x="67" y="190"/>
                    </a:cubicBezTo>
                    <a:cubicBezTo>
                      <a:pt x="6" y="225"/>
                      <a:pt x="6" y="225"/>
                      <a:pt x="6" y="225"/>
                    </a:cubicBezTo>
                    <a:cubicBezTo>
                      <a:pt x="6" y="225"/>
                      <a:pt x="5" y="225"/>
                      <a:pt x="5" y="225"/>
                    </a:cubicBezTo>
                    <a:close/>
                    <a:moveTo>
                      <a:pt x="4" y="89"/>
                    </a:moveTo>
                    <a:cubicBezTo>
                      <a:pt x="6" y="90"/>
                      <a:pt x="6" y="90"/>
                      <a:pt x="6" y="90"/>
                    </a:cubicBezTo>
                    <a:cubicBezTo>
                      <a:pt x="7" y="90"/>
                      <a:pt x="7" y="91"/>
                      <a:pt x="7" y="92"/>
                    </a:cubicBezTo>
                    <a:cubicBezTo>
                      <a:pt x="7" y="219"/>
                      <a:pt x="7" y="219"/>
                      <a:pt x="7" y="219"/>
                    </a:cubicBezTo>
                    <a:cubicBezTo>
                      <a:pt x="64" y="187"/>
                      <a:pt x="64" y="187"/>
                      <a:pt x="64" y="187"/>
                    </a:cubicBezTo>
                    <a:cubicBezTo>
                      <a:pt x="64" y="186"/>
                      <a:pt x="64" y="186"/>
                      <a:pt x="65" y="185"/>
                    </a:cubicBezTo>
                    <a:cubicBezTo>
                      <a:pt x="64" y="185"/>
                      <a:pt x="64" y="184"/>
                      <a:pt x="64" y="184"/>
                    </a:cubicBezTo>
                    <a:cubicBezTo>
                      <a:pt x="64" y="183"/>
                      <a:pt x="64" y="183"/>
                      <a:pt x="65" y="182"/>
                    </a:cubicBezTo>
                    <a:cubicBezTo>
                      <a:pt x="130" y="145"/>
                      <a:pt x="130" y="145"/>
                      <a:pt x="130" y="145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4" y="76"/>
                      <a:pt x="4" y="76"/>
                      <a:pt x="4" y="76"/>
                    </a:cubicBezTo>
                    <a:lnTo>
                      <a:pt x="4" y="8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3" name="Freeform 641">
                <a:extLst>
                  <a:ext uri="{FF2B5EF4-FFF2-40B4-BE49-F238E27FC236}">
                    <a16:creationId xmlns:a16="http://schemas.microsoft.com/office/drawing/2014/main" id="{3E2DEF12-345F-462A-9567-9FE887081E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07422" y="6329708"/>
                <a:ext cx="93379" cy="84041"/>
              </a:xfrm>
              <a:custGeom>
                <a:avLst/>
                <a:gdLst>
                  <a:gd name="T0" fmla="*/ 20 w 38"/>
                  <a:gd name="T1" fmla="*/ 34 h 34"/>
                  <a:gd name="T2" fmla="*/ 19 w 38"/>
                  <a:gd name="T3" fmla="*/ 33 h 34"/>
                  <a:gd name="T4" fmla="*/ 1 w 38"/>
                  <a:gd name="T5" fmla="*/ 23 h 34"/>
                  <a:gd name="T6" fmla="*/ 0 w 38"/>
                  <a:gd name="T7" fmla="*/ 21 h 34"/>
                  <a:gd name="T8" fmla="*/ 0 w 38"/>
                  <a:gd name="T9" fmla="*/ 2 h 34"/>
                  <a:gd name="T10" fmla="*/ 1 w 38"/>
                  <a:gd name="T11" fmla="*/ 0 h 34"/>
                  <a:gd name="T12" fmla="*/ 3 w 38"/>
                  <a:gd name="T13" fmla="*/ 0 h 34"/>
                  <a:gd name="T14" fmla="*/ 37 w 38"/>
                  <a:gd name="T15" fmla="*/ 20 h 34"/>
                  <a:gd name="T16" fmla="*/ 38 w 38"/>
                  <a:gd name="T17" fmla="*/ 22 h 34"/>
                  <a:gd name="T18" fmla="*/ 37 w 38"/>
                  <a:gd name="T19" fmla="*/ 24 h 34"/>
                  <a:gd name="T20" fmla="*/ 21 w 38"/>
                  <a:gd name="T21" fmla="*/ 33 h 34"/>
                  <a:gd name="T22" fmla="*/ 20 w 38"/>
                  <a:gd name="T23" fmla="*/ 34 h 34"/>
                  <a:gd name="T24" fmla="*/ 4 w 38"/>
                  <a:gd name="T25" fmla="*/ 20 h 34"/>
                  <a:gd name="T26" fmla="*/ 20 w 38"/>
                  <a:gd name="T27" fmla="*/ 29 h 34"/>
                  <a:gd name="T28" fmla="*/ 32 w 38"/>
                  <a:gd name="T29" fmla="*/ 22 h 34"/>
                  <a:gd name="T30" fmla="*/ 4 w 38"/>
                  <a:gd name="T31" fmla="*/ 5 h 34"/>
                  <a:gd name="T32" fmla="*/ 4 w 38"/>
                  <a:gd name="T33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34">
                    <a:moveTo>
                      <a:pt x="20" y="34"/>
                    </a:moveTo>
                    <a:cubicBezTo>
                      <a:pt x="19" y="34"/>
                      <a:pt x="19" y="33"/>
                      <a:pt x="19" y="3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1"/>
                      <a:pt x="38" y="21"/>
                      <a:pt x="38" y="22"/>
                    </a:cubicBezTo>
                    <a:cubicBezTo>
                      <a:pt x="38" y="23"/>
                      <a:pt x="38" y="23"/>
                      <a:pt x="37" y="24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0" y="33"/>
                      <a:pt x="20" y="34"/>
                      <a:pt x="20" y="34"/>
                    </a:cubicBezTo>
                    <a:close/>
                    <a:moveTo>
                      <a:pt x="4" y="20"/>
                    </a:moveTo>
                    <a:cubicBezTo>
                      <a:pt x="20" y="29"/>
                      <a:pt x="20" y="29"/>
                      <a:pt x="20" y="29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4" name="Freeform 642">
                <a:extLst>
                  <a:ext uri="{FF2B5EF4-FFF2-40B4-BE49-F238E27FC236}">
                    <a16:creationId xmlns:a16="http://schemas.microsoft.com/office/drawing/2014/main" id="{EF751AE3-809A-4C77-87AB-859205F043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492009" y="6540328"/>
                <a:ext cx="85078" cy="53952"/>
              </a:xfrm>
              <a:custGeom>
                <a:avLst/>
                <a:gdLst>
                  <a:gd name="T0" fmla="*/ 17 w 35"/>
                  <a:gd name="T1" fmla="*/ 22 h 22"/>
                  <a:gd name="T2" fmla="*/ 16 w 35"/>
                  <a:gd name="T3" fmla="*/ 22 h 22"/>
                  <a:gd name="T4" fmla="*/ 1 w 35"/>
                  <a:gd name="T5" fmla="*/ 13 h 22"/>
                  <a:gd name="T6" fmla="*/ 0 w 35"/>
                  <a:gd name="T7" fmla="*/ 11 h 22"/>
                  <a:gd name="T8" fmla="*/ 1 w 35"/>
                  <a:gd name="T9" fmla="*/ 10 h 22"/>
                  <a:gd name="T10" fmla="*/ 17 w 35"/>
                  <a:gd name="T11" fmla="*/ 0 h 22"/>
                  <a:gd name="T12" fmla="*/ 19 w 35"/>
                  <a:gd name="T13" fmla="*/ 0 h 22"/>
                  <a:gd name="T14" fmla="*/ 34 w 35"/>
                  <a:gd name="T15" fmla="*/ 9 h 22"/>
                  <a:gd name="T16" fmla="*/ 35 w 35"/>
                  <a:gd name="T17" fmla="*/ 10 h 22"/>
                  <a:gd name="T18" fmla="*/ 34 w 35"/>
                  <a:gd name="T19" fmla="*/ 12 h 22"/>
                  <a:gd name="T20" fmla="*/ 18 w 35"/>
                  <a:gd name="T21" fmla="*/ 22 h 22"/>
                  <a:gd name="T22" fmla="*/ 17 w 35"/>
                  <a:gd name="T23" fmla="*/ 22 h 22"/>
                  <a:gd name="T24" fmla="*/ 6 w 35"/>
                  <a:gd name="T25" fmla="*/ 11 h 22"/>
                  <a:gd name="T26" fmla="*/ 17 w 35"/>
                  <a:gd name="T27" fmla="*/ 18 h 22"/>
                  <a:gd name="T28" fmla="*/ 29 w 35"/>
                  <a:gd name="T29" fmla="*/ 10 h 22"/>
                  <a:gd name="T30" fmla="*/ 18 w 35"/>
                  <a:gd name="T31" fmla="*/ 4 h 22"/>
                  <a:gd name="T32" fmla="*/ 6 w 35"/>
                  <a:gd name="T33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2">
                    <a:moveTo>
                      <a:pt x="17" y="22"/>
                    </a:moveTo>
                    <a:cubicBezTo>
                      <a:pt x="16" y="22"/>
                      <a:pt x="16" y="22"/>
                      <a:pt x="16" y="2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3"/>
                      <a:pt x="0" y="12"/>
                      <a:pt x="0" y="11"/>
                    </a:cubicBezTo>
                    <a:cubicBezTo>
                      <a:pt x="0" y="11"/>
                      <a:pt x="0" y="10"/>
                      <a:pt x="1" y="1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8" y="0"/>
                      <a:pt x="19" y="0"/>
                      <a:pt x="19" y="0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5" y="9"/>
                      <a:pt x="35" y="10"/>
                      <a:pt x="35" y="10"/>
                    </a:cubicBezTo>
                    <a:cubicBezTo>
                      <a:pt x="35" y="11"/>
                      <a:pt x="35" y="12"/>
                      <a:pt x="34" y="12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2"/>
                      <a:pt x="17" y="22"/>
                      <a:pt x="17" y="22"/>
                    </a:cubicBezTo>
                    <a:close/>
                    <a:moveTo>
                      <a:pt x="6" y="11"/>
                    </a:moveTo>
                    <a:cubicBezTo>
                      <a:pt x="17" y="18"/>
                      <a:pt x="17" y="18"/>
                      <a:pt x="17" y="18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18" y="4"/>
                      <a:pt x="18" y="4"/>
                      <a:pt x="18" y="4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5" name="Freeform 645">
                <a:extLst>
                  <a:ext uri="{FF2B5EF4-FFF2-40B4-BE49-F238E27FC236}">
                    <a16:creationId xmlns:a16="http://schemas.microsoft.com/office/drawing/2014/main" id="{E130D9D9-260C-442D-A75A-440DAE0AA4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033606" y="6966757"/>
                <a:ext cx="419167" cy="253160"/>
              </a:xfrm>
              <a:custGeom>
                <a:avLst/>
                <a:gdLst>
                  <a:gd name="T0" fmla="*/ 68 w 171"/>
                  <a:gd name="T1" fmla="*/ 103 h 103"/>
                  <a:gd name="T2" fmla="*/ 67 w 171"/>
                  <a:gd name="T3" fmla="*/ 102 h 103"/>
                  <a:gd name="T4" fmla="*/ 1 w 171"/>
                  <a:gd name="T5" fmla="*/ 64 h 103"/>
                  <a:gd name="T6" fmla="*/ 0 w 171"/>
                  <a:gd name="T7" fmla="*/ 62 h 103"/>
                  <a:gd name="T8" fmla="*/ 1 w 171"/>
                  <a:gd name="T9" fmla="*/ 61 h 103"/>
                  <a:gd name="T10" fmla="*/ 105 w 171"/>
                  <a:gd name="T11" fmla="*/ 1 h 103"/>
                  <a:gd name="T12" fmla="*/ 107 w 171"/>
                  <a:gd name="T13" fmla="*/ 1 h 103"/>
                  <a:gd name="T14" fmla="*/ 170 w 171"/>
                  <a:gd name="T15" fmla="*/ 37 h 103"/>
                  <a:gd name="T16" fmla="*/ 171 w 171"/>
                  <a:gd name="T17" fmla="*/ 39 h 103"/>
                  <a:gd name="T18" fmla="*/ 170 w 171"/>
                  <a:gd name="T19" fmla="*/ 40 h 103"/>
                  <a:gd name="T20" fmla="*/ 118 w 171"/>
                  <a:gd name="T21" fmla="*/ 70 h 103"/>
                  <a:gd name="T22" fmla="*/ 119 w 171"/>
                  <a:gd name="T23" fmla="*/ 70 h 103"/>
                  <a:gd name="T24" fmla="*/ 120 w 171"/>
                  <a:gd name="T25" fmla="*/ 72 h 103"/>
                  <a:gd name="T26" fmla="*/ 119 w 171"/>
                  <a:gd name="T27" fmla="*/ 74 h 103"/>
                  <a:gd name="T28" fmla="*/ 69 w 171"/>
                  <a:gd name="T29" fmla="*/ 102 h 103"/>
                  <a:gd name="T30" fmla="*/ 68 w 171"/>
                  <a:gd name="T31" fmla="*/ 103 h 103"/>
                  <a:gd name="T32" fmla="*/ 6 w 171"/>
                  <a:gd name="T33" fmla="*/ 62 h 103"/>
                  <a:gd name="T34" fmla="*/ 68 w 171"/>
                  <a:gd name="T35" fmla="*/ 98 h 103"/>
                  <a:gd name="T36" fmla="*/ 114 w 171"/>
                  <a:gd name="T37" fmla="*/ 72 h 103"/>
                  <a:gd name="T38" fmla="*/ 113 w 171"/>
                  <a:gd name="T39" fmla="*/ 72 h 103"/>
                  <a:gd name="T40" fmla="*/ 112 w 171"/>
                  <a:gd name="T41" fmla="*/ 70 h 103"/>
                  <a:gd name="T42" fmla="*/ 113 w 171"/>
                  <a:gd name="T43" fmla="*/ 68 h 103"/>
                  <a:gd name="T44" fmla="*/ 165 w 171"/>
                  <a:gd name="T45" fmla="*/ 39 h 103"/>
                  <a:gd name="T46" fmla="*/ 106 w 171"/>
                  <a:gd name="T47" fmla="*/ 5 h 103"/>
                  <a:gd name="T48" fmla="*/ 6 w 171"/>
                  <a:gd name="T49" fmla="*/ 6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1" h="103">
                    <a:moveTo>
                      <a:pt x="68" y="103"/>
                    </a:moveTo>
                    <a:cubicBezTo>
                      <a:pt x="68" y="103"/>
                      <a:pt x="67" y="103"/>
                      <a:pt x="67" y="102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0" y="64"/>
                      <a:pt x="0" y="63"/>
                      <a:pt x="0" y="62"/>
                    </a:cubicBezTo>
                    <a:cubicBezTo>
                      <a:pt x="0" y="62"/>
                      <a:pt x="0" y="61"/>
                      <a:pt x="1" y="61"/>
                    </a:cubicBezTo>
                    <a:cubicBezTo>
                      <a:pt x="105" y="1"/>
                      <a:pt x="105" y="1"/>
                      <a:pt x="105" y="1"/>
                    </a:cubicBezTo>
                    <a:cubicBezTo>
                      <a:pt x="105" y="0"/>
                      <a:pt x="106" y="0"/>
                      <a:pt x="107" y="1"/>
                    </a:cubicBezTo>
                    <a:cubicBezTo>
                      <a:pt x="170" y="37"/>
                      <a:pt x="170" y="37"/>
                      <a:pt x="170" y="37"/>
                    </a:cubicBezTo>
                    <a:cubicBezTo>
                      <a:pt x="170" y="37"/>
                      <a:pt x="171" y="38"/>
                      <a:pt x="171" y="39"/>
                    </a:cubicBezTo>
                    <a:cubicBezTo>
                      <a:pt x="171" y="39"/>
                      <a:pt x="170" y="40"/>
                      <a:pt x="170" y="40"/>
                    </a:cubicBezTo>
                    <a:cubicBezTo>
                      <a:pt x="118" y="70"/>
                      <a:pt x="118" y="70"/>
                      <a:pt x="118" y="70"/>
                    </a:cubicBezTo>
                    <a:cubicBezTo>
                      <a:pt x="119" y="70"/>
                      <a:pt x="119" y="70"/>
                      <a:pt x="119" y="70"/>
                    </a:cubicBezTo>
                    <a:cubicBezTo>
                      <a:pt x="119" y="71"/>
                      <a:pt x="120" y="71"/>
                      <a:pt x="120" y="72"/>
                    </a:cubicBezTo>
                    <a:cubicBezTo>
                      <a:pt x="120" y="73"/>
                      <a:pt x="119" y="73"/>
                      <a:pt x="119" y="74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3"/>
                      <a:pt x="68" y="103"/>
                      <a:pt x="68" y="103"/>
                    </a:cubicBezTo>
                    <a:close/>
                    <a:moveTo>
                      <a:pt x="6" y="62"/>
                    </a:moveTo>
                    <a:cubicBezTo>
                      <a:pt x="68" y="98"/>
                      <a:pt x="68" y="98"/>
                      <a:pt x="68" y="98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3" y="72"/>
                      <a:pt x="113" y="72"/>
                      <a:pt x="113" y="72"/>
                    </a:cubicBezTo>
                    <a:cubicBezTo>
                      <a:pt x="113" y="71"/>
                      <a:pt x="112" y="71"/>
                      <a:pt x="112" y="70"/>
                    </a:cubicBezTo>
                    <a:cubicBezTo>
                      <a:pt x="112" y="69"/>
                      <a:pt x="113" y="69"/>
                      <a:pt x="113" y="68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06" y="5"/>
                      <a:pt x="106" y="5"/>
                      <a:pt x="106" y="5"/>
                    </a:cubicBez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6" name="Freeform 646">
                <a:extLst>
                  <a:ext uri="{FF2B5EF4-FFF2-40B4-BE49-F238E27FC236}">
                    <a16:creationId xmlns:a16="http://schemas.microsoft.com/office/drawing/2014/main" id="{5CE3C577-5C8D-40C3-AB42-24F7CD5E3A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52036" y="6381585"/>
                <a:ext cx="338239" cy="212696"/>
              </a:xfrm>
              <a:custGeom>
                <a:avLst/>
                <a:gdLst>
                  <a:gd name="T0" fmla="*/ 9 w 138"/>
                  <a:gd name="T1" fmla="*/ 87 h 87"/>
                  <a:gd name="T2" fmla="*/ 8 w 138"/>
                  <a:gd name="T3" fmla="*/ 87 h 87"/>
                  <a:gd name="T4" fmla="*/ 1 w 138"/>
                  <a:gd name="T5" fmla="*/ 82 h 87"/>
                  <a:gd name="T6" fmla="*/ 0 w 138"/>
                  <a:gd name="T7" fmla="*/ 81 h 87"/>
                  <a:gd name="T8" fmla="*/ 1 w 138"/>
                  <a:gd name="T9" fmla="*/ 79 h 87"/>
                  <a:gd name="T10" fmla="*/ 118 w 138"/>
                  <a:gd name="T11" fmla="*/ 11 h 87"/>
                  <a:gd name="T12" fmla="*/ 118 w 138"/>
                  <a:gd name="T13" fmla="*/ 2 h 87"/>
                  <a:gd name="T14" fmla="*/ 119 w 138"/>
                  <a:gd name="T15" fmla="*/ 0 h 87"/>
                  <a:gd name="T16" fmla="*/ 121 w 138"/>
                  <a:gd name="T17" fmla="*/ 0 h 87"/>
                  <a:gd name="T18" fmla="*/ 137 w 138"/>
                  <a:gd name="T19" fmla="*/ 10 h 87"/>
                  <a:gd name="T20" fmla="*/ 138 w 138"/>
                  <a:gd name="T21" fmla="*/ 11 h 87"/>
                  <a:gd name="T22" fmla="*/ 137 w 138"/>
                  <a:gd name="T23" fmla="*/ 13 h 87"/>
                  <a:gd name="T24" fmla="*/ 10 w 138"/>
                  <a:gd name="T25" fmla="*/ 87 h 87"/>
                  <a:gd name="T26" fmla="*/ 9 w 138"/>
                  <a:gd name="T27" fmla="*/ 87 h 87"/>
                  <a:gd name="T28" fmla="*/ 6 w 138"/>
                  <a:gd name="T29" fmla="*/ 81 h 87"/>
                  <a:gd name="T30" fmla="*/ 9 w 138"/>
                  <a:gd name="T31" fmla="*/ 83 h 87"/>
                  <a:gd name="T32" fmla="*/ 132 w 138"/>
                  <a:gd name="T33" fmla="*/ 11 h 87"/>
                  <a:gd name="T34" fmla="*/ 122 w 138"/>
                  <a:gd name="T35" fmla="*/ 6 h 87"/>
                  <a:gd name="T36" fmla="*/ 122 w 138"/>
                  <a:gd name="T37" fmla="*/ 12 h 87"/>
                  <a:gd name="T38" fmla="*/ 121 w 138"/>
                  <a:gd name="T39" fmla="*/ 14 h 87"/>
                  <a:gd name="T40" fmla="*/ 6 w 138"/>
                  <a:gd name="T41" fmla="*/ 8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87">
                    <a:moveTo>
                      <a:pt x="9" y="87"/>
                    </a:moveTo>
                    <a:cubicBezTo>
                      <a:pt x="9" y="87"/>
                      <a:pt x="8" y="87"/>
                      <a:pt x="8" y="8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0" y="82"/>
                      <a:pt x="0" y="81"/>
                      <a:pt x="0" y="81"/>
                    </a:cubicBezTo>
                    <a:cubicBezTo>
                      <a:pt x="0" y="80"/>
                      <a:pt x="0" y="79"/>
                      <a:pt x="1" y="79"/>
                    </a:cubicBezTo>
                    <a:cubicBezTo>
                      <a:pt x="118" y="11"/>
                      <a:pt x="118" y="11"/>
                      <a:pt x="118" y="11"/>
                    </a:cubicBezTo>
                    <a:cubicBezTo>
                      <a:pt x="118" y="2"/>
                      <a:pt x="118" y="2"/>
                      <a:pt x="118" y="2"/>
                    </a:cubicBezTo>
                    <a:cubicBezTo>
                      <a:pt x="118" y="1"/>
                      <a:pt x="118" y="1"/>
                      <a:pt x="119" y="0"/>
                    </a:cubicBezTo>
                    <a:cubicBezTo>
                      <a:pt x="120" y="0"/>
                      <a:pt x="120" y="0"/>
                      <a:pt x="121" y="0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8" y="10"/>
                      <a:pt x="138" y="11"/>
                      <a:pt x="138" y="11"/>
                    </a:cubicBezTo>
                    <a:cubicBezTo>
                      <a:pt x="138" y="12"/>
                      <a:pt x="138" y="13"/>
                      <a:pt x="137" y="13"/>
                    </a:cubicBezTo>
                    <a:cubicBezTo>
                      <a:pt x="10" y="87"/>
                      <a:pt x="10" y="87"/>
                      <a:pt x="10" y="87"/>
                    </a:cubicBezTo>
                    <a:cubicBezTo>
                      <a:pt x="10" y="87"/>
                      <a:pt x="9" y="87"/>
                      <a:pt x="9" y="87"/>
                    </a:cubicBezTo>
                    <a:close/>
                    <a:moveTo>
                      <a:pt x="6" y="81"/>
                    </a:moveTo>
                    <a:cubicBezTo>
                      <a:pt x="9" y="83"/>
                      <a:pt x="9" y="83"/>
                      <a:pt x="9" y="83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22" y="13"/>
                      <a:pt x="122" y="14"/>
                      <a:pt x="121" y="14"/>
                    </a:cubicBezTo>
                    <a:lnTo>
                      <a:pt x="6" y="8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7" name="Freeform 647">
                <a:extLst>
                  <a:ext uri="{FF2B5EF4-FFF2-40B4-BE49-F238E27FC236}">
                    <a16:creationId xmlns:a16="http://schemas.microsoft.com/office/drawing/2014/main" id="{F212A226-4362-4DC6-B8AD-7321796591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68486" y="6930443"/>
                <a:ext cx="65365" cy="44614"/>
              </a:xfrm>
              <a:custGeom>
                <a:avLst/>
                <a:gdLst>
                  <a:gd name="T0" fmla="*/ 17 w 27"/>
                  <a:gd name="T1" fmla="*/ 18 h 18"/>
                  <a:gd name="T2" fmla="*/ 16 w 27"/>
                  <a:gd name="T3" fmla="*/ 17 h 18"/>
                  <a:gd name="T4" fmla="*/ 1 w 27"/>
                  <a:gd name="T5" fmla="*/ 9 h 18"/>
                  <a:gd name="T6" fmla="*/ 0 w 27"/>
                  <a:gd name="T7" fmla="*/ 7 h 18"/>
                  <a:gd name="T8" fmla="*/ 1 w 27"/>
                  <a:gd name="T9" fmla="*/ 5 h 18"/>
                  <a:gd name="T10" fmla="*/ 9 w 27"/>
                  <a:gd name="T11" fmla="*/ 0 h 18"/>
                  <a:gd name="T12" fmla="*/ 11 w 27"/>
                  <a:gd name="T13" fmla="*/ 0 h 18"/>
                  <a:gd name="T14" fmla="*/ 26 w 27"/>
                  <a:gd name="T15" fmla="*/ 9 h 18"/>
                  <a:gd name="T16" fmla="*/ 27 w 27"/>
                  <a:gd name="T17" fmla="*/ 11 h 18"/>
                  <a:gd name="T18" fmla="*/ 26 w 27"/>
                  <a:gd name="T19" fmla="*/ 12 h 18"/>
                  <a:gd name="T20" fmla="*/ 18 w 27"/>
                  <a:gd name="T21" fmla="*/ 17 h 18"/>
                  <a:gd name="T22" fmla="*/ 17 w 27"/>
                  <a:gd name="T23" fmla="*/ 18 h 18"/>
                  <a:gd name="T24" fmla="*/ 6 w 27"/>
                  <a:gd name="T25" fmla="*/ 7 h 18"/>
                  <a:gd name="T26" fmla="*/ 17 w 27"/>
                  <a:gd name="T27" fmla="*/ 13 h 18"/>
                  <a:gd name="T28" fmla="*/ 21 w 27"/>
                  <a:gd name="T29" fmla="*/ 11 h 18"/>
                  <a:gd name="T30" fmla="*/ 10 w 27"/>
                  <a:gd name="T31" fmla="*/ 4 h 18"/>
                  <a:gd name="T32" fmla="*/ 6 w 27"/>
                  <a:gd name="T33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8">
                    <a:moveTo>
                      <a:pt x="17" y="18"/>
                    </a:moveTo>
                    <a:cubicBezTo>
                      <a:pt x="17" y="18"/>
                      <a:pt x="16" y="17"/>
                      <a:pt x="16" y="17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8"/>
                      <a:pt x="0" y="8"/>
                      <a:pt x="0" y="7"/>
                    </a:cubicBezTo>
                    <a:cubicBezTo>
                      <a:pt x="0" y="6"/>
                      <a:pt x="0" y="6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7" y="9"/>
                      <a:pt x="27" y="10"/>
                      <a:pt x="27" y="11"/>
                    </a:cubicBezTo>
                    <a:cubicBezTo>
                      <a:pt x="27" y="11"/>
                      <a:pt x="27" y="12"/>
                      <a:pt x="26" y="12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7"/>
                      <a:pt x="17" y="18"/>
                      <a:pt x="17" y="18"/>
                    </a:cubicBezTo>
                    <a:close/>
                    <a:moveTo>
                      <a:pt x="6" y="7"/>
                    </a:moveTo>
                    <a:cubicBezTo>
                      <a:pt x="17" y="13"/>
                      <a:pt x="17" y="13"/>
                      <a:pt x="17" y="13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10" y="4"/>
                      <a:pt x="10" y="4"/>
                      <a:pt x="10" y="4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8" name="Freeform 652">
                <a:extLst>
                  <a:ext uri="{FF2B5EF4-FFF2-40B4-BE49-F238E27FC236}">
                    <a16:creationId xmlns:a16="http://schemas.microsoft.com/office/drawing/2014/main" id="{A8A6CF18-B317-49A4-94B1-D92AAFE6BA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6182377"/>
                <a:ext cx="76778" cy="179494"/>
              </a:xfrm>
              <a:custGeom>
                <a:avLst/>
                <a:gdLst>
                  <a:gd name="T0" fmla="*/ 29 w 31"/>
                  <a:gd name="T1" fmla="*/ 73 h 73"/>
                  <a:gd name="T2" fmla="*/ 28 w 31"/>
                  <a:gd name="T3" fmla="*/ 73 h 73"/>
                  <a:gd name="T4" fmla="*/ 1 w 31"/>
                  <a:gd name="T5" fmla="*/ 58 h 73"/>
                  <a:gd name="T6" fmla="*/ 0 w 31"/>
                  <a:gd name="T7" fmla="*/ 56 h 73"/>
                  <a:gd name="T8" fmla="*/ 0 w 31"/>
                  <a:gd name="T9" fmla="*/ 3 h 73"/>
                  <a:gd name="T10" fmla="*/ 1 w 31"/>
                  <a:gd name="T11" fmla="*/ 1 h 73"/>
                  <a:gd name="T12" fmla="*/ 3 w 31"/>
                  <a:gd name="T13" fmla="*/ 1 h 73"/>
                  <a:gd name="T14" fmla="*/ 30 w 31"/>
                  <a:gd name="T15" fmla="*/ 16 h 73"/>
                  <a:gd name="T16" fmla="*/ 31 w 31"/>
                  <a:gd name="T17" fmla="*/ 18 h 73"/>
                  <a:gd name="T18" fmla="*/ 31 w 31"/>
                  <a:gd name="T19" fmla="*/ 71 h 73"/>
                  <a:gd name="T20" fmla="*/ 30 w 31"/>
                  <a:gd name="T21" fmla="*/ 73 h 73"/>
                  <a:gd name="T22" fmla="*/ 29 w 31"/>
                  <a:gd name="T23" fmla="*/ 73 h 73"/>
                  <a:gd name="T24" fmla="*/ 4 w 31"/>
                  <a:gd name="T25" fmla="*/ 55 h 73"/>
                  <a:gd name="T26" fmla="*/ 27 w 31"/>
                  <a:gd name="T27" fmla="*/ 68 h 73"/>
                  <a:gd name="T28" fmla="*/ 27 w 31"/>
                  <a:gd name="T29" fmla="*/ 19 h 73"/>
                  <a:gd name="T30" fmla="*/ 4 w 31"/>
                  <a:gd name="T31" fmla="*/ 6 h 73"/>
                  <a:gd name="T32" fmla="*/ 4 w 31"/>
                  <a:gd name="T33" fmla="*/ 5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73">
                    <a:moveTo>
                      <a:pt x="29" y="73"/>
                    </a:moveTo>
                    <a:cubicBezTo>
                      <a:pt x="28" y="73"/>
                      <a:pt x="28" y="73"/>
                      <a:pt x="28" y="73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1" y="57"/>
                      <a:pt x="0" y="57"/>
                      <a:pt x="0" y="5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7"/>
                      <a:pt x="31" y="17"/>
                      <a:pt x="31" y="18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1" y="72"/>
                      <a:pt x="30" y="73"/>
                      <a:pt x="30" y="73"/>
                    </a:cubicBezTo>
                    <a:cubicBezTo>
                      <a:pt x="30" y="73"/>
                      <a:pt x="29" y="73"/>
                      <a:pt x="29" y="73"/>
                    </a:cubicBezTo>
                    <a:close/>
                    <a:moveTo>
                      <a:pt x="4" y="55"/>
                    </a:moveTo>
                    <a:cubicBezTo>
                      <a:pt x="27" y="68"/>
                      <a:pt x="27" y="68"/>
                      <a:pt x="27" y="68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9" name="Freeform 653">
                <a:extLst>
                  <a:ext uri="{FF2B5EF4-FFF2-40B4-BE49-F238E27FC236}">
                    <a16:creationId xmlns:a16="http://schemas.microsoft.com/office/drawing/2014/main" id="{F5389AFF-2F08-4BFC-98A8-4057470E04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6065135"/>
                <a:ext cx="62252" cy="61215"/>
              </a:xfrm>
              <a:custGeom>
                <a:avLst/>
                <a:gdLst>
                  <a:gd name="T0" fmla="*/ 2 w 25"/>
                  <a:gd name="T1" fmla="*/ 25 h 25"/>
                  <a:gd name="T2" fmla="*/ 1 w 25"/>
                  <a:gd name="T3" fmla="*/ 24 h 25"/>
                  <a:gd name="T4" fmla="*/ 0 w 25"/>
                  <a:gd name="T5" fmla="*/ 23 h 25"/>
                  <a:gd name="T6" fmla="*/ 0 w 25"/>
                  <a:gd name="T7" fmla="*/ 15 h 25"/>
                  <a:gd name="T8" fmla="*/ 1 w 25"/>
                  <a:gd name="T9" fmla="*/ 13 h 25"/>
                  <a:gd name="T10" fmla="*/ 22 w 25"/>
                  <a:gd name="T11" fmla="*/ 1 h 25"/>
                  <a:gd name="T12" fmla="*/ 24 w 25"/>
                  <a:gd name="T13" fmla="*/ 1 h 25"/>
                  <a:gd name="T14" fmla="*/ 25 w 25"/>
                  <a:gd name="T15" fmla="*/ 2 h 25"/>
                  <a:gd name="T16" fmla="*/ 25 w 25"/>
                  <a:gd name="T17" fmla="*/ 10 h 25"/>
                  <a:gd name="T18" fmla="*/ 24 w 25"/>
                  <a:gd name="T19" fmla="*/ 12 h 25"/>
                  <a:gd name="T20" fmla="*/ 3 w 25"/>
                  <a:gd name="T21" fmla="*/ 24 h 25"/>
                  <a:gd name="T22" fmla="*/ 2 w 25"/>
                  <a:gd name="T23" fmla="*/ 25 h 25"/>
                  <a:gd name="T24" fmla="*/ 4 w 25"/>
                  <a:gd name="T25" fmla="*/ 16 h 25"/>
                  <a:gd name="T26" fmla="*/ 4 w 25"/>
                  <a:gd name="T27" fmla="*/ 19 h 25"/>
                  <a:gd name="T28" fmla="*/ 21 w 25"/>
                  <a:gd name="T29" fmla="*/ 9 h 25"/>
                  <a:gd name="T30" fmla="*/ 21 w 25"/>
                  <a:gd name="T31" fmla="*/ 6 h 25"/>
                  <a:gd name="T32" fmla="*/ 4 w 25"/>
                  <a:gd name="T33" fmla="*/ 16 h 25"/>
                  <a:gd name="T34" fmla="*/ 23 w 25"/>
                  <a:gd name="T35" fmla="*/ 10 h 25"/>
                  <a:gd name="T36" fmla="*/ 23 w 25"/>
                  <a:gd name="T37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" y="25"/>
                    </a:moveTo>
                    <a:cubicBezTo>
                      <a:pt x="1" y="25"/>
                      <a:pt x="1" y="24"/>
                      <a:pt x="1" y="24"/>
                    </a:cubicBezTo>
                    <a:cubicBezTo>
                      <a:pt x="0" y="24"/>
                      <a:pt x="0" y="23"/>
                      <a:pt x="0" y="2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2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1"/>
                      <a:pt x="24" y="12"/>
                      <a:pt x="24" y="12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2" y="24"/>
                      <a:pt x="2" y="25"/>
                      <a:pt x="2" y="25"/>
                    </a:cubicBezTo>
                    <a:close/>
                    <a:moveTo>
                      <a:pt x="4" y="16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4" y="16"/>
                    </a:lnTo>
                    <a:close/>
                    <a:moveTo>
                      <a:pt x="23" y="10"/>
                    </a:moveTo>
                    <a:cubicBezTo>
                      <a:pt x="23" y="10"/>
                      <a:pt x="23" y="10"/>
                      <a:pt x="23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0" name="Freeform 654">
                <a:extLst>
                  <a:ext uri="{FF2B5EF4-FFF2-40B4-BE49-F238E27FC236}">
                    <a16:creationId xmlns:a16="http://schemas.microsoft.com/office/drawing/2014/main" id="{0C645DB0-5D88-4FE1-9893-698C85C83F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5962419"/>
                <a:ext cx="62252" cy="107904"/>
              </a:xfrm>
              <a:custGeom>
                <a:avLst/>
                <a:gdLst>
                  <a:gd name="T0" fmla="*/ 23 w 25"/>
                  <a:gd name="T1" fmla="*/ 44 h 44"/>
                  <a:gd name="T2" fmla="*/ 22 w 25"/>
                  <a:gd name="T3" fmla="*/ 43 h 44"/>
                  <a:gd name="T4" fmla="*/ 1 w 25"/>
                  <a:gd name="T5" fmla="*/ 31 h 44"/>
                  <a:gd name="T6" fmla="*/ 0 w 25"/>
                  <a:gd name="T7" fmla="*/ 29 h 44"/>
                  <a:gd name="T8" fmla="*/ 0 w 25"/>
                  <a:gd name="T9" fmla="*/ 2 h 44"/>
                  <a:gd name="T10" fmla="*/ 1 w 25"/>
                  <a:gd name="T11" fmla="*/ 1 h 44"/>
                  <a:gd name="T12" fmla="*/ 3 w 25"/>
                  <a:gd name="T13" fmla="*/ 1 h 44"/>
                  <a:gd name="T14" fmla="*/ 24 w 25"/>
                  <a:gd name="T15" fmla="*/ 13 h 44"/>
                  <a:gd name="T16" fmla="*/ 25 w 25"/>
                  <a:gd name="T17" fmla="*/ 15 h 44"/>
                  <a:gd name="T18" fmla="*/ 25 w 25"/>
                  <a:gd name="T19" fmla="*/ 42 h 44"/>
                  <a:gd name="T20" fmla="*/ 24 w 25"/>
                  <a:gd name="T21" fmla="*/ 43 h 44"/>
                  <a:gd name="T22" fmla="*/ 23 w 25"/>
                  <a:gd name="T23" fmla="*/ 44 h 44"/>
                  <a:gd name="T24" fmla="*/ 4 w 25"/>
                  <a:gd name="T25" fmla="*/ 28 h 44"/>
                  <a:gd name="T26" fmla="*/ 21 w 25"/>
                  <a:gd name="T27" fmla="*/ 38 h 44"/>
                  <a:gd name="T28" fmla="*/ 21 w 25"/>
                  <a:gd name="T29" fmla="*/ 16 h 44"/>
                  <a:gd name="T30" fmla="*/ 4 w 25"/>
                  <a:gd name="T31" fmla="*/ 6 h 44"/>
                  <a:gd name="T32" fmla="*/ 4 w 25"/>
                  <a:gd name="T33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44">
                    <a:moveTo>
                      <a:pt x="23" y="44"/>
                    </a:moveTo>
                    <a:cubicBezTo>
                      <a:pt x="22" y="44"/>
                      <a:pt x="22" y="43"/>
                      <a:pt x="22" y="43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5" y="14"/>
                      <a:pt x="25" y="15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5" y="42"/>
                      <a:pt x="24" y="43"/>
                      <a:pt x="24" y="43"/>
                    </a:cubicBezTo>
                    <a:cubicBezTo>
                      <a:pt x="24" y="43"/>
                      <a:pt x="23" y="44"/>
                      <a:pt x="23" y="44"/>
                    </a:cubicBezTo>
                    <a:close/>
                    <a:moveTo>
                      <a:pt x="4" y="28"/>
                    </a:move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1" name="Freeform 655">
                <a:extLst>
                  <a:ext uri="{FF2B5EF4-FFF2-40B4-BE49-F238E27FC236}">
                    <a16:creationId xmlns:a16="http://schemas.microsoft.com/office/drawing/2014/main" id="{1ECAAAF1-1BF9-4A69-87FD-54AF2C2969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6092111"/>
                <a:ext cx="304000" cy="230334"/>
              </a:xfrm>
              <a:custGeom>
                <a:avLst/>
                <a:gdLst>
                  <a:gd name="T0" fmla="*/ 94 w 124"/>
                  <a:gd name="T1" fmla="*/ 94 h 94"/>
                  <a:gd name="T2" fmla="*/ 93 w 124"/>
                  <a:gd name="T3" fmla="*/ 94 h 94"/>
                  <a:gd name="T4" fmla="*/ 28 w 124"/>
                  <a:gd name="T5" fmla="*/ 56 h 94"/>
                  <a:gd name="T6" fmla="*/ 3 w 124"/>
                  <a:gd name="T7" fmla="*/ 71 h 94"/>
                  <a:gd name="T8" fmla="*/ 1 w 124"/>
                  <a:gd name="T9" fmla="*/ 71 h 94"/>
                  <a:gd name="T10" fmla="*/ 0 w 124"/>
                  <a:gd name="T11" fmla="*/ 69 h 94"/>
                  <a:gd name="T12" fmla="*/ 0 w 124"/>
                  <a:gd name="T13" fmla="*/ 60 h 94"/>
                  <a:gd name="T14" fmla="*/ 1 w 124"/>
                  <a:gd name="T15" fmla="*/ 59 h 94"/>
                  <a:gd name="T16" fmla="*/ 82 w 124"/>
                  <a:gd name="T17" fmla="*/ 12 h 94"/>
                  <a:gd name="T18" fmla="*/ 84 w 124"/>
                  <a:gd name="T19" fmla="*/ 12 h 94"/>
                  <a:gd name="T20" fmla="*/ 92 w 124"/>
                  <a:gd name="T21" fmla="*/ 17 h 94"/>
                  <a:gd name="T22" fmla="*/ 121 w 124"/>
                  <a:gd name="T23" fmla="*/ 0 h 94"/>
                  <a:gd name="T24" fmla="*/ 123 w 124"/>
                  <a:gd name="T25" fmla="*/ 0 h 94"/>
                  <a:gd name="T26" fmla="*/ 124 w 124"/>
                  <a:gd name="T27" fmla="*/ 2 h 94"/>
                  <a:gd name="T28" fmla="*/ 124 w 124"/>
                  <a:gd name="T29" fmla="*/ 53 h 94"/>
                  <a:gd name="T30" fmla="*/ 123 w 124"/>
                  <a:gd name="T31" fmla="*/ 55 h 94"/>
                  <a:gd name="T32" fmla="*/ 121 w 124"/>
                  <a:gd name="T33" fmla="*/ 55 h 94"/>
                  <a:gd name="T34" fmla="*/ 96 w 124"/>
                  <a:gd name="T35" fmla="*/ 40 h 94"/>
                  <a:gd name="T36" fmla="*/ 96 w 124"/>
                  <a:gd name="T37" fmla="*/ 92 h 94"/>
                  <a:gd name="T38" fmla="*/ 95 w 124"/>
                  <a:gd name="T39" fmla="*/ 94 h 94"/>
                  <a:gd name="T40" fmla="*/ 94 w 124"/>
                  <a:gd name="T41" fmla="*/ 94 h 94"/>
                  <a:gd name="T42" fmla="*/ 28 w 124"/>
                  <a:gd name="T43" fmla="*/ 52 h 94"/>
                  <a:gd name="T44" fmla="*/ 29 w 124"/>
                  <a:gd name="T45" fmla="*/ 52 h 94"/>
                  <a:gd name="T46" fmla="*/ 92 w 124"/>
                  <a:gd name="T47" fmla="*/ 89 h 94"/>
                  <a:gd name="T48" fmla="*/ 92 w 124"/>
                  <a:gd name="T49" fmla="*/ 37 h 94"/>
                  <a:gd name="T50" fmla="*/ 93 w 124"/>
                  <a:gd name="T51" fmla="*/ 35 h 94"/>
                  <a:gd name="T52" fmla="*/ 95 w 124"/>
                  <a:gd name="T53" fmla="*/ 35 h 94"/>
                  <a:gd name="T54" fmla="*/ 120 w 124"/>
                  <a:gd name="T55" fmla="*/ 50 h 94"/>
                  <a:gd name="T56" fmla="*/ 120 w 124"/>
                  <a:gd name="T57" fmla="*/ 5 h 94"/>
                  <a:gd name="T58" fmla="*/ 93 w 124"/>
                  <a:gd name="T59" fmla="*/ 21 h 94"/>
                  <a:gd name="T60" fmla="*/ 91 w 124"/>
                  <a:gd name="T61" fmla="*/ 21 h 94"/>
                  <a:gd name="T62" fmla="*/ 83 w 124"/>
                  <a:gd name="T63" fmla="*/ 16 h 94"/>
                  <a:gd name="T64" fmla="*/ 4 w 124"/>
                  <a:gd name="T65" fmla="*/ 62 h 94"/>
                  <a:gd name="T66" fmla="*/ 4 w 124"/>
                  <a:gd name="T67" fmla="*/ 65 h 94"/>
                  <a:gd name="T68" fmla="*/ 27 w 124"/>
                  <a:gd name="T69" fmla="*/ 52 h 94"/>
                  <a:gd name="T70" fmla="*/ 28 w 124"/>
                  <a:gd name="T71" fmla="*/ 5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4" h="94">
                    <a:moveTo>
                      <a:pt x="94" y="94"/>
                    </a:moveTo>
                    <a:cubicBezTo>
                      <a:pt x="93" y="94"/>
                      <a:pt x="93" y="94"/>
                      <a:pt x="93" y="94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2" y="71"/>
                      <a:pt x="1" y="71"/>
                    </a:cubicBezTo>
                    <a:cubicBezTo>
                      <a:pt x="1" y="70"/>
                      <a:pt x="0" y="70"/>
                      <a:pt x="0" y="69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1" y="59"/>
                      <a:pt x="1" y="59"/>
                    </a:cubicBezTo>
                    <a:cubicBezTo>
                      <a:pt x="82" y="12"/>
                      <a:pt x="82" y="12"/>
                      <a:pt x="82" y="12"/>
                    </a:cubicBezTo>
                    <a:cubicBezTo>
                      <a:pt x="83" y="12"/>
                      <a:pt x="84" y="12"/>
                      <a:pt x="84" y="12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1" y="0"/>
                      <a:pt x="122" y="0"/>
                      <a:pt x="123" y="0"/>
                    </a:cubicBezTo>
                    <a:cubicBezTo>
                      <a:pt x="123" y="0"/>
                      <a:pt x="124" y="1"/>
                      <a:pt x="124" y="2"/>
                    </a:cubicBezTo>
                    <a:cubicBezTo>
                      <a:pt x="124" y="53"/>
                      <a:pt x="124" y="53"/>
                      <a:pt x="124" y="53"/>
                    </a:cubicBezTo>
                    <a:cubicBezTo>
                      <a:pt x="124" y="54"/>
                      <a:pt x="123" y="54"/>
                      <a:pt x="123" y="55"/>
                    </a:cubicBezTo>
                    <a:cubicBezTo>
                      <a:pt x="122" y="55"/>
                      <a:pt x="121" y="55"/>
                      <a:pt x="121" y="55"/>
                    </a:cubicBezTo>
                    <a:cubicBezTo>
                      <a:pt x="96" y="40"/>
                      <a:pt x="96" y="40"/>
                      <a:pt x="96" y="40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6" y="93"/>
                      <a:pt x="95" y="94"/>
                      <a:pt x="95" y="94"/>
                    </a:cubicBezTo>
                    <a:cubicBezTo>
                      <a:pt x="94" y="94"/>
                      <a:pt x="94" y="94"/>
                      <a:pt x="94" y="94"/>
                    </a:cubicBezTo>
                    <a:close/>
                    <a:moveTo>
                      <a:pt x="28" y="52"/>
                    </a:moveTo>
                    <a:cubicBezTo>
                      <a:pt x="28" y="52"/>
                      <a:pt x="28" y="52"/>
                      <a:pt x="29" y="52"/>
                    </a:cubicBezTo>
                    <a:cubicBezTo>
                      <a:pt x="92" y="89"/>
                      <a:pt x="92" y="89"/>
                      <a:pt x="92" y="89"/>
                    </a:cubicBezTo>
                    <a:cubicBezTo>
                      <a:pt x="92" y="37"/>
                      <a:pt x="92" y="37"/>
                      <a:pt x="92" y="37"/>
                    </a:cubicBezTo>
                    <a:cubicBezTo>
                      <a:pt x="92" y="36"/>
                      <a:pt x="92" y="35"/>
                      <a:pt x="93" y="35"/>
                    </a:cubicBezTo>
                    <a:cubicBezTo>
                      <a:pt x="93" y="35"/>
                      <a:pt x="94" y="35"/>
                      <a:pt x="95" y="35"/>
                    </a:cubicBezTo>
                    <a:cubicBezTo>
                      <a:pt x="120" y="50"/>
                      <a:pt x="120" y="50"/>
                      <a:pt x="120" y="50"/>
                    </a:cubicBezTo>
                    <a:cubicBezTo>
                      <a:pt x="120" y="5"/>
                      <a:pt x="120" y="5"/>
                      <a:pt x="120" y="5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1"/>
                      <a:pt x="92" y="21"/>
                      <a:pt x="91" y="21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7" y="52"/>
                      <a:pt x="27" y="52"/>
                      <a:pt x="28" y="5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2" name="Freeform 656">
                <a:extLst>
                  <a:ext uri="{FF2B5EF4-FFF2-40B4-BE49-F238E27FC236}">
                    <a16:creationId xmlns:a16="http://schemas.microsoft.com/office/drawing/2014/main" id="{DE6A81AA-2A11-4705-810D-B9931E0C62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5903279"/>
                <a:ext cx="62252" cy="95454"/>
              </a:xfrm>
              <a:custGeom>
                <a:avLst/>
                <a:gdLst>
                  <a:gd name="T0" fmla="*/ 23 w 25"/>
                  <a:gd name="T1" fmla="*/ 39 h 39"/>
                  <a:gd name="T2" fmla="*/ 22 w 25"/>
                  <a:gd name="T3" fmla="*/ 38 h 39"/>
                  <a:gd name="T4" fmla="*/ 1 w 25"/>
                  <a:gd name="T5" fmla="*/ 26 h 39"/>
                  <a:gd name="T6" fmla="*/ 0 w 25"/>
                  <a:gd name="T7" fmla="*/ 24 h 39"/>
                  <a:gd name="T8" fmla="*/ 0 w 25"/>
                  <a:gd name="T9" fmla="*/ 15 h 39"/>
                  <a:gd name="T10" fmla="*/ 1 w 25"/>
                  <a:gd name="T11" fmla="*/ 13 h 39"/>
                  <a:gd name="T12" fmla="*/ 22 w 25"/>
                  <a:gd name="T13" fmla="*/ 1 h 39"/>
                  <a:gd name="T14" fmla="*/ 24 w 25"/>
                  <a:gd name="T15" fmla="*/ 1 h 39"/>
                  <a:gd name="T16" fmla="*/ 25 w 25"/>
                  <a:gd name="T17" fmla="*/ 2 h 39"/>
                  <a:gd name="T18" fmla="*/ 25 w 25"/>
                  <a:gd name="T19" fmla="*/ 37 h 39"/>
                  <a:gd name="T20" fmla="*/ 24 w 25"/>
                  <a:gd name="T21" fmla="*/ 38 h 39"/>
                  <a:gd name="T22" fmla="*/ 23 w 25"/>
                  <a:gd name="T23" fmla="*/ 39 h 39"/>
                  <a:gd name="T24" fmla="*/ 4 w 25"/>
                  <a:gd name="T25" fmla="*/ 23 h 39"/>
                  <a:gd name="T26" fmla="*/ 21 w 25"/>
                  <a:gd name="T27" fmla="*/ 33 h 39"/>
                  <a:gd name="T28" fmla="*/ 21 w 25"/>
                  <a:gd name="T29" fmla="*/ 6 h 39"/>
                  <a:gd name="T30" fmla="*/ 4 w 25"/>
                  <a:gd name="T31" fmla="*/ 16 h 39"/>
                  <a:gd name="T32" fmla="*/ 4 w 25"/>
                  <a:gd name="T33" fmla="*/ 2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9">
                    <a:moveTo>
                      <a:pt x="23" y="39"/>
                    </a:moveTo>
                    <a:cubicBezTo>
                      <a:pt x="22" y="39"/>
                      <a:pt x="22" y="39"/>
                      <a:pt x="22" y="38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6"/>
                      <a:pt x="0" y="25"/>
                      <a:pt x="0" y="2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7"/>
                      <a:pt x="24" y="38"/>
                      <a:pt x="24" y="38"/>
                    </a:cubicBezTo>
                    <a:cubicBezTo>
                      <a:pt x="24" y="39"/>
                      <a:pt x="23" y="39"/>
                      <a:pt x="23" y="39"/>
                    </a:cubicBezTo>
                    <a:close/>
                    <a:moveTo>
                      <a:pt x="4" y="23"/>
                    </a:move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3" name="Freeform 657">
                <a:extLst>
                  <a:ext uri="{FF2B5EF4-FFF2-40B4-BE49-F238E27FC236}">
                    <a16:creationId xmlns:a16="http://schemas.microsoft.com/office/drawing/2014/main" id="{39B26719-617E-4409-8560-87F6798762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92350" y="6592205"/>
                <a:ext cx="118280" cy="343426"/>
              </a:xfrm>
              <a:custGeom>
                <a:avLst/>
                <a:gdLst>
                  <a:gd name="T0" fmla="*/ 41 w 48"/>
                  <a:gd name="T1" fmla="*/ 140 h 140"/>
                  <a:gd name="T2" fmla="*/ 40 w 48"/>
                  <a:gd name="T3" fmla="*/ 140 h 140"/>
                  <a:gd name="T4" fmla="*/ 1 w 48"/>
                  <a:gd name="T5" fmla="*/ 117 h 140"/>
                  <a:gd name="T6" fmla="*/ 0 w 48"/>
                  <a:gd name="T7" fmla="*/ 115 h 140"/>
                  <a:gd name="T8" fmla="*/ 0 w 48"/>
                  <a:gd name="T9" fmla="*/ 23 h 140"/>
                  <a:gd name="T10" fmla="*/ 1 w 48"/>
                  <a:gd name="T11" fmla="*/ 21 h 140"/>
                  <a:gd name="T12" fmla="*/ 36 w 48"/>
                  <a:gd name="T13" fmla="*/ 1 h 140"/>
                  <a:gd name="T14" fmla="*/ 38 w 48"/>
                  <a:gd name="T15" fmla="*/ 1 h 140"/>
                  <a:gd name="T16" fmla="*/ 47 w 48"/>
                  <a:gd name="T17" fmla="*/ 6 h 140"/>
                  <a:gd name="T18" fmla="*/ 48 w 48"/>
                  <a:gd name="T19" fmla="*/ 8 h 140"/>
                  <a:gd name="T20" fmla="*/ 48 w 48"/>
                  <a:gd name="T21" fmla="*/ 135 h 140"/>
                  <a:gd name="T22" fmla="*/ 47 w 48"/>
                  <a:gd name="T23" fmla="*/ 137 h 140"/>
                  <a:gd name="T24" fmla="*/ 42 w 48"/>
                  <a:gd name="T25" fmla="*/ 140 h 140"/>
                  <a:gd name="T26" fmla="*/ 41 w 48"/>
                  <a:gd name="T27" fmla="*/ 140 h 140"/>
                  <a:gd name="T28" fmla="*/ 4 w 48"/>
                  <a:gd name="T29" fmla="*/ 114 h 140"/>
                  <a:gd name="T30" fmla="*/ 41 w 48"/>
                  <a:gd name="T31" fmla="*/ 136 h 140"/>
                  <a:gd name="T32" fmla="*/ 44 w 48"/>
                  <a:gd name="T33" fmla="*/ 134 h 140"/>
                  <a:gd name="T34" fmla="*/ 44 w 48"/>
                  <a:gd name="T35" fmla="*/ 9 h 140"/>
                  <a:gd name="T36" fmla="*/ 37 w 48"/>
                  <a:gd name="T37" fmla="*/ 5 h 140"/>
                  <a:gd name="T38" fmla="*/ 4 w 48"/>
                  <a:gd name="T39" fmla="*/ 24 h 140"/>
                  <a:gd name="T40" fmla="*/ 4 w 48"/>
                  <a:gd name="T41" fmla="*/ 114 h 140"/>
                  <a:gd name="T42" fmla="*/ 46 w 48"/>
                  <a:gd name="T43" fmla="*/ 135 h 140"/>
                  <a:gd name="T44" fmla="*/ 46 w 48"/>
                  <a:gd name="T45" fmla="*/ 135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" h="140">
                    <a:moveTo>
                      <a:pt x="41" y="140"/>
                    </a:moveTo>
                    <a:cubicBezTo>
                      <a:pt x="41" y="140"/>
                      <a:pt x="41" y="140"/>
                      <a:pt x="40" y="140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0" y="117"/>
                      <a:pt x="0" y="116"/>
                      <a:pt x="0" y="11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2"/>
                      <a:pt x="0" y="21"/>
                      <a:pt x="1" y="2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7" y="0"/>
                      <a:pt x="38" y="0"/>
                      <a:pt x="38" y="1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8" y="6"/>
                      <a:pt x="48" y="7"/>
                      <a:pt x="48" y="8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7"/>
                      <a:pt x="47" y="137"/>
                    </a:cubicBezTo>
                    <a:cubicBezTo>
                      <a:pt x="42" y="140"/>
                      <a:pt x="42" y="140"/>
                      <a:pt x="42" y="140"/>
                    </a:cubicBezTo>
                    <a:cubicBezTo>
                      <a:pt x="42" y="140"/>
                      <a:pt x="42" y="140"/>
                      <a:pt x="41" y="140"/>
                    </a:cubicBezTo>
                    <a:close/>
                    <a:moveTo>
                      <a:pt x="4" y="114"/>
                    </a:moveTo>
                    <a:cubicBezTo>
                      <a:pt x="41" y="136"/>
                      <a:pt x="41" y="136"/>
                      <a:pt x="41" y="136"/>
                    </a:cubicBezTo>
                    <a:cubicBezTo>
                      <a:pt x="44" y="134"/>
                      <a:pt x="44" y="134"/>
                      <a:pt x="44" y="134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4" y="24"/>
                      <a:pt x="4" y="24"/>
                      <a:pt x="4" y="24"/>
                    </a:cubicBezTo>
                    <a:lnTo>
                      <a:pt x="4" y="114"/>
                    </a:lnTo>
                    <a:close/>
                    <a:moveTo>
                      <a:pt x="46" y="135"/>
                    </a:moveTo>
                    <a:cubicBezTo>
                      <a:pt x="46" y="135"/>
                      <a:pt x="46" y="135"/>
                      <a:pt x="46" y="13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4" name="Freeform 658">
                <a:extLst>
                  <a:ext uri="{FF2B5EF4-FFF2-40B4-BE49-F238E27FC236}">
                    <a16:creationId xmlns:a16="http://schemas.microsoft.com/office/drawing/2014/main" id="{365D40A9-EF4E-49F6-89E5-E7DAA241C2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95613" y="6065135"/>
                <a:ext cx="84041" cy="267685"/>
              </a:xfrm>
              <a:custGeom>
                <a:avLst/>
                <a:gdLst>
                  <a:gd name="T0" fmla="*/ 32 w 34"/>
                  <a:gd name="T1" fmla="*/ 109 h 109"/>
                  <a:gd name="T2" fmla="*/ 31 w 34"/>
                  <a:gd name="T3" fmla="*/ 109 h 109"/>
                  <a:gd name="T4" fmla="*/ 1 w 34"/>
                  <a:gd name="T5" fmla="*/ 91 h 109"/>
                  <a:gd name="T6" fmla="*/ 0 w 34"/>
                  <a:gd name="T7" fmla="*/ 90 h 109"/>
                  <a:gd name="T8" fmla="*/ 0 w 34"/>
                  <a:gd name="T9" fmla="*/ 20 h 109"/>
                  <a:gd name="T10" fmla="*/ 1 w 34"/>
                  <a:gd name="T11" fmla="*/ 18 h 109"/>
                  <a:gd name="T12" fmla="*/ 31 w 34"/>
                  <a:gd name="T13" fmla="*/ 1 h 109"/>
                  <a:gd name="T14" fmla="*/ 33 w 34"/>
                  <a:gd name="T15" fmla="*/ 1 h 109"/>
                  <a:gd name="T16" fmla="*/ 34 w 34"/>
                  <a:gd name="T17" fmla="*/ 2 h 109"/>
                  <a:gd name="T18" fmla="*/ 34 w 34"/>
                  <a:gd name="T19" fmla="*/ 107 h 109"/>
                  <a:gd name="T20" fmla="*/ 33 w 34"/>
                  <a:gd name="T21" fmla="*/ 109 h 109"/>
                  <a:gd name="T22" fmla="*/ 32 w 34"/>
                  <a:gd name="T23" fmla="*/ 109 h 109"/>
                  <a:gd name="T24" fmla="*/ 4 w 34"/>
                  <a:gd name="T25" fmla="*/ 89 h 109"/>
                  <a:gd name="T26" fmla="*/ 30 w 34"/>
                  <a:gd name="T27" fmla="*/ 104 h 109"/>
                  <a:gd name="T28" fmla="*/ 30 w 34"/>
                  <a:gd name="T29" fmla="*/ 6 h 109"/>
                  <a:gd name="T30" fmla="*/ 4 w 34"/>
                  <a:gd name="T31" fmla="*/ 21 h 109"/>
                  <a:gd name="T32" fmla="*/ 4 w 34"/>
                  <a:gd name="T33" fmla="*/ 8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109">
                    <a:moveTo>
                      <a:pt x="32" y="109"/>
                    </a:moveTo>
                    <a:cubicBezTo>
                      <a:pt x="32" y="109"/>
                      <a:pt x="32" y="109"/>
                      <a:pt x="31" y="109"/>
                    </a:cubicBezTo>
                    <a:cubicBezTo>
                      <a:pt x="1" y="91"/>
                      <a:pt x="1" y="91"/>
                      <a:pt x="1" y="91"/>
                    </a:cubicBezTo>
                    <a:cubicBezTo>
                      <a:pt x="0" y="91"/>
                      <a:pt x="0" y="90"/>
                      <a:pt x="0" y="9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9"/>
                      <a:pt x="0" y="19"/>
                      <a:pt x="1" y="18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0"/>
                      <a:pt x="33" y="0"/>
                      <a:pt x="33" y="1"/>
                    </a:cubicBezTo>
                    <a:cubicBezTo>
                      <a:pt x="34" y="1"/>
                      <a:pt x="34" y="2"/>
                      <a:pt x="34" y="2"/>
                    </a:cubicBezTo>
                    <a:cubicBezTo>
                      <a:pt x="34" y="107"/>
                      <a:pt x="34" y="107"/>
                      <a:pt x="34" y="107"/>
                    </a:cubicBezTo>
                    <a:cubicBezTo>
                      <a:pt x="34" y="108"/>
                      <a:pt x="34" y="109"/>
                      <a:pt x="33" y="109"/>
                    </a:cubicBezTo>
                    <a:cubicBezTo>
                      <a:pt x="33" y="109"/>
                      <a:pt x="33" y="109"/>
                      <a:pt x="32" y="109"/>
                    </a:cubicBezTo>
                    <a:close/>
                    <a:moveTo>
                      <a:pt x="4" y="89"/>
                    </a:move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4" y="21"/>
                      <a:pt x="4" y="21"/>
                      <a:pt x="4" y="21"/>
                    </a:cubicBezTo>
                    <a:lnTo>
                      <a:pt x="4" y="8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5" name="Freeform 659">
                <a:extLst>
                  <a:ext uri="{FF2B5EF4-FFF2-40B4-BE49-F238E27FC236}">
                    <a16:creationId xmlns:a16="http://schemas.microsoft.com/office/drawing/2014/main" id="{F1D85271-8369-49C1-844A-2E2F86E6D4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6320370"/>
                <a:ext cx="76778" cy="85078"/>
              </a:xfrm>
              <a:custGeom>
                <a:avLst/>
                <a:gdLst>
                  <a:gd name="T0" fmla="*/ 29 w 31"/>
                  <a:gd name="T1" fmla="*/ 35 h 35"/>
                  <a:gd name="T2" fmla="*/ 28 w 31"/>
                  <a:gd name="T3" fmla="*/ 35 h 35"/>
                  <a:gd name="T4" fmla="*/ 1 w 31"/>
                  <a:gd name="T5" fmla="*/ 20 h 35"/>
                  <a:gd name="T6" fmla="*/ 0 w 31"/>
                  <a:gd name="T7" fmla="*/ 18 h 35"/>
                  <a:gd name="T8" fmla="*/ 0 w 31"/>
                  <a:gd name="T9" fmla="*/ 2 h 35"/>
                  <a:gd name="T10" fmla="*/ 1 w 31"/>
                  <a:gd name="T11" fmla="*/ 0 h 35"/>
                  <a:gd name="T12" fmla="*/ 3 w 31"/>
                  <a:gd name="T13" fmla="*/ 0 h 35"/>
                  <a:gd name="T14" fmla="*/ 30 w 31"/>
                  <a:gd name="T15" fmla="*/ 16 h 35"/>
                  <a:gd name="T16" fmla="*/ 31 w 31"/>
                  <a:gd name="T17" fmla="*/ 17 h 35"/>
                  <a:gd name="T18" fmla="*/ 31 w 31"/>
                  <a:gd name="T19" fmla="*/ 33 h 35"/>
                  <a:gd name="T20" fmla="*/ 30 w 31"/>
                  <a:gd name="T21" fmla="*/ 35 h 35"/>
                  <a:gd name="T22" fmla="*/ 29 w 31"/>
                  <a:gd name="T23" fmla="*/ 35 h 35"/>
                  <a:gd name="T24" fmla="*/ 4 w 31"/>
                  <a:gd name="T25" fmla="*/ 17 h 35"/>
                  <a:gd name="T26" fmla="*/ 27 w 31"/>
                  <a:gd name="T27" fmla="*/ 30 h 35"/>
                  <a:gd name="T28" fmla="*/ 27 w 31"/>
                  <a:gd name="T29" fmla="*/ 19 h 35"/>
                  <a:gd name="T30" fmla="*/ 4 w 31"/>
                  <a:gd name="T31" fmla="*/ 5 h 35"/>
                  <a:gd name="T32" fmla="*/ 4 w 31"/>
                  <a:gd name="T33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" h="35">
                    <a:moveTo>
                      <a:pt x="29" y="35"/>
                    </a:moveTo>
                    <a:cubicBezTo>
                      <a:pt x="28" y="35"/>
                      <a:pt x="28" y="35"/>
                      <a:pt x="28" y="35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6"/>
                      <a:pt x="31" y="17"/>
                      <a:pt x="31" y="17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1" y="34"/>
                      <a:pt x="30" y="35"/>
                      <a:pt x="30" y="35"/>
                    </a:cubicBezTo>
                    <a:cubicBezTo>
                      <a:pt x="30" y="35"/>
                      <a:pt x="29" y="35"/>
                      <a:pt x="29" y="35"/>
                    </a:cubicBezTo>
                    <a:close/>
                    <a:moveTo>
                      <a:pt x="4" y="17"/>
                    </a:move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6" name="Freeform 660">
                <a:extLst>
                  <a:ext uri="{FF2B5EF4-FFF2-40B4-BE49-F238E27FC236}">
                    <a16:creationId xmlns:a16="http://schemas.microsoft.com/office/drawing/2014/main" id="{7EA2E0ED-6965-4E13-B0B7-A3598EDC3B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6224916"/>
                <a:ext cx="304000" cy="320600"/>
              </a:xfrm>
              <a:custGeom>
                <a:avLst/>
                <a:gdLst>
                  <a:gd name="T0" fmla="*/ 29 w 124"/>
                  <a:gd name="T1" fmla="*/ 131 h 131"/>
                  <a:gd name="T2" fmla="*/ 28 w 124"/>
                  <a:gd name="T3" fmla="*/ 131 h 131"/>
                  <a:gd name="T4" fmla="*/ 1 w 124"/>
                  <a:gd name="T5" fmla="*/ 115 h 131"/>
                  <a:gd name="T6" fmla="*/ 0 w 124"/>
                  <a:gd name="T7" fmla="*/ 113 h 131"/>
                  <a:gd name="T8" fmla="*/ 0 w 124"/>
                  <a:gd name="T9" fmla="*/ 17 h 131"/>
                  <a:gd name="T10" fmla="*/ 1 w 124"/>
                  <a:gd name="T11" fmla="*/ 15 h 131"/>
                  <a:gd name="T12" fmla="*/ 27 w 124"/>
                  <a:gd name="T13" fmla="*/ 0 h 131"/>
                  <a:gd name="T14" fmla="*/ 29 w 124"/>
                  <a:gd name="T15" fmla="*/ 0 h 131"/>
                  <a:gd name="T16" fmla="*/ 95 w 124"/>
                  <a:gd name="T17" fmla="*/ 38 h 131"/>
                  <a:gd name="T18" fmla="*/ 96 w 124"/>
                  <a:gd name="T19" fmla="*/ 40 h 131"/>
                  <a:gd name="T20" fmla="*/ 96 w 124"/>
                  <a:gd name="T21" fmla="*/ 57 h 131"/>
                  <a:gd name="T22" fmla="*/ 123 w 124"/>
                  <a:gd name="T23" fmla="*/ 73 h 131"/>
                  <a:gd name="T24" fmla="*/ 124 w 124"/>
                  <a:gd name="T25" fmla="*/ 74 h 131"/>
                  <a:gd name="T26" fmla="*/ 124 w 124"/>
                  <a:gd name="T27" fmla="*/ 75 h 131"/>
                  <a:gd name="T28" fmla="*/ 123 w 124"/>
                  <a:gd name="T29" fmla="*/ 77 h 131"/>
                  <a:gd name="T30" fmla="*/ 30 w 124"/>
                  <a:gd name="T31" fmla="*/ 131 h 131"/>
                  <a:gd name="T32" fmla="*/ 29 w 124"/>
                  <a:gd name="T33" fmla="*/ 131 h 131"/>
                  <a:gd name="T34" fmla="*/ 4 w 124"/>
                  <a:gd name="T35" fmla="*/ 112 h 131"/>
                  <a:gd name="T36" fmla="*/ 29 w 124"/>
                  <a:gd name="T37" fmla="*/ 127 h 131"/>
                  <a:gd name="T38" fmla="*/ 119 w 124"/>
                  <a:gd name="T39" fmla="*/ 75 h 131"/>
                  <a:gd name="T40" fmla="*/ 93 w 124"/>
                  <a:gd name="T41" fmla="*/ 60 h 131"/>
                  <a:gd name="T42" fmla="*/ 92 w 124"/>
                  <a:gd name="T43" fmla="*/ 58 h 131"/>
                  <a:gd name="T44" fmla="*/ 92 w 124"/>
                  <a:gd name="T45" fmla="*/ 41 h 131"/>
                  <a:gd name="T46" fmla="*/ 28 w 124"/>
                  <a:gd name="T47" fmla="*/ 4 h 131"/>
                  <a:gd name="T48" fmla="*/ 4 w 124"/>
                  <a:gd name="T49" fmla="*/ 18 h 131"/>
                  <a:gd name="T50" fmla="*/ 4 w 124"/>
                  <a:gd name="T51" fmla="*/ 11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4" h="131">
                    <a:moveTo>
                      <a:pt x="29" y="131"/>
                    </a:moveTo>
                    <a:cubicBezTo>
                      <a:pt x="29" y="131"/>
                      <a:pt x="29" y="131"/>
                      <a:pt x="28" y="131"/>
                    </a:cubicBezTo>
                    <a:cubicBezTo>
                      <a:pt x="1" y="115"/>
                      <a:pt x="1" y="115"/>
                      <a:pt x="1" y="115"/>
                    </a:cubicBezTo>
                    <a:cubicBezTo>
                      <a:pt x="1" y="114"/>
                      <a:pt x="0" y="114"/>
                      <a:pt x="0" y="1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8" y="0"/>
                      <a:pt x="29" y="0"/>
                    </a:cubicBezTo>
                    <a:cubicBezTo>
                      <a:pt x="95" y="38"/>
                      <a:pt x="95" y="38"/>
                      <a:pt x="95" y="38"/>
                    </a:cubicBezTo>
                    <a:cubicBezTo>
                      <a:pt x="95" y="39"/>
                      <a:pt x="96" y="39"/>
                      <a:pt x="96" y="40"/>
                    </a:cubicBezTo>
                    <a:cubicBezTo>
                      <a:pt x="96" y="57"/>
                      <a:pt x="96" y="57"/>
                      <a:pt x="96" y="57"/>
                    </a:cubicBezTo>
                    <a:cubicBezTo>
                      <a:pt x="123" y="73"/>
                      <a:pt x="123" y="73"/>
                      <a:pt x="123" y="73"/>
                    </a:cubicBezTo>
                    <a:cubicBezTo>
                      <a:pt x="123" y="73"/>
                      <a:pt x="124" y="74"/>
                      <a:pt x="124" y="74"/>
                    </a:cubicBezTo>
                    <a:cubicBezTo>
                      <a:pt x="124" y="75"/>
                      <a:pt x="124" y="75"/>
                      <a:pt x="124" y="75"/>
                    </a:cubicBezTo>
                    <a:cubicBezTo>
                      <a:pt x="124" y="76"/>
                      <a:pt x="123" y="77"/>
                      <a:pt x="123" y="77"/>
                    </a:cubicBezTo>
                    <a:cubicBezTo>
                      <a:pt x="30" y="131"/>
                      <a:pt x="30" y="131"/>
                      <a:pt x="30" y="131"/>
                    </a:cubicBezTo>
                    <a:cubicBezTo>
                      <a:pt x="30" y="131"/>
                      <a:pt x="30" y="131"/>
                      <a:pt x="29" y="131"/>
                    </a:cubicBezTo>
                    <a:close/>
                    <a:moveTo>
                      <a:pt x="4" y="112"/>
                    </a:moveTo>
                    <a:cubicBezTo>
                      <a:pt x="29" y="127"/>
                      <a:pt x="29" y="127"/>
                      <a:pt x="29" y="127"/>
                    </a:cubicBezTo>
                    <a:cubicBezTo>
                      <a:pt x="119" y="75"/>
                      <a:pt x="119" y="75"/>
                      <a:pt x="119" y="75"/>
                    </a:cubicBezTo>
                    <a:cubicBezTo>
                      <a:pt x="93" y="60"/>
                      <a:pt x="93" y="60"/>
                      <a:pt x="93" y="60"/>
                    </a:cubicBezTo>
                    <a:cubicBezTo>
                      <a:pt x="92" y="59"/>
                      <a:pt x="92" y="59"/>
                      <a:pt x="92" y="58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11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7" name="Freeform 661">
                <a:extLst>
                  <a:ext uri="{FF2B5EF4-FFF2-40B4-BE49-F238E27FC236}">
                    <a16:creationId xmlns:a16="http://schemas.microsoft.com/office/drawing/2014/main" id="{59B88626-BD15-4630-A49F-B122D4776D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50753" y="5925067"/>
                <a:ext cx="328901" cy="461705"/>
              </a:xfrm>
              <a:custGeom>
                <a:avLst/>
                <a:gdLst>
                  <a:gd name="T0" fmla="*/ 70 w 134"/>
                  <a:gd name="T1" fmla="*/ 188 h 188"/>
                  <a:gd name="T2" fmla="*/ 69 w 134"/>
                  <a:gd name="T3" fmla="*/ 188 h 188"/>
                  <a:gd name="T4" fmla="*/ 33 w 134"/>
                  <a:gd name="T5" fmla="*/ 167 h 188"/>
                  <a:gd name="T6" fmla="*/ 32 w 134"/>
                  <a:gd name="T7" fmla="*/ 165 h 188"/>
                  <a:gd name="T8" fmla="*/ 32 w 134"/>
                  <a:gd name="T9" fmla="*/ 60 h 188"/>
                  <a:gd name="T10" fmla="*/ 3 w 134"/>
                  <a:gd name="T11" fmla="*/ 77 h 188"/>
                  <a:gd name="T12" fmla="*/ 1 w 134"/>
                  <a:gd name="T13" fmla="*/ 77 h 188"/>
                  <a:gd name="T14" fmla="*/ 0 w 134"/>
                  <a:gd name="T15" fmla="*/ 75 h 188"/>
                  <a:gd name="T16" fmla="*/ 0 w 134"/>
                  <a:gd name="T17" fmla="*/ 2 h 188"/>
                  <a:gd name="T18" fmla="*/ 1 w 134"/>
                  <a:gd name="T19" fmla="*/ 0 h 188"/>
                  <a:gd name="T20" fmla="*/ 3 w 134"/>
                  <a:gd name="T21" fmla="*/ 0 h 188"/>
                  <a:gd name="T22" fmla="*/ 123 w 134"/>
                  <a:gd name="T23" fmla="*/ 69 h 188"/>
                  <a:gd name="T24" fmla="*/ 127 w 134"/>
                  <a:gd name="T25" fmla="*/ 67 h 188"/>
                  <a:gd name="T26" fmla="*/ 129 w 134"/>
                  <a:gd name="T27" fmla="*/ 67 h 188"/>
                  <a:gd name="T28" fmla="*/ 133 w 134"/>
                  <a:gd name="T29" fmla="*/ 70 h 188"/>
                  <a:gd name="T30" fmla="*/ 134 w 134"/>
                  <a:gd name="T31" fmla="*/ 71 h 188"/>
                  <a:gd name="T32" fmla="*/ 134 w 134"/>
                  <a:gd name="T33" fmla="*/ 150 h 188"/>
                  <a:gd name="T34" fmla="*/ 133 w 134"/>
                  <a:gd name="T35" fmla="*/ 152 h 188"/>
                  <a:gd name="T36" fmla="*/ 71 w 134"/>
                  <a:gd name="T37" fmla="*/ 188 h 188"/>
                  <a:gd name="T38" fmla="*/ 70 w 134"/>
                  <a:gd name="T39" fmla="*/ 188 h 188"/>
                  <a:gd name="T40" fmla="*/ 36 w 134"/>
                  <a:gd name="T41" fmla="*/ 164 h 188"/>
                  <a:gd name="T42" fmla="*/ 70 w 134"/>
                  <a:gd name="T43" fmla="*/ 184 h 188"/>
                  <a:gd name="T44" fmla="*/ 130 w 134"/>
                  <a:gd name="T45" fmla="*/ 149 h 188"/>
                  <a:gd name="T46" fmla="*/ 130 w 134"/>
                  <a:gd name="T47" fmla="*/ 73 h 188"/>
                  <a:gd name="T48" fmla="*/ 128 w 134"/>
                  <a:gd name="T49" fmla="*/ 71 h 188"/>
                  <a:gd name="T50" fmla="*/ 124 w 134"/>
                  <a:gd name="T51" fmla="*/ 74 h 188"/>
                  <a:gd name="T52" fmla="*/ 122 w 134"/>
                  <a:gd name="T53" fmla="*/ 74 h 188"/>
                  <a:gd name="T54" fmla="*/ 4 w 134"/>
                  <a:gd name="T55" fmla="*/ 5 h 188"/>
                  <a:gd name="T56" fmla="*/ 4 w 134"/>
                  <a:gd name="T57" fmla="*/ 72 h 188"/>
                  <a:gd name="T58" fmla="*/ 33 w 134"/>
                  <a:gd name="T59" fmla="*/ 55 h 188"/>
                  <a:gd name="T60" fmla="*/ 35 w 134"/>
                  <a:gd name="T61" fmla="*/ 55 h 188"/>
                  <a:gd name="T62" fmla="*/ 36 w 134"/>
                  <a:gd name="T63" fmla="*/ 57 h 188"/>
                  <a:gd name="T64" fmla="*/ 36 w 134"/>
                  <a:gd name="T65" fmla="*/ 16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188">
                    <a:moveTo>
                      <a:pt x="70" y="188"/>
                    </a:moveTo>
                    <a:cubicBezTo>
                      <a:pt x="70" y="188"/>
                      <a:pt x="69" y="188"/>
                      <a:pt x="69" y="188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32" y="167"/>
                      <a:pt x="32" y="166"/>
                      <a:pt x="32" y="165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2" y="77"/>
                      <a:pt x="2" y="77"/>
                      <a:pt x="1" y="77"/>
                    </a:cubicBezTo>
                    <a:cubicBezTo>
                      <a:pt x="0" y="76"/>
                      <a:pt x="0" y="76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3" y="69"/>
                      <a:pt x="123" y="69"/>
                      <a:pt x="123" y="69"/>
                    </a:cubicBezTo>
                    <a:cubicBezTo>
                      <a:pt x="127" y="67"/>
                      <a:pt x="127" y="67"/>
                      <a:pt x="127" y="67"/>
                    </a:cubicBezTo>
                    <a:cubicBezTo>
                      <a:pt x="128" y="67"/>
                      <a:pt x="129" y="67"/>
                      <a:pt x="129" y="67"/>
                    </a:cubicBezTo>
                    <a:cubicBezTo>
                      <a:pt x="133" y="70"/>
                      <a:pt x="133" y="70"/>
                      <a:pt x="133" y="70"/>
                    </a:cubicBezTo>
                    <a:cubicBezTo>
                      <a:pt x="134" y="70"/>
                      <a:pt x="134" y="71"/>
                      <a:pt x="134" y="71"/>
                    </a:cubicBezTo>
                    <a:cubicBezTo>
                      <a:pt x="134" y="150"/>
                      <a:pt x="134" y="150"/>
                      <a:pt x="134" y="150"/>
                    </a:cubicBezTo>
                    <a:cubicBezTo>
                      <a:pt x="134" y="151"/>
                      <a:pt x="134" y="151"/>
                      <a:pt x="133" y="152"/>
                    </a:cubicBezTo>
                    <a:cubicBezTo>
                      <a:pt x="71" y="188"/>
                      <a:pt x="71" y="188"/>
                      <a:pt x="71" y="188"/>
                    </a:cubicBezTo>
                    <a:cubicBezTo>
                      <a:pt x="71" y="188"/>
                      <a:pt x="70" y="188"/>
                      <a:pt x="70" y="188"/>
                    </a:cubicBezTo>
                    <a:close/>
                    <a:moveTo>
                      <a:pt x="36" y="164"/>
                    </a:moveTo>
                    <a:cubicBezTo>
                      <a:pt x="70" y="184"/>
                      <a:pt x="70" y="184"/>
                      <a:pt x="70" y="184"/>
                    </a:cubicBezTo>
                    <a:cubicBezTo>
                      <a:pt x="130" y="149"/>
                      <a:pt x="130" y="149"/>
                      <a:pt x="130" y="149"/>
                    </a:cubicBezTo>
                    <a:cubicBezTo>
                      <a:pt x="130" y="73"/>
                      <a:pt x="130" y="73"/>
                      <a:pt x="130" y="73"/>
                    </a:cubicBezTo>
                    <a:cubicBezTo>
                      <a:pt x="128" y="71"/>
                      <a:pt x="128" y="71"/>
                      <a:pt x="128" y="71"/>
                    </a:cubicBezTo>
                    <a:cubicBezTo>
                      <a:pt x="124" y="74"/>
                      <a:pt x="124" y="74"/>
                      <a:pt x="124" y="74"/>
                    </a:cubicBezTo>
                    <a:cubicBezTo>
                      <a:pt x="124" y="74"/>
                      <a:pt x="123" y="74"/>
                      <a:pt x="122" y="7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4" y="54"/>
                      <a:pt x="34" y="54"/>
                      <a:pt x="35" y="55"/>
                    </a:cubicBezTo>
                    <a:cubicBezTo>
                      <a:pt x="36" y="55"/>
                      <a:pt x="36" y="56"/>
                      <a:pt x="36" y="57"/>
                    </a:cubicBezTo>
                    <a:lnTo>
                      <a:pt x="36" y="1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8" name="Freeform 662">
                <a:extLst>
                  <a:ext uri="{FF2B5EF4-FFF2-40B4-BE49-F238E27FC236}">
                    <a16:creationId xmlns:a16="http://schemas.microsoft.com/office/drawing/2014/main" id="{E292966C-D107-4E93-B4E6-CD46FE7FD3A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63203" y="5910542"/>
                <a:ext cx="316450" cy="190907"/>
              </a:xfrm>
              <a:custGeom>
                <a:avLst/>
                <a:gdLst>
                  <a:gd name="T0" fmla="*/ 123 w 129"/>
                  <a:gd name="T1" fmla="*/ 78 h 78"/>
                  <a:gd name="T2" fmla="*/ 122 w 129"/>
                  <a:gd name="T3" fmla="*/ 78 h 78"/>
                  <a:gd name="T4" fmla="*/ 1 w 129"/>
                  <a:gd name="T5" fmla="*/ 7 h 78"/>
                  <a:gd name="T6" fmla="*/ 0 w 129"/>
                  <a:gd name="T7" fmla="*/ 6 h 78"/>
                  <a:gd name="T8" fmla="*/ 0 w 129"/>
                  <a:gd name="T9" fmla="*/ 2 h 78"/>
                  <a:gd name="T10" fmla="*/ 1 w 129"/>
                  <a:gd name="T11" fmla="*/ 0 h 78"/>
                  <a:gd name="T12" fmla="*/ 3 w 129"/>
                  <a:gd name="T13" fmla="*/ 0 h 78"/>
                  <a:gd name="T14" fmla="*/ 128 w 129"/>
                  <a:gd name="T15" fmla="*/ 72 h 78"/>
                  <a:gd name="T16" fmla="*/ 129 w 129"/>
                  <a:gd name="T17" fmla="*/ 74 h 78"/>
                  <a:gd name="T18" fmla="*/ 128 w 129"/>
                  <a:gd name="T19" fmla="*/ 76 h 78"/>
                  <a:gd name="T20" fmla="*/ 124 w 129"/>
                  <a:gd name="T21" fmla="*/ 78 h 78"/>
                  <a:gd name="T22" fmla="*/ 123 w 129"/>
                  <a:gd name="T2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78">
                    <a:moveTo>
                      <a:pt x="123" y="78"/>
                    </a:moveTo>
                    <a:cubicBezTo>
                      <a:pt x="123" y="78"/>
                      <a:pt x="123" y="78"/>
                      <a:pt x="122" y="7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2"/>
                      <a:pt x="128" y="72"/>
                      <a:pt x="128" y="72"/>
                    </a:cubicBezTo>
                    <a:cubicBezTo>
                      <a:pt x="128" y="73"/>
                      <a:pt x="129" y="73"/>
                      <a:pt x="129" y="74"/>
                    </a:cubicBezTo>
                    <a:cubicBezTo>
                      <a:pt x="129" y="75"/>
                      <a:pt x="128" y="76"/>
                      <a:pt x="128" y="76"/>
                    </a:cubicBezTo>
                    <a:cubicBezTo>
                      <a:pt x="124" y="78"/>
                      <a:pt x="124" y="78"/>
                      <a:pt x="124" y="78"/>
                    </a:cubicBezTo>
                    <a:cubicBezTo>
                      <a:pt x="124" y="78"/>
                      <a:pt x="124" y="78"/>
                      <a:pt x="123" y="7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9" name="Freeform 663">
                <a:extLst>
                  <a:ext uri="{FF2B5EF4-FFF2-40B4-BE49-F238E27FC236}">
                    <a16:creationId xmlns:a16="http://schemas.microsoft.com/office/drawing/2014/main" id="{E462619D-F092-4210-8315-0E2C531155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98630" y="5971757"/>
                <a:ext cx="266648" cy="323712"/>
              </a:xfrm>
              <a:custGeom>
                <a:avLst/>
                <a:gdLst>
                  <a:gd name="T0" fmla="*/ 6 w 109"/>
                  <a:gd name="T1" fmla="*/ 132 h 132"/>
                  <a:gd name="T2" fmla="*/ 5 w 109"/>
                  <a:gd name="T3" fmla="*/ 132 h 132"/>
                  <a:gd name="T4" fmla="*/ 4 w 109"/>
                  <a:gd name="T5" fmla="*/ 130 h 132"/>
                  <a:gd name="T6" fmla="*/ 4 w 109"/>
                  <a:gd name="T7" fmla="*/ 53 h 132"/>
                  <a:gd name="T8" fmla="*/ 1 w 109"/>
                  <a:gd name="T9" fmla="*/ 51 h 132"/>
                  <a:gd name="T10" fmla="*/ 0 w 109"/>
                  <a:gd name="T11" fmla="*/ 49 h 132"/>
                  <a:gd name="T12" fmla="*/ 1 w 109"/>
                  <a:gd name="T13" fmla="*/ 47 h 132"/>
                  <a:gd name="T14" fmla="*/ 82 w 109"/>
                  <a:gd name="T15" fmla="*/ 1 h 132"/>
                  <a:gd name="T16" fmla="*/ 84 w 109"/>
                  <a:gd name="T17" fmla="*/ 1 h 132"/>
                  <a:gd name="T18" fmla="*/ 91 w 109"/>
                  <a:gd name="T19" fmla="*/ 5 h 132"/>
                  <a:gd name="T20" fmla="*/ 92 w 109"/>
                  <a:gd name="T21" fmla="*/ 7 h 132"/>
                  <a:gd name="T22" fmla="*/ 91 w 109"/>
                  <a:gd name="T23" fmla="*/ 9 h 132"/>
                  <a:gd name="T24" fmla="*/ 55 w 109"/>
                  <a:gd name="T25" fmla="*/ 30 h 132"/>
                  <a:gd name="T26" fmla="*/ 108 w 109"/>
                  <a:gd name="T27" fmla="*/ 60 h 132"/>
                  <a:gd name="T28" fmla="*/ 109 w 109"/>
                  <a:gd name="T29" fmla="*/ 62 h 132"/>
                  <a:gd name="T30" fmla="*/ 108 w 109"/>
                  <a:gd name="T31" fmla="*/ 63 h 132"/>
                  <a:gd name="T32" fmla="*/ 28 w 109"/>
                  <a:gd name="T33" fmla="*/ 110 h 132"/>
                  <a:gd name="T34" fmla="*/ 28 w 109"/>
                  <a:gd name="T35" fmla="*/ 119 h 132"/>
                  <a:gd name="T36" fmla="*/ 27 w 109"/>
                  <a:gd name="T37" fmla="*/ 120 h 132"/>
                  <a:gd name="T38" fmla="*/ 7 w 109"/>
                  <a:gd name="T39" fmla="*/ 132 h 132"/>
                  <a:gd name="T40" fmla="*/ 6 w 109"/>
                  <a:gd name="T41" fmla="*/ 132 h 132"/>
                  <a:gd name="T42" fmla="*/ 6 w 109"/>
                  <a:gd name="T43" fmla="*/ 49 h 132"/>
                  <a:gd name="T44" fmla="*/ 7 w 109"/>
                  <a:gd name="T45" fmla="*/ 50 h 132"/>
                  <a:gd name="T46" fmla="*/ 8 w 109"/>
                  <a:gd name="T47" fmla="*/ 51 h 132"/>
                  <a:gd name="T48" fmla="*/ 8 w 109"/>
                  <a:gd name="T49" fmla="*/ 127 h 132"/>
                  <a:gd name="T50" fmla="*/ 24 w 109"/>
                  <a:gd name="T51" fmla="*/ 118 h 132"/>
                  <a:gd name="T52" fmla="*/ 24 w 109"/>
                  <a:gd name="T53" fmla="*/ 108 h 132"/>
                  <a:gd name="T54" fmla="*/ 25 w 109"/>
                  <a:gd name="T55" fmla="*/ 107 h 132"/>
                  <a:gd name="T56" fmla="*/ 103 w 109"/>
                  <a:gd name="T57" fmla="*/ 62 h 132"/>
                  <a:gd name="T58" fmla="*/ 50 w 109"/>
                  <a:gd name="T59" fmla="*/ 31 h 132"/>
                  <a:gd name="T60" fmla="*/ 49 w 109"/>
                  <a:gd name="T61" fmla="*/ 30 h 132"/>
                  <a:gd name="T62" fmla="*/ 50 w 109"/>
                  <a:gd name="T63" fmla="*/ 28 h 132"/>
                  <a:gd name="T64" fmla="*/ 86 w 109"/>
                  <a:gd name="T65" fmla="*/ 7 h 132"/>
                  <a:gd name="T66" fmla="*/ 83 w 109"/>
                  <a:gd name="T67" fmla="*/ 5 h 132"/>
                  <a:gd name="T68" fmla="*/ 6 w 109"/>
                  <a:gd name="T69" fmla="*/ 49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" h="132">
                    <a:moveTo>
                      <a:pt x="6" y="132"/>
                    </a:moveTo>
                    <a:cubicBezTo>
                      <a:pt x="6" y="132"/>
                      <a:pt x="5" y="132"/>
                      <a:pt x="5" y="132"/>
                    </a:cubicBezTo>
                    <a:cubicBezTo>
                      <a:pt x="4" y="131"/>
                      <a:pt x="4" y="131"/>
                      <a:pt x="4" y="130"/>
                    </a:cubicBezTo>
                    <a:cubicBezTo>
                      <a:pt x="4" y="53"/>
                      <a:pt x="4" y="53"/>
                      <a:pt x="4" y="53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1"/>
                      <a:pt x="0" y="50"/>
                      <a:pt x="0" y="49"/>
                    </a:cubicBezTo>
                    <a:cubicBezTo>
                      <a:pt x="0" y="48"/>
                      <a:pt x="0" y="48"/>
                      <a:pt x="1" y="47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3" y="0"/>
                      <a:pt x="84" y="1"/>
                    </a:cubicBezTo>
                    <a:cubicBezTo>
                      <a:pt x="91" y="5"/>
                      <a:pt x="91" y="5"/>
                      <a:pt x="91" y="5"/>
                    </a:cubicBezTo>
                    <a:cubicBezTo>
                      <a:pt x="92" y="6"/>
                      <a:pt x="92" y="6"/>
                      <a:pt x="92" y="7"/>
                    </a:cubicBezTo>
                    <a:cubicBezTo>
                      <a:pt x="92" y="8"/>
                      <a:pt x="92" y="8"/>
                      <a:pt x="91" y="9"/>
                    </a:cubicBezTo>
                    <a:cubicBezTo>
                      <a:pt x="55" y="30"/>
                      <a:pt x="55" y="30"/>
                      <a:pt x="55" y="30"/>
                    </a:cubicBezTo>
                    <a:cubicBezTo>
                      <a:pt x="108" y="60"/>
                      <a:pt x="108" y="60"/>
                      <a:pt x="108" y="60"/>
                    </a:cubicBezTo>
                    <a:cubicBezTo>
                      <a:pt x="108" y="60"/>
                      <a:pt x="109" y="61"/>
                      <a:pt x="109" y="62"/>
                    </a:cubicBezTo>
                    <a:cubicBezTo>
                      <a:pt x="109" y="62"/>
                      <a:pt x="108" y="63"/>
                      <a:pt x="108" y="63"/>
                    </a:cubicBezTo>
                    <a:cubicBezTo>
                      <a:pt x="28" y="110"/>
                      <a:pt x="28" y="110"/>
                      <a:pt x="28" y="110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8" y="119"/>
                      <a:pt x="27" y="120"/>
                      <a:pt x="27" y="120"/>
                    </a:cubicBezTo>
                    <a:cubicBezTo>
                      <a:pt x="7" y="132"/>
                      <a:pt x="7" y="132"/>
                      <a:pt x="7" y="132"/>
                    </a:cubicBezTo>
                    <a:cubicBezTo>
                      <a:pt x="7" y="132"/>
                      <a:pt x="6" y="132"/>
                      <a:pt x="6" y="132"/>
                    </a:cubicBezTo>
                    <a:close/>
                    <a:moveTo>
                      <a:pt x="6" y="49"/>
                    </a:moveTo>
                    <a:cubicBezTo>
                      <a:pt x="7" y="50"/>
                      <a:pt x="7" y="50"/>
                      <a:pt x="7" y="50"/>
                    </a:cubicBezTo>
                    <a:cubicBezTo>
                      <a:pt x="8" y="50"/>
                      <a:pt x="8" y="51"/>
                      <a:pt x="8" y="51"/>
                    </a:cubicBezTo>
                    <a:cubicBezTo>
                      <a:pt x="8" y="127"/>
                      <a:pt x="8" y="127"/>
                      <a:pt x="8" y="127"/>
                    </a:cubicBezTo>
                    <a:cubicBezTo>
                      <a:pt x="24" y="118"/>
                      <a:pt x="24" y="118"/>
                      <a:pt x="24" y="118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108"/>
                      <a:pt x="24" y="107"/>
                      <a:pt x="25" y="107"/>
                    </a:cubicBezTo>
                    <a:cubicBezTo>
                      <a:pt x="103" y="62"/>
                      <a:pt x="103" y="62"/>
                      <a:pt x="103" y="62"/>
                    </a:cubicBezTo>
                    <a:cubicBezTo>
                      <a:pt x="50" y="31"/>
                      <a:pt x="50" y="31"/>
                      <a:pt x="50" y="31"/>
                    </a:cubicBezTo>
                    <a:cubicBezTo>
                      <a:pt x="49" y="31"/>
                      <a:pt x="49" y="30"/>
                      <a:pt x="49" y="30"/>
                    </a:cubicBezTo>
                    <a:cubicBezTo>
                      <a:pt x="49" y="29"/>
                      <a:pt x="49" y="28"/>
                      <a:pt x="50" y="28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3" y="5"/>
                      <a:pt x="83" y="5"/>
                      <a:pt x="83" y="5"/>
                    </a:cubicBezTo>
                    <a:lnTo>
                      <a:pt x="6" y="4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0" name="Freeform 664">
                <a:extLst>
                  <a:ext uri="{FF2B5EF4-FFF2-40B4-BE49-F238E27FC236}">
                    <a16:creationId xmlns:a16="http://schemas.microsoft.com/office/drawing/2014/main" id="{31DA6ECA-57A2-4050-A3D4-6B5DB72C61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3176" y="6032971"/>
                <a:ext cx="59140" cy="68478"/>
              </a:xfrm>
              <a:custGeom>
                <a:avLst/>
                <a:gdLst>
                  <a:gd name="T0" fmla="*/ 2 w 24"/>
                  <a:gd name="T1" fmla="*/ 28 h 28"/>
                  <a:gd name="T2" fmla="*/ 1 w 24"/>
                  <a:gd name="T3" fmla="*/ 27 h 28"/>
                  <a:gd name="T4" fmla="*/ 0 w 24"/>
                  <a:gd name="T5" fmla="*/ 26 h 28"/>
                  <a:gd name="T6" fmla="*/ 0 w 24"/>
                  <a:gd name="T7" fmla="*/ 2 h 28"/>
                  <a:gd name="T8" fmla="*/ 1 w 24"/>
                  <a:gd name="T9" fmla="*/ 0 h 28"/>
                  <a:gd name="T10" fmla="*/ 3 w 24"/>
                  <a:gd name="T11" fmla="*/ 0 h 28"/>
                  <a:gd name="T12" fmla="*/ 23 w 24"/>
                  <a:gd name="T13" fmla="*/ 12 h 28"/>
                  <a:gd name="T14" fmla="*/ 24 w 24"/>
                  <a:gd name="T15" fmla="*/ 14 h 28"/>
                  <a:gd name="T16" fmla="*/ 23 w 24"/>
                  <a:gd name="T17" fmla="*/ 16 h 28"/>
                  <a:gd name="T18" fmla="*/ 3 w 24"/>
                  <a:gd name="T19" fmla="*/ 27 h 28"/>
                  <a:gd name="T20" fmla="*/ 2 w 24"/>
                  <a:gd name="T21" fmla="*/ 28 h 28"/>
                  <a:gd name="T22" fmla="*/ 4 w 24"/>
                  <a:gd name="T23" fmla="*/ 6 h 28"/>
                  <a:gd name="T24" fmla="*/ 4 w 24"/>
                  <a:gd name="T25" fmla="*/ 22 h 28"/>
                  <a:gd name="T26" fmla="*/ 18 w 24"/>
                  <a:gd name="T27" fmla="*/ 14 h 28"/>
                  <a:gd name="T28" fmla="*/ 4 w 24"/>
                  <a:gd name="T2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28">
                    <a:moveTo>
                      <a:pt x="2" y="28"/>
                    </a:moveTo>
                    <a:cubicBezTo>
                      <a:pt x="1" y="28"/>
                      <a:pt x="1" y="28"/>
                      <a:pt x="1" y="27"/>
                    </a:cubicBezTo>
                    <a:cubicBezTo>
                      <a:pt x="0" y="27"/>
                      <a:pt x="0" y="26"/>
                      <a:pt x="0" y="2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4" y="13"/>
                      <a:pt x="24" y="13"/>
                      <a:pt x="24" y="14"/>
                    </a:cubicBezTo>
                    <a:cubicBezTo>
                      <a:pt x="24" y="15"/>
                      <a:pt x="24" y="15"/>
                      <a:pt x="23" y="16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2" y="28"/>
                      <a:pt x="2" y="28"/>
                      <a:pt x="2" y="28"/>
                    </a:cubicBezTo>
                    <a:close/>
                    <a:moveTo>
                      <a:pt x="4" y="6"/>
                    </a:moveTo>
                    <a:cubicBezTo>
                      <a:pt x="4" y="22"/>
                      <a:pt x="4" y="22"/>
                      <a:pt x="4" y="22"/>
                    </a:cubicBezTo>
                    <a:cubicBezTo>
                      <a:pt x="18" y="14"/>
                      <a:pt x="18" y="14"/>
                      <a:pt x="18" y="14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1" name="Freeform 665">
                <a:extLst>
                  <a:ext uri="{FF2B5EF4-FFF2-40B4-BE49-F238E27FC236}">
                    <a16:creationId xmlns:a16="http://schemas.microsoft.com/office/drawing/2014/main" id="{6FC06BD8-9017-4D9C-9F1E-37F0EE6AC7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57129" y="5949968"/>
                <a:ext cx="83003" cy="86116"/>
              </a:xfrm>
              <a:custGeom>
                <a:avLst/>
                <a:gdLst>
                  <a:gd name="T0" fmla="*/ 32 w 34"/>
                  <a:gd name="T1" fmla="*/ 35 h 35"/>
                  <a:gd name="T2" fmla="*/ 31 w 34"/>
                  <a:gd name="T3" fmla="*/ 35 h 35"/>
                  <a:gd name="T4" fmla="*/ 1 w 34"/>
                  <a:gd name="T5" fmla="*/ 18 h 35"/>
                  <a:gd name="T6" fmla="*/ 0 w 34"/>
                  <a:gd name="T7" fmla="*/ 16 h 35"/>
                  <a:gd name="T8" fmla="*/ 1 w 34"/>
                  <a:gd name="T9" fmla="*/ 14 h 35"/>
                  <a:gd name="T10" fmla="*/ 24 w 34"/>
                  <a:gd name="T11" fmla="*/ 1 h 35"/>
                  <a:gd name="T12" fmla="*/ 26 w 34"/>
                  <a:gd name="T13" fmla="*/ 1 h 35"/>
                  <a:gd name="T14" fmla="*/ 33 w 34"/>
                  <a:gd name="T15" fmla="*/ 5 h 35"/>
                  <a:gd name="T16" fmla="*/ 34 w 34"/>
                  <a:gd name="T17" fmla="*/ 6 h 35"/>
                  <a:gd name="T18" fmla="*/ 34 w 34"/>
                  <a:gd name="T19" fmla="*/ 33 h 35"/>
                  <a:gd name="T20" fmla="*/ 33 w 34"/>
                  <a:gd name="T21" fmla="*/ 35 h 35"/>
                  <a:gd name="T22" fmla="*/ 32 w 34"/>
                  <a:gd name="T23" fmla="*/ 35 h 35"/>
                  <a:gd name="T24" fmla="*/ 6 w 34"/>
                  <a:gd name="T25" fmla="*/ 16 h 35"/>
                  <a:gd name="T26" fmla="*/ 30 w 34"/>
                  <a:gd name="T27" fmla="*/ 30 h 35"/>
                  <a:gd name="T28" fmla="*/ 30 w 34"/>
                  <a:gd name="T29" fmla="*/ 8 h 35"/>
                  <a:gd name="T30" fmla="*/ 25 w 34"/>
                  <a:gd name="T31" fmla="*/ 5 h 35"/>
                  <a:gd name="T32" fmla="*/ 6 w 34"/>
                  <a:gd name="T3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5">
                    <a:moveTo>
                      <a:pt x="32" y="35"/>
                    </a:moveTo>
                    <a:cubicBezTo>
                      <a:pt x="32" y="35"/>
                      <a:pt x="31" y="35"/>
                      <a:pt x="31" y="35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1" y="14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5" y="0"/>
                      <a:pt x="25" y="0"/>
                      <a:pt x="26" y="1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4" y="5"/>
                      <a:pt x="34" y="6"/>
                      <a:pt x="34" y="6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4"/>
                      <a:pt x="34" y="35"/>
                      <a:pt x="33" y="35"/>
                    </a:cubicBezTo>
                    <a:cubicBezTo>
                      <a:pt x="33" y="35"/>
                      <a:pt x="32" y="35"/>
                      <a:pt x="32" y="35"/>
                    </a:cubicBezTo>
                    <a:close/>
                    <a:moveTo>
                      <a:pt x="6" y="16"/>
                    </a:moveTo>
                    <a:cubicBezTo>
                      <a:pt x="30" y="30"/>
                      <a:pt x="30" y="30"/>
                      <a:pt x="30" y="30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5" y="5"/>
                      <a:pt x="25" y="5"/>
                      <a:pt x="25" y="5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2" name="Freeform 666">
                <a:extLst>
                  <a:ext uri="{FF2B5EF4-FFF2-40B4-BE49-F238E27FC236}">
                    <a16:creationId xmlns:a16="http://schemas.microsoft.com/office/drawing/2014/main" id="{F40391FE-88EB-4378-8902-7238DD09CC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57129" y="5986282"/>
                <a:ext cx="181570" cy="140068"/>
              </a:xfrm>
              <a:custGeom>
                <a:avLst/>
                <a:gdLst>
                  <a:gd name="T0" fmla="*/ 56 w 74"/>
                  <a:gd name="T1" fmla="*/ 57 h 57"/>
                  <a:gd name="T2" fmla="*/ 55 w 74"/>
                  <a:gd name="T3" fmla="*/ 57 h 57"/>
                  <a:gd name="T4" fmla="*/ 1 w 74"/>
                  <a:gd name="T5" fmla="*/ 25 h 57"/>
                  <a:gd name="T6" fmla="*/ 0 w 74"/>
                  <a:gd name="T7" fmla="*/ 24 h 57"/>
                  <a:gd name="T8" fmla="*/ 1 w 74"/>
                  <a:gd name="T9" fmla="*/ 22 h 57"/>
                  <a:gd name="T10" fmla="*/ 39 w 74"/>
                  <a:gd name="T11" fmla="*/ 0 h 57"/>
                  <a:gd name="T12" fmla="*/ 41 w 74"/>
                  <a:gd name="T13" fmla="*/ 0 h 57"/>
                  <a:gd name="T14" fmla="*/ 73 w 74"/>
                  <a:gd name="T15" fmla="*/ 18 h 57"/>
                  <a:gd name="T16" fmla="*/ 74 w 74"/>
                  <a:gd name="T17" fmla="*/ 20 h 57"/>
                  <a:gd name="T18" fmla="*/ 74 w 74"/>
                  <a:gd name="T19" fmla="*/ 46 h 57"/>
                  <a:gd name="T20" fmla="*/ 73 w 74"/>
                  <a:gd name="T21" fmla="*/ 47 h 57"/>
                  <a:gd name="T22" fmla="*/ 57 w 74"/>
                  <a:gd name="T23" fmla="*/ 57 h 57"/>
                  <a:gd name="T24" fmla="*/ 56 w 74"/>
                  <a:gd name="T25" fmla="*/ 57 h 57"/>
                  <a:gd name="T26" fmla="*/ 6 w 74"/>
                  <a:gd name="T27" fmla="*/ 24 h 57"/>
                  <a:gd name="T28" fmla="*/ 56 w 74"/>
                  <a:gd name="T29" fmla="*/ 52 h 57"/>
                  <a:gd name="T30" fmla="*/ 70 w 74"/>
                  <a:gd name="T31" fmla="*/ 45 h 57"/>
                  <a:gd name="T32" fmla="*/ 70 w 74"/>
                  <a:gd name="T33" fmla="*/ 21 h 57"/>
                  <a:gd name="T34" fmla="*/ 40 w 74"/>
                  <a:gd name="T35" fmla="*/ 4 h 57"/>
                  <a:gd name="T36" fmla="*/ 6 w 74"/>
                  <a:gd name="T37" fmla="*/ 2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57">
                    <a:moveTo>
                      <a:pt x="56" y="57"/>
                    </a:moveTo>
                    <a:cubicBezTo>
                      <a:pt x="56" y="57"/>
                      <a:pt x="55" y="57"/>
                      <a:pt x="55" y="57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0" y="24"/>
                      <a:pt x="0" y="24"/>
                    </a:cubicBezTo>
                    <a:cubicBezTo>
                      <a:pt x="0" y="23"/>
                      <a:pt x="1" y="22"/>
                      <a:pt x="1" y="22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0" y="0"/>
                      <a:pt x="40" y="0"/>
                      <a:pt x="41" y="0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4" y="19"/>
                      <a:pt x="74" y="19"/>
                      <a:pt x="74" y="20"/>
                    </a:cubicBezTo>
                    <a:cubicBezTo>
                      <a:pt x="74" y="46"/>
                      <a:pt x="74" y="46"/>
                      <a:pt x="74" y="46"/>
                    </a:cubicBezTo>
                    <a:cubicBezTo>
                      <a:pt x="74" y="46"/>
                      <a:pt x="74" y="47"/>
                      <a:pt x="73" y="47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7"/>
                      <a:pt x="57" y="57"/>
                      <a:pt x="56" y="57"/>
                    </a:cubicBezTo>
                    <a:close/>
                    <a:moveTo>
                      <a:pt x="6" y="24"/>
                    </a:moveTo>
                    <a:cubicBezTo>
                      <a:pt x="56" y="52"/>
                      <a:pt x="56" y="52"/>
                      <a:pt x="56" y="52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70" y="21"/>
                      <a:pt x="70" y="21"/>
                      <a:pt x="70" y="21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3" name="Freeform 667">
                <a:extLst>
                  <a:ext uri="{FF2B5EF4-FFF2-40B4-BE49-F238E27FC236}">
                    <a16:creationId xmlns:a16="http://schemas.microsoft.com/office/drawing/2014/main" id="{583B03AF-684D-4FA3-A767-4A13C47BCB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92350" y="6579755"/>
                <a:ext cx="26976" cy="32164"/>
              </a:xfrm>
              <a:custGeom>
                <a:avLst/>
                <a:gdLst>
                  <a:gd name="T0" fmla="*/ 9 w 11"/>
                  <a:gd name="T1" fmla="*/ 13 h 13"/>
                  <a:gd name="T2" fmla="*/ 8 w 11"/>
                  <a:gd name="T3" fmla="*/ 13 h 13"/>
                  <a:gd name="T4" fmla="*/ 1 w 11"/>
                  <a:gd name="T5" fmla="*/ 8 h 13"/>
                  <a:gd name="T6" fmla="*/ 0 w 11"/>
                  <a:gd name="T7" fmla="*/ 7 h 13"/>
                  <a:gd name="T8" fmla="*/ 1 w 11"/>
                  <a:gd name="T9" fmla="*/ 5 h 13"/>
                  <a:gd name="T10" fmla="*/ 8 w 11"/>
                  <a:gd name="T11" fmla="*/ 1 h 13"/>
                  <a:gd name="T12" fmla="*/ 10 w 11"/>
                  <a:gd name="T13" fmla="*/ 1 h 13"/>
                  <a:gd name="T14" fmla="*/ 11 w 11"/>
                  <a:gd name="T15" fmla="*/ 2 h 13"/>
                  <a:gd name="T16" fmla="*/ 11 w 11"/>
                  <a:gd name="T17" fmla="*/ 11 h 13"/>
                  <a:gd name="T18" fmla="*/ 10 w 11"/>
                  <a:gd name="T19" fmla="*/ 13 h 13"/>
                  <a:gd name="T20" fmla="*/ 9 w 11"/>
                  <a:gd name="T21" fmla="*/ 13 h 13"/>
                  <a:gd name="T22" fmla="*/ 6 w 11"/>
                  <a:gd name="T23" fmla="*/ 7 h 13"/>
                  <a:gd name="T24" fmla="*/ 7 w 11"/>
                  <a:gd name="T25" fmla="*/ 7 h 13"/>
                  <a:gd name="T26" fmla="*/ 7 w 11"/>
                  <a:gd name="T27" fmla="*/ 6 h 13"/>
                  <a:gd name="T28" fmla="*/ 6 w 11"/>
                  <a:gd name="T2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9" y="13"/>
                    </a:moveTo>
                    <a:cubicBezTo>
                      <a:pt x="9" y="13"/>
                      <a:pt x="8" y="13"/>
                      <a:pt x="8" y="1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9" y="0"/>
                      <a:pt x="10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0" y="13"/>
                    </a:cubicBezTo>
                    <a:cubicBezTo>
                      <a:pt x="10" y="13"/>
                      <a:pt x="9" y="13"/>
                      <a:pt x="9" y="13"/>
                    </a:cubicBezTo>
                    <a:close/>
                    <a:moveTo>
                      <a:pt x="6" y="7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4" name="Freeform 673">
                <a:extLst>
                  <a:ext uri="{FF2B5EF4-FFF2-40B4-BE49-F238E27FC236}">
                    <a16:creationId xmlns:a16="http://schemas.microsoft.com/office/drawing/2014/main" id="{0FD24203-E0DD-479A-9F68-33192261D8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526248" y="6993733"/>
                <a:ext cx="158744" cy="242784"/>
              </a:xfrm>
              <a:custGeom>
                <a:avLst/>
                <a:gdLst>
                  <a:gd name="T0" fmla="*/ 2 w 65"/>
                  <a:gd name="T1" fmla="*/ 99 h 99"/>
                  <a:gd name="T2" fmla="*/ 1 w 65"/>
                  <a:gd name="T3" fmla="*/ 99 h 99"/>
                  <a:gd name="T4" fmla="*/ 0 w 65"/>
                  <a:gd name="T5" fmla="*/ 97 h 99"/>
                  <a:gd name="T6" fmla="*/ 0 w 65"/>
                  <a:gd name="T7" fmla="*/ 37 h 99"/>
                  <a:gd name="T8" fmla="*/ 1 w 65"/>
                  <a:gd name="T9" fmla="*/ 35 h 99"/>
                  <a:gd name="T10" fmla="*/ 62 w 65"/>
                  <a:gd name="T11" fmla="*/ 0 h 99"/>
                  <a:gd name="T12" fmla="*/ 64 w 65"/>
                  <a:gd name="T13" fmla="*/ 0 h 99"/>
                  <a:gd name="T14" fmla="*/ 65 w 65"/>
                  <a:gd name="T15" fmla="*/ 2 h 99"/>
                  <a:gd name="T16" fmla="*/ 65 w 65"/>
                  <a:gd name="T17" fmla="*/ 57 h 99"/>
                  <a:gd name="T18" fmla="*/ 64 w 65"/>
                  <a:gd name="T19" fmla="*/ 58 h 99"/>
                  <a:gd name="T20" fmla="*/ 63 w 65"/>
                  <a:gd name="T21" fmla="*/ 59 h 99"/>
                  <a:gd name="T22" fmla="*/ 64 w 65"/>
                  <a:gd name="T23" fmla="*/ 60 h 99"/>
                  <a:gd name="T24" fmla="*/ 65 w 65"/>
                  <a:gd name="T25" fmla="*/ 61 h 99"/>
                  <a:gd name="T26" fmla="*/ 65 w 65"/>
                  <a:gd name="T27" fmla="*/ 62 h 99"/>
                  <a:gd name="T28" fmla="*/ 64 w 65"/>
                  <a:gd name="T29" fmla="*/ 64 h 99"/>
                  <a:gd name="T30" fmla="*/ 15 w 65"/>
                  <a:gd name="T31" fmla="*/ 92 h 99"/>
                  <a:gd name="T32" fmla="*/ 14 w 65"/>
                  <a:gd name="T33" fmla="*/ 93 h 99"/>
                  <a:gd name="T34" fmla="*/ 3 w 65"/>
                  <a:gd name="T35" fmla="*/ 99 h 99"/>
                  <a:gd name="T36" fmla="*/ 2 w 65"/>
                  <a:gd name="T37" fmla="*/ 99 h 99"/>
                  <a:gd name="T38" fmla="*/ 4 w 65"/>
                  <a:gd name="T39" fmla="*/ 38 h 99"/>
                  <a:gd name="T40" fmla="*/ 4 w 65"/>
                  <a:gd name="T41" fmla="*/ 94 h 99"/>
                  <a:gd name="T42" fmla="*/ 13 w 65"/>
                  <a:gd name="T43" fmla="*/ 89 h 99"/>
                  <a:gd name="T44" fmla="*/ 14 w 65"/>
                  <a:gd name="T45" fmla="*/ 88 h 99"/>
                  <a:gd name="T46" fmla="*/ 60 w 65"/>
                  <a:gd name="T47" fmla="*/ 62 h 99"/>
                  <a:gd name="T48" fmla="*/ 58 w 65"/>
                  <a:gd name="T49" fmla="*/ 61 h 99"/>
                  <a:gd name="T50" fmla="*/ 57 w 65"/>
                  <a:gd name="T51" fmla="*/ 59 h 99"/>
                  <a:gd name="T52" fmla="*/ 58 w 65"/>
                  <a:gd name="T53" fmla="*/ 57 h 99"/>
                  <a:gd name="T54" fmla="*/ 61 w 65"/>
                  <a:gd name="T55" fmla="*/ 56 h 99"/>
                  <a:gd name="T56" fmla="*/ 61 w 65"/>
                  <a:gd name="T57" fmla="*/ 5 h 99"/>
                  <a:gd name="T58" fmla="*/ 4 w 65"/>
                  <a:gd name="T59" fmla="*/ 3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" h="99">
                    <a:moveTo>
                      <a:pt x="2" y="99"/>
                    </a:moveTo>
                    <a:cubicBezTo>
                      <a:pt x="2" y="99"/>
                      <a:pt x="1" y="99"/>
                      <a:pt x="1" y="99"/>
                    </a:cubicBezTo>
                    <a:cubicBezTo>
                      <a:pt x="1" y="99"/>
                      <a:pt x="0" y="98"/>
                      <a:pt x="0" y="9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3" y="0"/>
                      <a:pt x="63" y="0"/>
                      <a:pt x="64" y="0"/>
                    </a:cubicBezTo>
                    <a:cubicBezTo>
                      <a:pt x="65" y="0"/>
                      <a:pt x="65" y="1"/>
                      <a:pt x="65" y="2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5" y="57"/>
                      <a:pt x="65" y="58"/>
                      <a:pt x="64" y="58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5" y="60"/>
                      <a:pt x="65" y="61"/>
                      <a:pt x="65" y="61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5" y="63"/>
                      <a:pt x="65" y="64"/>
                      <a:pt x="64" y="64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15" y="93"/>
                      <a:pt x="14" y="93"/>
                      <a:pt x="14" y="93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3" y="99"/>
                      <a:pt x="3" y="99"/>
                      <a:pt x="2" y="99"/>
                    </a:cubicBezTo>
                    <a:close/>
                    <a:moveTo>
                      <a:pt x="4" y="38"/>
                    </a:moveTo>
                    <a:cubicBezTo>
                      <a:pt x="4" y="94"/>
                      <a:pt x="4" y="94"/>
                      <a:pt x="4" y="94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89"/>
                      <a:pt x="13" y="89"/>
                      <a:pt x="14" y="88"/>
                    </a:cubicBezTo>
                    <a:cubicBezTo>
                      <a:pt x="60" y="62"/>
                      <a:pt x="60" y="62"/>
                      <a:pt x="60" y="62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7" y="60"/>
                      <a:pt x="57" y="60"/>
                      <a:pt x="57" y="59"/>
                    </a:cubicBezTo>
                    <a:cubicBezTo>
                      <a:pt x="57" y="58"/>
                      <a:pt x="57" y="58"/>
                      <a:pt x="58" y="57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1" y="5"/>
                      <a:pt x="61" y="5"/>
                      <a:pt x="61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5" name="Freeform 689">
                <a:extLst>
                  <a:ext uri="{FF2B5EF4-FFF2-40B4-BE49-F238E27FC236}">
                    <a16:creationId xmlns:a16="http://schemas.microsoft.com/office/drawing/2014/main" id="{83AC8BAE-FBE5-4AC6-B767-D68DFAFAAC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92350" y="6944968"/>
                <a:ext cx="301925" cy="179494"/>
              </a:xfrm>
              <a:custGeom>
                <a:avLst/>
                <a:gdLst>
                  <a:gd name="T0" fmla="*/ 17 w 123"/>
                  <a:gd name="T1" fmla="*/ 73 h 73"/>
                  <a:gd name="T2" fmla="*/ 16 w 123"/>
                  <a:gd name="T3" fmla="*/ 72 h 73"/>
                  <a:gd name="T4" fmla="*/ 1 w 123"/>
                  <a:gd name="T5" fmla="*/ 64 h 73"/>
                  <a:gd name="T6" fmla="*/ 0 w 123"/>
                  <a:gd name="T7" fmla="*/ 62 h 73"/>
                  <a:gd name="T8" fmla="*/ 1 w 123"/>
                  <a:gd name="T9" fmla="*/ 60 h 73"/>
                  <a:gd name="T10" fmla="*/ 105 w 123"/>
                  <a:gd name="T11" fmla="*/ 0 h 73"/>
                  <a:gd name="T12" fmla="*/ 107 w 123"/>
                  <a:gd name="T13" fmla="*/ 0 h 73"/>
                  <a:gd name="T14" fmla="*/ 122 w 123"/>
                  <a:gd name="T15" fmla="*/ 9 h 73"/>
                  <a:gd name="T16" fmla="*/ 123 w 123"/>
                  <a:gd name="T17" fmla="*/ 10 h 73"/>
                  <a:gd name="T18" fmla="*/ 122 w 123"/>
                  <a:gd name="T19" fmla="*/ 12 h 73"/>
                  <a:gd name="T20" fmla="*/ 18 w 123"/>
                  <a:gd name="T21" fmla="*/ 72 h 73"/>
                  <a:gd name="T22" fmla="*/ 17 w 123"/>
                  <a:gd name="T23" fmla="*/ 73 h 73"/>
                  <a:gd name="T24" fmla="*/ 6 w 123"/>
                  <a:gd name="T25" fmla="*/ 62 h 73"/>
                  <a:gd name="T26" fmla="*/ 17 w 123"/>
                  <a:gd name="T27" fmla="*/ 68 h 73"/>
                  <a:gd name="T28" fmla="*/ 117 w 123"/>
                  <a:gd name="T29" fmla="*/ 10 h 73"/>
                  <a:gd name="T30" fmla="*/ 106 w 123"/>
                  <a:gd name="T31" fmla="*/ 4 h 73"/>
                  <a:gd name="T32" fmla="*/ 6 w 123"/>
                  <a:gd name="T33" fmla="*/ 6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3" h="73">
                    <a:moveTo>
                      <a:pt x="17" y="73"/>
                    </a:moveTo>
                    <a:cubicBezTo>
                      <a:pt x="17" y="73"/>
                      <a:pt x="17" y="72"/>
                      <a:pt x="16" y="72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6" y="0"/>
                      <a:pt x="107" y="0"/>
                      <a:pt x="107" y="0"/>
                    </a:cubicBezTo>
                    <a:cubicBezTo>
                      <a:pt x="122" y="9"/>
                      <a:pt x="122" y="9"/>
                      <a:pt x="122" y="9"/>
                    </a:cubicBezTo>
                    <a:cubicBezTo>
                      <a:pt x="123" y="9"/>
                      <a:pt x="123" y="10"/>
                      <a:pt x="123" y="10"/>
                    </a:cubicBezTo>
                    <a:cubicBezTo>
                      <a:pt x="123" y="11"/>
                      <a:pt x="123" y="12"/>
                      <a:pt x="122" y="12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8" y="72"/>
                      <a:pt x="18" y="73"/>
                      <a:pt x="17" y="73"/>
                    </a:cubicBezTo>
                    <a:close/>
                    <a:moveTo>
                      <a:pt x="6" y="62"/>
                    </a:moveTo>
                    <a:cubicBezTo>
                      <a:pt x="17" y="68"/>
                      <a:pt x="17" y="68"/>
                      <a:pt x="17" y="68"/>
                    </a:cubicBezTo>
                    <a:cubicBezTo>
                      <a:pt x="117" y="10"/>
                      <a:pt x="117" y="10"/>
                      <a:pt x="117" y="10"/>
                    </a:cubicBezTo>
                    <a:cubicBezTo>
                      <a:pt x="106" y="4"/>
                      <a:pt x="106" y="4"/>
                      <a:pt x="106" y="4"/>
                    </a:cubicBez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6" name="Freeform 690">
                <a:extLst>
                  <a:ext uri="{FF2B5EF4-FFF2-40B4-BE49-F238E27FC236}">
                    <a16:creationId xmlns:a16="http://schemas.microsoft.com/office/drawing/2014/main" id="{1E0BD06F-11EF-489F-819A-E9A52A483A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217251" y="6543441"/>
                <a:ext cx="93379" cy="104791"/>
              </a:xfrm>
              <a:custGeom>
                <a:avLst/>
                <a:gdLst>
                  <a:gd name="T0" fmla="*/ 2 w 38"/>
                  <a:gd name="T1" fmla="*/ 43 h 43"/>
                  <a:gd name="T2" fmla="*/ 1 w 38"/>
                  <a:gd name="T3" fmla="*/ 43 h 43"/>
                  <a:gd name="T4" fmla="*/ 0 w 38"/>
                  <a:gd name="T5" fmla="*/ 41 h 43"/>
                  <a:gd name="T6" fmla="*/ 0 w 38"/>
                  <a:gd name="T7" fmla="*/ 2 h 43"/>
                  <a:gd name="T8" fmla="*/ 1 w 38"/>
                  <a:gd name="T9" fmla="*/ 1 h 43"/>
                  <a:gd name="T10" fmla="*/ 3 w 38"/>
                  <a:gd name="T11" fmla="*/ 1 h 43"/>
                  <a:gd name="T12" fmla="*/ 37 w 38"/>
                  <a:gd name="T13" fmla="*/ 20 h 43"/>
                  <a:gd name="T14" fmla="*/ 38 w 38"/>
                  <a:gd name="T15" fmla="*/ 22 h 43"/>
                  <a:gd name="T16" fmla="*/ 37 w 38"/>
                  <a:gd name="T17" fmla="*/ 23 h 43"/>
                  <a:gd name="T18" fmla="*/ 3 w 38"/>
                  <a:gd name="T19" fmla="*/ 43 h 43"/>
                  <a:gd name="T20" fmla="*/ 2 w 38"/>
                  <a:gd name="T21" fmla="*/ 43 h 43"/>
                  <a:gd name="T22" fmla="*/ 4 w 38"/>
                  <a:gd name="T23" fmla="*/ 6 h 43"/>
                  <a:gd name="T24" fmla="*/ 4 w 38"/>
                  <a:gd name="T25" fmla="*/ 37 h 43"/>
                  <a:gd name="T26" fmla="*/ 32 w 38"/>
                  <a:gd name="T27" fmla="*/ 22 h 43"/>
                  <a:gd name="T28" fmla="*/ 4 w 38"/>
                  <a:gd name="T29" fmla="*/ 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" h="43">
                    <a:moveTo>
                      <a:pt x="2" y="43"/>
                    </a:moveTo>
                    <a:cubicBezTo>
                      <a:pt x="2" y="43"/>
                      <a:pt x="1" y="43"/>
                      <a:pt x="1" y="43"/>
                    </a:cubicBezTo>
                    <a:cubicBezTo>
                      <a:pt x="0" y="42"/>
                      <a:pt x="0" y="42"/>
                      <a:pt x="0" y="4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0"/>
                      <a:pt x="38" y="21"/>
                      <a:pt x="38" y="22"/>
                    </a:cubicBezTo>
                    <a:cubicBezTo>
                      <a:pt x="38" y="22"/>
                      <a:pt x="37" y="23"/>
                      <a:pt x="37" y="2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3"/>
                      <a:pt x="2" y="43"/>
                      <a:pt x="2" y="43"/>
                    </a:cubicBezTo>
                    <a:close/>
                    <a:moveTo>
                      <a:pt x="4" y="6"/>
                    </a:moveTo>
                    <a:cubicBezTo>
                      <a:pt x="4" y="37"/>
                      <a:pt x="4" y="37"/>
                      <a:pt x="4" y="37"/>
                    </a:cubicBezTo>
                    <a:cubicBezTo>
                      <a:pt x="32" y="22"/>
                      <a:pt x="32" y="22"/>
                      <a:pt x="32" y="22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7" name="Freeform 697">
                <a:extLst>
                  <a:ext uri="{FF2B5EF4-FFF2-40B4-BE49-F238E27FC236}">
                    <a16:creationId xmlns:a16="http://schemas.microsoft.com/office/drawing/2014/main" id="{2633B70A-12AD-4904-9062-E9DDA37D7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50753" y="6381585"/>
                <a:ext cx="203358" cy="144218"/>
              </a:xfrm>
              <a:custGeom>
                <a:avLst/>
                <a:gdLst>
                  <a:gd name="T0" fmla="*/ 81 w 83"/>
                  <a:gd name="T1" fmla="*/ 59 h 59"/>
                  <a:gd name="T2" fmla="*/ 80 w 83"/>
                  <a:gd name="T3" fmla="*/ 59 h 59"/>
                  <a:gd name="T4" fmla="*/ 70 w 83"/>
                  <a:gd name="T5" fmla="*/ 53 h 59"/>
                  <a:gd name="T6" fmla="*/ 69 w 83"/>
                  <a:gd name="T7" fmla="*/ 51 h 59"/>
                  <a:gd name="T8" fmla="*/ 69 w 83"/>
                  <a:gd name="T9" fmla="*/ 49 h 59"/>
                  <a:gd name="T10" fmla="*/ 67 w 83"/>
                  <a:gd name="T11" fmla="*/ 50 h 59"/>
                  <a:gd name="T12" fmla="*/ 65 w 83"/>
                  <a:gd name="T13" fmla="*/ 50 h 59"/>
                  <a:gd name="T14" fmla="*/ 1 w 83"/>
                  <a:gd name="T15" fmla="*/ 13 h 59"/>
                  <a:gd name="T16" fmla="*/ 0 w 83"/>
                  <a:gd name="T17" fmla="*/ 11 h 59"/>
                  <a:gd name="T18" fmla="*/ 1 w 83"/>
                  <a:gd name="T19" fmla="*/ 10 h 59"/>
                  <a:gd name="T20" fmla="*/ 18 w 83"/>
                  <a:gd name="T21" fmla="*/ 0 h 59"/>
                  <a:gd name="T22" fmla="*/ 20 w 83"/>
                  <a:gd name="T23" fmla="*/ 0 h 59"/>
                  <a:gd name="T24" fmla="*/ 82 w 83"/>
                  <a:gd name="T25" fmla="*/ 36 h 59"/>
                  <a:gd name="T26" fmla="*/ 83 w 83"/>
                  <a:gd name="T27" fmla="*/ 38 h 59"/>
                  <a:gd name="T28" fmla="*/ 83 w 83"/>
                  <a:gd name="T29" fmla="*/ 57 h 59"/>
                  <a:gd name="T30" fmla="*/ 82 w 83"/>
                  <a:gd name="T31" fmla="*/ 59 h 59"/>
                  <a:gd name="T32" fmla="*/ 81 w 83"/>
                  <a:gd name="T33" fmla="*/ 59 h 59"/>
                  <a:gd name="T34" fmla="*/ 73 w 83"/>
                  <a:gd name="T35" fmla="*/ 50 h 59"/>
                  <a:gd name="T36" fmla="*/ 79 w 83"/>
                  <a:gd name="T37" fmla="*/ 54 h 59"/>
                  <a:gd name="T38" fmla="*/ 79 w 83"/>
                  <a:gd name="T39" fmla="*/ 39 h 59"/>
                  <a:gd name="T40" fmla="*/ 19 w 83"/>
                  <a:gd name="T41" fmla="*/ 4 h 59"/>
                  <a:gd name="T42" fmla="*/ 6 w 83"/>
                  <a:gd name="T43" fmla="*/ 11 h 59"/>
                  <a:gd name="T44" fmla="*/ 66 w 83"/>
                  <a:gd name="T45" fmla="*/ 46 h 59"/>
                  <a:gd name="T46" fmla="*/ 70 w 83"/>
                  <a:gd name="T47" fmla="*/ 44 h 59"/>
                  <a:gd name="T48" fmla="*/ 72 w 83"/>
                  <a:gd name="T49" fmla="*/ 44 h 59"/>
                  <a:gd name="T50" fmla="*/ 73 w 83"/>
                  <a:gd name="T51" fmla="*/ 45 h 59"/>
                  <a:gd name="T52" fmla="*/ 73 w 83"/>
                  <a:gd name="T53" fmla="*/ 5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59">
                    <a:moveTo>
                      <a:pt x="81" y="59"/>
                    </a:moveTo>
                    <a:cubicBezTo>
                      <a:pt x="81" y="59"/>
                      <a:pt x="81" y="59"/>
                      <a:pt x="80" y="59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70" y="53"/>
                      <a:pt x="69" y="52"/>
                      <a:pt x="69" y="51"/>
                    </a:cubicBezTo>
                    <a:cubicBezTo>
                      <a:pt x="69" y="49"/>
                      <a:pt x="69" y="49"/>
                      <a:pt x="69" y="49"/>
                    </a:cubicBezTo>
                    <a:cubicBezTo>
                      <a:pt x="67" y="50"/>
                      <a:pt x="67" y="50"/>
                      <a:pt x="67" y="50"/>
                    </a:cubicBezTo>
                    <a:cubicBezTo>
                      <a:pt x="66" y="50"/>
                      <a:pt x="66" y="50"/>
                      <a:pt x="65" y="50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0" y="12"/>
                      <a:pt x="0" y="11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0"/>
                      <a:pt x="19" y="0"/>
                      <a:pt x="20" y="0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3" y="36"/>
                      <a:pt x="83" y="37"/>
                      <a:pt x="83" y="38"/>
                    </a:cubicBezTo>
                    <a:cubicBezTo>
                      <a:pt x="83" y="57"/>
                      <a:pt x="83" y="57"/>
                      <a:pt x="83" y="57"/>
                    </a:cubicBezTo>
                    <a:cubicBezTo>
                      <a:pt x="83" y="58"/>
                      <a:pt x="83" y="58"/>
                      <a:pt x="82" y="59"/>
                    </a:cubicBezTo>
                    <a:cubicBezTo>
                      <a:pt x="82" y="59"/>
                      <a:pt x="82" y="59"/>
                      <a:pt x="81" y="59"/>
                    </a:cubicBezTo>
                    <a:close/>
                    <a:moveTo>
                      <a:pt x="73" y="50"/>
                    </a:moveTo>
                    <a:cubicBezTo>
                      <a:pt x="79" y="54"/>
                      <a:pt x="79" y="54"/>
                      <a:pt x="79" y="54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6" y="46"/>
                      <a:pt x="66" y="46"/>
                      <a:pt x="66" y="46"/>
                    </a:cubicBezTo>
                    <a:cubicBezTo>
                      <a:pt x="70" y="44"/>
                      <a:pt x="70" y="44"/>
                      <a:pt x="70" y="44"/>
                    </a:cubicBezTo>
                    <a:cubicBezTo>
                      <a:pt x="71" y="43"/>
                      <a:pt x="72" y="43"/>
                      <a:pt x="72" y="44"/>
                    </a:cubicBezTo>
                    <a:cubicBezTo>
                      <a:pt x="73" y="44"/>
                      <a:pt x="73" y="45"/>
                      <a:pt x="73" y="45"/>
                    </a:cubicBezTo>
                    <a:lnTo>
                      <a:pt x="73" y="5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8" name="Freeform 714">
                <a:extLst>
                  <a:ext uri="{FF2B5EF4-FFF2-40B4-BE49-F238E27FC236}">
                    <a16:creationId xmlns:a16="http://schemas.microsoft.com/office/drawing/2014/main" id="{738947C4-6DE3-4F51-9855-07F44949DB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6440" y="6079661"/>
                <a:ext cx="34239" cy="46689"/>
              </a:xfrm>
              <a:custGeom>
                <a:avLst/>
                <a:gdLst>
                  <a:gd name="T0" fmla="*/ 2 w 14"/>
                  <a:gd name="T1" fmla="*/ 19 h 19"/>
                  <a:gd name="T2" fmla="*/ 1 w 14"/>
                  <a:gd name="T3" fmla="*/ 18 h 19"/>
                  <a:gd name="T4" fmla="*/ 0 w 14"/>
                  <a:gd name="T5" fmla="*/ 17 h 19"/>
                  <a:gd name="T6" fmla="*/ 0 w 14"/>
                  <a:gd name="T7" fmla="*/ 2 h 19"/>
                  <a:gd name="T8" fmla="*/ 1 w 14"/>
                  <a:gd name="T9" fmla="*/ 0 h 19"/>
                  <a:gd name="T10" fmla="*/ 3 w 14"/>
                  <a:gd name="T11" fmla="*/ 0 h 19"/>
                  <a:gd name="T12" fmla="*/ 10 w 14"/>
                  <a:gd name="T13" fmla="*/ 4 h 19"/>
                  <a:gd name="T14" fmla="*/ 11 w 14"/>
                  <a:gd name="T15" fmla="*/ 6 h 19"/>
                  <a:gd name="T16" fmla="*/ 10 w 14"/>
                  <a:gd name="T17" fmla="*/ 8 h 19"/>
                  <a:gd name="T18" fmla="*/ 13 w 14"/>
                  <a:gd name="T19" fmla="*/ 9 h 19"/>
                  <a:gd name="T20" fmla="*/ 14 w 14"/>
                  <a:gd name="T21" fmla="*/ 11 h 19"/>
                  <a:gd name="T22" fmla="*/ 13 w 14"/>
                  <a:gd name="T23" fmla="*/ 13 h 19"/>
                  <a:gd name="T24" fmla="*/ 3 w 14"/>
                  <a:gd name="T25" fmla="*/ 18 h 19"/>
                  <a:gd name="T26" fmla="*/ 2 w 14"/>
                  <a:gd name="T27" fmla="*/ 19 h 19"/>
                  <a:gd name="T28" fmla="*/ 4 w 14"/>
                  <a:gd name="T29" fmla="*/ 6 h 19"/>
                  <a:gd name="T30" fmla="*/ 4 w 14"/>
                  <a:gd name="T31" fmla="*/ 13 h 19"/>
                  <a:gd name="T32" fmla="*/ 8 w 14"/>
                  <a:gd name="T33" fmla="*/ 11 h 19"/>
                  <a:gd name="T34" fmla="*/ 5 w 14"/>
                  <a:gd name="T35" fmla="*/ 10 h 19"/>
                  <a:gd name="T36" fmla="*/ 4 w 14"/>
                  <a:gd name="T37" fmla="*/ 8 h 19"/>
                  <a:gd name="T38" fmla="*/ 5 w 14"/>
                  <a:gd name="T39" fmla="*/ 6 h 19"/>
                  <a:gd name="T40" fmla="*/ 4 w 14"/>
                  <a:gd name="T41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9">
                    <a:moveTo>
                      <a:pt x="2" y="19"/>
                    </a:moveTo>
                    <a:cubicBezTo>
                      <a:pt x="2" y="19"/>
                      <a:pt x="1" y="18"/>
                      <a:pt x="1" y="18"/>
                    </a:cubicBezTo>
                    <a:cubicBezTo>
                      <a:pt x="0" y="18"/>
                      <a:pt x="0" y="17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5"/>
                      <a:pt x="11" y="5"/>
                      <a:pt x="11" y="6"/>
                    </a:cubicBezTo>
                    <a:cubicBezTo>
                      <a:pt x="11" y="7"/>
                      <a:pt x="11" y="7"/>
                      <a:pt x="10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10"/>
                      <a:pt x="14" y="10"/>
                      <a:pt x="14" y="11"/>
                    </a:cubicBezTo>
                    <a:cubicBezTo>
                      <a:pt x="14" y="12"/>
                      <a:pt x="13" y="12"/>
                      <a:pt x="13" y="13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2" y="19"/>
                      <a:pt x="2" y="19"/>
                    </a:cubicBezTo>
                    <a:close/>
                    <a:moveTo>
                      <a:pt x="4" y="6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9"/>
                      <a:pt x="4" y="9"/>
                      <a:pt x="4" y="8"/>
                    </a:cubicBezTo>
                    <a:cubicBezTo>
                      <a:pt x="4" y="7"/>
                      <a:pt x="4" y="6"/>
                      <a:pt x="5" y="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9" name="Freeform 715">
                <a:extLst>
                  <a:ext uri="{FF2B5EF4-FFF2-40B4-BE49-F238E27FC236}">
                    <a16:creationId xmlns:a16="http://schemas.microsoft.com/office/drawing/2014/main" id="{BD359437-42D0-47E1-BA9D-C85EBE9F6B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04364" y="6090036"/>
                <a:ext cx="11413" cy="11413"/>
              </a:xfrm>
              <a:custGeom>
                <a:avLst/>
                <a:gdLst>
                  <a:gd name="T0" fmla="*/ 3 w 5"/>
                  <a:gd name="T1" fmla="*/ 5 h 5"/>
                  <a:gd name="T2" fmla="*/ 2 w 5"/>
                  <a:gd name="T3" fmla="*/ 4 h 5"/>
                  <a:gd name="T4" fmla="*/ 1 w 5"/>
                  <a:gd name="T5" fmla="*/ 4 h 5"/>
                  <a:gd name="T6" fmla="*/ 0 w 5"/>
                  <a:gd name="T7" fmla="*/ 2 h 5"/>
                  <a:gd name="T8" fmla="*/ 1 w 5"/>
                  <a:gd name="T9" fmla="*/ 0 h 5"/>
                  <a:gd name="T10" fmla="*/ 2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5 w 5"/>
                  <a:gd name="T17" fmla="*/ 3 h 5"/>
                  <a:gd name="T18" fmla="*/ 4 w 5"/>
                  <a:gd name="T19" fmla="*/ 4 h 5"/>
                  <a:gd name="T20" fmla="*/ 3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5"/>
                      <a:pt x="2" y="4"/>
                      <a:pt x="2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0"/>
                      <a:pt x="5" y="1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4"/>
                      <a:pt x="4" y="4"/>
                    </a:cubicBezTo>
                    <a:cubicBezTo>
                      <a:pt x="4" y="4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0" name="Freeform 716">
                <a:extLst>
                  <a:ext uri="{FF2B5EF4-FFF2-40B4-BE49-F238E27FC236}">
                    <a16:creationId xmlns:a16="http://schemas.microsoft.com/office/drawing/2014/main" id="{A62B38BB-38F7-4B36-9F41-1B2F64C26B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20965" y="5817163"/>
                <a:ext cx="149406" cy="174307"/>
              </a:xfrm>
              <a:custGeom>
                <a:avLst/>
                <a:gdLst>
                  <a:gd name="T0" fmla="*/ 2 w 61"/>
                  <a:gd name="T1" fmla="*/ 71 h 71"/>
                  <a:gd name="T2" fmla="*/ 1 w 61"/>
                  <a:gd name="T3" fmla="*/ 70 h 71"/>
                  <a:gd name="T4" fmla="*/ 0 w 61"/>
                  <a:gd name="T5" fmla="*/ 69 h 71"/>
                  <a:gd name="T6" fmla="*/ 0 w 61"/>
                  <a:gd name="T7" fmla="*/ 2 h 71"/>
                  <a:gd name="T8" fmla="*/ 1 w 61"/>
                  <a:gd name="T9" fmla="*/ 0 h 71"/>
                  <a:gd name="T10" fmla="*/ 3 w 61"/>
                  <a:gd name="T11" fmla="*/ 0 h 71"/>
                  <a:gd name="T12" fmla="*/ 60 w 61"/>
                  <a:gd name="T13" fmla="*/ 34 h 71"/>
                  <a:gd name="T14" fmla="*/ 61 w 61"/>
                  <a:gd name="T15" fmla="*/ 35 h 71"/>
                  <a:gd name="T16" fmla="*/ 60 w 61"/>
                  <a:gd name="T17" fmla="*/ 37 h 71"/>
                  <a:gd name="T18" fmla="*/ 3 w 61"/>
                  <a:gd name="T19" fmla="*/ 70 h 71"/>
                  <a:gd name="T20" fmla="*/ 2 w 61"/>
                  <a:gd name="T21" fmla="*/ 71 h 71"/>
                  <a:gd name="T22" fmla="*/ 4 w 61"/>
                  <a:gd name="T23" fmla="*/ 6 h 71"/>
                  <a:gd name="T24" fmla="*/ 4 w 61"/>
                  <a:gd name="T25" fmla="*/ 65 h 71"/>
                  <a:gd name="T26" fmla="*/ 55 w 61"/>
                  <a:gd name="T27" fmla="*/ 35 h 71"/>
                  <a:gd name="T28" fmla="*/ 4 w 61"/>
                  <a:gd name="T29" fmla="*/ 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1" h="71">
                    <a:moveTo>
                      <a:pt x="2" y="71"/>
                    </a:moveTo>
                    <a:cubicBezTo>
                      <a:pt x="1" y="71"/>
                      <a:pt x="1" y="71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1" y="34"/>
                      <a:pt x="61" y="35"/>
                      <a:pt x="61" y="35"/>
                    </a:cubicBezTo>
                    <a:cubicBezTo>
                      <a:pt x="61" y="36"/>
                      <a:pt x="61" y="37"/>
                      <a:pt x="60" y="3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2" y="71"/>
                      <a:pt x="2" y="71"/>
                      <a:pt x="2" y="71"/>
                    </a:cubicBezTo>
                    <a:close/>
                    <a:moveTo>
                      <a:pt x="4" y="6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55" y="35"/>
                      <a:pt x="55" y="35"/>
                      <a:pt x="55" y="3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1" name="Freeform 717">
                <a:extLst>
                  <a:ext uri="{FF2B5EF4-FFF2-40B4-BE49-F238E27FC236}">
                    <a16:creationId xmlns:a16="http://schemas.microsoft.com/office/drawing/2014/main" id="{BC67346E-8F20-45D0-8241-13AEAEDC58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5917805"/>
                <a:ext cx="36314" cy="179494"/>
              </a:xfrm>
              <a:custGeom>
                <a:avLst/>
                <a:gdLst>
                  <a:gd name="T0" fmla="*/ 11 w 15"/>
                  <a:gd name="T1" fmla="*/ 73 h 73"/>
                  <a:gd name="T2" fmla="*/ 10 w 15"/>
                  <a:gd name="T3" fmla="*/ 73 h 73"/>
                  <a:gd name="T4" fmla="*/ 1 w 15"/>
                  <a:gd name="T5" fmla="*/ 68 h 73"/>
                  <a:gd name="T6" fmla="*/ 0 w 15"/>
                  <a:gd name="T7" fmla="*/ 66 h 73"/>
                  <a:gd name="T8" fmla="*/ 0 w 15"/>
                  <a:gd name="T9" fmla="*/ 9 h 73"/>
                  <a:gd name="T10" fmla="*/ 1 w 15"/>
                  <a:gd name="T11" fmla="*/ 7 h 73"/>
                  <a:gd name="T12" fmla="*/ 12 w 15"/>
                  <a:gd name="T13" fmla="*/ 0 h 73"/>
                  <a:gd name="T14" fmla="*/ 14 w 15"/>
                  <a:gd name="T15" fmla="*/ 0 h 73"/>
                  <a:gd name="T16" fmla="*/ 15 w 15"/>
                  <a:gd name="T17" fmla="*/ 2 h 73"/>
                  <a:gd name="T18" fmla="*/ 15 w 15"/>
                  <a:gd name="T19" fmla="*/ 70 h 73"/>
                  <a:gd name="T20" fmla="*/ 14 w 15"/>
                  <a:gd name="T21" fmla="*/ 72 h 73"/>
                  <a:gd name="T22" fmla="*/ 12 w 15"/>
                  <a:gd name="T23" fmla="*/ 73 h 73"/>
                  <a:gd name="T24" fmla="*/ 11 w 15"/>
                  <a:gd name="T25" fmla="*/ 73 h 73"/>
                  <a:gd name="T26" fmla="*/ 4 w 15"/>
                  <a:gd name="T27" fmla="*/ 65 h 73"/>
                  <a:gd name="T28" fmla="*/ 11 w 15"/>
                  <a:gd name="T29" fmla="*/ 69 h 73"/>
                  <a:gd name="T30" fmla="*/ 11 w 15"/>
                  <a:gd name="T31" fmla="*/ 69 h 73"/>
                  <a:gd name="T32" fmla="*/ 11 w 15"/>
                  <a:gd name="T33" fmla="*/ 6 h 73"/>
                  <a:gd name="T34" fmla="*/ 4 w 15"/>
                  <a:gd name="T35" fmla="*/ 10 h 73"/>
                  <a:gd name="T36" fmla="*/ 4 w 15"/>
                  <a:gd name="T37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" h="73">
                    <a:moveTo>
                      <a:pt x="11" y="73"/>
                    </a:moveTo>
                    <a:cubicBezTo>
                      <a:pt x="10" y="73"/>
                      <a:pt x="10" y="73"/>
                      <a:pt x="10" y="73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0" y="68"/>
                      <a:pt x="0" y="67"/>
                      <a:pt x="0" y="6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4" y="0"/>
                    </a:cubicBezTo>
                    <a:cubicBezTo>
                      <a:pt x="15" y="1"/>
                      <a:pt x="15" y="1"/>
                      <a:pt x="15" y="2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5" y="71"/>
                      <a:pt x="15" y="71"/>
                      <a:pt x="14" y="72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1" y="73"/>
                      <a:pt x="11" y="73"/>
                      <a:pt x="11" y="73"/>
                    </a:cubicBezTo>
                    <a:close/>
                    <a:moveTo>
                      <a:pt x="4" y="65"/>
                    </a:move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2" name="Freeform 718">
                <a:extLst>
                  <a:ext uri="{FF2B5EF4-FFF2-40B4-BE49-F238E27FC236}">
                    <a16:creationId xmlns:a16="http://schemas.microsoft.com/office/drawing/2014/main" id="{B3627B02-AD5D-45C6-B966-2CBBEA2311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195272" y="6005995"/>
                <a:ext cx="48764" cy="39426"/>
              </a:xfrm>
              <a:custGeom>
                <a:avLst/>
                <a:gdLst>
                  <a:gd name="T0" fmla="*/ 9 w 20"/>
                  <a:gd name="T1" fmla="*/ 16 h 16"/>
                  <a:gd name="T2" fmla="*/ 8 w 20"/>
                  <a:gd name="T3" fmla="*/ 16 h 16"/>
                  <a:gd name="T4" fmla="*/ 1 w 20"/>
                  <a:gd name="T5" fmla="*/ 12 h 16"/>
                  <a:gd name="T6" fmla="*/ 0 w 20"/>
                  <a:gd name="T7" fmla="*/ 11 h 16"/>
                  <a:gd name="T8" fmla="*/ 1 w 20"/>
                  <a:gd name="T9" fmla="*/ 9 h 16"/>
                  <a:gd name="T10" fmla="*/ 17 w 20"/>
                  <a:gd name="T11" fmla="*/ 0 h 16"/>
                  <a:gd name="T12" fmla="*/ 19 w 20"/>
                  <a:gd name="T13" fmla="*/ 0 h 16"/>
                  <a:gd name="T14" fmla="*/ 20 w 20"/>
                  <a:gd name="T15" fmla="*/ 2 h 16"/>
                  <a:gd name="T16" fmla="*/ 20 w 20"/>
                  <a:gd name="T17" fmla="*/ 10 h 16"/>
                  <a:gd name="T18" fmla="*/ 19 w 20"/>
                  <a:gd name="T19" fmla="*/ 11 h 16"/>
                  <a:gd name="T20" fmla="*/ 10 w 20"/>
                  <a:gd name="T21" fmla="*/ 16 h 16"/>
                  <a:gd name="T22" fmla="*/ 9 w 20"/>
                  <a:gd name="T23" fmla="*/ 16 h 16"/>
                  <a:gd name="T24" fmla="*/ 6 w 20"/>
                  <a:gd name="T25" fmla="*/ 11 h 16"/>
                  <a:gd name="T26" fmla="*/ 9 w 20"/>
                  <a:gd name="T27" fmla="*/ 12 h 16"/>
                  <a:gd name="T28" fmla="*/ 16 w 20"/>
                  <a:gd name="T29" fmla="*/ 8 h 16"/>
                  <a:gd name="T30" fmla="*/ 16 w 20"/>
                  <a:gd name="T31" fmla="*/ 5 h 16"/>
                  <a:gd name="T32" fmla="*/ 6 w 20"/>
                  <a:gd name="T33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16">
                    <a:moveTo>
                      <a:pt x="9" y="16"/>
                    </a:moveTo>
                    <a:cubicBezTo>
                      <a:pt x="9" y="16"/>
                      <a:pt x="8" y="16"/>
                      <a:pt x="8" y="1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19" y="0"/>
                      <a:pt x="20" y="1"/>
                      <a:pt x="20" y="2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19" y="11"/>
                      <a:pt x="19" y="11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9" y="16"/>
                      <a:pt x="9" y="16"/>
                    </a:cubicBezTo>
                    <a:close/>
                    <a:moveTo>
                      <a:pt x="6" y="11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5"/>
                      <a:pt x="16" y="5"/>
                      <a:pt x="16" y="5"/>
                    </a:cubicBez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3" name="Freeform 719">
                <a:extLst>
                  <a:ext uri="{FF2B5EF4-FFF2-40B4-BE49-F238E27FC236}">
                    <a16:creationId xmlns:a16="http://schemas.microsoft.com/office/drawing/2014/main" id="{43C4A692-73B8-490E-913C-A3BFE9B5013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5491" y="6295469"/>
                <a:ext cx="30089" cy="29051"/>
              </a:xfrm>
              <a:custGeom>
                <a:avLst/>
                <a:gdLst>
                  <a:gd name="T0" fmla="*/ 2 w 12"/>
                  <a:gd name="T1" fmla="*/ 12 h 12"/>
                  <a:gd name="T2" fmla="*/ 1 w 12"/>
                  <a:gd name="T3" fmla="*/ 12 h 12"/>
                  <a:gd name="T4" fmla="*/ 0 w 12"/>
                  <a:gd name="T5" fmla="*/ 10 h 12"/>
                  <a:gd name="T6" fmla="*/ 0 w 12"/>
                  <a:gd name="T7" fmla="*/ 7 h 12"/>
                  <a:gd name="T8" fmla="*/ 1 w 12"/>
                  <a:gd name="T9" fmla="*/ 5 h 12"/>
                  <a:gd name="T10" fmla="*/ 9 w 12"/>
                  <a:gd name="T11" fmla="*/ 0 h 12"/>
                  <a:gd name="T12" fmla="*/ 11 w 12"/>
                  <a:gd name="T13" fmla="*/ 0 h 12"/>
                  <a:gd name="T14" fmla="*/ 12 w 12"/>
                  <a:gd name="T15" fmla="*/ 2 h 12"/>
                  <a:gd name="T16" fmla="*/ 12 w 12"/>
                  <a:gd name="T17" fmla="*/ 5 h 12"/>
                  <a:gd name="T18" fmla="*/ 11 w 12"/>
                  <a:gd name="T19" fmla="*/ 7 h 12"/>
                  <a:gd name="T20" fmla="*/ 3 w 12"/>
                  <a:gd name="T21" fmla="*/ 12 h 12"/>
                  <a:gd name="T22" fmla="*/ 2 w 12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2">
                    <a:moveTo>
                      <a:pt x="2" y="12"/>
                    </a:moveTo>
                    <a:cubicBezTo>
                      <a:pt x="2" y="12"/>
                      <a:pt x="2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0"/>
                    </a:cubicBezTo>
                    <a:cubicBezTo>
                      <a:pt x="12" y="1"/>
                      <a:pt x="12" y="1"/>
                      <a:pt x="12" y="2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6"/>
                      <a:pt x="12" y="7"/>
                      <a:pt x="11" y="7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4" name="Freeform 720">
                <a:extLst>
                  <a:ext uri="{FF2B5EF4-FFF2-40B4-BE49-F238E27FC236}">
                    <a16:creationId xmlns:a16="http://schemas.microsoft.com/office/drawing/2014/main" id="{D245D25F-130E-4564-8C99-74CEF7ECE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35491" y="6182377"/>
                <a:ext cx="30089" cy="130730"/>
              </a:xfrm>
              <a:custGeom>
                <a:avLst/>
                <a:gdLst>
                  <a:gd name="T0" fmla="*/ 2 w 12"/>
                  <a:gd name="T1" fmla="*/ 53 h 53"/>
                  <a:gd name="T2" fmla="*/ 1 w 12"/>
                  <a:gd name="T3" fmla="*/ 53 h 53"/>
                  <a:gd name="T4" fmla="*/ 0 w 12"/>
                  <a:gd name="T5" fmla="*/ 51 h 53"/>
                  <a:gd name="T6" fmla="*/ 0 w 12"/>
                  <a:gd name="T7" fmla="*/ 3 h 53"/>
                  <a:gd name="T8" fmla="*/ 1 w 12"/>
                  <a:gd name="T9" fmla="*/ 1 h 53"/>
                  <a:gd name="T10" fmla="*/ 3 w 12"/>
                  <a:gd name="T11" fmla="*/ 1 h 53"/>
                  <a:gd name="T12" fmla="*/ 11 w 12"/>
                  <a:gd name="T13" fmla="*/ 5 h 53"/>
                  <a:gd name="T14" fmla="*/ 12 w 12"/>
                  <a:gd name="T15" fmla="*/ 7 h 53"/>
                  <a:gd name="T16" fmla="*/ 12 w 12"/>
                  <a:gd name="T17" fmla="*/ 46 h 53"/>
                  <a:gd name="T18" fmla="*/ 11 w 12"/>
                  <a:gd name="T19" fmla="*/ 48 h 53"/>
                  <a:gd name="T20" fmla="*/ 3 w 12"/>
                  <a:gd name="T21" fmla="*/ 53 h 53"/>
                  <a:gd name="T22" fmla="*/ 2 w 12"/>
                  <a:gd name="T23" fmla="*/ 53 h 53"/>
                  <a:gd name="T24" fmla="*/ 4 w 12"/>
                  <a:gd name="T25" fmla="*/ 6 h 53"/>
                  <a:gd name="T26" fmla="*/ 4 w 12"/>
                  <a:gd name="T27" fmla="*/ 47 h 53"/>
                  <a:gd name="T28" fmla="*/ 8 w 12"/>
                  <a:gd name="T29" fmla="*/ 45 h 53"/>
                  <a:gd name="T30" fmla="*/ 8 w 12"/>
                  <a:gd name="T31" fmla="*/ 8 h 53"/>
                  <a:gd name="T32" fmla="*/ 4 w 12"/>
                  <a:gd name="T33" fmla="*/ 6 h 53"/>
                  <a:gd name="T34" fmla="*/ 10 w 12"/>
                  <a:gd name="T35" fmla="*/ 46 h 53"/>
                  <a:gd name="T36" fmla="*/ 10 w 12"/>
                  <a:gd name="T37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53">
                    <a:moveTo>
                      <a:pt x="2" y="53"/>
                    </a:moveTo>
                    <a:cubicBezTo>
                      <a:pt x="2" y="53"/>
                      <a:pt x="2" y="53"/>
                      <a:pt x="1" y="53"/>
                    </a:cubicBezTo>
                    <a:cubicBezTo>
                      <a:pt x="1" y="52"/>
                      <a:pt x="0" y="52"/>
                      <a:pt x="0" y="5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7"/>
                      <a:pt x="12" y="7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7"/>
                      <a:pt x="12" y="48"/>
                      <a:pt x="11" y="48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2" y="53"/>
                    </a:cubicBezTo>
                    <a:close/>
                    <a:moveTo>
                      <a:pt x="4" y="6"/>
                    </a:moveTo>
                    <a:cubicBezTo>
                      <a:pt x="4" y="47"/>
                      <a:pt x="4" y="47"/>
                      <a:pt x="4" y="47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4" y="6"/>
                    </a:lnTo>
                    <a:close/>
                    <a:moveTo>
                      <a:pt x="10" y="46"/>
                    </a:moveTo>
                    <a:cubicBezTo>
                      <a:pt x="10" y="46"/>
                      <a:pt x="10" y="46"/>
                      <a:pt x="10" y="4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5" name="Freeform 721">
                <a:extLst>
                  <a:ext uri="{FF2B5EF4-FFF2-40B4-BE49-F238E27FC236}">
                    <a16:creationId xmlns:a16="http://schemas.microsoft.com/office/drawing/2014/main" id="{BFCEDD32-0A0D-40EC-97D6-9FB2DED663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07628" y="6106637"/>
                <a:ext cx="117242" cy="134880"/>
              </a:xfrm>
              <a:custGeom>
                <a:avLst/>
                <a:gdLst>
                  <a:gd name="T0" fmla="*/ 46 w 48"/>
                  <a:gd name="T1" fmla="*/ 55 h 55"/>
                  <a:gd name="T2" fmla="*/ 45 w 48"/>
                  <a:gd name="T3" fmla="*/ 54 h 55"/>
                  <a:gd name="T4" fmla="*/ 1 w 48"/>
                  <a:gd name="T5" fmla="*/ 29 h 55"/>
                  <a:gd name="T6" fmla="*/ 0 w 48"/>
                  <a:gd name="T7" fmla="*/ 27 h 55"/>
                  <a:gd name="T8" fmla="*/ 1 w 48"/>
                  <a:gd name="T9" fmla="*/ 25 h 55"/>
                  <a:gd name="T10" fmla="*/ 45 w 48"/>
                  <a:gd name="T11" fmla="*/ 0 h 55"/>
                  <a:gd name="T12" fmla="*/ 47 w 48"/>
                  <a:gd name="T13" fmla="*/ 0 h 55"/>
                  <a:gd name="T14" fmla="*/ 48 w 48"/>
                  <a:gd name="T15" fmla="*/ 2 h 55"/>
                  <a:gd name="T16" fmla="*/ 48 w 48"/>
                  <a:gd name="T17" fmla="*/ 53 h 55"/>
                  <a:gd name="T18" fmla="*/ 47 w 48"/>
                  <a:gd name="T19" fmla="*/ 54 h 55"/>
                  <a:gd name="T20" fmla="*/ 46 w 48"/>
                  <a:gd name="T21" fmla="*/ 55 h 55"/>
                  <a:gd name="T22" fmla="*/ 6 w 48"/>
                  <a:gd name="T23" fmla="*/ 27 h 55"/>
                  <a:gd name="T24" fmla="*/ 44 w 48"/>
                  <a:gd name="T25" fmla="*/ 49 h 55"/>
                  <a:gd name="T26" fmla="*/ 44 w 48"/>
                  <a:gd name="T27" fmla="*/ 5 h 55"/>
                  <a:gd name="T28" fmla="*/ 6 w 48"/>
                  <a:gd name="T29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5">
                    <a:moveTo>
                      <a:pt x="46" y="55"/>
                    </a:moveTo>
                    <a:cubicBezTo>
                      <a:pt x="46" y="55"/>
                      <a:pt x="46" y="54"/>
                      <a:pt x="45" y="54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6"/>
                      <a:pt x="1" y="26"/>
                      <a:pt x="1" y="2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7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4"/>
                      <a:pt x="47" y="54"/>
                    </a:cubicBezTo>
                    <a:cubicBezTo>
                      <a:pt x="47" y="54"/>
                      <a:pt x="47" y="55"/>
                      <a:pt x="46" y="55"/>
                    </a:cubicBezTo>
                    <a:close/>
                    <a:moveTo>
                      <a:pt x="6" y="27"/>
                    </a:moveTo>
                    <a:cubicBezTo>
                      <a:pt x="44" y="49"/>
                      <a:pt x="44" y="49"/>
                      <a:pt x="44" y="49"/>
                    </a:cubicBezTo>
                    <a:cubicBezTo>
                      <a:pt x="44" y="5"/>
                      <a:pt x="44" y="5"/>
                      <a:pt x="44" y="5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6" name="Freeform 723">
                <a:extLst>
                  <a:ext uri="{FF2B5EF4-FFF2-40B4-BE49-F238E27FC236}">
                    <a16:creationId xmlns:a16="http://schemas.microsoft.com/office/drawing/2014/main" id="{6FEFA3A0-B0D4-4E3B-809B-DEF895E0AA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857034" y="6354609"/>
                <a:ext cx="51877" cy="56027"/>
              </a:xfrm>
              <a:custGeom>
                <a:avLst/>
                <a:gdLst>
                  <a:gd name="T0" fmla="*/ 2 w 21"/>
                  <a:gd name="T1" fmla="*/ 23 h 23"/>
                  <a:gd name="T2" fmla="*/ 1 w 21"/>
                  <a:gd name="T3" fmla="*/ 23 h 23"/>
                  <a:gd name="T4" fmla="*/ 0 w 21"/>
                  <a:gd name="T5" fmla="*/ 21 h 23"/>
                  <a:gd name="T6" fmla="*/ 0 w 21"/>
                  <a:gd name="T7" fmla="*/ 2 h 23"/>
                  <a:gd name="T8" fmla="*/ 1 w 21"/>
                  <a:gd name="T9" fmla="*/ 0 h 23"/>
                  <a:gd name="T10" fmla="*/ 3 w 21"/>
                  <a:gd name="T11" fmla="*/ 0 h 23"/>
                  <a:gd name="T12" fmla="*/ 20 w 21"/>
                  <a:gd name="T13" fmla="*/ 10 h 23"/>
                  <a:gd name="T14" fmla="*/ 21 w 21"/>
                  <a:gd name="T15" fmla="*/ 12 h 23"/>
                  <a:gd name="T16" fmla="*/ 20 w 21"/>
                  <a:gd name="T17" fmla="*/ 13 h 23"/>
                  <a:gd name="T18" fmla="*/ 3 w 21"/>
                  <a:gd name="T19" fmla="*/ 23 h 23"/>
                  <a:gd name="T20" fmla="*/ 2 w 21"/>
                  <a:gd name="T21" fmla="*/ 23 h 23"/>
                  <a:gd name="T22" fmla="*/ 4 w 21"/>
                  <a:gd name="T23" fmla="*/ 5 h 23"/>
                  <a:gd name="T24" fmla="*/ 4 w 21"/>
                  <a:gd name="T25" fmla="*/ 18 h 23"/>
                  <a:gd name="T26" fmla="*/ 15 w 21"/>
                  <a:gd name="T27" fmla="*/ 12 h 23"/>
                  <a:gd name="T28" fmla="*/ 4 w 21"/>
                  <a:gd name="T2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3">
                    <a:moveTo>
                      <a:pt x="2" y="23"/>
                    </a:moveTo>
                    <a:cubicBezTo>
                      <a:pt x="1" y="23"/>
                      <a:pt x="1" y="23"/>
                      <a:pt x="1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1" y="11"/>
                      <a:pt x="21" y="12"/>
                    </a:cubicBezTo>
                    <a:cubicBezTo>
                      <a:pt x="21" y="12"/>
                      <a:pt x="20" y="13"/>
                      <a:pt x="20" y="1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  <a:moveTo>
                      <a:pt x="4" y="5"/>
                    </a:moveTo>
                    <a:cubicBezTo>
                      <a:pt x="4" y="18"/>
                      <a:pt x="4" y="18"/>
                      <a:pt x="4" y="18"/>
                    </a:cubicBezTo>
                    <a:cubicBezTo>
                      <a:pt x="15" y="12"/>
                      <a:pt x="15" y="12"/>
                      <a:pt x="15" y="12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7" name="Freeform 726">
                <a:extLst>
                  <a:ext uri="{FF2B5EF4-FFF2-40B4-BE49-F238E27FC236}">
                    <a16:creationId xmlns:a16="http://schemas.microsoft.com/office/drawing/2014/main" id="{2423AC09-D989-480F-839E-99002A37B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07628" y="6236329"/>
                <a:ext cx="154594" cy="147331"/>
              </a:xfrm>
              <a:custGeom>
                <a:avLst/>
                <a:gdLst>
                  <a:gd name="T0" fmla="*/ 2 w 63"/>
                  <a:gd name="T1" fmla="*/ 60 h 60"/>
                  <a:gd name="T2" fmla="*/ 1 w 63"/>
                  <a:gd name="T3" fmla="*/ 60 h 60"/>
                  <a:gd name="T4" fmla="*/ 0 w 63"/>
                  <a:gd name="T5" fmla="*/ 58 h 60"/>
                  <a:gd name="T6" fmla="*/ 0 w 63"/>
                  <a:gd name="T7" fmla="*/ 36 h 60"/>
                  <a:gd name="T8" fmla="*/ 1 w 63"/>
                  <a:gd name="T9" fmla="*/ 35 h 60"/>
                  <a:gd name="T10" fmla="*/ 60 w 63"/>
                  <a:gd name="T11" fmla="*/ 1 h 60"/>
                  <a:gd name="T12" fmla="*/ 62 w 63"/>
                  <a:gd name="T13" fmla="*/ 1 h 60"/>
                  <a:gd name="T14" fmla="*/ 63 w 63"/>
                  <a:gd name="T15" fmla="*/ 2 h 60"/>
                  <a:gd name="T16" fmla="*/ 63 w 63"/>
                  <a:gd name="T17" fmla="*/ 24 h 60"/>
                  <a:gd name="T18" fmla="*/ 62 w 63"/>
                  <a:gd name="T19" fmla="*/ 26 h 60"/>
                  <a:gd name="T20" fmla="*/ 3 w 63"/>
                  <a:gd name="T21" fmla="*/ 60 h 60"/>
                  <a:gd name="T22" fmla="*/ 2 w 63"/>
                  <a:gd name="T23" fmla="*/ 60 h 60"/>
                  <a:gd name="T24" fmla="*/ 4 w 63"/>
                  <a:gd name="T25" fmla="*/ 38 h 60"/>
                  <a:gd name="T26" fmla="*/ 4 w 63"/>
                  <a:gd name="T27" fmla="*/ 55 h 60"/>
                  <a:gd name="T28" fmla="*/ 59 w 63"/>
                  <a:gd name="T29" fmla="*/ 23 h 60"/>
                  <a:gd name="T30" fmla="*/ 59 w 63"/>
                  <a:gd name="T31" fmla="*/ 6 h 60"/>
                  <a:gd name="T32" fmla="*/ 4 w 63"/>
                  <a:gd name="T33" fmla="*/ 38 h 60"/>
                  <a:gd name="T34" fmla="*/ 61 w 63"/>
                  <a:gd name="T35" fmla="*/ 24 h 60"/>
                  <a:gd name="T36" fmla="*/ 61 w 63"/>
                  <a:gd name="T37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60">
                    <a:moveTo>
                      <a:pt x="2" y="60"/>
                    </a:moveTo>
                    <a:cubicBezTo>
                      <a:pt x="2" y="60"/>
                      <a:pt x="2" y="60"/>
                      <a:pt x="1" y="60"/>
                    </a:cubicBezTo>
                    <a:cubicBezTo>
                      <a:pt x="1" y="59"/>
                      <a:pt x="0" y="59"/>
                      <a:pt x="0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1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2" y="0"/>
                      <a:pt x="62" y="1"/>
                    </a:cubicBezTo>
                    <a:cubicBezTo>
                      <a:pt x="63" y="1"/>
                      <a:pt x="63" y="2"/>
                      <a:pt x="63" y="2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63" y="25"/>
                      <a:pt x="63" y="25"/>
                      <a:pt x="62" y="26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3" y="60"/>
                      <a:pt x="3" y="60"/>
                      <a:pt x="2" y="60"/>
                    </a:cubicBezTo>
                    <a:close/>
                    <a:moveTo>
                      <a:pt x="4" y="38"/>
                    </a:moveTo>
                    <a:cubicBezTo>
                      <a:pt x="4" y="55"/>
                      <a:pt x="4" y="55"/>
                      <a:pt x="4" y="55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6"/>
                      <a:pt x="59" y="6"/>
                      <a:pt x="59" y="6"/>
                    </a:cubicBezTo>
                    <a:lnTo>
                      <a:pt x="4" y="38"/>
                    </a:lnTo>
                    <a:close/>
                    <a:moveTo>
                      <a:pt x="61" y="24"/>
                    </a:moveTo>
                    <a:cubicBezTo>
                      <a:pt x="61" y="24"/>
                      <a:pt x="61" y="24"/>
                      <a:pt x="61" y="2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8" name="Freeform 727">
                <a:extLst>
                  <a:ext uri="{FF2B5EF4-FFF2-40B4-BE49-F238E27FC236}">
                    <a16:creationId xmlns:a16="http://schemas.microsoft.com/office/drawing/2014/main" id="{729968FC-2678-41D6-BA2F-5C643046D0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07628" y="6295469"/>
                <a:ext cx="154594" cy="203358"/>
              </a:xfrm>
              <a:custGeom>
                <a:avLst/>
                <a:gdLst>
                  <a:gd name="T0" fmla="*/ 2 w 63"/>
                  <a:gd name="T1" fmla="*/ 83 h 83"/>
                  <a:gd name="T2" fmla="*/ 1 w 63"/>
                  <a:gd name="T3" fmla="*/ 82 h 83"/>
                  <a:gd name="T4" fmla="*/ 0 w 63"/>
                  <a:gd name="T5" fmla="*/ 81 h 83"/>
                  <a:gd name="T6" fmla="*/ 0 w 63"/>
                  <a:gd name="T7" fmla="*/ 36 h 83"/>
                  <a:gd name="T8" fmla="*/ 1 w 63"/>
                  <a:gd name="T9" fmla="*/ 34 h 83"/>
                  <a:gd name="T10" fmla="*/ 60 w 63"/>
                  <a:gd name="T11" fmla="*/ 0 h 83"/>
                  <a:gd name="T12" fmla="*/ 62 w 63"/>
                  <a:gd name="T13" fmla="*/ 0 h 83"/>
                  <a:gd name="T14" fmla="*/ 63 w 63"/>
                  <a:gd name="T15" fmla="*/ 2 h 83"/>
                  <a:gd name="T16" fmla="*/ 63 w 63"/>
                  <a:gd name="T17" fmla="*/ 46 h 83"/>
                  <a:gd name="T18" fmla="*/ 62 w 63"/>
                  <a:gd name="T19" fmla="*/ 48 h 83"/>
                  <a:gd name="T20" fmla="*/ 3 w 63"/>
                  <a:gd name="T21" fmla="*/ 82 h 83"/>
                  <a:gd name="T22" fmla="*/ 2 w 63"/>
                  <a:gd name="T23" fmla="*/ 83 h 83"/>
                  <a:gd name="T24" fmla="*/ 4 w 63"/>
                  <a:gd name="T25" fmla="*/ 37 h 83"/>
                  <a:gd name="T26" fmla="*/ 4 w 63"/>
                  <a:gd name="T27" fmla="*/ 77 h 83"/>
                  <a:gd name="T28" fmla="*/ 59 w 63"/>
                  <a:gd name="T29" fmla="*/ 45 h 83"/>
                  <a:gd name="T30" fmla="*/ 59 w 63"/>
                  <a:gd name="T31" fmla="*/ 5 h 83"/>
                  <a:gd name="T32" fmla="*/ 4 w 63"/>
                  <a:gd name="T33" fmla="*/ 3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83">
                    <a:moveTo>
                      <a:pt x="2" y="83"/>
                    </a:moveTo>
                    <a:cubicBezTo>
                      <a:pt x="2" y="83"/>
                      <a:pt x="2" y="82"/>
                      <a:pt x="1" y="82"/>
                    </a:cubicBezTo>
                    <a:cubicBezTo>
                      <a:pt x="1" y="82"/>
                      <a:pt x="0" y="81"/>
                      <a:pt x="0" y="8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5"/>
                      <a:pt x="1" y="35"/>
                      <a:pt x="1" y="34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1" y="0"/>
                      <a:pt x="62" y="0"/>
                      <a:pt x="62" y="0"/>
                    </a:cubicBezTo>
                    <a:cubicBezTo>
                      <a:pt x="63" y="1"/>
                      <a:pt x="63" y="1"/>
                      <a:pt x="63" y="2"/>
                    </a:cubicBezTo>
                    <a:cubicBezTo>
                      <a:pt x="63" y="46"/>
                      <a:pt x="63" y="46"/>
                      <a:pt x="63" y="46"/>
                    </a:cubicBezTo>
                    <a:cubicBezTo>
                      <a:pt x="63" y="47"/>
                      <a:pt x="63" y="48"/>
                      <a:pt x="62" y="48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3" y="82"/>
                      <a:pt x="3" y="83"/>
                      <a:pt x="2" y="83"/>
                    </a:cubicBezTo>
                    <a:close/>
                    <a:moveTo>
                      <a:pt x="4" y="37"/>
                    </a:moveTo>
                    <a:cubicBezTo>
                      <a:pt x="4" y="77"/>
                      <a:pt x="4" y="77"/>
                      <a:pt x="4" y="77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5"/>
                      <a:pt x="59" y="5"/>
                      <a:pt x="59" y="5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9" name="Freeform 728">
                <a:extLst>
                  <a:ext uri="{FF2B5EF4-FFF2-40B4-BE49-F238E27FC236}">
                    <a16:creationId xmlns:a16="http://schemas.microsoft.com/office/drawing/2014/main" id="{DE4F188E-8494-46DD-8FF7-255E0E853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91724" y="5687471"/>
                <a:ext cx="83003" cy="95454"/>
              </a:xfrm>
              <a:custGeom>
                <a:avLst/>
                <a:gdLst>
                  <a:gd name="T0" fmla="*/ 2 w 34"/>
                  <a:gd name="T1" fmla="*/ 39 h 39"/>
                  <a:gd name="T2" fmla="*/ 1 w 34"/>
                  <a:gd name="T3" fmla="*/ 39 h 39"/>
                  <a:gd name="T4" fmla="*/ 0 w 34"/>
                  <a:gd name="T5" fmla="*/ 37 h 39"/>
                  <a:gd name="T6" fmla="*/ 0 w 34"/>
                  <a:gd name="T7" fmla="*/ 2 h 39"/>
                  <a:gd name="T8" fmla="*/ 1 w 34"/>
                  <a:gd name="T9" fmla="*/ 1 h 39"/>
                  <a:gd name="T10" fmla="*/ 3 w 34"/>
                  <a:gd name="T11" fmla="*/ 1 h 39"/>
                  <a:gd name="T12" fmla="*/ 33 w 34"/>
                  <a:gd name="T13" fmla="*/ 18 h 39"/>
                  <a:gd name="T14" fmla="*/ 34 w 34"/>
                  <a:gd name="T15" fmla="*/ 20 h 39"/>
                  <a:gd name="T16" fmla="*/ 33 w 34"/>
                  <a:gd name="T17" fmla="*/ 21 h 39"/>
                  <a:gd name="T18" fmla="*/ 3 w 34"/>
                  <a:gd name="T19" fmla="*/ 39 h 39"/>
                  <a:gd name="T20" fmla="*/ 2 w 34"/>
                  <a:gd name="T21" fmla="*/ 39 h 39"/>
                  <a:gd name="T22" fmla="*/ 4 w 34"/>
                  <a:gd name="T23" fmla="*/ 6 h 39"/>
                  <a:gd name="T24" fmla="*/ 4 w 34"/>
                  <a:gd name="T25" fmla="*/ 34 h 39"/>
                  <a:gd name="T26" fmla="*/ 28 w 34"/>
                  <a:gd name="T27" fmla="*/ 20 h 39"/>
                  <a:gd name="T28" fmla="*/ 4 w 34"/>
                  <a:gd name="T29" fmla="*/ 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8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4" y="18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3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6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28" y="20"/>
                      <a:pt x="28" y="20"/>
                      <a:pt x="28" y="20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0" name="Freeform 733">
                <a:extLst>
                  <a:ext uri="{FF2B5EF4-FFF2-40B4-BE49-F238E27FC236}">
                    <a16:creationId xmlns:a16="http://schemas.microsoft.com/office/drawing/2014/main" id="{B8F374BF-FA9C-4670-8B62-28A0A2657B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489087" y="6778962"/>
                <a:ext cx="311262" cy="356914"/>
              </a:xfrm>
              <a:custGeom>
                <a:avLst/>
                <a:gdLst>
                  <a:gd name="T0" fmla="*/ 125 w 127"/>
                  <a:gd name="T1" fmla="*/ 146 h 146"/>
                  <a:gd name="T2" fmla="*/ 124 w 127"/>
                  <a:gd name="T3" fmla="*/ 145 h 146"/>
                  <a:gd name="T4" fmla="*/ 1 w 127"/>
                  <a:gd name="T5" fmla="*/ 74 h 146"/>
                  <a:gd name="T6" fmla="*/ 0 w 127"/>
                  <a:gd name="T7" fmla="*/ 73 h 146"/>
                  <a:gd name="T8" fmla="*/ 1 w 127"/>
                  <a:gd name="T9" fmla="*/ 71 h 146"/>
                  <a:gd name="T10" fmla="*/ 124 w 127"/>
                  <a:gd name="T11" fmla="*/ 0 h 146"/>
                  <a:gd name="T12" fmla="*/ 126 w 127"/>
                  <a:gd name="T13" fmla="*/ 0 h 146"/>
                  <a:gd name="T14" fmla="*/ 127 w 127"/>
                  <a:gd name="T15" fmla="*/ 2 h 146"/>
                  <a:gd name="T16" fmla="*/ 127 w 127"/>
                  <a:gd name="T17" fmla="*/ 144 h 146"/>
                  <a:gd name="T18" fmla="*/ 126 w 127"/>
                  <a:gd name="T19" fmla="*/ 145 h 146"/>
                  <a:gd name="T20" fmla="*/ 125 w 127"/>
                  <a:gd name="T21" fmla="*/ 146 h 146"/>
                  <a:gd name="T22" fmla="*/ 6 w 127"/>
                  <a:gd name="T23" fmla="*/ 73 h 146"/>
                  <a:gd name="T24" fmla="*/ 123 w 127"/>
                  <a:gd name="T25" fmla="*/ 140 h 146"/>
                  <a:gd name="T26" fmla="*/ 123 w 127"/>
                  <a:gd name="T27" fmla="*/ 5 h 146"/>
                  <a:gd name="T28" fmla="*/ 6 w 127"/>
                  <a:gd name="T29" fmla="*/ 7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46">
                    <a:moveTo>
                      <a:pt x="125" y="146"/>
                    </a:moveTo>
                    <a:cubicBezTo>
                      <a:pt x="125" y="146"/>
                      <a:pt x="124" y="146"/>
                      <a:pt x="124" y="145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4"/>
                      <a:pt x="0" y="73"/>
                      <a:pt x="0" y="73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5" y="0"/>
                      <a:pt x="126" y="0"/>
                    </a:cubicBezTo>
                    <a:cubicBezTo>
                      <a:pt x="126" y="0"/>
                      <a:pt x="127" y="1"/>
                      <a:pt x="127" y="2"/>
                    </a:cubicBezTo>
                    <a:cubicBezTo>
                      <a:pt x="127" y="144"/>
                      <a:pt x="127" y="144"/>
                      <a:pt x="127" y="144"/>
                    </a:cubicBezTo>
                    <a:cubicBezTo>
                      <a:pt x="127" y="144"/>
                      <a:pt x="126" y="145"/>
                      <a:pt x="126" y="145"/>
                    </a:cubicBezTo>
                    <a:cubicBezTo>
                      <a:pt x="126" y="146"/>
                      <a:pt x="125" y="146"/>
                      <a:pt x="125" y="146"/>
                    </a:cubicBezTo>
                    <a:close/>
                    <a:moveTo>
                      <a:pt x="6" y="73"/>
                    </a:move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3" y="5"/>
                      <a:pt x="123" y="5"/>
                      <a:pt x="123" y="5"/>
                    </a:cubicBezTo>
                    <a:lnTo>
                      <a:pt x="6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1" name="Freeform 737">
                <a:extLst>
                  <a:ext uri="{FF2B5EF4-FFF2-40B4-BE49-F238E27FC236}">
                    <a16:creationId xmlns:a16="http://schemas.microsoft.com/office/drawing/2014/main" id="{40627C5C-E5A3-4AE2-A855-88FA0C90C43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58317" y="6309994"/>
                <a:ext cx="126580" cy="80928"/>
              </a:xfrm>
              <a:custGeom>
                <a:avLst/>
                <a:gdLst>
                  <a:gd name="T0" fmla="*/ 4 w 52"/>
                  <a:gd name="T1" fmla="*/ 33 h 33"/>
                  <a:gd name="T2" fmla="*/ 3 w 52"/>
                  <a:gd name="T3" fmla="*/ 33 h 33"/>
                  <a:gd name="T4" fmla="*/ 1 w 52"/>
                  <a:gd name="T5" fmla="*/ 31 h 33"/>
                  <a:gd name="T6" fmla="*/ 0 w 52"/>
                  <a:gd name="T7" fmla="*/ 30 h 33"/>
                  <a:gd name="T8" fmla="*/ 1 w 52"/>
                  <a:gd name="T9" fmla="*/ 28 h 33"/>
                  <a:gd name="T10" fmla="*/ 49 w 52"/>
                  <a:gd name="T11" fmla="*/ 0 h 33"/>
                  <a:gd name="T12" fmla="*/ 51 w 52"/>
                  <a:gd name="T13" fmla="*/ 0 h 33"/>
                  <a:gd name="T14" fmla="*/ 52 w 52"/>
                  <a:gd name="T15" fmla="*/ 2 h 33"/>
                  <a:gd name="T16" fmla="*/ 52 w 52"/>
                  <a:gd name="T17" fmla="*/ 5 h 33"/>
                  <a:gd name="T18" fmla="*/ 51 w 52"/>
                  <a:gd name="T19" fmla="*/ 7 h 33"/>
                  <a:gd name="T20" fmla="*/ 5 w 52"/>
                  <a:gd name="T21" fmla="*/ 33 h 33"/>
                  <a:gd name="T22" fmla="*/ 4 w 52"/>
                  <a:gd name="T2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33">
                    <a:moveTo>
                      <a:pt x="4" y="33"/>
                    </a:moveTo>
                    <a:cubicBezTo>
                      <a:pt x="4" y="33"/>
                      <a:pt x="4" y="33"/>
                      <a:pt x="3" y="33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30"/>
                    </a:cubicBezTo>
                    <a:cubicBezTo>
                      <a:pt x="0" y="29"/>
                      <a:pt x="0" y="28"/>
                      <a:pt x="1" y="28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1" y="0"/>
                      <a:pt x="52" y="1"/>
                      <a:pt x="52" y="2"/>
                    </a:cubicBezTo>
                    <a:cubicBezTo>
                      <a:pt x="52" y="5"/>
                      <a:pt x="52" y="5"/>
                      <a:pt x="52" y="5"/>
                    </a:cubicBezTo>
                    <a:cubicBezTo>
                      <a:pt x="52" y="6"/>
                      <a:pt x="51" y="6"/>
                      <a:pt x="51" y="7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3"/>
                      <a:pt x="5" y="33"/>
                      <a:pt x="4" y="3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2" name="Freeform 740">
                <a:extLst>
                  <a:ext uri="{FF2B5EF4-FFF2-40B4-BE49-F238E27FC236}">
                    <a16:creationId xmlns:a16="http://schemas.microsoft.com/office/drawing/2014/main" id="{88046638-0D5F-4140-B765-D91A982F3C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83724" y="5717559"/>
                <a:ext cx="649501" cy="383890"/>
              </a:xfrm>
              <a:custGeom>
                <a:avLst/>
                <a:gdLst>
                  <a:gd name="T0" fmla="*/ 131 w 265"/>
                  <a:gd name="T1" fmla="*/ 157 h 157"/>
                  <a:gd name="T2" fmla="*/ 130 w 265"/>
                  <a:gd name="T3" fmla="*/ 157 h 157"/>
                  <a:gd name="T4" fmla="*/ 1 w 265"/>
                  <a:gd name="T5" fmla="*/ 82 h 157"/>
                  <a:gd name="T6" fmla="*/ 0 w 265"/>
                  <a:gd name="T7" fmla="*/ 81 h 157"/>
                  <a:gd name="T8" fmla="*/ 1 w 265"/>
                  <a:gd name="T9" fmla="*/ 79 h 157"/>
                  <a:gd name="T10" fmla="*/ 115 w 265"/>
                  <a:gd name="T11" fmla="*/ 14 h 157"/>
                  <a:gd name="T12" fmla="*/ 115 w 265"/>
                  <a:gd name="T13" fmla="*/ 11 h 157"/>
                  <a:gd name="T14" fmla="*/ 116 w 265"/>
                  <a:gd name="T15" fmla="*/ 9 h 157"/>
                  <a:gd name="T16" fmla="*/ 130 w 265"/>
                  <a:gd name="T17" fmla="*/ 1 h 157"/>
                  <a:gd name="T18" fmla="*/ 132 w 265"/>
                  <a:gd name="T19" fmla="*/ 1 h 157"/>
                  <a:gd name="T20" fmla="*/ 264 w 265"/>
                  <a:gd name="T21" fmla="*/ 77 h 157"/>
                  <a:gd name="T22" fmla="*/ 265 w 265"/>
                  <a:gd name="T23" fmla="*/ 79 h 157"/>
                  <a:gd name="T24" fmla="*/ 264 w 265"/>
                  <a:gd name="T25" fmla="*/ 80 h 157"/>
                  <a:gd name="T26" fmla="*/ 132 w 265"/>
                  <a:gd name="T27" fmla="*/ 157 h 157"/>
                  <a:gd name="T28" fmla="*/ 131 w 265"/>
                  <a:gd name="T29" fmla="*/ 157 h 157"/>
                  <a:gd name="T30" fmla="*/ 6 w 265"/>
                  <a:gd name="T31" fmla="*/ 81 h 157"/>
                  <a:gd name="T32" fmla="*/ 131 w 265"/>
                  <a:gd name="T33" fmla="*/ 153 h 157"/>
                  <a:gd name="T34" fmla="*/ 259 w 265"/>
                  <a:gd name="T35" fmla="*/ 79 h 157"/>
                  <a:gd name="T36" fmla="*/ 131 w 265"/>
                  <a:gd name="T37" fmla="*/ 5 h 157"/>
                  <a:gd name="T38" fmla="*/ 119 w 265"/>
                  <a:gd name="T39" fmla="*/ 12 h 157"/>
                  <a:gd name="T40" fmla="*/ 119 w 265"/>
                  <a:gd name="T41" fmla="*/ 15 h 157"/>
                  <a:gd name="T42" fmla="*/ 118 w 265"/>
                  <a:gd name="T43" fmla="*/ 16 h 157"/>
                  <a:gd name="T44" fmla="*/ 6 w 265"/>
                  <a:gd name="T45" fmla="*/ 8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5" h="157">
                    <a:moveTo>
                      <a:pt x="131" y="157"/>
                    </a:moveTo>
                    <a:cubicBezTo>
                      <a:pt x="131" y="157"/>
                      <a:pt x="130" y="157"/>
                      <a:pt x="130" y="15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0" y="81"/>
                      <a:pt x="0" y="81"/>
                    </a:cubicBezTo>
                    <a:cubicBezTo>
                      <a:pt x="0" y="80"/>
                      <a:pt x="1" y="79"/>
                      <a:pt x="1" y="79"/>
                    </a:cubicBezTo>
                    <a:cubicBezTo>
                      <a:pt x="115" y="14"/>
                      <a:pt x="115" y="14"/>
                      <a:pt x="115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5" y="10"/>
                      <a:pt x="115" y="9"/>
                      <a:pt x="116" y="9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2" y="0"/>
                      <a:pt x="132" y="1"/>
                    </a:cubicBezTo>
                    <a:cubicBezTo>
                      <a:pt x="264" y="77"/>
                      <a:pt x="264" y="77"/>
                      <a:pt x="264" y="77"/>
                    </a:cubicBezTo>
                    <a:cubicBezTo>
                      <a:pt x="265" y="77"/>
                      <a:pt x="265" y="78"/>
                      <a:pt x="265" y="79"/>
                    </a:cubicBezTo>
                    <a:cubicBezTo>
                      <a:pt x="265" y="79"/>
                      <a:pt x="265" y="80"/>
                      <a:pt x="264" y="80"/>
                    </a:cubicBezTo>
                    <a:cubicBezTo>
                      <a:pt x="132" y="157"/>
                      <a:pt x="132" y="157"/>
                      <a:pt x="132" y="157"/>
                    </a:cubicBezTo>
                    <a:cubicBezTo>
                      <a:pt x="132" y="157"/>
                      <a:pt x="131" y="157"/>
                      <a:pt x="131" y="157"/>
                    </a:cubicBezTo>
                    <a:close/>
                    <a:moveTo>
                      <a:pt x="6" y="81"/>
                    </a:moveTo>
                    <a:cubicBezTo>
                      <a:pt x="131" y="153"/>
                      <a:pt x="131" y="153"/>
                      <a:pt x="131" y="153"/>
                    </a:cubicBezTo>
                    <a:cubicBezTo>
                      <a:pt x="259" y="79"/>
                      <a:pt x="259" y="79"/>
                      <a:pt x="259" y="79"/>
                    </a:cubicBezTo>
                    <a:cubicBezTo>
                      <a:pt x="131" y="5"/>
                      <a:pt x="131" y="5"/>
                      <a:pt x="131" y="5"/>
                    </a:cubicBezTo>
                    <a:cubicBezTo>
                      <a:pt x="119" y="12"/>
                      <a:pt x="119" y="12"/>
                      <a:pt x="119" y="12"/>
                    </a:cubicBezTo>
                    <a:cubicBezTo>
                      <a:pt x="119" y="15"/>
                      <a:pt x="119" y="15"/>
                      <a:pt x="119" y="15"/>
                    </a:cubicBezTo>
                    <a:cubicBezTo>
                      <a:pt x="119" y="15"/>
                      <a:pt x="118" y="16"/>
                      <a:pt x="118" y="16"/>
                    </a:cubicBezTo>
                    <a:lnTo>
                      <a:pt x="6" y="8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3" name="Freeform 741">
                <a:extLst>
                  <a:ext uri="{FF2B5EF4-FFF2-40B4-BE49-F238E27FC236}">
                    <a16:creationId xmlns:a16="http://schemas.microsoft.com/office/drawing/2014/main" id="{C1A1870F-BDF2-4118-BB6D-FA5FA8DEC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746864" y="5379322"/>
                <a:ext cx="327863" cy="561309"/>
              </a:xfrm>
              <a:custGeom>
                <a:avLst/>
                <a:gdLst>
                  <a:gd name="T0" fmla="*/ 2 w 134"/>
                  <a:gd name="T1" fmla="*/ 229 h 229"/>
                  <a:gd name="T2" fmla="*/ 1 w 134"/>
                  <a:gd name="T3" fmla="*/ 228 h 229"/>
                  <a:gd name="T4" fmla="*/ 0 w 134"/>
                  <a:gd name="T5" fmla="*/ 227 h 229"/>
                  <a:gd name="T6" fmla="*/ 0 w 134"/>
                  <a:gd name="T7" fmla="*/ 165 h 229"/>
                  <a:gd name="T8" fmla="*/ 1 w 134"/>
                  <a:gd name="T9" fmla="*/ 163 h 229"/>
                  <a:gd name="T10" fmla="*/ 31 w 134"/>
                  <a:gd name="T11" fmla="*/ 146 h 229"/>
                  <a:gd name="T12" fmla="*/ 1 w 134"/>
                  <a:gd name="T13" fmla="*/ 128 h 229"/>
                  <a:gd name="T14" fmla="*/ 0 w 134"/>
                  <a:gd name="T15" fmla="*/ 126 h 229"/>
                  <a:gd name="T16" fmla="*/ 0 w 134"/>
                  <a:gd name="T17" fmla="*/ 77 h 229"/>
                  <a:gd name="T18" fmla="*/ 1 w 134"/>
                  <a:gd name="T19" fmla="*/ 75 h 229"/>
                  <a:gd name="T20" fmla="*/ 131 w 134"/>
                  <a:gd name="T21" fmla="*/ 0 h 229"/>
                  <a:gd name="T22" fmla="*/ 133 w 134"/>
                  <a:gd name="T23" fmla="*/ 0 h 229"/>
                  <a:gd name="T24" fmla="*/ 134 w 134"/>
                  <a:gd name="T25" fmla="*/ 2 h 229"/>
                  <a:gd name="T26" fmla="*/ 134 w 134"/>
                  <a:gd name="T27" fmla="*/ 148 h 229"/>
                  <a:gd name="T28" fmla="*/ 133 w 134"/>
                  <a:gd name="T29" fmla="*/ 150 h 229"/>
                  <a:gd name="T30" fmla="*/ 17 w 134"/>
                  <a:gd name="T31" fmla="*/ 217 h 229"/>
                  <a:gd name="T32" fmla="*/ 17 w 134"/>
                  <a:gd name="T33" fmla="*/ 217 h 229"/>
                  <a:gd name="T34" fmla="*/ 18 w 134"/>
                  <a:gd name="T35" fmla="*/ 219 h 229"/>
                  <a:gd name="T36" fmla="*/ 17 w 134"/>
                  <a:gd name="T37" fmla="*/ 220 h 229"/>
                  <a:gd name="T38" fmla="*/ 3 w 134"/>
                  <a:gd name="T39" fmla="*/ 228 h 229"/>
                  <a:gd name="T40" fmla="*/ 2 w 134"/>
                  <a:gd name="T41" fmla="*/ 229 h 229"/>
                  <a:gd name="T42" fmla="*/ 4 w 134"/>
                  <a:gd name="T43" fmla="*/ 166 h 229"/>
                  <a:gd name="T44" fmla="*/ 4 w 134"/>
                  <a:gd name="T45" fmla="*/ 223 h 229"/>
                  <a:gd name="T46" fmla="*/ 12 w 134"/>
                  <a:gd name="T47" fmla="*/ 219 h 229"/>
                  <a:gd name="T48" fmla="*/ 12 w 134"/>
                  <a:gd name="T49" fmla="*/ 218 h 229"/>
                  <a:gd name="T50" fmla="*/ 11 w 134"/>
                  <a:gd name="T51" fmla="*/ 217 h 229"/>
                  <a:gd name="T52" fmla="*/ 12 w 134"/>
                  <a:gd name="T53" fmla="*/ 215 h 229"/>
                  <a:gd name="T54" fmla="*/ 130 w 134"/>
                  <a:gd name="T55" fmla="*/ 147 h 229"/>
                  <a:gd name="T56" fmla="*/ 130 w 134"/>
                  <a:gd name="T57" fmla="*/ 5 h 229"/>
                  <a:gd name="T58" fmla="*/ 4 w 134"/>
                  <a:gd name="T59" fmla="*/ 78 h 229"/>
                  <a:gd name="T60" fmla="*/ 4 w 134"/>
                  <a:gd name="T61" fmla="*/ 125 h 229"/>
                  <a:gd name="T62" fmla="*/ 36 w 134"/>
                  <a:gd name="T63" fmla="*/ 144 h 229"/>
                  <a:gd name="T64" fmla="*/ 37 w 134"/>
                  <a:gd name="T65" fmla="*/ 146 h 229"/>
                  <a:gd name="T66" fmla="*/ 36 w 134"/>
                  <a:gd name="T67" fmla="*/ 147 h 229"/>
                  <a:gd name="T68" fmla="*/ 4 w 134"/>
                  <a:gd name="T69" fmla="*/ 16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229">
                    <a:moveTo>
                      <a:pt x="2" y="229"/>
                    </a:moveTo>
                    <a:cubicBezTo>
                      <a:pt x="2" y="229"/>
                      <a:pt x="2" y="229"/>
                      <a:pt x="1" y="228"/>
                    </a:cubicBezTo>
                    <a:cubicBezTo>
                      <a:pt x="1" y="228"/>
                      <a:pt x="0" y="227"/>
                      <a:pt x="0" y="227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0" y="164"/>
                      <a:pt x="1" y="163"/>
                      <a:pt x="1" y="163"/>
                    </a:cubicBezTo>
                    <a:cubicBezTo>
                      <a:pt x="31" y="146"/>
                      <a:pt x="31" y="146"/>
                      <a:pt x="31" y="146"/>
                    </a:cubicBezTo>
                    <a:cubicBezTo>
                      <a:pt x="1" y="128"/>
                      <a:pt x="1" y="128"/>
                      <a:pt x="1" y="128"/>
                    </a:cubicBezTo>
                    <a:cubicBezTo>
                      <a:pt x="1" y="128"/>
                      <a:pt x="0" y="127"/>
                      <a:pt x="0" y="126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6"/>
                      <a:pt x="1" y="75"/>
                      <a:pt x="1" y="75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2" y="0"/>
                      <a:pt x="132" y="0"/>
                      <a:pt x="133" y="0"/>
                    </a:cubicBezTo>
                    <a:cubicBezTo>
                      <a:pt x="134" y="1"/>
                      <a:pt x="134" y="1"/>
                      <a:pt x="134" y="2"/>
                    </a:cubicBezTo>
                    <a:cubicBezTo>
                      <a:pt x="134" y="148"/>
                      <a:pt x="134" y="148"/>
                      <a:pt x="134" y="148"/>
                    </a:cubicBezTo>
                    <a:cubicBezTo>
                      <a:pt x="134" y="149"/>
                      <a:pt x="134" y="149"/>
                      <a:pt x="133" y="150"/>
                    </a:cubicBezTo>
                    <a:cubicBezTo>
                      <a:pt x="17" y="217"/>
                      <a:pt x="17" y="217"/>
                      <a:pt x="17" y="217"/>
                    </a:cubicBezTo>
                    <a:cubicBezTo>
                      <a:pt x="17" y="217"/>
                      <a:pt x="17" y="217"/>
                      <a:pt x="17" y="217"/>
                    </a:cubicBezTo>
                    <a:cubicBezTo>
                      <a:pt x="18" y="217"/>
                      <a:pt x="18" y="218"/>
                      <a:pt x="18" y="219"/>
                    </a:cubicBezTo>
                    <a:cubicBezTo>
                      <a:pt x="18" y="219"/>
                      <a:pt x="18" y="220"/>
                      <a:pt x="17" y="220"/>
                    </a:cubicBezTo>
                    <a:cubicBezTo>
                      <a:pt x="3" y="228"/>
                      <a:pt x="3" y="228"/>
                      <a:pt x="3" y="228"/>
                    </a:cubicBezTo>
                    <a:cubicBezTo>
                      <a:pt x="3" y="229"/>
                      <a:pt x="3" y="229"/>
                      <a:pt x="2" y="229"/>
                    </a:cubicBezTo>
                    <a:close/>
                    <a:moveTo>
                      <a:pt x="4" y="166"/>
                    </a:moveTo>
                    <a:cubicBezTo>
                      <a:pt x="4" y="223"/>
                      <a:pt x="4" y="223"/>
                      <a:pt x="4" y="223"/>
                    </a:cubicBezTo>
                    <a:cubicBezTo>
                      <a:pt x="12" y="219"/>
                      <a:pt x="12" y="219"/>
                      <a:pt x="12" y="219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18"/>
                      <a:pt x="11" y="217"/>
                      <a:pt x="11" y="217"/>
                    </a:cubicBezTo>
                    <a:cubicBezTo>
                      <a:pt x="11" y="216"/>
                      <a:pt x="11" y="215"/>
                      <a:pt x="12" y="215"/>
                    </a:cubicBezTo>
                    <a:cubicBezTo>
                      <a:pt x="130" y="147"/>
                      <a:pt x="130" y="147"/>
                      <a:pt x="130" y="147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6" y="144"/>
                      <a:pt x="36" y="144"/>
                      <a:pt x="36" y="144"/>
                    </a:cubicBezTo>
                    <a:cubicBezTo>
                      <a:pt x="37" y="144"/>
                      <a:pt x="37" y="145"/>
                      <a:pt x="37" y="146"/>
                    </a:cubicBezTo>
                    <a:cubicBezTo>
                      <a:pt x="37" y="146"/>
                      <a:pt x="37" y="147"/>
                      <a:pt x="36" y="147"/>
                    </a:cubicBezTo>
                    <a:lnTo>
                      <a:pt x="4" y="16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4" name="Freeform 742">
                <a:extLst>
                  <a:ext uri="{FF2B5EF4-FFF2-40B4-BE49-F238E27FC236}">
                    <a16:creationId xmlns:a16="http://schemas.microsoft.com/office/drawing/2014/main" id="{8B11B70A-C47E-4994-9725-460B3F765E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40037" y="5586829"/>
                <a:ext cx="68478" cy="78853"/>
              </a:xfrm>
              <a:custGeom>
                <a:avLst/>
                <a:gdLst>
                  <a:gd name="T0" fmla="*/ 2 w 28"/>
                  <a:gd name="T1" fmla="*/ 32 h 32"/>
                  <a:gd name="T2" fmla="*/ 1 w 28"/>
                  <a:gd name="T3" fmla="*/ 32 h 32"/>
                  <a:gd name="T4" fmla="*/ 0 w 28"/>
                  <a:gd name="T5" fmla="*/ 30 h 32"/>
                  <a:gd name="T6" fmla="*/ 0 w 28"/>
                  <a:gd name="T7" fmla="*/ 2 h 32"/>
                  <a:gd name="T8" fmla="*/ 1 w 28"/>
                  <a:gd name="T9" fmla="*/ 0 h 32"/>
                  <a:gd name="T10" fmla="*/ 3 w 28"/>
                  <a:gd name="T11" fmla="*/ 0 h 32"/>
                  <a:gd name="T12" fmla="*/ 27 w 28"/>
                  <a:gd name="T13" fmla="*/ 14 h 32"/>
                  <a:gd name="T14" fmla="*/ 28 w 28"/>
                  <a:gd name="T15" fmla="*/ 16 h 32"/>
                  <a:gd name="T16" fmla="*/ 27 w 28"/>
                  <a:gd name="T17" fmla="*/ 18 h 32"/>
                  <a:gd name="T18" fmla="*/ 3 w 28"/>
                  <a:gd name="T19" fmla="*/ 32 h 32"/>
                  <a:gd name="T20" fmla="*/ 2 w 28"/>
                  <a:gd name="T21" fmla="*/ 32 h 32"/>
                  <a:gd name="T22" fmla="*/ 4 w 28"/>
                  <a:gd name="T23" fmla="*/ 5 h 32"/>
                  <a:gd name="T24" fmla="*/ 4 w 28"/>
                  <a:gd name="T25" fmla="*/ 27 h 32"/>
                  <a:gd name="T26" fmla="*/ 22 w 28"/>
                  <a:gd name="T27" fmla="*/ 16 h 32"/>
                  <a:gd name="T28" fmla="*/ 4 w 28"/>
                  <a:gd name="T29" fmla="*/ 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2">
                    <a:moveTo>
                      <a:pt x="2" y="32"/>
                    </a:move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8" y="15"/>
                      <a:pt x="28" y="15"/>
                      <a:pt x="28" y="16"/>
                    </a:cubicBezTo>
                    <a:cubicBezTo>
                      <a:pt x="28" y="17"/>
                      <a:pt x="28" y="17"/>
                      <a:pt x="27" y="18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lose/>
                    <a:moveTo>
                      <a:pt x="4" y="5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22" y="16"/>
                      <a:pt x="22" y="16"/>
                      <a:pt x="22" y="1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5" name="Freeform 743">
                <a:extLst>
                  <a:ext uri="{FF2B5EF4-FFF2-40B4-BE49-F238E27FC236}">
                    <a16:creationId xmlns:a16="http://schemas.microsoft.com/office/drawing/2014/main" id="{3BF4D0E3-DDF0-4062-B940-A0E23934ABD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46864" y="5741423"/>
                <a:ext cx="293624" cy="176382"/>
              </a:xfrm>
              <a:custGeom>
                <a:avLst/>
                <a:gdLst>
                  <a:gd name="T0" fmla="*/ 4 w 120"/>
                  <a:gd name="T1" fmla="*/ 72 h 72"/>
                  <a:gd name="T2" fmla="*/ 3 w 120"/>
                  <a:gd name="T3" fmla="*/ 71 h 72"/>
                  <a:gd name="T4" fmla="*/ 1 w 120"/>
                  <a:gd name="T5" fmla="*/ 70 h 72"/>
                  <a:gd name="T6" fmla="*/ 0 w 120"/>
                  <a:gd name="T7" fmla="*/ 69 h 72"/>
                  <a:gd name="T8" fmla="*/ 1 w 120"/>
                  <a:gd name="T9" fmla="*/ 67 h 72"/>
                  <a:gd name="T10" fmla="*/ 117 w 120"/>
                  <a:gd name="T11" fmla="*/ 0 h 72"/>
                  <a:gd name="T12" fmla="*/ 119 w 120"/>
                  <a:gd name="T13" fmla="*/ 0 h 72"/>
                  <a:gd name="T14" fmla="*/ 120 w 120"/>
                  <a:gd name="T15" fmla="*/ 2 h 72"/>
                  <a:gd name="T16" fmla="*/ 120 w 120"/>
                  <a:gd name="T17" fmla="*/ 4 h 72"/>
                  <a:gd name="T18" fmla="*/ 119 w 120"/>
                  <a:gd name="T19" fmla="*/ 5 h 72"/>
                  <a:gd name="T20" fmla="*/ 5 w 120"/>
                  <a:gd name="T21" fmla="*/ 71 h 72"/>
                  <a:gd name="T22" fmla="*/ 4 w 120"/>
                  <a:gd name="T2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0" h="72">
                    <a:moveTo>
                      <a:pt x="4" y="72"/>
                    </a:moveTo>
                    <a:cubicBezTo>
                      <a:pt x="3" y="72"/>
                      <a:pt x="3" y="72"/>
                      <a:pt x="3" y="71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8"/>
                      <a:pt x="1" y="67"/>
                      <a:pt x="1" y="67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20" y="0"/>
                      <a:pt x="120" y="1"/>
                      <a:pt x="120" y="2"/>
                    </a:cubicBezTo>
                    <a:cubicBezTo>
                      <a:pt x="120" y="4"/>
                      <a:pt x="120" y="4"/>
                      <a:pt x="120" y="4"/>
                    </a:cubicBezTo>
                    <a:cubicBezTo>
                      <a:pt x="120" y="4"/>
                      <a:pt x="120" y="5"/>
                      <a:pt x="119" y="5"/>
                    </a:cubicBezTo>
                    <a:cubicBezTo>
                      <a:pt x="5" y="71"/>
                      <a:pt x="5" y="71"/>
                      <a:pt x="5" y="71"/>
                    </a:cubicBezTo>
                    <a:cubicBezTo>
                      <a:pt x="5" y="72"/>
                      <a:pt x="4" y="72"/>
                      <a:pt x="4" y="7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6" name="Freeform 760">
                <a:extLst>
                  <a:ext uri="{FF2B5EF4-FFF2-40B4-BE49-F238E27FC236}">
                    <a16:creationId xmlns:a16="http://schemas.microsoft.com/office/drawing/2014/main" id="{36792861-18C6-4D6B-B71E-5FB24E1451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91177" y="6493639"/>
                <a:ext cx="26976" cy="30089"/>
              </a:xfrm>
              <a:custGeom>
                <a:avLst/>
                <a:gdLst>
                  <a:gd name="T0" fmla="*/ 9 w 11"/>
                  <a:gd name="T1" fmla="*/ 12 h 12"/>
                  <a:gd name="T2" fmla="*/ 8 w 11"/>
                  <a:gd name="T3" fmla="*/ 12 h 12"/>
                  <a:gd name="T4" fmla="*/ 1 w 11"/>
                  <a:gd name="T5" fmla="*/ 8 h 12"/>
                  <a:gd name="T6" fmla="*/ 0 w 11"/>
                  <a:gd name="T7" fmla="*/ 6 h 12"/>
                  <a:gd name="T8" fmla="*/ 1 w 11"/>
                  <a:gd name="T9" fmla="*/ 4 h 12"/>
                  <a:gd name="T10" fmla="*/ 8 w 11"/>
                  <a:gd name="T11" fmla="*/ 0 h 12"/>
                  <a:gd name="T12" fmla="*/ 10 w 11"/>
                  <a:gd name="T13" fmla="*/ 0 h 12"/>
                  <a:gd name="T14" fmla="*/ 11 w 11"/>
                  <a:gd name="T15" fmla="*/ 2 h 12"/>
                  <a:gd name="T16" fmla="*/ 11 w 11"/>
                  <a:gd name="T17" fmla="*/ 10 h 12"/>
                  <a:gd name="T18" fmla="*/ 10 w 11"/>
                  <a:gd name="T19" fmla="*/ 12 h 12"/>
                  <a:gd name="T20" fmla="*/ 9 w 11"/>
                  <a:gd name="T21" fmla="*/ 12 h 12"/>
                  <a:gd name="T22" fmla="*/ 6 w 11"/>
                  <a:gd name="T23" fmla="*/ 6 h 12"/>
                  <a:gd name="T24" fmla="*/ 7 w 11"/>
                  <a:gd name="T25" fmla="*/ 7 h 12"/>
                  <a:gd name="T26" fmla="*/ 7 w 11"/>
                  <a:gd name="T27" fmla="*/ 6 h 12"/>
                  <a:gd name="T28" fmla="*/ 6 w 11"/>
                  <a:gd name="T2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9" y="12"/>
                    </a:moveTo>
                    <a:cubicBezTo>
                      <a:pt x="9" y="12"/>
                      <a:pt x="8" y="12"/>
                      <a:pt x="8" y="1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5"/>
                      <a:pt x="1" y="5"/>
                      <a:pt x="1" y="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1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lose/>
                    <a:moveTo>
                      <a:pt x="6" y="6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7" name="Freeform 761">
                <a:extLst>
                  <a:ext uri="{FF2B5EF4-FFF2-40B4-BE49-F238E27FC236}">
                    <a16:creationId xmlns:a16="http://schemas.microsoft.com/office/drawing/2014/main" id="{59E0996E-573D-4C28-88F2-EF70698582A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391177" y="6371209"/>
                <a:ext cx="147331" cy="91303"/>
              </a:xfrm>
              <a:custGeom>
                <a:avLst/>
                <a:gdLst>
                  <a:gd name="T0" fmla="*/ 58 w 60"/>
                  <a:gd name="T1" fmla="*/ 37 h 37"/>
                  <a:gd name="T2" fmla="*/ 57 w 60"/>
                  <a:gd name="T3" fmla="*/ 37 h 37"/>
                  <a:gd name="T4" fmla="*/ 1 w 60"/>
                  <a:gd name="T5" fmla="*/ 5 h 37"/>
                  <a:gd name="T6" fmla="*/ 0 w 60"/>
                  <a:gd name="T7" fmla="*/ 3 h 37"/>
                  <a:gd name="T8" fmla="*/ 1 w 60"/>
                  <a:gd name="T9" fmla="*/ 1 h 37"/>
                  <a:gd name="T10" fmla="*/ 3 w 60"/>
                  <a:gd name="T11" fmla="*/ 1 h 37"/>
                  <a:gd name="T12" fmla="*/ 5 w 60"/>
                  <a:gd name="T13" fmla="*/ 1 h 37"/>
                  <a:gd name="T14" fmla="*/ 59 w 60"/>
                  <a:gd name="T15" fmla="*/ 32 h 37"/>
                  <a:gd name="T16" fmla="*/ 60 w 60"/>
                  <a:gd name="T17" fmla="*/ 34 h 37"/>
                  <a:gd name="T18" fmla="*/ 60 w 60"/>
                  <a:gd name="T19" fmla="*/ 35 h 37"/>
                  <a:gd name="T20" fmla="*/ 59 w 60"/>
                  <a:gd name="T21" fmla="*/ 37 h 37"/>
                  <a:gd name="T22" fmla="*/ 58 w 60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37">
                    <a:moveTo>
                      <a:pt x="58" y="37"/>
                    </a:moveTo>
                    <a:cubicBezTo>
                      <a:pt x="58" y="37"/>
                      <a:pt x="57" y="37"/>
                      <a:pt x="57" y="3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9" y="32"/>
                      <a:pt x="59" y="32"/>
                      <a:pt x="59" y="32"/>
                    </a:cubicBezTo>
                    <a:cubicBezTo>
                      <a:pt x="60" y="32"/>
                      <a:pt x="60" y="33"/>
                      <a:pt x="60" y="34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6"/>
                      <a:pt x="60" y="37"/>
                      <a:pt x="59" y="37"/>
                    </a:cubicBezTo>
                    <a:cubicBezTo>
                      <a:pt x="59" y="37"/>
                      <a:pt x="59" y="37"/>
                      <a:pt x="58" y="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8" name="Freeform 762">
                <a:extLst>
                  <a:ext uri="{FF2B5EF4-FFF2-40B4-BE49-F238E27FC236}">
                    <a16:creationId xmlns:a16="http://schemas.microsoft.com/office/drawing/2014/main" id="{D32316CF-55E2-4B05-98C2-C75390CA0D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91177" y="6295469"/>
                <a:ext cx="140068" cy="159781"/>
              </a:xfrm>
              <a:custGeom>
                <a:avLst/>
                <a:gdLst>
                  <a:gd name="T0" fmla="*/ 55 w 57"/>
                  <a:gd name="T1" fmla="*/ 65 h 65"/>
                  <a:gd name="T2" fmla="*/ 54 w 57"/>
                  <a:gd name="T3" fmla="*/ 65 h 65"/>
                  <a:gd name="T4" fmla="*/ 1 w 57"/>
                  <a:gd name="T5" fmla="*/ 34 h 65"/>
                  <a:gd name="T6" fmla="*/ 0 w 57"/>
                  <a:gd name="T7" fmla="*/ 32 h 65"/>
                  <a:gd name="T8" fmla="*/ 1 w 57"/>
                  <a:gd name="T9" fmla="*/ 31 h 65"/>
                  <a:gd name="T10" fmla="*/ 54 w 57"/>
                  <a:gd name="T11" fmla="*/ 0 h 65"/>
                  <a:gd name="T12" fmla="*/ 56 w 57"/>
                  <a:gd name="T13" fmla="*/ 0 h 65"/>
                  <a:gd name="T14" fmla="*/ 57 w 57"/>
                  <a:gd name="T15" fmla="*/ 2 h 65"/>
                  <a:gd name="T16" fmla="*/ 57 w 57"/>
                  <a:gd name="T17" fmla="*/ 63 h 65"/>
                  <a:gd name="T18" fmla="*/ 56 w 57"/>
                  <a:gd name="T19" fmla="*/ 65 h 65"/>
                  <a:gd name="T20" fmla="*/ 55 w 57"/>
                  <a:gd name="T21" fmla="*/ 65 h 65"/>
                  <a:gd name="T22" fmla="*/ 6 w 57"/>
                  <a:gd name="T23" fmla="*/ 32 h 65"/>
                  <a:gd name="T24" fmla="*/ 53 w 57"/>
                  <a:gd name="T25" fmla="*/ 59 h 65"/>
                  <a:gd name="T26" fmla="*/ 53 w 57"/>
                  <a:gd name="T27" fmla="*/ 5 h 65"/>
                  <a:gd name="T28" fmla="*/ 6 w 57"/>
                  <a:gd name="T29" fmla="*/ 3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65">
                    <a:moveTo>
                      <a:pt x="55" y="65"/>
                    </a:moveTo>
                    <a:cubicBezTo>
                      <a:pt x="55" y="65"/>
                      <a:pt x="54" y="65"/>
                      <a:pt x="54" y="6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2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0"/>
                      <a:pt x="56" y="0"/>
                    </a:cubicBezTo>
                    <a:cubicBezTo>
                      <a:pt x="57" y="0"/>
                      <a:pt x="57" y="1"/>
                      <a:pt x="57" y="2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7" y="64"/>
                      <a:pt x="57" y="64"/>
                      <a:pt x="56" y="65"/>
                    </a:cubicBezTo>
                    <a:cubicBezTo>
                      <a:pt x="56" y="65"/>
                      <a:pt x="56" y="65"/>
                      <a:pt x="55" y="65"/>
                    </a:cubicBezTo>
                    <a:close/>
                    <a:moveTo>
                      <a:pt x="6" y="32"/>
                    </a:move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9" name="Freeform 763">
                <a:extLst>
                  <a:ext uri="{FF2B5EF4-FFF2-40B4-BE49-F238E27FC236}">
                    <a16:creationId xmlns:a16="http://schemas.microsoft.com/office/drawing/2014/main" id="{C71E0B81-5F65-491F-B317-7812AD7B7E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273935" y="6874416"/>
                <a:ext cx="142143" cy="109979"/>
              </a:xfrm>
              <a:custGeom>
                <a:avLst/>
                <a:gdLst>
                  <a:gd name="T0" fmla="*/ 41 w 58"/>
                  <a:gd name="T1" fmla="*/ 45 h 45"/>
                  <a:gd name="T2" fmla="*/ 40 w 58"/>
                  <a:gd name="T3" fmla="*/ 44 h 45"/>
                  <a:gd name="T4" fmla="*/ 1 w 58"/>
                  <a:gd name="T5" fmla="*/ 22 h 45"/>
                  <a:gd name="T6" fmla="*/ 0 w 58"/>
                  <a:gd name="T7" fmla="*/ 20 h 45"/>
                  <a:gd name="T8" fmla="*/ 0 w 58"/>
                  <a:gd name="T9" fmla="*/ 2 h 45"/>
                  <a:gd name="T10" fmla="*/ 1 w 58"/>
                  <a:gd name="T11" fmla="*/ 1 h 45"/>
                  <a:gd name="T12" fmla="*/ 3 w 58"/>
                  <a:gd name="T13" fmla="*/ 1 h 45"/>
                  <a:gd name="T14" fmla="*/ 57 w 58"/>
                  <a:gd name="T15" fmla="*/ 32 h 45"/>
                  <a:gd name="T16" fmla="*/ 58 w 58"/>
                  <a:gd name="T17" fmla="*/ 34 h 45"/>
                  <a:gd name="T18" fmla="*/ 57 w 58"/>
                  <a:gd name="T19" fmla="*/ 35 h 45"/>
                  <a:gd name="T20" fmla="*/ 42 w 58"/>
                  <a:gd name="T21" fmla="*/ 44 h 45"/>
                  <a:gd name="T22" fmla="*/ 41 w 58"/>
                  <a:gd name="T23" fmla="*/ 45 h 45"/>
                  <a:gd name="T24" fmla="*/ 4 w 58"/>
                  <a:gd name="T25" fmla="*/ 19 h 45"/>
                  <a:gd name="T26" fmla="*/ 41 w 58"/>
                  <a:gd name="T27" fmla="*/ 40 h 45"/>
                  <a:gd name="T28" fmla="*/ 52 w 58"/>
                  <a:gd name="T29" fmla="*/ 34 h 45"/>
                  <a:gd name="T30" fmla="*/ 4 w 58"/>
                  <a:gd name="T31" fmla="*/ 6 h 45"/>
                  <a:gd name="T32" fmla="*/ 4 w 58"/>
                  <a:gd name="T33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8" h="45">
                    <a:moveTo>
                      <a:pt x="41" y="45"/>
                    </a:moveTo>
                    <a:cubicBezTo>
                      <a:pt x="40" y="45"/>
                      <a:pt x="40" y="45"/>
                      <a:pt x="40" y="44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0" y="21"/>
                      <a:pt x="0" y="2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58" y="32"/>
                      <a:pt x="58" y="33"/>
                      <a:pt x="58" y="34"/>
                    </a:cubicBezTo>
                    <a:cubicBezTo>
                      <a:pt x="58" y="34"/>
                      <a:pt x="58" y="35"/>
                      <a:pt x="57" y="3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1" y="45"/>
                      <a:pt x="41" y="45"/>
                      <a:pt x="41" y="45"/>
                    </a:cubicBezTo>
                    <a:close/>
                    <a:moveTo>
                      <a:pt x="4" y="19"/>
                    </a:moveTo>
                    <a:cubicBezTo>
                      <a:pt x="41" y="40"/>
                      <a:pt x="41" y="40"/>
                      <a:pt x="41" y="40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0" name="Freeform 764">
                <a:extLst>
                  <a:ext uri="{FF2B5EF4-FFF2-40B4-BE49-F238E27FC236}">
                    <a16:creationId xmlns:a16="http://schemas.microsoft.com/office/drawing/2014/main" id="{50B1F0EE-7229-4141-8CCD-D05A022B71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15437" y="6876491"/>
                <a:ext cx="367290" cy="240709"/>
              </a:xfrm>
              <a:custGeom>
                <a:avLst/>
                <a:gdLst>
                  <a:gd name="T0" fmla="*/ 57 w 150"/>
                  <a:gd name="T1" fmla="*/ 98 h 98"/>
                  <a:gd name="T2" fmla="*/ 56 w 150"/>
                  <a:gd name="T3" fmla="*/ 97 h 98"/>
                  <a:gd name="T4" fmla="*/ 1 w 150"/>
                  <a:gd name="T5" fmla="*/ 66 h 98"/>
                  <a:gd name="T6" fmla="*/ 0 w 150"/>
                  <a:gd name="T7" fmla="*/ 64 h 98"/>
                  <a:gd name="T8" fmla="*/ 1 w 150"/>
                  <a:gd name="T9" fmla="*/ 62 h 98"/>
                  <a:gd name="T10" fmla="*/ 109 w 150"/>
                  <a:gd name="T11" fmla="*/ 1 h 98"/>
                  <a:gd name="T12" fmla="*/ 111 w 150"/>
                  <a:gd name="T13" fmla="*/ 1 h 98"/>
                  <a:gd name="T14" fmla="*/ 112 w 150"/>
                  <a:gd name="T15" fmla="*/ 2 h 98"/>
                  <a:gd name="T16" fmla="*/ 112 w 150"/>
                  <a:gd name="T17" fmla="*/ 19 h 98"/>
                  <a:gd name="T18" fmla="*/ 149 w 150"/>
                  <a:gd name="T19" fmla="*/ 41 h 98"/>
                  <a:gd name="T20" fmla="*/ 150 w 150"/>
                  <a:gd name="T21" fmla="*/ 43 h 98"/>
                  <a:gd name="T22" fmla="*/ 149 w 150"/>
                  <a:gd name="T23" fmla="*/ 44 h 98"/>
                  <a:gd name="T24" fmla="*/ 58 w 150"/>
                  <a:gd name="T25" fmla="*/ 97 h 98"/>
                  <a:gd name="T26" fmla="*/ 57 w 150"/>
                  <a:gd name="T27" fmla="*/ 98 h 98"/>
                  <a:gd name="T28" fmla="*/ 6 w 150"/>
                  <a:gd name="T29" fmla="*/ 64 h 98"/>
                  <a:gd name="T30" fmla="*/ 57 w 150"/>
                  <a:gd name="T31" fmla="*/ 93 h 98"/>
                  <a:gd name="T32" fmla="*/ 144 w 150"/>
                  <a:gd name="T33" fmla="*/ 43 h 98"/>
                  <a:gd name="T34" fmla="*/ 109 w 150"/>
                  <a:gd name="T35" fmla="*/ 22 h 98"/>
                  <a:gd name="T36" fmla="*/ 108 w 150"/>
                  <a:gd name="T37" fmla="*/ 20 h 98"/>
                  <a:gd name="T38" fmla="*/ 108 w 150"/>
                  <a:gd name="T39" fmla="*/ 6 h 98"/>
                  <a:gd name="T40" fmla="*/ 6 w 150"/>
                  <a:gd name="T41" fmla="*/ 6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98">
                    <a:moveTo>
                      <a:pt x="57" y="98"/>
                    </a:moveTo>
                    <a:cubicBezTo>
                      <a:pt x="56" y="98"/>
                      <a:pt x="56" y="97"/>
                      <a:pt x="56" y="97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1" y="66"/>
                      <a:pt x="0" y="65"/>
                      <a:pt x="0" y="64"/>
                    </a:cubicBezTo>
                    <a:cubicBezTo>
                      <a:pt x="0" y="63"/>
                      <a:pt x="1" y="63"/>
                      <a:pt x="1" y="62"/>
                    </a:cubicBezTo>
                    <a:cubicBezTo>
                      <a:pt x="109" y="1"/>
                      <a:pt x="109" y="1"/>
                      <a:pt x="109" y="1"/>
                    </a:cubicBezTo>
                    <a:cubicBezTo>
                      <a:pt x="109" y="0"/>
                      <a:pt x="110" y="0"/>
                      <a:pt x="111" y="1"/>
                    </a:cubicBezTo>
                    <a:cubicBezTo>
                      <a:pt x="111" y="1"/>
                      <a:pt x="112" y="2"/>
                      <a:pt x="112" y="2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49" y="41"/>
                      <a:pt x="149" y="41"/>
                      <a:pt x="149" y="41"/>
                    </a:cubicBezTo>
                    <a:cubicBezTo>
                      <a:pt x="150" y="41"/>
                      <a:pt x="150" y="42"/>
                      <a:pt x="150" y="43"/>
                    </a:cubicBezTo>
                    <a:cubicBezTo>
                      <a:pt x="150" y="43"/>
                      <a:pt x="150" y="44"/>
                      <a:pt x="149" y="44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7" y="97"/>
                      <a:pt x="57" y="98"/>
                      <a:pt x="57" y="98"/>
                    </a:cubicBezTo>
                    <a:close/>
                    <a:moveTo>
                      <a:pt x="6" y="64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09" y="22"/>
                      <a:pt x="109" y="22"/>
                      <a:pt x="109" y="22"/>
                    </a:cubicBezTo>
                    <a:cubicBezTo>
                      <a:pt x="108" y="22"/>
                      <a:pt x="108" y="21"/>
                      <a:pt x="108" y="20"/>
                    </a:cubicBezTo>
                    <a:cubicBezTo>
                      <a:pt x="108" y="6"/>
                      <a:pt x="108" y="6"/>
                      <a:pt x="108" y="6"/>
                    </a:cubicBezTo>
                    <a:lnTo>
                      <a:pt x="6" y="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1" name="Freeform 765">
                <a:extLst>
                  <a:ext uri="{FF2B5EF4-FFF2-40B4-BE49-F238E27FC236}">
                    <a16:creationId xmlns:a16="http://schemas.microsoft.com/office/drawing/2014/main" id="{7A967E46-FDFB-48C9-A493-4A4A6EAC31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91177" y="6579755"/>
                <a:ext cx="24901" cy="298811"/>
              </a:xfrm>
              <a:custGeom>
                <a:avLst/>
                <a:gdLst>
                  <a:gd name="T0" fmla="*/ 2 w 10"/>
                  <a:gd name="T1" fmla="*/ 122 h 122"/>
                  <a:gd name="T2" fmla="*/ 1 w 10"/>
                  <a:gd name="T3" fmla="*/ 122 h 122"/>
                  <a:gd name="T4" fmla="*/ 0 w 10"/>
                  <a:gd name="T5" fmla="*/ 120 h 122"/>
                  <a:gd name="T6" fmla="*/ 0 w 10"/>
                  <a:gd name="T7" fmla="*/ 2 h 122"/>
                  <a:gd name="T8" fmla="*/ 1 w 10"/>
                  <a:gd name="T9" fmla="*/ 1 h 122"/>
                  <a:gd name="T10" fmla="*/ 3 w 10"/>
                  <a:gd name="T11" fmla="*/ 1 h 122"/>
                  <a:gd name="T12" fmla="*/ 9 w 10"/>
                  <a:gd name="T13" fmla="*/ 4 h 122"/>
                  <a:gd name="T14" fmla="*/ 10 w 10"/>
                  <a:gd name="T15" fmla="*/ 6 h 122"/>
                  <a:gd name="T16" fmla="*/ 10 w 10"/>
                  <a:gd name="T17" fmla="*/ 117 h 122"/>
                  <a:gd name="T18" fmla="*/ 9 w 10"/>
                  <a:gd name="T19" fmla="*/ 119 h 122"/>
                  <a:gd name="T20" fmla="*/ 3 w 10"/>
                  <a:gd name="T21" fmla="*/ 122 h 122"/>
                  <a:gd name="T22" fmla="*/ 2 w 10"/>
                  <a:gd name="T23" fmla="*/ 122 h 122"/>
                  <a:gd name="T24" fmla="*/ 4 w 10"/>
                  <a:gd name="T25" fmla="*/ 6 h 122"/>
                  <a:gd name="T26" fmla="*/ 4 w 10"/>
                  <a:gd name="T27" fmla="*/ 117 h 122"/>
                  <a:gd name="T28" fmla="*/ 6 w 10"/>
                  <a:gd name="T29" fmla="*/ 116 h 122"/>
                  <a:gd name="T30" fmla="*/ 6 w 10"/>
                  <a:gd name="T31" fmla="*/ 7 h 122"/>
                  <a:gd name="T32" fmla="*/ 4 w 10"/>
                  <a:gd name="T33" fmla="*/ 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22">
                    <a:moveTo>
                      <a:pt x="2" y="122"/>
                    </a:moveTo>
                    <a:cubicBezTo>
                      <a:pt x="2" y="122"/>
                      <a:pt x="1" y="122"/>
                      <a:pt x="1" y="122"/>
                    </a:cubicBezTo>
                    <a:cubicBezTo>
                      <a:pt x="1" y="122"/>
                      <a:pt x="0" y="121"/>
                      <a:pt x="0" y="12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117"/>
                      <a:pt x="10" y="117"/>
                      <a:pt x="10" y="117"/>
                    </a:cubicBezTo>
                    <a:cubicBezTo>
                      <a:pt x="10" y="118"/>
                      <a:pt x="10" y="118"/>
                      <a:pt x="9" y="119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2"/>
                      <a:pt x="3" y="122"/>
                      <a:pt x="2" y="122"/>
                    </a:cubicBezTo>
                    <a:close/>
                    <a:moveTo>
                      <a:pt x="4" y="6"/>
                    </a:moveTo>
                    <a:cubicBezTo>
                      <a:pt x="4" y="117"/>
                      <a:pt x="4" y="117"/>
                      <a:pt x="4" y="117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2" name="Freeform 766">
                <a:extLst>
                  <a:ext uri="{FF2B5EF4-FFF2-40B4-BE49-F238E27FC236}">
                    <a16:creationId xmlns:a16="http://schemas.microsoft.com/office/drawing/2014/main" id="{CC7F5311-F939-4EB9-A5FA-1C01ACE046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62372" y="5910542"/>
                <a:ext cx="123467" cy="142143"/>
              </a:xfrm>
              <a:custGeom>
                <a:avLst/>
                <a:gdLst>
                  <a:gd name="T0" fmla="*/ 2 w 50"/>
                  <a:gd name="T1" fmla="*/ 58 h 58"/>
                  <a:gd name="T2" fmla="*/ 1 w 50"/>
                  <a:gd name="T3" fmla="*/ 58 h 58"/>
                  <a:gd name="T4" fmla="*/ 0 w 50"/>
                  <a:gd name="T5" fmla="*/ 56 h 58"/>
                  <a:gd name="T6" fmla="*/ 0 w 50"/>
                  <a:gd name="T7" fmla="*/ 2 h 58"/>
                  <a:gd name="T8" fmla="*/ 1 w 50"/>
                  <a:gd name="T9" fmla="*/ 0 h 58"/>
                  <a:gd name="T10" fmla="*/ 3 w 50"/>
                  <a:gd name="T11" fmla="*/ 0 h 58"/>
                  <a:gd name="T12" fmla="*/ 49 w 50"/>
                  <a:gd name="T13" fmla="*/ 28 h 58"/>
                  <a:gd name="T14" fmla="*/ 50 w 50"/>
                  <a:gd name="T15" fmla="*/ 29 h 58"/>
                  <a:gd name="T16" fmla="*/ 49 w 50"/>
                  <a:gd name="T17" fmla="*/ 31 h 58"/>
                  <a:gd name="T18" fmla="*/ 3 w 50"/>
                  <a:gd name="T19" fmla="*/ 58 h 58"/>
                  <a:gd name="T20" fmla="*/ 2 w 50"/>
                  <a:gd name="T21" fmla="*/ 58 h 58"/>
                  <a:gd name="T22" fmla="*/ 4 w 50"/>
                  <a:gd name="T23" fmla="*/ 6 h 58"/>
                  <a:gd name="T24" fmla="*/ 4 w 50"/>
                  <a:gd name="T25" fmla="*/ 53 h 58"/>
                  <a:gd name="T26" fmla="*/ 44 w 50"/>
                  <a:gd name="T27" fmla="*/ 29 h 58"/>
                  <a:gd name="T28" fmla="*/ 4 w 50"/>
                  <a:gd name="T29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" h="58">
                    <a:moveTo>
                      <a:pt x="2" y="58"/>
                    </a:move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9"/>
                      <a:pt x="50" y="29"/>
                    </a:cubicBezTo>
                    <a:cubicBezTo>
                      <a:pt x="50" y="30"/>
                      <a:pt x="50" y="31"/>
                      <a:pt x="49" y="31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8"/>
                      <a:pt x="2" y="58"/>
                      <a:pt x="2" y="58"/>
                    </a:cubicBezTo>
                    <a:close/>
                    <a:moveTo>
                      <a:pt x="4" y="6"/>
                    </a:moveTo>
                    <a:cubicBezTo>
                      <a:pt x="4" y="53"/>
                      <a:pt x="4" y="53"/>
                      <a:pt x="4" y="53"/>
                    </a:cubicBezTo>
                    <a:cubicBezTo>
                      <a:pt x="44" y="29"/>
                      <a:pt x="44" y="29"/>
                      <a:pt x="44" y="29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3" name="Freeform 770">
                <a:extLst>
                  <a:ext uri="{FF2B5EF4-FFF2-40B4-BE49-F238E27FC236}">
                    <a16:creationId xmlns:a16="http://schemas.microsoft.com/office/drawing/2014/main" id="{F71B8908-145B-4817-83B5-A7E2CEB8BC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56938" y="6101449"/>
                <a:ext cx="39427" cy="196095"/>
              </a:xfrm>
              <a:custGeom>
                <a:avLst/>
                <a:gdLst>
                  <a:gd name="T0" fmla="*/ 2 w 16"/>
                  <a:gd name="T1" fmla="*/ 80 h 80"/>
                  <a:gd name="T2" fmla="*/ 1 w 16"/>
                  <a:gd name="T3" fmla="*/ 80 h 80"/>
                  <a:gd name="T4" fmla="*/ 0 w 16"/>
                  <a:gd name="T5" fmla="*/ 78 h 80"/>
                  <a:gd name="T6" fmla="*/ 0 w 16"/>
                  <a:gd name="T7" fmla="*/ 9 h 80"/>
                  <a:gd name="T8" fmla="*/ 1 w 16"/>
                  <a:gd name="T9" fmla="*/ 8 h 80"/>
                  <a:gd name="T10" fmla="*/ 13 w 16"/>
                  <a:gd name="T11" fmla="*/ 1 h 80"/>
                  <a:gd name="T12" fmla="*/ 15 w 16"/>
                  <a:gd name="T13" fmla="*/ 1 h 80"/>
                  <a:gd name="T14" fmla="*/ 16 w 16"/>
                  <a:gd name="T15" fmla="*/ 2 h 80"/>
                  <a:gd name="T16" fmla="*/ 16 w 16"/>
                  <a:gd name="T17" fmla="*/ 71 h 80"/>
                  <a:gd name="T18" fmla="*/ 15 w 16"/>
                  <a:gd name="T19" fmla="*/ 73 h 80"/>
                  <a:gd name="T20" fmla="*/ 3 w 16"/>
                  <a:gd name="T21" fmla="*/ 80 h 80"/>
                  <a:gd name="T22" fmla="*/ 2 w 16"/>
                  <a:gd name="T23" fmla="*/ 80 h 80"/>
                  <a:gd name="T24" fmla="*/ 4 w 16"/>
                  <a:gd name="T25" fmla="*/ 11 h 80"/>
                  <a:gd name="T26" fmla="*/ 4 w 16"/>
                  <a:gd name="T27" fmla="*/ 75 h 80"/>
                  <a:gd name="T28" fmla="*/ 12 w 16"/>
                  <a:gd name="T29" fmla="*/ 70 h 80"/>
                  <a:gd name="T30" fmla="*/ 12 w 16"/>
                  <a:gd name="T31" fmla="*/ 6 h 80"/>
                  <a:gd name="T32" fmla="*/ 4 w 16"/>
                  <a:gd name="T33" fmla="*/ 1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80">
                    <a:moveTo>
                      <a:pt x="2" y="80"/>
                    </a:move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15" y="1"/>
                      <a:pt x="16" y="2"/>
                      <a:pt x="16" y="2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2"/>
                      <a:pt x="15" y="72"/>
                      <a:pt x="15" y="73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2" y="80"/>
                      <a:pt x="2" y="80"/>
                      <a:pt x="2" y="80"/>
                    </a:cubicBezTo>
                    <a:close/>
                    <a:moveTo>
                      <a:pt x="4" y="11"/>
                    </a:moveTo>
                    <a:cubicBezTo>
                      <a:pt x="4" y="75"/>
                      <a:pt x="4" y="75"/>
                      <a:pt x="4" y="75"/>
                    </a:cubicBezTo>
                    <a:cubicBezTo>
                      <a:pt x="12" y="70"/>
                      <a:pt x="12" y="70"/>
                      <a:pt x="12" y="70"/>
                    </a:cubicBezTo>
                    <a:cubicBezTo>
                      <a:pt x="12" y="6"/>
                      <a:pt x="12" y="6"/>
                      <a:pt x="12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4" name="Freeform 773">
                <a:extLst>
                  <a:ext uri="{FF2B5EF4-FFF2-40B4-BE49-F238E27FC236}">
                    <a16:creationId xmlns:a16="http://schemas.microsoft.com/office/drawing/2014/main" id="{F62D06D9-ED59-4835-BF04-B0217264C7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56938" y="6275755"/>
                <a:ext cx="39427" cy="199208"/>
              </a:xfrm>
              <a:custGeom>
                <a:avLst/>
                <a:gdLst>
                  <a:gd name="T0" fmla="*/ 14 w 16"/>
                  <a:gd name="T1" fmla="*/ 81 h 81"/>
                  <a:gd name="T2" fmla="*/ 13 w 16"/>
                  <a:gd name="T3" fmla="*/ 81 h 81"/>
                  <a:gd name="T4" fmla="*/ 1 w 16"/>
                  <a:gd name="T5" fmla="*/ 74 h 81"/>
                  <a:gd name="T6" fmla="*/ 0 w 16"/>
                  <a:gd name="T7" fmla="*/ 72 h 81"/>
                  <a:gd name="T8" fmla="*/ 0 w 16"/>
                  <a:gd name="T9" fmla="*/ 9 h 81"/>
                  <a:gd name="T10" fmla="*/ 1 w 16"/>
                  <a:gd name="T11" fmla="*/ 7 h 81"/>
                  <a:gd name="T12" fmla="*/ 13 w 16"/>
                  <a:gd name="T13" fmla="*/ 0 h 81"/>
                  <a:gd name="T14" fmla="*/ 15 w 16"/>
                  <a:gd name="T15" fmla="*/ 0 h 81"/>
                  <a:gd name="T16" fmla="*/ 16 w 16"/>
                  <a:gd name="T17" fmla="*/ 2 h 81"/>
                  <a:gd name="T18" fmla="*/ 16 w 16"/>
                  <a:gd name="T19" fmla="*/ 79 h 81"/>
                  <a:gd name="T20" fmla="*/ 15 w 16"/>
                  <a:gd name="T21" fmla="*/ 81 h 81"/>
                  <a:gd name="T22" fmla="*/ 14 w 16"/>
                  <a:gd name="T23" fmla="*/ 81 h 81"/>
                  <a:gd name="T24" fmla="*/ 4 w 16"/>
                  <a:gd name="T25" fmla="*/ 71 h 81"/>
                  <a:gd name="T26" fmla="*/ 12 w 16"/>
                  <a:gd name="T27" fmla="*/ 75 h 81"/>
                  <a:gd name="T28" fmla="*/ 12 w 16"/>
                  <a:gd name="T29" fmla="*/ 5 h 81"/>
                  <a:gd name="T30" fmla="*/ 4 w 16"/>
                  <a:gd name="T31" fmla="*/ 10 h 81"/>
                  <a:gd name="T32" fmla="*/ 4 w 16"/>
                  <a:gd name="T33" fmla="*/ 7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81">
                    <a:moveTo>
                      <a:pt x="14" y="81"/>
                    </a:moveTo>
                    <a:cubicBezTo>
                      <a:pt x="14" y="81"/>
                      <a:pt x="13" y="81"/>
                      <a:pt x="13" y="81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3"/>
                      <a:pt x="0" y="73"/>
                      <a:pt x="0" y="72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8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5" y="1"/>
                      <a:pt x="16" y="1"/>
                      <a:pt x="16" y="2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6" y="80"/>
                      <a:pt x="15" y="80"/>
                      <a:pt x="15" y="81"/>
                    </a:cubicBezTo>
                    <a:cubicBezTo>
                      <a:pt x="15" y="81"/>
                      <a:pt x="14" y="81"/>
                      <a:pt x="14" y="81"/>
                    </a:cubicBezTo>
                    <a:close/>
                    <a:moveTo>
                      <a:pt x="4" y="71"/>
                    </a:move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7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5" name="Freeform 799">
                <a:extLst>
                  <a:ext uri="{FF2B5EF4-FFF2-40B4-BE49-F238E27FC236}">
                    <a16:creationId xmlns:a16="http://schemas.microsoft.com/office/drawing/2014/main" id="{54D5E240-18E3-49B1-9730-FF86857F74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14985" y="6405448"/>
                <a:ext cx="43577" cy="51877"/>
              </a:xfrm>
              <a:custGeom>
                <a:avLst/>
                <a:gdLst>
                  <a:gd name="T0" fmla="*/ 16 w 18"/>
                  <a:gd name="T1" fmla="*/ 21 h 21"/>
                  <a:gd name="T2" fmla="*/ 15 w 18"/>
                  <a:gd name="T3" fmla="*/ 20 h 21"/>
                  <a:gd name="T4" fmla="*/ 1 w 18"/>
                  <a:gd name="T5" fmla="*/ 12 h 21"/>
                  <a:gd name="T6" fmla="*/ 0 w 18"/>
                  <a:gd name="T7" fmla="*/ 10 h 21"/>
                  <a:gd name="T8" fmla="*/ 1 w 18"/>
                  <a:gd name="T9" fmla="*/ 9 h 21"/>
                  <a:gd name="T10" fmla="*/ 15 w 18"/>
                  <a:gd name="T11" fmla="*/ 0 h 21"/>
                  <a:gd name="T12" fmla="*/ 17 w 18"/>
                  <a:gd name="T13" fmla="*/ 0 h 21"/>
                  <a:gd name="T14" fmla="*/ 18 w 18"/>
                  <a:gd name="T15" fmla="*/ 2 h 21"/>
                  <a:gd name="T16" fmla="*/ 18 w 18"/>
                  <a:gd name="T17" fmla="*/ 19 h 21"/>
                  <a:gd name="T18" fmla="*/ 17 w 18"/>
                  <a:gd name="T19" fmla="*/ 20 h 21"/>
                  <a:gd name="T20" fmla="*/ 16 w 18"/>
                  <a:gd name="T21" fmla="*/ 21 h 21"/>
                  <a:gd name="T22" fmla="*/ 6 w 18"/>
                  <a:gd name="T23" fmla="*/ 10 h 21"/>
                  <a:gd name="T24" fmla="*/ 14 w 18"/>
                  <a:gd name="T25" fmla="*/ 15 h 21"/>
                  <a:gd name="T26" fmla="*/ 14 w 18"/>
                  <a:gd name="T27" fmla="*/ 6 h 21"/>
                  <a:gd name="T28" fmla="*/ 6 w 18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21">
                    <a:moveTo>
                      <a:pt x="16" y="21"/>
                    </a:moveTo>
                    <a:cubicBezTo>
                      <a:pt x="16" y="21"/>
                      <a:pt x="15" y="21"/>
                      <a:pt x="15" y="20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6" y="0"/>
                      <a:pt x="17" y="0"/>
                    </a:cubicBezTo>
                    <a:cubicBezTo>
                      <a:pt x="18" y="1"/>
                      <a:pt x="18" y="1"/>
                      <a:pt x="18" y="2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19"/>
                      <a:pt x="18" y="20"/>
                      <a:pt x="17" y="20"/>
                    </a:cubicBezTo>
                    <a:cubicBezTo>
                      <a:pt x="17" y="21"/>
                      <a:pt x="16" y="21"/>
                      <a:pt x="16" y="21"/>
                    </a:cubicBezTo>
                    <a:close/>
                    <a:moveTo>
                      <a:pt x="6" y="10"/>
                    </a:move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6"/>
                      <a:pt x="14" y="6"/>
                      <a:pt x="14" y="6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6" name="Freeform 800">
                <a:extLst>
                  <a:ext uri="{FF2B5EF4-FFF2-40B4-BE49-F238E27FC236}">
                    <a16:creationId xmlns:a16="http://schemas.microsoft.com/office/drawing/2014/main" id="{F8BB3AFB-1C96-4570-9E62-2B18C9E9A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03723" y="6286131"/>
                <a:ext cx="161856" cy="149406"/>
              </a:xfrm>
              <a:custGeom>
                <a:avLst/>
                <a:gdLst>
                  <a:gd name="T0" fmla="*/ 49 w 66"/>
                  <a:gd name="T1" fmla="*/ 61 h 61"/>
                  <a:gd name="T2" fmla="*/ 48 w 66"/>
                  <a:gd name="T3" fmla="*/ 61 h 61"/>
                  <a:gd name="T4" fmla="*/ 1 w 66"/>
                  <a:gd name="T5" fmla="*/ 34 h 61"/>
                  <a:gd name="T6" fmla="*/ 0 w 66"/>
                  <a:gd name="T7" fmla="*/ 32 h 61"/>
                  <a:gd name="T8" fmla="*/ 0 w 66"/>
                  <a:gd name="T9" fmla="*/ 16 h 61"/>
                  <a:gd name="T10" fmla="*/ 1 w 66"/>
                  <a:gd name="T11" fmla="*/ 14 h 61"/>
                  <a:gd name="T12" fmla="*/ 10 w 66"/>
                  <a:gd name="T13" fmla="*/ 9 h 61"/>
                  <a:gd name="T14" fmla="*/ 10 w 66"/>
                  <a:gd name="T15" fmla="*/ 5 h 61"/>
                  <a:gd name="T16" fmla="*/ 11 w 66"/>
                  <a:gd name="T17" fmla="*/ 3 h 61"/>
                  <a:gd name="T18" fmla="*/ 17 w 66"/>
                  <a:gd name="T19" fmla="*/ 0 h 61"/>
                  <a:gd name="T20" fmla="*/ 19 w 66"/>
                  <a:gd name="T21" fmla="*/ 0 h 61"/>
                  <a:gd name="T22" fmla="*/ 65 w 66"/>
                  <a:gd name="T23" fmla="*/ 27 h 61"/>
                  <a:gd name="T24" fmla="*/ 66 w 66"/>
                  <a:gd name="T25" fmla="*/ 29 h 61"/>
                  <a:gd name="T26" fmla="*/ 66 w 66"/>
                  <a:gd name="T27" fmla="*/ 50 h 61"/>
                  <a:gd name="T28" fmla="*/ 65 w 66"/>
                  <a:gd name="T29" fmla="*/ 52 h 61"/>
                  <a:gd name="T30" fmla="*/ 50 w 66"/>
                  <a:gd name="T31" fmla="*/ 61 h 61"/>
                  <a:gd name="T32" fmla="*/ 49 w 66"/>
                  <a:gd name="T33" fmla="*/ 61 h 61"/>
                  <a:gd name="T34" fmla="*/ 4 w 66"/>
                  <a:gd name="T35" fmla="*/ 31 h 61"/>
                  <a:gd name="T36" fmla="*/ 49 w 66"/>
                  <a:gd name="T37" fmla="*/ 57 h 61"/>
                  <a:gd name="T38" fmla="*/ 62 w 66"/>
                  <a:gd name="T39" fmla="*/ 49 h 61"/>
                  <a:gd name="T40" fmla="*/ 62 w 66"/>
                  <a:gd name="T41" fmla="*/ 30 h 61"/>
                  <a:gd name="T42" fmla="*/ 18 w 66"/>
                  <a:gd name="T43" fmla="*/ 4 h 61"/>
                  <a:gd name="T44" fmla="*/ 14 w 66"/>
                  <a:gd name="T45" fmla="*/ 6 h 61"/>
                  <a:gd name="T46" fmla="*/ 14 w 66"/>
                  <a:gd name="T47" fmla="*/ 10 h 61"/>
                  <a:gd name="T48" fmla="*/ 13 w 66"/>
                  <a:gd name="T49" fmla="*/ 12 h 61"/>
                  <a:gd name="T50" fmla="*/ 4 w 66"/>
                  <a:gd name="T51" fmla="*/ 17 h 61"/>
                  <a:gd name="T52" fmla="*/ 4 w 66"/>
                  <a:gd name="T53" fmla="*/ 3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6" h="61">
                    <a:moveTo>
                      <a:pt x="49" y="61"/>
                    </a:moveTo>
                    <a:cubicBezTo>
                      <a:pt x="49" y="61"/>
                      <a:pt x="48" y="61"/>
                      <a:pt x="48" y="61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3"/>
                      <a:pt x="0" y="33"/>
                      <a:pt x="0" y="3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1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9" y="0"/>
                    </a:cubicBezTo>
                    <a:cubicBezTo>
                      <a:pt x="65" y="27"/>
                      <a:pt x="65" y="27"/>
                      <a:pt x="65" y="27"/>
                    </a:cubicBezTo>
                    <a:cubicBezTo>
                      <a:pt x="66" y="27"/>
                      <a:pt x="66" y="28"/>
                      <a:pt x="66" y="2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51"/>
                      <a:pt x="66" y="52"/>
                      <a:pt x="65" y="52"/>
                    </a:cubicBezTo>
                    <a:cubicBezTo>
                      <a:pt x="50" y="61"/>
                      <a:pt x="50" y="61"/>
                      <a:pt x="50" y="61"/>
                    </a:cubicBezTo>
                    <a:cubicBezTo>
                      <a:pt x="50" y="61"/>
                      <a:pt x="49" y="61"/>
                      <a:pt x="49" y="61"/>
                    </a:cubicBezTo>
                    <a:close/>
                    <a:moveTo>
                      <a:pt x="4" y="31"/>
                    </a:moveTo>
                    <a:cubicBezTo>
                      <a:pt x="49" y="57"/>
                      <a:pt x="49" y="57"/>
                      <a:pt x="49" y="57"/>
                    </a:cubicBezTo>
                    <a:cubicBezTo>
                      <a:pt x="62" y="49"/>
                      <a:pt x="62" y="49"/>
                      <a:pt x="62" y="49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1"/>
                      <a:pt x="14" y="12"/>
                      <a:pt x="13" y="12"/>
                    </a:cubicBezTo>
                    <a:cubicBezTo>
                      <a:pt x="4" y="17"/>
                      <a:pt x="4" y="17"/>
                      <a:pt x="4" y="17"/>
                    </a:cubicBez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7" name="Freeform 802">
                <a:extLst>
                  <a:ext uri="{FF2B5EF4-FFF2-40B4-BE49-F238E27FC236}">
                    <a16:creationId xmlns:a16="http://schemas.microsoft.com/office/drawing/2014/main" id="{D282B6DF-4F96-4771-8542-2FDD07253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03723" y="6197940"/>
                <a:ext cx="136955" cy="158744"/>
              </a:xfrm>
              <a:custGeom>
                <a:avLst/>
                <a:gdLst>
                  <a:gd name="T0" fmla="*/ 54 w 56"/>
                  <a:gd name="T1" fmla="*/ 65 h 65"/>
                  <a:gd name="T2" fmla="*/ 53 w 56"/>
                  <a:gd name="T3" fmla="*/ 65 h 65"/>
                  <a:gd name="T4" fmla="*/ 8 w 56"/>
                  <a:gd name="T5" fmla="*/ 38 h 65"/>
                  <a:gd name="T6" fmla="*/ 3 w 56"/>
                  <a:gd name="T7" fmla="*/ 41 h 65"/>
                  <a:gd name="T8" fmla="*/ 1 w 56"/>
                  <a:gd name="T9" fmla="*/ 41 h 65"/>
                  <a:gd name="T10" fmla="*/ 0 w 56"/>
                  <a:gd name="T11" fmla="*/ 39 h 65"/>
                  <a:gd name="T12" fmla="*/ 0 w 56"/>
                  <a:gd name="T13" fmla="*/ 2 h 65"/>
                  <a:gd name="T14" fmla="*/ 1 w 56"/>
                  <a:gd name="T15" fmla="*/ 0 h 65"/>
                  <a:gd name="T16" fmla="*/ 3 w 56"/>
                  <a:gd name="T17" fmla="*/ 0 h 65"/>
                  <a:gd name="T18" fmla="*/ 55 w 56"/>
                  <a:gd name="T19" fmla="*/ 31 h 65"/>
                  <a:gd name="T20" fmla="*/ 56 w 56"/>
                  <a:gd name="T21" fmla="*/ 32 h 65"/>
                  <a:gd name="T22" fmla="*/ 56 w 56"/>
                  <a:gd name="T23" fmla="*/ 63 h 65"/>
                  <a:gd name="T24" fmla="*/ 55 w 56"/>
                  <a:gd name="T25" fmla="*/ 65 h 65"/>
                  <a:gd name="T26" fmla="*/ 54 w 56"/>
                  <a:gd name="T27" fmla="*/ 65 h 65"/>
                  <a:gd name="T28" fmla="*/ 8 w 56"/>
                  <a:gd name="T29" fmla="*/ 34 h 65"/>
                  <a:gd name="T30" fmla="*/ 9 w 56"/>
                  <a:gd name="T31" fmla="*/ 34 h 65"/>
                  <a:gd name="T32" fmla="*/ 52 w 56"/>
                  <a:gd name="T33" fmla="*/ 59 h 65"/>
                  <a:gd name="T34" fmla="*/ 52 w 56"/>
                  <a:gd name="T35" fmla="*/ 33 h 65"/>
                  <a:gd name="T36" fmla="*/ 4 w 56"/>
                  <a:gd name="T37" fmla="*/ 6 h 65"/>
                  <a:gd name="T38" fmla="*/ 4 w 56"/>
                  <a:gd name="T39" fmla="*/ 36 h 65"/>
                  <a:gd name="T40" fmla="*/ 7 w 56"/>
                  <a:gd name="T41" fmla="*/ 34 h 65"/>
                  <a:gd name="T42" fmla="*/ 8 w 56"/>
                  <a:gd name="T43" fmla="*/ 3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65">
                    <a:moveTo>
                      <a:pt x="54" y="65"/>
                    </a:moveTo>
                    <a:cubicBezTo>
                      <a:pt x="54" y="65"/>
                      <a:pt x="53" y="65"/>
                      <a:pt x="53" y="65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2" y="41"/>
                      <a:pt x="2" y="41"/>
                      <a:pt x="1" y="41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6" y="31"/>
                      <a:pt x="56" y="32"/>
                      <a:pt x="56" y="32"/>
                    </a:cubicBezTo>
                    <a:cubicBezTo>
                      <a:pt x="56" y="63"/>
                      <a:pt x="56" y="63"/>
                      <a:pt x="56" y="63"/>
                    </a:cubicBezTo>
                    <a:cubicBezTo>
                      <a:pt x="56" y="64"/>
                      <a:pt x="56" y="64"/>
                      <a:pt x="55" y="65"/>
                    </a:cubicBezTo>
                    <a:cubicBezTo>
                      <a:pt x="55" y="65"/>
                      <a:pt x="54" y="65"/>
                      <a:pt x="54" y="65"/>
                    </a:cubicBezTo>
                    <a:close/>
                    <a:moveTo>
                      <a:pt x="8" y="34"/>
                    </a:moveTo>
                    <a:cubicBezTo>
                      <a:pt x="8" y="34"/>
                      <a:pt x="8" y="34"/>
                      <a:pt x="9" y="34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7" y="34"/>
                      <a:pt x="8" y="3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8" name="Freeform 803">
                <a:extLst>
                  <a:ext uri="{FF2B5EF4-FFF2-40B4-BE49-F238E27FC236}">
                    <a16:creationId xmlns:a16="http://schemas.microsoft.com/office/drawing/2014/main" id="{A2EC4D64-D9DB-4642-AF09-7FC2733784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03723" y="6408560"/>
                <a:ext cx="41502" cy="48764"/>
              </a:xfrm>
              <a:custGeom>
                <a:avLst/>
                <a:gdLst>
                  <a:gd name="T0" fmla="*/ 15 w 17"/>
                  <a:gd name="T1" fmla="*/ 20 h 20"/>
                  <a:gd name="T2" fmla="*/ 14 w 17"/>
                  <a:gd name="T3" fmla="*/ 19 h 20"/>
                  <a:gd name="T4" fmla="*/ 1 w 17"/>
                  <a:gd name="T5" fmla="*/ 12 h 20"/>
                  <a:gd name="T6" fmla="*/ 0 w 17"/>
                  <a:gd name="T7" fmla="*/ 10 h 20"/>
                  <a:gd name="T8" fmla="*/ 1 w 17"/>
                  <a:gd name="T9" fmla="*/ 8 h 20"/>
                  <a:gd name="T10" fmla="*/ 14 w 17"/>
                  <a:gd name="T11" fmla="*/ 1 h 20"/>
                  <a:gd name="T12" fmla="*/ 16 w 17"/>
                  <a:gd name="T13" fmla="*/ 1 h 20"/>
                  <a:gd name="T14" fmla="*/ 17 w 17"/>
                  <a:gd name="T15" fmla="*/ 2 h 20"/>
                  <a:gd name="T16" fmla="*/ 17 w 17"/>
                  <a:gd name="T17" fmla="*/ 18 h 20"/>
                  <a:gd name="T18" fmla="*/ 16 w 17"/>
                  <a:gd name="T19" fmla="*/ 19 h 20"/>
                  <a:gd name="T20" fmla="*/ 15 w 17"/>
                  <a:gd name="T21" fmla="*/ 20 h 20"/>
                  <a:gd name="T22" fmla="*/ 6 w 17"/>
                  <a:gd name="T23" fmla="*/ 10 h 20"/>
                  <a:gd name="T24" fmla="*/ 13 w 17"/>
                  <a:gd name="T25" fmla="*/ 14 h 20"/>
                  <a:gd name="T26" fmla="*/ 13 w 17"/>
                  <a:gd name="T27" fmla="*/ 6 h 20"/>
                  <a:gd name="T28" fmla="*/ 6 w 17"/>
                  <a:gd name="T2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20">
                    <a:moveTo>
                      <a:pt x="15" y="20"/>
                    </a:moveTo>
                    <a:cubicBezTo>
                      <a:pt x="15" y="20"/>
                      <a:pt x="14" y="20"/>
                      <a:pt x="14" y="19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6" y="1"/>
                    </a:cubicBezTo>
                    <a:cubicBezTo>
                      <a:pt x="17" y="1"/>
                      <a:pt x="17" y="2"/>
                      <a:pt x="17" y="2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7" y="18"/>
                      <a:pt x="17" y="19"/>
                      <a:pt x="16" y="19"/>
                    </a:cubicBezTo>
                    <a:cubicBezTo>
                      <a:pt x="16" y="20"/>
                      <a:pt x="15" y="20"/>
                      <a:pt x="15" y="20"/>
                    </a:cubicBezTo>
                    <a:close/>
                    <a:moveTo>
                      <a:pt x="6" y="10"/>
                    </a:move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6"/>
                      <a:pt x="13" y="6"/>
                      <a:pt x="13" y="6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9" name="Freeform 804">
                <a:extLst>
                  <a:ext uri="{FF2B5EF4-FFF2-40B4-BE49-F238E27FC236}">
                    <a16:creationId xmlns:a16="http://schemas.microsoft.com/office/drawing/2014/main" id="{96A8DB71-9A30-4624-AEF8-5C101D5C15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45224" y="6322445"/>
                <a:ext cx="230334" cy="156668"/>
              </a:xfrm>
              <a:custGeom>
                <a:avLst/>
                <a:gdLst>
                  <a:gd name="T0" fmla="*/ 63 w 94"/>
                  <a:gd name="T1" fmla="*/ 64 h 64"/>
                  <a:gd name="T2" fmla="*/ 62 w 94"/>
                  <a:gd name="T3" fmla="*/ 64 h 64"/>
                  <a:gd name="T4" fmla="*/ 1 w 94"/>
                  <a:gd name="T5" fmla="*/ 29 h 64"/>
                  <a:gd name="T6" fmla="*/ 0 w 94"/>
                  <a:gd name="T7" fmla="*/ 27 h 64"/>
                  <a:gd name="T8" fmla="*/ 1 w 94"/>
                  <a:gd name="T9" fmla="*/ 25 h 64"/>
                  <a:gd name="T10" fmla="*/ 45 w 94"/>
                  <a:gd name="T11" fmla="*/ 0 h 64"/>
                  <a:gd name="T12" fmla="*/ 47 w 94"/>
                  <a:gd name="T13" fmla="*/ 0 h 64"/>
                  <a:gd name="T14" fmla="*/ 48 w 94"/>
                  <a:gd name="T15" fmla="*/ 2 h 64"/>
                  <a:gd name="T16" fmla="*/ 48 w 94"/>
                  <a:gd name="T17" fmla="*/ 17 h 64"/>
                  <a:gd name="T18" fmla="*/ 93 w 94"/>
                  <a:gd name="T19" fmla="*/ 43 h 64"/>
                  <a:gd name="T20" fmla="*/ 94 w 94"/>
                  <a:gd name="T21" fmla="*/ 45 h 64"/>
                  <a:gd name="T22" fmla="*/ 93 w 94"/>
                  <a:gd name="T23" fmla="*/ 47 h 64"/>
                  <a:gd name="T24" fmla="*/ 64 w 94"/>
                  <a:gd name="T25" fmla="*/ 64 h 64"/>
                  <a:gd name="T26" fmla="*/ 63 w 94"/>
                  <a:gd name="T27" fmla="*/ 64 h 64"/>
                  <a:gd name="T28" fmla="*/ 6 w 94"/>
                  <a:gd name="T29" fmla="*/ 27 h 64"/>
                  <a:gd name="T30" fmla="*/ 63 w 94"/>
                  <a:gd name="T31" fmla="*/ 60 h 64"/>
                  <a:gd name="T32" fmla="*/ 88 w 94"/>
                  <a:gd name="T33" fmla="*/ 45 h 64"/>
                  <a:gd name="T34" fmla="*/ 45 w 94"/>
                  <a:gd name="T35" fmla="*/ 20 h 64"/>
                  <a:gd name="T36" fmla="*/ 44 w 94"/>
                  <a:gd name="T37" fmla="*/ 18 h 64"/>
                  <a:gd name="T38" fmla="*/ 44 w 94"/>
                  <a:gd name="T39" fmla="*/ 5 h 64"/>
                  <a:gd name="T40" fmla="*/ 6 w 94"/>
                  <a:gd name="T41" fmla="*/ 2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4" h="64">
                    <a:moveTo>
                      <a:pt x="63" y="64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0" y="28"/>
                      <a:pt x="0" y="28"/>
                      <a:pt x="0" y="27"/>
                    </a:cubicBezTo>
                    <a:cubicBezTo>
                      <a:pt x="0" y="26"/>
                      <a:pt x="0" y="26"/>
                      <a:pt x="1" y="2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6" y="0"/>
                      <a:pt x="47" y="0"/>
                    </a:cubicBezTo>
                    <a:cubicBezTo>
                      <a:pt x="47" y="0"/>
                      <a:pt x="48" y="1"/>
                      <a:pt x="48" y="2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4" y="44"/>
                      <a:pt x="94" y="44"/>
                      <a:pt x="94" y="45"/>
                    </a:cubicBezTo>
                    <a:cubicBezTo>
                      <a:pt x="94" y="46"/>
                      <a:pt x="94" y="46"/>
                      <a:pt x="93" y="4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3" y="64"/>
                      <a:pt x="63" y="64"/>
                      <a:pt x="63" y="64"/>
                    </a:cubicBezTo>
                    <a:close/>
                    <a:moveTo>
                      <a:pt x="6" y="27"/>
                    </a:moveTo>
                    <a:cubicBezTo>
                      <a:pt x="63" y="60"/>
                      <a:pt x="63" y="60"/>
                      <a:pt x="63" y="60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45" y="20"/>
                      <a:pt x="45" y="20"/>
                      <a:pt x="45" y="20"/>
                    </a:cubicBezTo>
                    <a:cubicBezTo>
                      <a:pt x="44" y="19"/>
                      <a:pt x="44" y="19"/>
                      <a:pt x="44" y="18"/>
                    </a:cubicBezTo>
                    <a:cubicBezTo>
                      <a:pt x="44" y="5"/>
                      <a:pt x="44" y="5"/>
                      <a:pt x="44" y="5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0" name="Freeform 811">
                <a:extLst>
                  <a:ext uri="{FF2B5EF4-FFF2-40B4-BE49-F238E27FC236}">
                    <a16:creationId xmlns:a16="http://schemas.microsoft.com/office/drawing/2014/main" id="{FD208CB4-7F9D-4FBF-9DAF-75B7B86189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195272" y="6959494"/>
                <a:ext cx="46689" cy="51877"/>
              </a:xfrm>
              <a:custGeom>
                <a:avLst/>
                <a:gdLst>
                  <a:gd name="T0" fmla="*/ 17 w 19"/>
                  <a:gd name="T1" fmla="*/ 21 h 21"/>
                  <a:gd name="T2" fmla="*/ 16 w 19"/>
                  <a:gd name="T3" fmla="*/ 21 h 21"/>
                  <a:gd name="T4" fmla="*/ 1 w 19"/>
                  <a:gd name="T5" fmla="*/ 12 h 21"/>
                  <a:gd name="T6" fmla="*/ 0 w 19"/>
                  <a:gd name="T7" fmla="*/ 10 h 21"/>
                  <a:gd name="T8" fmla="*/ 1 w 19"/>
                  <a:gd name="T9" fmla="*/ 9 h 21"/>
                  <a:gd name="T10" fmla="*/ 16 w 19"/>
                  <a:gd name="T11" fmla="*/ 0 h 21"/>
                  <a:gd name="T12" fmla="*/ 18 w 19"/>
                  <a:gd name="T13" fmla="*/ 0 h 21"/>
                  <a:gd name="T14" fmla="*/ 19 w 19"/>
                  <a:gd name="T15" fmla="*/ 2 h 21"/>
                  <a:gd name="T16" fmla="*/ 19 w 19"/>
                  <a:gd name="T17" fmla="*/ 19 h 21"/>
                  <a:gd name="T18" fmla="*/ 18 w 19"/>
                  <a:gd name="T19" fmla="*/ 21 h 21"/>
                  <a:gd name="T20" fmla="*/ 17 w 19"/>
                  <a:gd name="T21" fmla="*/ 21 h 21"/>
                  <a:gd name="T22" fmla="*/ 6 w 19"/>
                  <a:gd name="T23" fmla="*/ 10 h 21"/>
                  <a:gd name="T24" fmla="*/ 15 w 19"/>
                  <a:gd name="T25" fmla="*/ 15 h 21"/>
                  <a:gd name="T26" fmla="*/ 15 w 19"/>
                  <a:gd name="T27" fmla="*/ 5 h 21"/>
                  <a:gd name="T28" fmla="*/ 6 w 19"/>
                  <a:gd name="T2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21">
                    <a:moveTo>
                      <a:pt x="17" y="21"/>
                    </a:moveTo>
                    <a:cubicBezTo>
                      <a:pt x="16" y="21"/>
                      <a:pt x="16" y="21"/>
                      <a:pt x="16" y="2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0"/>
                      <a:pt x="19" y="1"/>
                      <a:pt x="19" y="2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9" y="20"/>
                      <a:pt x="18" y="20"/>
                      <a:pt x="18" y="21"/>
                    </a:cubicBezTo>
                    <a:cubicBezTo>
                      <a:pt x="17" y="21"/>
                      <a:pt x="17" y="21"/>
                      <a:pt x="17" y="21"/>
                    </a:cubicBezTo>
                    <a:close/>
                    <a:moveTo>
                      <a:pt x="6" y="10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1" name="Freeform 818">
                <a:extLst>
                  <a:ext uri="{FF2B5EF4-FFF2-40B4-BE49-F238E27FC236}">
                    <a16:creationId xmlns:a16="http://schemas.microsoft.com/office/drawing/2014/main" id="{425D5289-A305-4B0F-9D3F-E0BE0D9A82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35491" y="6121162"/>
                <a:ext cx="167044" cy="282211"/>
              </a:xfrm>
              <a:custGeom>
                <a:avLst/>
                <a:gdLst>
                  <a:gd name="T0" fmla="*/ 2 w 68"/>
                  <a:gd name="T1" fmla="*/ 115 h 115"/>
                  <a:gd name="T2" fmla="*/ 1 w 68"/>
                  <a:gd name="T3" fmla="*/ 115 h 115"/>
                  <a:gd name="T4" fmla="*/ 0 w 68"/>
                  <a:gd name="T5" fmla="*/ 113 h 115"/>
                  <a:gd name="T6" fmla="*/ 0 w 68"/>
                  <a:gd name="T7" fmla="*/ 39 h 115"/>
                  <a:gd name="T8" fmla="*/ 1 w 68"/>
                  <a:gd name="T9" fmla="*/ 38 h 115"/>
                  <a:gd name="T10" fmla="*/ 65 w 68"/>
                  <a:gd name="T11" fmla="*/ 1 h 115"/>
                  <a:gd name="T12" fmla="*/ 67 w 68"/>
                  <a:gd name="T13" fmla="*/ 1 h 115"/>
                  <a:gd name="T14" fmla="*/ 68 w 68"/>
                  <a:gd name="T15" fmla="*/ 2 h 115"/>
                  <a:gd name="T16" fmla="*/ 68 w 68"/>
                  <a:gd name="T17" fmla="*/ 30 h 115"/>
                  <a:gd name="T18" fmla="*/ 67 w 68"/>
                  <a:gd name="T19" fmla="*/ 32 h 115"/>
                  <a:gd name="T20" fmla="*/ 65 w 68"/>
                  <a:gd name="T21" fmla="*/ 32 h 115"/>
                  <a:gd name="T22" fmla="*/ 59 w 68"/>
                  <a:gd name="T23" fmla="*/ 28 h 115"/>
                  <a:gd name="T24" fmla="*/ 59 w 68"/>
                  <a:gd name="T25" fmla="*/ 77 h 115"/>
                  <a:gd name="T26" fmla="*/ 58 w 68"/>
                  <a:gd name="T27" fmla="*/ 79 h 115"/>
                  <a:gd name="T28" fmla="*/ 9 w 68"/>
                  <a:gd name="T29" fmla="*/ 107 h 115"/>
                  <a:gd name="T30" fmla="*/ 11 w 68"/>
                  <a:gd name="T31" fmla="*/ 107 h 115"/>
                  <a:gd name="T32" fmla="*/ 12 w 68"/>
                  <a:gd name="T33" fmla="*/ 109 h 115"/>
                  <a:gd name="T34" fmla="*/ 11 w 68"/>
                  <a:gd name="T35" fmla="*/ 111 h 115"/>
                  <a:gd name="T36" fmla="*/ 3 w 68"/>
                  <a:gd name="T37" fmla="*/ 115 h 115"/>
                  <a:gd name="T38" fmla="*/ 2 w 68"/>
                  <a:gd name="T39" fmla="*/ 115 h 115"/>
                  <a:gd name="T40" fmla="*/ 4 w 68"/>
                  <a:gd name="T41" fmla="*/ 108 h 115"/>
                  <a:gd name="T42" fmla="*/ 4 w 68"/>
                  <a:gd name="T43" fmla="*/ 110 h 115"/>
                  <a:gd name="T44" fmla="*/ 6 w 68"/>
                  <a:gd name="T45" fmla="*/ 109 h 115"/>
                  <a:gd name="T46" fmla="*/ 4 w 68"/>
                  <a:gd name="T47" fmla="*/ 108 h 115"/>
                  <a:gd name="T48" fmla="*/ 4 w 68"/>
                  <a:gd name="T49" fmla="*/ 41 h 115"/>
                  <a:gd name="T50" fmla="*/ 4 w 68"/>
                  <a:gd name="T51" fmla="*/ 105 h 115"/>
                  <a:gd name="T52" fmla="*/ 55 w 68"/>
                  <a:gd name="T53" fmla="*/ 76 h 115"/>
                  <a:gd name="T54" fmla="*/ 55 w 68"/>
                  <a:gd name="T55" fmla="*/ 25 h 115"/>
                  <a:gd name="T56" fmla="*/ 56 w 68"/>
                  <a:gd name="T57" fmla="*/ 23 h 115"/>
                  <a:gd name="T58" fmla="*/ 58 w 68"/>
                  <a:gd name="T59" fmla="*/ 23 h 115"/>
                  <a:gd name="T60" fmla="*/ 64 w 68"/>
                  <a:gd name="T61" fmla="*/ 27 h 115"/>
                  <a:gd name="T62" fmla="*/ 64 w 68"/>
                  <a:gd name="T63" fmla="*/ 6 h 115"/>
                  <a:gd name="T64" fmla="*/ 4 w 68"/>
                  <a:gd name="T65" fmla="*/ 4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8" h="115">
                    <a:moveTo>
                      <a:pt x="2" y="115"/>
                    </a:moveTo>
                    <a:cubicBezTo>
                      <a:pt x="2" y="115"/>
                      <a:pt x="2" y="115"/>
                      <a:pt x="1" y="115"/>
                    </a:cubicBezTo>
                    <a:cubicBezTo>
                      <a:pt x="1" y="115"/>
                      <a:pt x="0" y="114"/>
                      <a:pt x="0" y="113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7" y="0"/>
                      <a:pt x="67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8" y="30"/>
                      <a:pt x="68" y="30"/>
                      <a:pt x="68" y="30"/>
                    </a:cubicBezTo>
                    <a:cubicBezTo>
                      <a:pt x="68" y="31"/>
                      <a:pt x="68" y="32"/>
                      <a:pt x="67" y="32"/>
                    </a:cubicBezTo>
                    <a:cubicBezTo>
                      <a:pt x="67" y="32"/>
                      <a:pt x="66" y="32"/>
                      <a:pt x="65" y="32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77"/>
                      <a:pt x="59" y="77"/>
                      <a:pt x="59" y="77"/>
                    </a:cubicBezTo>
                    <a:cubicBezTo>
                      <a:pt x="59" y="78"/>
                      <a:pt x="58" y="78"/>
                      <a:pt x="58" y="79"/>
                    </a:cubicBezTo>
                    <a:cubicBezTo>
                      <a:pt x="9" y="107"/>
                      <a:pt x="9" y="107"/>
                      <a:pt x="9" y="107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1" y="108"/>
                      <a:pt x="12" y="108"/>
                      <a:pt x="12" y="109"/>
                    </a:cubicBezTo>
                    <a:cubicBezTo>
                      <a:pt x="12" y="110"/>
                      <a:pt x="11" y="110"/>
                      <a:pt x="11" y="111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3" y="115"/>
                      <a:pt x="3" y="115"/>
                      <a:pt x="2" y="115"/>
                    </a:cubicBezTo>
                    <a:close/>
                    <a:moveTo>
                      <a:pt x="4" y="108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6" y="109"/>
                      <a:pt x="6" y="109"/>
                      <a:pt x="6" y="109"/>
                    </a:cubicBezTo>
                    <a:lnTo>
                      <a:pt x="4" y="108"/>
                    </a:lnTo>
                    <a:close/>
                    <a:moveTo>
                      <a:pt x="4" y="41"/>
                    </a:moveTo>
                    <a:cubicBezTo>
                      <a:pt x="4" y="105"/>
                      <a:pt x="4" y="105"/>
                      <a:pt x="4" y="105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55" y="24"/>
                      <a:pt x="55" y="23"/>
                      <a:pt x="56" y="23"/>
                    </a:cubicBezTo>
                    <a:cubicBezTo>
                      <a:pt x="56" y="23"/>
                      <a:pt x="57" y="23"/>
                      <a:pt x="58" y="23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4" y="6"/>
                      <a:pt x="64" y="6"/>
                      <a:pt x="64" y="6"/>
                    </a:cubicBezTo>
                    <a:lnTo>
                      <a:pt x="4" y="4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2" name="Freeform 822">
                <a:extLst>
                  <a:ext uri="{FF2B5EF4-FFF2-40B4-BE49-F238E27FC236}">
                    <a16:creationId xmlns:a16="http://schemas.microsoft.com/office/drawing/2014/main" id="{F1F3F5C9-11FC-4BC4-9CAE-E195D0DA6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206875" y="6874416"/>
                <a:ext cx="103754" cy="75740"/>
              </a:xfrm>
              <a:custGeom>
                <a:avLst/>
                <a:gdLst>
                  <a:gd name="T0" fmla="*/ 31 w 42"/>
                  <a:gd name="T1" fmla="*/ 31 h 31"/>
                  <a:gd name="T2" fmla="*/ 30 w 42"/>
                  <a:gd name="T3" fmla="*/ 31 h 31"/>
                  <a:gd name="T4" fmla="*/ 1 w 42"/>
                  <a:gd name="T5" fmla="*/ 14 h 31"/>
                  <a:gd name="T6" fmla="*/ 0 w 42"/>
                  <a:gd name="T7" fmla="*/ 12 h 31"/>
                  <a:gd name="T8" fmla="*/ 0 w 42"/>
                  <a:gd name="T9" fmla="*/ 2 h 31"/>
                  <a:gd name="T10" fmla="*/ 1 w 42"/>
                  <a:gd name="T11" fmla="*/ 1 h 31"/>
                  <a:gd name="T12" fmla="*/ 3 w 42"/>
                  <a:gd name="T13" fmla="*/ 1 h 31"/>
                  <a:gd name="T14" fmla="*/ 41 w 42"/>
                  <a:gd name="T15" fmla="*/ 22 h 31"/>
                  <a:gd name="T16" fmla="*/ 42 w 42"/>
                  <a:gd name="T17" fmla="*/ 24 h 31"/>
                  <a:gd name="T18" fmla="*/ 41 w 42"/>
                  <a:gd name="T19" fmla="*/ 26 h 31"/>
                  <a:gd name="T20" fmla="*/ 32 w 42"/>
                  <a:gd name="T21" fmla="*/ 31 h 31"/>
                  <a:gd name="T22" fmla="*/ 31 w 42"/>
                  <a:gd name="T23" fmla="*/ 31 h 31"/>
                  <a:gd name="T24" fmla="*/ 4 w 42"/>
                  <a:gd name="T25" fmla="*/ 11 h 31"/>
                  <a:gd name="T26" fmla="*/ 31 w 42"/>
                  <a:gd name="T27" fmla="*/ 27 h 31"/>
                  <a:gd name="T28" fmla="*/ 36 w 42"/>
                  <a:gd name="T29" fmla="*/ 24 h 31"/>
                  <a:gd name="T30" fmla="*/ 4 w 42"/>
                  <a:gd name="T31" fmla="*/ 6 h 31"/>
                  <a:gd name="T32" fmla="*/ 4 w 42"/>
                  <a:gd name="T33" fmla="*/ 1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31">
                    <a:moveTo>
                      <a:pt x="31" y="31"/>
                    </a:moveTo>
                    <a:cubicBezTo>
                      <a:pt x="31" y="31"/>
                      <a:pt x="31" y="31"/>
                      <a:pt x="30" y="3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3"/>
                      <a:pt x="42" y="23"/>
                      <a:pt x="42" y="24"/>
                    </a:cubicBezTo>
                    <a:cubicBezTo>
                      <a:pt x="42" y="25"/>
                      <a:pt x="41" y="25"/>
                      <a:pt x="41" y="26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2" y="31"/>
                      <a:pt x="32" y="31"/>
                      <a:pt x="31" y="31"/>
                    </a:cubicBezTo>
                    <a:close/>
                    <a:moveTo>
                      <a:pt x="4" y="11"/>
                    </a:moveTo>
                    <a:cubicBezTo>
                      <a:pt x="31" y="27"/>
                      <a:pt x="31" y="27"/>
                      <a:pt x="31" y="27"/>
                    </a:cubicBezTo>
                    <a:cubicBezTo>
                      <a:pt x="36" y="24"/>
                      <a:pt x="36" y="24"/>
                      <a:pt x="36" y="2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3" name="Freeform 823">
                <a:extLst>
                  <a:ext uri="{FF2B5EF4-FFF2-40B4-BE49-F238E27FC236}">
                    <a16:creationId xmlns:a16="http://schemas.microsoft.com/office/drawing/2014/main" id="{872BDB68-DCBE-4408-8250-61D5E7B7D4C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417963" y="6638894"/>
                <a:ext cx="12450" cy="12450"/>
              </a:xfrm>
              <a:custGeom>
                <a:avLst/>
                <a:gdLst>
                  <a:gd name="T0" fmla="*/ 2 w 5"/>
                  <a:gd name="T1" fmla="*/ 5 h 5"/>
                  <a:gd name="T2" fmla="*/ 1 w 5"/>
                  <a:gd name="T3" fmla="*/ 5 h 5"/>
                  <a:gd name="T4" fmla="*/ 0 w 5"/>
                  <a:gd name="T5" fmla="*/ 3 h 5"/>
                  <a:gd name="T6" fmla="*/ 0 w 5"/>
                  <a:gd name="T7" fmla="*/ 3 h 5"/>
                  <a:gd name="T8" fmla="*/ 1 w 5"/>
                  <a:gd name="T9" fmla="*/ 1 h 5"/>
                  <a:gd name="T10" fmla="*/ 3 w 5"/>
                  <a:gd name="T11" fmla="*/ 1 h 5"/>
                  <a:gd name="T12" fmla="*/ 4 w 5"/>
                  <a:gd name="T13" fmla="*/ 1 h 5"/>
                  <a:gd name="T14" fmla="*/ 5 w 5"/>
                  <a:gd name="T15" fmla="*/ 3 h 5"/>
                  <a:gd name="T16" fmla="*/ 4 w 5"/>
                  <a:gd name="T17" fmla="*/ 5 h 5"/>
                  <a:gd name="T18" fmla="*/ 3 w 5"/>
                  <a:gd name="T19" fmla="*/ 5 h 5"/>
                  <a:gd name="T20" fmla="*/ 2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5" y="2"/>
                      <a:pt x="5" y="3"/>
                    </a:cubicBezTo>
                    <a:cubicBezTo>
                      <a:pt x="5" y="4"/>
                      <a:pt x="4" y="4"/>
                      <a:pt x="4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4" name="Freeform 824">
                <a:extLst>
                  <a:ext uri="{FF2B5EF4-FFF2-40B4-BE49-F238E27FC236}">
                    <a16:creationId xmlns:a16="http://schemas.microsoft.com/office/drawing/2014/main" id="{EE5C0CAC-ECE3-44CE-AD3C-FC700DD6E1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18605" y="6065135"/>
                <a:ext cx="301925" cy="519807"/>
              </a:xfrm>
              <a:custGeom>
                <a:avLst/>
                <a:gdLst>
                  <a:gd name="T0" fmla="*/ 2 w 123"/>
                  <a:gd name="T1" fmla="*/ 212 h 212"/>
                  <a:gd name="T2" fmla="*/ 1 w 123"/>
                  <a:gd name="T3" fmla="*/ 211 h 212"/>
                  <a:gd name="T4" fmla="*/ 0 w 123"/>
                  <a:gd name="T5" fmla="*/ 210 h 212"/>
                  <a:gd name="T6" fmla="*/ 0 w 123"/>
                  <a:gd name="T7" fmla="*/ 197 h 212"/>
                  <a:gd name="T8" fmla="*/ 0 w 123"/>
                  <a:gd name="T9" fmla="*/ 195 h 212"/>
                  <a:gd name="T10" fmla="*/ 0 w 123"/>
                  <a:gd name="T11" fmla="*/ 71 h 212"/>
                  <a:gd name="T12" fmla="*/ 1 w 123"/>
                  <a:gd name="T13" fmla="*/ 69 h 212"/>
                  <a:gd name="T14" fmla="*/ 120 w 123"/>
                  <a:gd name="T15" fmla="*/ 1 h 212"/>
                  <a:gd name="T16" fmla="*/ 122 w 123"/>
                  <a:gd name="T17" fmla="*/ 1 h 212"/>
                  <a:gd name="T18" fmla="*/ 123 w 123"/>
                  <a:gd name="T19" fmla="*/ 2 h 212"/>
                  <a:gd name="T20" fmla="*/ 123 w 123"/>
                  <a:gd name="T21" fmla="*/ 123 h 212"/>
                  <a:gd name="T22" fmla="*/ 122 w 123"/>
                  <a:gd name="T23" fmla="*/ 124 h 212"/>
                  <a:gd name="T24" fmla="*/ 113 w 123"/>
                  <a:gd name="T25" fmla="*/ 130 h 212"/>
                  <a:gd name="T26" fmla="*/ 122 w 123"/>
                  <a:gd name="T27" fmla="*/ 135 h 212"/>
                  <a:gd name="T28" fmla="*/ 123 w 123"/>
                  <a:gd name="T29" fmla="*/ 136 h 212"/>
                  <a:gd name="T30" fmla="*/ 123 w 123"/>
                  <a:gd name="T31" fmla="*/ 140 h 212"/>
                  <a:gd name="T32" fmla="*/ 122 w 123"/>
                  <a:gd name="T33" fmla="*/ 142 h 212"/>
                  <a:gd name="T34" fmla="*/ 79 w 123"/>
                  <a:gd name="T35" fmla="*/ 167 h 212"/>
                  <a:gd name="T36" fmla="*/ 77 w 123"/>
                  <a:gd name="T37" fmla="*/ 167 h 212"/>
                  <a:gd name="T38" fmla="*/ 66 w 123"/>
                  <a:gd name="T39" fmla="*/ 161 h 212"/>
                  <a:gd name="T40" fmla="*/ 66 w 123"/>
                  <a:gd name="T41" fmla="*/ 173 h 212"/>
                  <a:gd name="T42" fmla="*/ 65 w 123"/>
                  <a:gd name="T43" fmla="*/ 175 h 212"/>
                  <a:gd name="T44" fmla="*/ 3 w 123"/>
                  <a:gd name="T45" fmla="*/ 211 h 212"/>
                  <a:gd name="T46" fmla="*/ 2 w 123"/>
                  <a:gd name="T47" fmla="*/ 212 h 212"/>
                  <a:gd name="T48" fmla="*/ 4 w 123"/>
                  <a:gd name="T49" fmla="*/ 199 h 212"/>
                  <a:gd name="T50" fmla="*/ 4 w 123"/>
                  <a:gd name="T51" fmla="*/ 206 h 212"/>
                  <a:gd name="T52" fmla="*/ 62 w 123"/>
                  <a:gd name="T53" fmla="*/ 172 h 212"/>
                  <a:gd name="T54" fmla="*/ 62 w 123"/>
                  <a:gd name="T55" fmla="*/ 158 h 212"/>
                  <a:gd name="T56" fmla="*/ 63 w 123"/>
                  <a:gd name="T57" fmla="*/ 156 h 212"/>
                  <a:gd name="T58" fmla="*/ 65 w 123"/>
                  <a:gd name="T59" fmla="*/ 156 h 212"/>
                  <a:gd name="T60" fmla="*/ 78 w 123"/>
                  <a:gd name="T61" fmla="*/ 163 h 212"/>
                  <a:gd name="T62" fmla="*/ 119 w 123"/>
                  <a:gd name="T63" fmla="*/ 139 h 212"/>
                  <a:gd name="T64" fmla="*/ 119 w 123"/>
                  <a:gd name="T65" fmla="*/ 138 h 212"/>
                  <a:gd name="T66" fmla="*/ 108 w 123"/>
                  <a:gd name="T67" fmla="*/ 131 h 212"/>
                  <a:gd name="T68" fmla="*/ 107 w 123"/>
                  <a:gd name="T69" fmla="*/ 130 h 212"/>
                  <a:gd name="T70" fmla="*/ 108 w 123"/>
                  <a:gd name="T71" fmla="*/ 128 h 212"/>
                  <a:gd name="T72" fmla="*/ 119 w 123"/>
                  <a:gd name="T73" fmla="*/ 121 h 212"/>
                  <a:gd name="T74" fmla="*/ 119 w 123"/>
                  <a:gd name="T75" fmla="*/ 6 h 212"/>
                  <a:gd name="T76" fmla="*/ 4 w 123"/>
                  <a:gd name="T77" fmla="*/ 72 h 212"/>
                  <a:gd name="T78" fmla="*/ 4 w 123"/>
                  <a:gd name="T79" fmla="*/ 197 h 212"/>
                  <a:gd name="T80" fmla="*/ 4 w 123"/>
                  <a:gd name="T81" fmla="*/ 199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3" h="212">
                    <a:moveTo>
                      <a:pt x="2" y="212"/>
                    </a:moveTo>
                    <a:cubicBezTo>
                      <a:pt x="1" y="212"/>
                      <a:pt x="1" y="211"/>
                      <a:pt x="1" y="211"/>
                    </a:cubicBezTo>
                    <a:cubicBezTo>
                      <a:pt x="0" y="211"/>
                      <a:pt x="0" y="210"/>
                      <a:pt x="0" y="210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196"/>
                      <a:pt x="0" y="196"/>
                      <a:pt x="0" y="19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0"/>
                      <a:pt x="1" y="70"/>
                      <a:pt x="1" y="69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1" y="0"/>
                      <a:pt x="122" y="0"/>
                      <a:pt x="122" y="1"/>
                    </a:cubicBezTo>
                    <a:cubicBezTo>
                      <a:pt x="123" y="1"/>
                      <a:pt x="123" y="2"/>
                      <a:pt x="123" y="2"/>
                    </a:cubicBezTo>
                    <a:cubicBezTo>
                      <a:pt x="123" y="123"/>
                      <a:pt x="123" y="123"/>
                      <a:pt x="123" y="123"/>
                    </a:cubicBezTo>
                    <a:cubicBezTo>
                      <a:pt x="123" y="123"/>
                      <a:pt x="123" y="124"/>
                      <a:pt x="122" y="124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22" y="135"/>
                      <a:pt x="122" y="135"/>
                      <a:pt x="122" y="135"/>
                    </a:cubicBezTo>
                    <a:cubicBezTo>
                      <a:pt x="123" y="135"/>
                      <a:pt x="123" y="136"/>
                      <a:pt x="123" y="136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3" y="141"/>
                      <a:pt x="123" y="142"/>
                      <a:pt x="122" y="142"/>
                    </a:cubicBezTo>
                    <a:cubicBezTo>
                      <a:pt x="79" y="167"/>
                      <a:pt x="79" y="167"/>
                      <a:pt x="79" y="167"/>
                    </a:cubicBezTo>
                    <a:cubicBezTo>
                      <a:pt x="78" y="168"/>
                      <a:pt x="77" y="168"/>
                      <a:pt x="77" y="167"/>
                    </a:cubicBezTo>
                    <a:cubicBezTo>
                      <a:pt x="66" y="161"/>
                      <a:pt x="66" y="161"/>
                      <a:pt x="66" y="161"/>
                    </a:cubicBezTo>
                    <a:cubicBezTo>
                      <a:pt x="66" y="173"/>
                      <a:pt x="66" y="173"/>
                      <a:pt x="66" y="173"/>
                    </a:cubicBezTo>
                    <a:cubicBezTo>
                      <a:pt x="66" y="174"/>
                      <a:pt x="66" y="175"/>
                      <a:pt x="65" y="175"/>
                    </a:cubicBezTo>
                    <a:cubicBezTo>
                      <a:pt x="3" y="211"/>
                      <a:pt x="3" y="211"/>
                      <a:pt x="3" y="211"/>
                    </a:cubicBezTo>
                    <a:cubicBezTo>
                      <a:pt x="2" y="211"/>
                      <a:pt x="2" y="212"/>
                      <a:pt x="2" y="212"/>
                    </a:cubicBezTo>
                    <a:close/>
                    <a:moveTo>
                      <a:pt x="4" y="199"/>
                    </a:moveTo>
                    <a:cubicBezTo>
                      <a:pt x="4" y="206"/>
                      <a:pt x="4" y="206"/>
                      <a:pt x="4" y="206"/>
                    </a:cubicBezTo>
                    <a:cubicBezTo>
                      <a:pt x="62" y="172"/>
                      <a:pt x="62" y="172"/>
                      <a:pt x="62" y="172"/>
                    </a:cubicBezTo>
                    <a:cubicBezTo>
                      <a:pt x="62" y="158"/>
                      <a:pt x="62" y="158"/>
                      <a:pt x="62" y="158"/>
                    </a:cubicBezTo>
                    <a:cubicBezTo>
                      <a:pt x="62" y="157"/>
                      <a:pt x="63" y="156"/>
                      <a:pt x="63" y="156"/>
                    </a:cubicBezTo>
                    <a:cubicBezTo>
                      <a:pt x="64" y="156"/>
                      <a:pt x="65" y="156"/>
                      <a:pt x="65" y="156"/>
                    </a:cubicBezTo>
                    <a:cubicBezTo>
                      <a:pt x="78" y="163"/>
                      <a:pt x="78" y="163"/>
                      <a:pt x="78" y="163"/>
                    </a:cubicBezTo>
                    <a:cubicBezTo>
                      <a:pt x="119" y="139"/>
                      <a:pt x="119" y="139"/>
                      <a:pt x="119" y="139"/>
                    </a:cubicBezTo>
                    <a:cubicBezTo>
                      <a:pt x="119" y="138"/>
                      <a:pt x="119" y="138"/>
                      <a:pt x="119" y="138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08" y="131"/>
                      <a:pt x="107" y="130"/>
                      <a:pt x="107" y="130"/>
                    </a:cubicBezTo>
                    <a:cubicBezTo>
                      <a:pt x="107" y="129"/>
                      <a:pt x="108" y="128"/>
                      <a:pt x="108" y="128"/>
                    </a:cubicBezTo>
                    <a:cubicBezTo>
                      <a:pt x="119" y="121"/>
                      <a:pt x="119" y="121"/>
                      <a:pt x="119" y="121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4" y="197"/>
                      <a:pt x="4" y="197"/>
                      <a:pt x="4" y="197"/>
                    </a:cubicBezTo>
                    <a:cubicBezTo>
                      <a:pt x="4" y="198"/>
                      <a:pt x="4" y="198"/>
                      <a:pt x="4" y="19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5" name="Freeform 825">
                <a:extLst>
                  <a:ext uri="{FF2B5EF4-FFF2-40B4-BE49-F238E27FC236}">
                    <a16:creationId xmlns:a16="http://schemas.microsoft.com/office/drawing/2014/main" id="{1B099AFE-C0A7-43FE-B711-53B501099F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90987" y="6644082"/>
                <a:ext cx="39427" cy="38389"/>
              </a:xfrm>
              <a:custGeom>
                <a:avLst/>
                <a:gdLst>
                  <a:gd name="T0" fmla="*/ 2 w 16"/>
                  <a:gd name="T1" fmla="*/ 16 h 16"/>
                  <a:gd name="T2" fmla="*/ 1 w 16"/>
                  <a:gd name="T3" fmla="*/ 16 h 16"/>
                  <a:gd name="T4" fmla="*/ 0 w 16"/>
                  <a:gd name="T5" fmla="*/ 14 h 16"/>
                  <a:gd name="T6" fmla="*/ 0 w 16"/>
                  <a:gd name="T7" fmla="*/ 3 h 16"/>
                  <a:gd name="T8" fmla="*/ 1 w 16"/>
                  <a:gd name="T9" fmla="*/ 2 h 16"/>
                  <a:gd name="T10" fmla="*/ 3 w 16"/>
                  <a:gd name="T11" fmla="*/ 0 h 16"/>
                  <a:gd name="T12" fmla="*/ 5 w 16"/>
                  <a:gd name="T13" fmla="*/ 0 h 16"/>
                  <a:gd name="T14" fmla="*/ 15 w 16"/>
                  <a:gd name="T15" fmla="*/ 6 h 16"/>
                  <a:gd name="T16" fmla="*/ 16 w 16"/>
                  <a:gd name="T17" fmla="*/ 7 h 16"/>
                  <a:gd name="T18" fmla="*/ 15 w 16"/>
                  <a:gd name="T19" fmla="*/ 9 h 16"/>
                  <a:gd name="T20" fmla="*/ 3 w 16"/>
                  <a:gd name="T21" fmla="*/ 16 h 16"/>
                  <a:gd name="T22" fmla="*/ 2 w 16"/>
                  <a:gd name="T23" fmla="*/ 16 h 16"/>
                  <a:gd name="T24" fmla="*/ 4 w 16"/>
                  <a:gd name="T25" fmla="*/ 4 h 16"/>
                  <a:gd name="T26" fmla="*/ 4 w 16"/>
                  <a:gd name="T27" fmla="*/ 11 h 16"/>
                  <a:gd name="T28" fmla="*/ 10 w 16"/>
                  <a:gd name="T29" fmla="*/ 7 h 16"/>
                  <a:gd name="T30" fmla="*/ 4 w 16"/>
                  <a:gd name="T31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6">
                    <a:moveTo>
                      <a:pt x="2" y="16"/>
                    </a:moveTo>
                    <a:cubicBezTo>
                      <a:pt x="2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6" y="7"/>
                      <a:pt x="16" y="7"/>
                    </a:cubicBezTo>
                    <a:cubicBezTo>
                      <a:pt x="16" y="8"/>
                      <a:pt x="15" y="9"/>
                      <a:pt x="15" y="9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  <a:moveTo>
                      <a:pt x="4" y="4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6" name="Freeform 826">
                <a:extLst>
                  <a:ext uri="{FF2B5EF4-FFF2-40B4-BE49-F238E27FC236}">
                    <a16:creationId xmlns:a16="http://schemas.microsoft.com/office/drawing/2014/main" id="{3F432705-8C49-484D-A3D4-8C22684BC4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25622" y="6577679"/>
                <a:ext cx="26976" cy="29051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2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8 h 12"/>
                  <a:gd name="T18" fmla="*/ 3 w 11"/>
                  <a:gd name="T19" fmla="*/ 12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7"/>
                      <a:pt x="11" y="7"/>
                      <a:pt x="10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7" name="Freeform 827">
                <a:extLst>
                  <a:ext uri="{FF2B5EF4-FFF2-40B4-BE49-F238E27FC236}">
                    <a16:creationId xmlns:a16="http://schemas.microsoft.com/office/drawing/2014/main" id="{55EB2776-F8EA-4A05-859F-2243265B41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4407" y="6452137"/>
                <a:ext cx="88191" cy="186757"/>
              </a:xfrm>
              <a:custGeom>
                <a:avLst/>
                <a:gdLst>
                  <a:gd name="T0" fmla="*/ 2 w 36"/>
                  <a:gd name="T1" fmla="*/ 76 h 76"/>
                  <a:gd name="T2" fmla="*/ 1 w 36"/>
                  <a:gd name="T3" fmla="*/ 75 h 76"/>
                  <a:gd name="T4" fmla="*/ 0 w 36"/>
                  <a:gd name="T5" fmla="*/ 74 h 76"/>
                  <a:gd name="T6" fmla="*/ 0 w 36"/>
                  <a:gd name="T7" fmla="*/ 63 h 76"/>
                  <a:gd name="T8" fmla="*/ 1 w 36"/>
                  <a:gd name="T9" fmla="*/ 61 h 76"/>
                  <a:gd name="T10" fmla="*/ 8 w 36"/>
                  <a:gd name="T11" fmla="*/ 57 h 76"/>
                  <a:gd name="T12" fmla="*/ 1 w 36"/>
                  <a:gd name="T13" fmla="*/ 53 h 76"/>
                  <a:gd name="T14" fmla="*/ 0 w 36"/>
                  <a:gd name="T15" fmla="*/ 51 h 76"/>
                  <a:gd name="T16" fmla="*/ 0 w 36"/>
                  <a:gd name="T17" fmla="*/ 3 h 76"/>
                  <a:gd name="T18" fmla="*/ 1 w 36"/>
                  <a:gd name="T19" fmla="*/ 1 h 76"/>
                  <a:gd name="T20" fmla="*/ 3 w 36"/>
                  <a:gd name="T21" fmla="*/ 1 h 76"/>
                  <a:gd name="T22" fmla="*/ 35 w 36"/>
                  <a:gd name="T23" fmla="*/ 19 h 76"/>
                  <a:gd name="T24" fmla="*/ 36 w 36"/>
                  <a:gd name="T25" fmla="*/ 21 h 76"/>
                  <a:gd name="T26" fmla="*/ 36 w 36"/>
                  <a:gd name="T27" fmla="*/ 55 h 76"/>
                  <a:gd name="T28" fmla="*/ 35 w 36"/>
                  <a:gd name="T29" fmla="*/ 57 h 76"/>
                  <a:gd name="T30" fmla="*/ 3 w 36"/>
                  <a:gd name="T31" fmla="*/ 75 h 76"/>
                  <a:gd name="T32" fmla="*/ 2 w 36"/>
                  <a:gd name="T33" fmla="*/ 76 h 76"/>
                  <a:gd name="T34" fmla="*/ 4 w 36"/>
                  <a:gd name="T35" fmla="*/ 64 h 76"/>
                  <a:gd name="T36" fmla="*/ 4 w 36"/>
                  <a:gd name="T37" fmla="*/ 70 h 76"/>
                  <a:gd name="T38" fmla="*/ 32 w 36"/>
                  <a:gd name="T39" fmla="*/ 54 h 76"/>
                  <a:gd name="T40" fmla="*/ 32 w 36"/>
                  <a:gd name="T41" fmla="*/ 22 h 76"/>
                  <a:gd name="T42" fmla="*/ 4 w 36"/>
                  <a:gd name="T43" fmla="*/ 6 h 76"/>
                  <a:gd name="T44" fmla="*/ 4 w 36"/>
                  <a:gd name="T45" fmla="*/ 50 h 76"/>
                  <a:gd name="T46" fmla="*/ 13 w 36"/>
                  <a:gd name="T47" fmla="*/ 55 h 76"/>
                  <a:gd name="T48" fmla="*/ 14 w 36"/>
                  <a:gd name="T49" fmla="*/ 57 h 76"/>
                  <a:gd name="T50" fmla="*/ 13 w 36"/>
                  <a:gd name="T51" fmla="*/ 59 h 76"/>
                  <a:gd name="T52" fmla="*/ 4 w 36"/>
                  <a:gd name="T53" fmla="*/ 6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76">
                    <a:moveTo>
                      <a:pt x="2" y="76"/>
                    </a:moveTo>
                    <a:cubicBezTo>
                      <a:pt x="2" y="76"/>
                      <a:pt x="1" y="76"/>
                      <a:pt x="1" y="75"/>
                    </a:cubicBezTo>
                    <a:cubicBezTo>
                      <a:pt x="0" y="75"/>
                      <a:pt x="0" y="74"/>
                      <a:pt x="0" y="7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2"/>
                      <a:pt x="0" y="61"/>
                      <a:pt x="1" y="61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2"/>
                      <a:pt x="0" y="52"/>
                      <a:pt x="0" y="5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6" y="20"/>
                      <a:pt x="36" y="20"/>
                      <a:pt x="36" y="21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36" y="56"/>
                      <a:pt x="36" y="57"/>
                      <a:pt x="35" y="57"/>
                    </a:cubicBezTo>
                    <a:cubicBezTo>
                      <a:pt x="3" y="75"/>
                      <a:pt x="3" y="75"/>
                      <a:pt x="3" y="75"/>
                    </a:cubicBezTo>
                    <a:cubicBezTo>
                      <a:pt x="3" y="76"/>
                      <a:pt x="2" y="76"/>
                      <a:pt x="2" y="76"/>
                    </a:cubicBezTo>
                    <a:close/>
                    <a:moveTo>
                      <a:pt x="4" y="64"/>
                    </a:moveTo>
                    <a:cubicBezTo>
                      <a:pt x="4" y="70"/>
                      <a:pt x="4" y="70"/>
                      <a:pt x="4" y="70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4" y="55"/>
                      <a:pt x="14" y="56"/>
                      <a:pt x="14" y="57"/>
                    </a:cubicBezTo>
                    <a:cubicBezTo>
                      <a:pt x="14" y="58"/>
                      <a:pt x="14" y="58"/>
                      <a:pt x="13" y="59"/>
                    </a:cubicBezTo>
                    <a:lnTo>
                      <a:pt x="4" y="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8" name="Freeform 828">
                <a:extLst>
                  <a:ext uri="{FF2B5EF4-FFF2-40B4-BE49-F238E27FC236}">
                    <a16:creationId xmlns:a16="http://schemas.microsoft.com/office/drawing/2014/main" id="{F1CF5973-E01A-4099-857B-AA7E0244A3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0742" y="6501939"/>
                <a:ext cx="158744" cy="225146"/>
              </a:xfrm>
              <a:custGeom>
                <a:avLst/>
                <a:gdLst>
                  <a:gd name="T0" fmla="*/ 63 w 65"/>
                  <a:gd name="T1" fmla="*/ 92 h 92"/>
                  <a:gd name="T2" fmla="*/ 62 w 65"/>
                  <a:gd name="T3" fmla="*/ 91 h 92"/>
                  <a:gd name="T4" fmla="*/ 1 w 65"/>
                  <a:gd name="T5" fmla="*/ 57 h 92"/>
                  <a:gd name="T6" fmla="*/ 0 w 65"/>
                  <a:gd name="T7" fmla="*/ 55 h 92"/>
                  <a:gd name="T8" fmla="*/ 1 w 65"/>
                  <a:gd name="T9" fmla="*/ 53 h 92"/>
                  <a:gd name="T10" fmla="*/ 33 w 65"/>
                  <a:gd name="T11" fmla="*/ 35 h 92"/>
                  <a:gd name="T12" fmla="*/ 33 w 65"/>
                  <a:gd name="T13" fmla="*/ 2 h 92"/>
                  <a:gd name="T14" fmla="*/ 34 w 65"/>
                  <a:gd name="T15" fmla="*/ 0 h 92"/>
                  <a:gd name="T16" fmla="*/ 36 w 65"/>
                  <a:gd name="T17" fmla="*/ 0 h 92"/>
                  <a:gd name="T18" fmla="*/ 64 w 65"/>
                  <a:gd name="T19" fmla="*/ 17 h 92"/>
                  <a:gd name="T20" fmla="*/ 65 w 65"/>
                  <a:gd name="T21" fmla="*/ 18 h 92"/>
                  <a:gd name="T22" fmla="*/ 65 w 65"/>
                  <a:gd name="T23" fmla="*/ 90 h 92"/>
                  <a:gd name="T24" fmla="*/ 64 w 65"/>
                  <a:gd name="T25" fmla="*/ 91 h 92"/>
                  <a:gd name="T26" fmla="*/ 63 w 65"/>
                  <a:gd name="T27" fmla="*/ 92 h 92"/>
                  <a:gd name="T28" fmla="*/ 6 w 65"/>
                  <a:gd name="T29" fmla="*/ 55 h 92"/>
                  <a:gd name="T30" fmla="*/ 61 w 65"/>
                  <a:gd name="T31" fmla="*/ 86 h 92"/>
                  <a:gd name="T32" fmla="*/ 61 w 65"/>
                  <a:gd name="T33" fmla="*/ 19 h 92"/>
                  <a:gd name="T34" fmla="*/ 37 w 65"/>
                  <a:gd name="T35" fmla="*/ 5 h 92"/>
                  <a:gd name="T36" fmla="*/ 37 w 65"/>
                  <a:gd name="T37" fmla="*/ 36 h 92"/>
                  <a:gd name="T38" fmla="*/ 36 w 65"/>
                  <a:gd name="T39" fmla="*/ 38 h 92"/>
                  <a:gd name="T40" fmla="*/ 6 w 65"/>
                  <a:gd name="T4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92">
                    <a:moveTo>
                      <a:pt x="63" y="92"/>
                    </a:moveTo>
                    <a:cubicBezTo>
                      <a:pt x="63" y="92"/>
                      <a:pt x="62" y="92"/>
                      <a:pt x="62" y="91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6"/>
                      <a:pt x="0" y="56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3" y="1"/>
                      <a:pt x="33" y="1"/>
                      <a:pt x="34" y="0"/>
                    </a:cubicBezTo>
                    <a:cubicBezTo>
                      <a:pt x="34" y="0"/>
                      <a:pt x="35" y="0"/>
                      <a:pt x="36" y="0"/>
                    </a:cubicBezTo>
                    <a:cubicBezTo>
                      <a:pt x="64" y="17"/>
                      <a:pt x="64" y="17"/>
                      <a:pt x="64" y="17"/>
                    </a:cubicBezTo>
                    <a:cubicBezTo>
                      <a:pt x="65" y="17"/>
                      <a:pt x="65" y="18"/>
                      <a:pt x="65" y="18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1"/>
                      <a:pt x="64" y="91"/>
                    </a:cubicBezTo>
                    <a:cubicBezTo>
                      <a:pt x="64" y="92"/>
                      <a:pt x="63" y="92"/>
                      <a:pt x="63" y="92"/>
                    </a:cubicBezTo>
                    <a:close/>
                    <a:moveTo>
                      <a:pt x="6" y="55"/>
                    </a:moveTo>
                    <a:cubicBezTo>
                      <a:pt x="61" y="86"/>
                      <a:pt x="61" y="86"/>
                      <a:pt x="61" y="86"/>
                    </a:cubicBezTo>
                    <a:cubicBezTo>
                      <a:pt x="61" y="19"/>
                      <a:pt x="61" y="19"/>
                      <a:pt x="61" y="19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7" y="37"/>
                      <a:pt x="36" y="37"/>
                      <a:pt x="36" y="38"/>
                    </a:cubicBezTo>
                    <a:lnTo>
                      <a:pt x="6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9" name="Freeform 829">
                <a:extLst>
                  <a:ext uri="{FF2B5EF4-FFF2-40B4-BE49-F238E27FC236}">
                    <a16:creationId xmlns:a16="http://schemas.microsoft.com/office/drawing/2014/main" id="{ABB924B8-D33C-46A1-8DCF-53B07F0700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4407" y="6408560"/>
                <a:ext cx="85078" cy="95454"/>
              </a:xfrm>
              <a:custGeom>
                <a:avLst/>
                <a:gdLst>
                  <a:gd name="T0" fmla="*/ 33 w 35"/>
                  <a:gd name="T1" fmla="*/ 39 h 39"/>
                  <a:gd name="T2" fmla="*/ 32 w 35"/>
                  <a:gd name="T3" fmla="*/ 39 h 39"/>
                  <a:gd name="T4" fmla="*/ 1 w 35"/>
                  <a:gd name="T5" fmla="*/ 21 h 39"/>
                  <a:gd name="T6" fmla="*/ 0 w 35"/>
                  <a:gd name="T7" fmla="*/ 19 h 39"/>
                  <a:gd name="T8" fmla="*/ 1 w 35"/>
                  <a:gd name="T9" fmla="*/ 18 h 39"/>
                  <a:gd name="T10" fmla="*/ 32 w 35"/>
                  <a:gd name="T11" fmla="*/ 0 h 39"/>
                  <a:gd name="T12" fmla="*/ 34 w 35"/>
                  <a:gd name="T13" fmla="*/ 0 h 39"/>
                  <a:gd name="T14" fmla="*/ 35 w 35"/>
                  <a:gd name="T15" fmla="*/ 2 h 39"/>
                  <a:gd name="T16" fmla="*/ 35 w 35"/>
                  <a:gd name="T17" fmla="*/ 37 h 39"/>
                  <a:gd name="T18" fmla="*/ 34 w 35"/>
                  <a:gd name="T19" fmla="*/ 39 h 39"/>
                  <a:gd name="T20" fmla="*/ 33 w 35"/>
                  <a:gd name="T21" fmla="*/ 39 h 39"/>
                  <a:gd name="T22" fmla="*/ 6 w 35"/>
                  <a:gd name="T23" fmla="*/ 19 h 39"/>
                  <a:gd name="T24" fmla="*/ 31 w 35"/>
                  <a:gd name="T25" fmla="*/ 34 h 39"/>
                  <a:gd name="T26" fmla="*/ 31 w 35"/>
                  <a:gd name="T27" fmla="*/ 5 h 39"/>
                  <a:gd name="T28" fmla="*/ 6 w 35"/>
                  <a:gd name="T2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9">
                    <a:moveTo>
                      <a:pt x="33" y="39"/>
                    </a:moveTo>
                    <a:cubicBezTo>
                      <a:pt x="33" y="39"/>
                      <a:pt x="32" y="39"/>
                      <a:pt x="32" y="39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0" y="20"/>
                      <a:pt x="0" y="19"/>
                    </a:cubicBezTo>
                    <a:cubicBezTo>
                      <a:pt x="0" y="19"/>
                      <a:pt x="1" y="18"/>
                      <a:pt x="1" y="18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3" y="0"/>
                      <a:pt x="33" y="0"/>
                      <a:pt x="34" y="0"/>
                    </a:cubicBezTo>
                    <a:cubicBezTo>
                      <a:pt x="35" y="0"/>
                      <a:pt x="35" y="1"/>
                      <a:pt x="35" y="2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35" y="38"/>
                      <a:pt x="35" y="39"/>
                      <a:pt x="34" y="39"/>
                    </a:cubicBezTo>
                    <a:cubicBezTo>
                      <a:pt x="34" y="39"/>
                      <a:pt x="33" y="39"/>
                      <a:pt x="33" y="39"/>
                    </a:cubicBezTo>
                    <a:close/>
                    <a:moveTo>
                      <a:pt x="6" y="19"/>
                    </a:moveTo>
                    <a:cubicBezTo>
                      <a:pt x="31" y="34"/>
                      <a:pt x="31" y="34"/>
                      <a:pt x="31" y="34"/>
                    </a:cubicBezTo>
                    <a:cubicBezTo>
                      <a:pt x="31" y="5"/>
                      <a:pt x="31" y="5"/>
                      <a:pt x="31" y="5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0" name="Freeform 830">
                <a:extLst>
                  <a:ext uri="{FF2B5EF4-FFF2-40B4-BE49-F238E27FC236}">
                    <a16:creationId xmlns:a16="http://schemas.microsoft.com/office/drawing/2014/main" id="{D0038DAE-514C-4ED8-B3D7-E81FDA2B63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5936" y="6493639"/>
                <a:ext cx="154594" cy="262497"/>
              </a:xfrm>
              <a:custGeom>
                <a:avLst/>
                <a:gdLst>
                  <a:gd name="T0" fmla="*/ 2 w 63"/>
                  <a:gd name="T1" fmla="*/ 107 h 107"/>
                  <a:gd name="T2" fmla="*/ 1 w 63"/>
                  <a:gd name="T3" fmla="*/ 106 h 107"/>
                  <a:gd name="T4" fmla="*/ 0 w 63"/>
                  <a:gd name="T5" fmla="*/ 105 h 107"/>
                  <a:gd name="T6" fmla="*/ 0 w 63"/>
                  <a:gd name="T7" fmla="*/ 36 h 107"/>
                  <a:gd name="T8" fmla="*/ 1 w 63"/>
                  <a:gd name="T9" fmla="*/ 35 h 107"/>
                  <a:gd name="T10" fmla="*/ 60 w 63"/>
                  <a:gd name="T11" fmla="*/ 1 h 107"/>
                  <a:gd name="T12" fmla="*/ 62 w 63"/>
                  <a:gd name="T13" fmla="*/ 1 h 107"/>
                  <a:gd name="T14" fmla="*/ 63 w 63"/>
                  <a:gd name="T15" fmla="*/ 2 h 107"/>
                  <a:gd name="T16" fmla="*/ 63 w 63"/>
                  <a:gd name="T17" fmla="*/ 60 h 107"/>
                  <a:gd name="T18" fmla="*/ 62 w 63"/>
                  <a:gd name="T19" fmla="*/ 61 h 107"/>
                  <a:gd name="T20" fmla="*/ 46 w 63"/>
                  <a:gd name="T21" fmla="*/ 70 h 107"/>
                  <a:gd name="T22" fmla="*/ 53 w 63"/>
                  <a:gd name="T23" fmla="*/ 74 h 107"/>
                  <a:gd name="T24" fmla="*/ 54 w 63"/>
                  <a:gd name="T25" fmla="*/ 76 h 107"/>
                  <a:gd name="T26" fmla="*/ 53 w 63"/>
                  <a:gd name="T27" fmla="*/ 77 h 107"/>
                  <a:gd name="T28" fmla="*/ 3 w 63"/>
                  <a:gd name="T29" fmla="*/ 106 h 107"/>
                  <a:gd name="T30" fmla="*/ 2 w 63"/>
                  <a:gd name="T31" fmla="*/ 107 h 107"/>
                  <a:gd name="T32" fmla="*/ 4 w 63"/>
                  <a:gd name="T33" fmla="*/ 38 h 107"/>
                  <a:gd name="T34" fmla="*/ 4 w 63"/>
                  <a:gd name="T35" fmla="*/ 101 h 107"/>
                  <a:gd name="T36" fmla="*/ 48 w 63"/>
                  <a:gd name="T37" fmla="*/ 76 h 107"/>
                  <a:gd name="T38" fmla="*/ 41 w 63"/>
                  <a:gd name="T39" fmla="*/ 72 h 107"/>
                  <a:gd name="T40" fmla="*/ 40 w 63"/>
                  <a:gd name="T41" fmla="*/ 70 h 107"/>
                  <a:gd name="T42" fmla="*/ 41 w 63"/>
                  <a:gd name="T43" fmla="*/ 69 h 107"/>
                  <a:gd name="T44" fmla="*/ 59 w 63"/>
                  <a:gd name="T45" fmla="*/ 59 h 107"/>
                  <a:gd name="T46" fmla="*/ 59 w 63"/>
                  <a:gd name="T47" fmla="*/ 6 h 107"/>
                  <a:gd name="T48" fmla="*/ 4 w 63"/>
                  <a:gd name="T49" fmla="*/ 3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107">
                    <a:moveTo>
                      <a:pt x="2" y="107"/>
                    </a:moveTo>
                    <a:cubicBezTo>
                      <a:pt x="1" y="107"/>
                      <a:pt x="1" y="106"/>
                      <a:pt x="1" y="106"/>
                    </a:cubicBezTo>
                    <a:cubicBezTo>
                      <a:pt x="0" y="106"/>
                      <a:pt x="0" y="105"/>
                      <a:pt x="0" y="105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0" y="0"/>
                      <a:pt x="61" y="0"/>
                      <a:pt x="62" y="1"/>
                    </a:cubicBezTo>
                    <a:cubicBezTo>
                      <a:pt x="62" y="1"/>
                      <a:pt x="63" y="2"/>
                      <a:pt x="63" y="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60"/>
                      <a:pt x="62" y="61"/>
                      <a:pt x="62" y="61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74"/>
                      <a:pt x="54" y="75"/>
                      <a:pt x="54" y="76"/>
                    </a:cubicBezTo>
                    <a:cubicBezTo>
                      <a:pt x="54" y="76"/>
                      <a:pt x="53" y="77"/>
                      <a:pt x="53" y="77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2" y="106"/>
                      <a:pt x="2" y="107"/>
                      <a:pt x="2" y="107"/>
                    </a:cubicBezTo>
                    <a:close/>
                    <a:moveTo>
                      <a:pt x="4" y="38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1" y="72"/>
                      <a:pt x="41" y="72"/>
                      <a:pt x="41" y="72"/>
                    </a:cubicBezTo>
                    <a:cubicBezTo>
                      <a:pt x="41" y="72"/>
                      <a:pt x="40" y="71"/>
                      <a:pt x="40" y="70"/>
                    </a:cubicBezTo>
                    <a:cubicBezTo>
                      <a:pt x="40" y="70"/>
                      <a:pt x="41" y="69"/>
                      <a:pt x="41" y="69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6"/>
                      <a:pt x="59" y="6"/>
                      <a:pt x="59" y="6"/>
                    </a:cubicBezTo>
                    <a:lnTo>
                      <a:pt x="4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1" name="Freeform 831">
                <a:extLst>
                  <a:ext uri="{FF2B5EF4-FFF2-40B4-BE49-F238E27FC236}">
                    <a16:creationId xmlns:a16="http://schemas.microsoft.com/office/drawing/2014/main" id="{0A2E44BB-11A1-47EB-925D-3475433BBA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58031" y="6925255"/>
                <a:ext cx="34239" cy="37351"/>
              </a:xfrm>
              <a:custGeom>
                <a:avLst/>
                <a:gdLst>
                  <a:gd name="T0" fmla="*/ 2 w 14"/>
                  <a:gd name="T1" fmla="*/ 15 h 15"/>
                  <a:gd name="T2" fmla="*/ 1 w 14"/>
                  <a:gd name="T3" fmla="*/ 15 h 15"/>
                  <a:gd name="T4" fmla="*/ 0 w 14"/>
                  <a:gd name="T5" fmla="*/ 13 h 15"/>
                  <a:gd name="T6" fmla="*/ 0 w 14"/>
                  <a:gd name="T7" fmla="*/ 2 h 15"/>
                  <a:gd name="T8" fmla="*/ 1 w 14"/>
                  <a:gd name="T9" fmla="*/ 0 h 15"/>
                  <a:gd name="T10" fmla="*/ 3 w 14"/>
                  <a:gd name="T11" fmla="*/ 0 h 15"/>
                  <a:gd name="T12" fmla="*/ 13 w 14"/>
                  <a:gd name="T13" fmla="*/ 6 h 15"/>
                  <a:gd name="T14" fmla="*/ 14 w 14"/>
                  <a:gd name="T15" fmla="*/ 7 h 15"/>
                  <a:gd name="T16" fmla="*/ 13 w 14"/>
                  <a:gd name="T17" fmla="*/ 9 h 15"/>
                  <a:gd name="T18" fmla="*/ 3 w 14"/>
                  <a:gd name="T19" fmla="*/ 15 h 15"/>
                  <a:gd name="T20" fmla="*/ 2 w 14"/>
                  <a:gd name="T21" fmla="*/ 15 h 15"/>
                  <a:gd name="T22" fmla="*/ 4 w 14"/>
                  <a:gd name="T23" fmla="*/ 5 h 15"/>
                  <a:gd name="T24" fmla="*/ 4 w 14"/>
                  <a:gd name="T25" fmla="*/ 9 h 15"/>
                  <a:gd name="T26" fmla="*/ 8 w 14"/>
                  <a:gd name="T27" fmla="*/ 7 h 15"/>
                  <a:gd name="T28" fmla="*/ 4 w 14"/>
                  <a:gd name="T2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2" y="15"/>
                    </a:moveTo>
                    <a:cubicBezTo>
                      <a:pt x="2" y="15"/>
                      <a:pt x="2" y="15"/>
                      <a:pt x="1" y="15"/>
                    </a:cubicBezTo>
                    <a:cubicBezTo>
                      <a:pt x="1" y="14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4" y="6"/>
                      <a:pt x="14" y="7"/>
                      <a:pt x="14" y="7"/>
                    </a:cubicBezTo>
                    <a:cubicBezTo>
                      <a:pt x="14" y="8"/>
                      <a:pt x="14" y="9"/>
                      <a:pt x="13" y="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2" y="15"/>
                    </a:cubicBezTo>
                    <a:close/>
                    <a:moveTo>
                      <a:pt x="4" y="5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8" y="7"/>
                      <a:pt x="8" y="7"/>
                      <a:pt x="8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2" name="Freeform 832">
                <a:extLst>
                  <a:ext uri="{FF2B5EF4-FFF2-40B4-BE49-F238E27FC236}">
                    <a16:creationId xmlns:a16="http://schemas.microsoft.com/office/drawing/2014/main" id="{3F322076-46F1-4D85-B38A-E93B40512A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02004" y="6633707"/>
                <a:ext cx="188833" cy="125542"/>
              </a:xfrm>
              <a:custGeom>
                <a:avLst/>
                <a:gdLst>
                  <a:gd name="T0" fmla="*/ 55 w 77"/>
                  <a:gd name="T1" fmla="*/ 51 h 51"/>
                  <a:gd name="T2" fmla="*/ 54 w 77"/>
                  <a:gd name="T3" fmla="*/ 51 h 51"/>
                  <a:gd name="T4" fmla="*/ 1 w 77"/>
                  <a:gd name="T5" fmla="*/ 20 h 51"/>
                  <a:gd name="T6" fmla="*/ 0 w 77"/>
                  <a:gd name="T7" fmla="*/ 19 h 51"/>
                  <a:gd name="T8" fmla="*/ 1 w 77"/>
                  <a:gd name="T9" fmla="*/ 17 h 51"/>
                  <a:gd name="T10" fmla="*/ 7 w 77"/>
                  <a:gd name="T11" fmla="*/ 13 h 51"/>
                  <a:gd name="T12" fmla="*/ 7 w 77"/>
                  <a:gd name="T13" fmla="*/ 4 h 51"/>
                  <a:gd name="T14" fmla="*/ 8 w 77"/>
                  <a:gd name="T15" fmla="*/ 2 h 51"/>
                  <a:gd name="T16" fmla="*/ 12 w 77"/>
                  <a:gd name="T17" fmla="*/ 0 h 51"/>
                  <a:gd name="T18" fmla="*/ 14 w 77"/>
                  <a:gd name="T19" fmla="*/ 0 h 51"/>
                  <a:gd name="T20" fmla="*/ 76 w 77"/>
                  <a:gd name="T21" fmla="*/ 36 h 51"/>
                  <a:gd name="T22" fmla="*/ 77 w 77"/>
                  <a:gd name="T23" fmla="*/ 37 h 51"/>
                  <a:gd name="T24" fmla="*/ 76 w 77"/>
                  <a:gd name="T25" fmla="*/ 39 h 51"/>
                  <a:gd name="T26" fmla="*/ 56 w 77"/>
                  <a:gd name="T27" fmla="*/ 51 h 51"/>
                  <a:gd name="T28" fmla="*/ 55 w 77"/>
                  <a:gd name="T29" fmla="*/ 51 h 51"/>
                  <a:gd name="T30" fmla="*/ 6 w 77"/>
                  <a:gd name="T31" fmla="*/ 19 h 51"/>
                  <a:gd name="T32" fmla="*/ 55 w 77"/>
                  <a:gd name="T33" fmla="*/ 47 h 51"/>
                  <a:gd name="T34" fmla="*/ 71 w 77"/>
                  <a:gd name="T35" fmla="*/ 37 h 51"/>
                  <a:gd name="T36" fmla="*/ 13 w 77"/>
                  <a:gd name="T37" fmla="*/ 4 h 51"/>
                  <a:gd name="T38" fmla="*/ 11 w 77"/>
                  <a:gd name="T39" fmla="*/ 5 h 51"/>
                  <a:gd name="T40" fmla="*/ 11 w 77"/>
                  <a:gd name="T41" fmla="*/ 14 h 51"/>
                  <a:gd name="T42" fmla="*/ 10 w 77"/>
                  <a:gd name="T43" fmla="*/ 16 h 51"/>
                  <a:gd name="T44" fmla="*/ 6 w 77"/>
                  <a:gd name="T45" fmla="*/ 1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51">
                    <a:moveTo>
                      <a:pt x="55" y="51"/>
                    </a:moveTo>
                    <a:cubicBezTo>
                      <a:pt x="54" y="51"/>
                      <a:pt x="54" y="51"/>
                      <a:pt x="54" y="51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9"/>
                      <a:pt x="0" y="19"/>
                    </a:cubicBezTo>
                    <a:cubicBezTo>
                      <a:pt x="0" y="18"/>
                      <a:pt x="0" y="17"/>
                      <a:pt x="1" y="17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3"/>
                      <a:pt x="8" y="2"/>
                      <a:pt x="8" y="2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6" y="36"/>
                      <a:pt x="77" y="37"/>
                      <a:pt x="77" y="37"/>
                    </a:cubicBezTo>
                    <a:cubicBezTo>
                      <a:pt x="77" y="38"/>
                      <a:pt x="76" y="39"/>
                      <a:pt x="76" y="39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5" y="51"/>
                      <a:pt x="55" y="51"/>
                      <a:pt x="55" y="51"/>
                    </a:cubicBezTo>
                    <a:close/>
                    <a:moveTo>
                      <a:pt x="6" y="19"/>
                    </a:moveTo>
                    <a:cubicBezTo>
                      <a:pt x="55" y="47"/>
                      <a:pt x="55" y="47"/>
                      <a:pt x="55" y="47"/>
                    </a:cubicBezTo>
                    <a:cubicBezTo>
                      <a:pt x="71" y="37"/>
                      <a:pt x="71" y="37"/>
                      <a:pt x="71" y="37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5"/>
                      <a:pt x="11" y="16"/>
                      <a:pt x="10" y="16"/>
                    </a:cubicBez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3" name="Freeform 833">
                <a:extLst>
                  <a:ext uri="{FF2B5EF4-FFF2-40B4-BE49-F238E27FC236}">
                    <a16:creationId xmlns:a16="http://schemas.microsoft.com/office/drawing/2014/main" id="{F1678689-4930-4916-821C-247B610985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02004" y="6606731"/>
                <a:ext cx="158744" cy="120355"/>
              </a:xfrm>
              <a:custGeom>
                <a:avLst/>
                <a:gdLst>
                  <a:gd name="T0" fmla="*/ 63 w 65"/>
                  <a:gd name="T1" fmla="*/ 49 h 49"/>
                  <a:gd name="T2" fmla="*/ 62 w 65"/>
                  <a:gd name="T3" fmla="*/ 48 h 49"/>
                  <a:gd name="T4" fmla="*/ 1 w 65"/>
                  <a:gd name="T5" fmla="*/ 14 h 49"/>
                  <a:gd name="T6" fmla="*/ 0 w 65"/>
                  <a:gd name="T7" fmla="*/ 12 h 49"/>
                  <a:gd name="T8" fmla="*/ 1 w 65"/>
                  <a:gd name="T9" fmla="*/ 10 h 49"/>
                  <a:gd name="T10" fmla="*/ 19 w 65"/>
                  <a:gd name="T11" fmla="*/ 0 h 49"/>
                  <a:gd name="T12" fmla="*/ 21 w 65"/>
                  <a:gd name="T13" fmla="*/ 0 h 49"/>
                  <a:gd name="T14" fmla="*/ 64 w 65"/>
                  <a:gd name="T15" fmla="*/ 25 h 49"/>
                  <a:gd name="T16" fmla="*/ 65 w 65"/>
                  <a:gd name="T17" fmla="*/ 27 h 49"/>
                  <a:gd name="T18" fmla="*/ 65 w 65"/>
                  <a:gd name="T19" fmla="*/ 47 h 49"/>
                  <a:gd name="T20" fmla="*/ 64 w 65"/>
                  <a:gd name="T21" fmla="*/ 48 h 49"/>
                  <a:gd name="T22" fmla="*/ 63 w 65"/>
                  <a:gd name="T23" fmla="*/ 49 h 49"/>
                  <a:gd name="T24" fmla="*/ 6 w 65"/>
                  <a:gd name="T25" fmla="*/ 12 h 49"/>
                  <a:gd name="T26" fmla="*/ 61 w 65"/>
                  <a:gd name="T27" fmla="*/ 43 h 49"/>
                  <a:gd name="T28" fmla="*/ 61 w 65"/>
                  <a:gd name="T29" fmla="*/ 28 h 49"/>
                  <a:gd name="T30" fmla="*/ 20 w 65"/>
                  <a:gd name="T31" fmla="*/ 4 h 49"/>
                  <a:gd name="T32" fmla="*/ 6 w 65"/>
                  <a:gd name="T33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49">
                    <a:moveTo>
                      <a:pt x="63" y="49"/>
                    </a:moveTo>
                    <a:cubicBezTo>
                      <a:pt x="63" y="49"/>
                      <a:pt x="62" y="49"/>
                      <a:pt x="62" y="4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0" y="13"/>
                      <a:pt x="0" y="12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20" y="0"/>
                      <a:pt x="21" y="0"/>
                    </a:cubicBezTo>
                    <a:cubicBezTo>
                      <a:pt x="64" y="25"/>
                      <a:pt x="64" y="25"/>
                      <a:pt x="64" y="25"/>
                    </a:cubicBezTo>
                    <a:cubicBezTo>
                      <a:pt x="64" y="25"/>
                      <a:pt x="65" y="26"/>
                      <a:pt x="65" y="27"/>
                    </a:cubicBezTo>
                    <a:cubicBezTo>
                      <a:pt x="65" y="47"/>
                      <a:pt x="65" y="47"/>
                      <a:pt x="65" y="47"/>
                    </a:cubicBezTo>
                    <a:cubicBezTo>
                      <a:pt x="65" y="47"/>
                      <a:pt x="64" y="48"/>
                      <a:pt x="64" y="48"/>
                    </a:cubicBezTo>
                    <a:cubicBezTo>
                      <a:pt x="64" y="49"/>
                      <a:pt x="63" y="49"/>
                      <a:pt x="63" y="49"/>
                    </a:cubicBezTo>
                    <a:close/>
                    <a:moveTo>
                      <a:pt x="6" y="12"/>
                    </a:moveTo>
                    <a:cubicBezTo>
                      <a:pt x="61" y="43"/>
                      <a:pt x="61" y="43"/>
                      <a:pt x="61" y="43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20" y="4"/>
                      <a:pt x="20" y="4"/>
                      <a:pt x="20" y="4"/>
                    </a:cubicBez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4" name="Freeform 834">
                <a:extLst>
                  <a:ext uri="{FF2B5EF4-FFF2-40B4-BE49-F238E27FC236}">
                    <a16:creationId xmlns:a16="http://schemas.microsoft.com/office/drawing/2014/main" id="{7E1E6BA0-18D9-48DD-BA02-DEB11D35F2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5936" y="6751986"/>
                <a:ext cx="154594" cy="166006"/>
              </a:xfrm>
              <a:custGeom>
                <a:avLst/>
                <a:gdLst>
                  <a:gd name="T0" fmla="*/ 2 w 63"/>
                  <a:gd name="T1" fmla="*/ 68 h 68"/>
                  <a:gd name="T2" fmla="*/ 1 w 63"/>
                  <a:gd name="T3" fmla="*/ 68 h 68"/>
                  <a:gd name="T4" fmla="*/ 0 w 63"/>
                  <a:gd name="T5" fmla="*/ 66 h 68"/>
                  <a:gd name="T6" fmla="*/ 0 w 63"/>
                  <a:gd name="T7" fmla="*/ 2 h 68"/>
                  <a:gd name="T8" fmla="*/ 1 w 63"/>
                  <a:gd name="T9" fmla="*/ 1 h 68"/>
                  <a:gd name="T10" fmla="*/ 3 w 63"/>
                  <a:gd name="T11" fmla="*/ 1 h 68"/>
                  <a:gd name="T12" fmla="*/ 62 w 63"/>
                  <a:gd name="T13" fmla="*/ 35 h 68"/>
                  <a:gd name="T14" fmla="*/ 63 w 63"/>
                  <a:gd name="T15" fmla="*/ 36 h 68"/>
                  <a:gd name="T16" fmla="*/ 63 w 63"/>
                  <a:gd name="T17" fmla="*/ 51 h 68"/>
                  <a:gd name="T18" fmla="*/ 62 w 63"/>
                  <a:gd name="T19" fmla="*/ 53 h 68"/>
                  <a:gd name="T20" fmla="*/ 60 w 63"/>
                  <a:gd name="T21" fmla="*/ 53 h 68"/>
                  <a:gd name="T22" fmla="*/ 44 w 63"/>
                  <a:gd name="T23" fmla="*/ 44 h 68"/>
                  <a:gd name="T24" fmla="*/ 3 w 63"/>
                  <a:gd name="T25" fmla="*/ 68 h 68"/>
                  <a:gd name="T26" fmla="*/ 2 w 63"/>
                  <a:gd name="T27" fmla="*/ 68 h 68"/>
                  <a:gd name="T28" fmla="*/ 4 w 63"/>
                  <a:gd name="T29" fmla="*/ 6 h 68"/>
                  <a:gd name="T30" fmla="*/ 4 w 63"/>
                  <a:gd name="T31" fmla="*/ 62 h 68"/>
                  <a:gd name="T32" fmla="*/ 43 w 63"/>
                  <a:gd name="T33" fmla="*/ 40 h 68"/>
                  <a:gd name="T34" fmla="*/ 45 w 63"/>
                  <a:gd name="T35" fmla="*/ 40 h 68"/>
                  <a:gd name="T36" fmla="*/ 59 w 63"/>
                  <a:gd name="T37" fmla="*/ 47 h 68"/>
                  <a:gd name="T38" fmla="*/ 59 w 63"/>
                  <a:gd name="T39" fmla="*/ 38 h 68"/>
                  <a:gd name="T40" fmla="*/ 4 w 63"/>
                  <a:gd name="T41" fmla="*/ 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" h="68">
                    <a:moveTo>
                      <a:pt x="2" y="68"/>
                    </a:moveTo>
                    <a:cubicBezTo>
                      <a:pt x="1" y="68"/>
                      <a:pt x="1" y="68"/>
                      <a:pt x="1" y="68"/>
                    </a:cubicBezTo>
                    <a:cubicBezTo>
                      <a:pt x="0" y="67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5"/>
                      <a:pt x="63" y="36"/>
                      <a:pt x="63" y="36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3" y="52"/>
                      <a:pt x="62" y="52"/>
                      <a:pt x="62" y="53"/>
                    </a:cubicBezTo>
                    <a:cubicBezTo>
                      <a:pt x="61" y="53"/>
                      <a:pt x="60" y="53"/>
                      <a:pt x="60" y="53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2" y="68"/>
                      <a:pt x="2" y="68"/>
                      <a:pt x="2" y="68"/>
                    </a:cubicBezTo>
                    <a:close/>
                    <a:moveTo>
                      <a:pt x="4" y="6"/>
                    </a:moveTo>
                    <a:cubicBezTo>
                      <a:pt x="4" y="62"/>
                      <a:pt x="4" y="62"/>
                      <a:pt x="4" y="62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39"/>
                      <a:pt x="45" y="39"/>
                      <a:pt x="45" y="40"/>
                    </a:cubicBezTo>
                    <a:cubicBezTo>
                      <a:pt x="59" y="47"/>
                      <a:pt x="59" y="47"/>
                      <a:pt x="59" y="47"/>
                    </a:cubicBezTo>
                    <a:cubicBezTo>
                      <a:pt x="59" y="38"/>
                      <a:pt x="59" y="38"/>
                      <a:pt x="59" y="38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5" name="Freeform 835">
                <a:extLst>
                  <a:ext uri="{FF2B5EF4-FFF2-40B4-BE49-F238E27FC236}">
                    <a16:creationId xmlns:a16="http://schemas.microsoft.com/office/drawing/2014/main" id="{F4937364-D71E-4EEB-A940-22911F2BE2F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4407" y="6401298"/>
                <a:ext cx="90266" cy="56027"/>
              </a:xfrm>
              <a:custGeom>
                <a:avLst/>
                <a:gdLst>
                  <a:gd name="T0" fmla="*/ 3 w 37"/>
                  <a:gd name="T1" fmla="*/ 23 h 23"/>
                  <a:gd name="T2" fmla="*/ 2 w 37"/>
                  <a:gd name="T3" fmla="*/ 23 h 23"/>
                  <a:gd name="T4" fmla="*/ 1 w 37"/>
                  <a:gd name="T5" fmla="*/ 23 h 23"/>
                  <a:gd name="T6" fmla="*/ 0 w 37"/>
                  <a:gd name="T7" fmla="*/ 21 h 23"/>
                  <a:gd name="T8" fmla="*/ 1 w 37"/>
                  <a:gd name="T9" fmla="*/ 19 h 23"/>
                  <a:gd name="T10" fmla="*/ 34 w 37"/>
                  <a:gd name="T11" fmla="*/ 0 h 23"/>
                  <a:gd name="T12" fmla="*/ 36 w 37"/>
                  <a:gd name="T13" fmla="*/ 0 h 23"/>
                  <a:gd name="T14" fmla="*/ 37 w 37"/>
                  <a:gd name="T15" fmla="*/ 2 h 23"/>
                  <a:gd name="T16" fmla="*/ 37 w 37"/>
                  <a:gd name="T17" fmla="*/ 3 h 23"/>
                  <a:gd name="T18" fmla="*/ 36 w 37"/>
                  <a:gd name="T19" fmla="*/ 5 h 23"/>
                  <a:gd name="T20" fmla="*/ 4 w 37"/>
                  <a:gd name="T21" fmla="*/ 23 h 23"/>
                  <a:gd name="T22" fmla="*/ 3 w 37"/>
                  <a:gd name="T2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3">
                    <a:moveTo>
                      <a:pt x="3" y="23"/>
                    </a:moveTo>
                    <a:cubicBezTo>
                      <a:pt x="2" y="23"/>
                      <a:pt x="2" y="23"/>
                      <a:pt x="2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3"/>
                      <a:pt x="0" y="22"/>
                      <a:pt x="0" y="21"/>
                    </a:cubicBezTo>
                    <a:cubicBezTo>
                      <a:pt x="0" y="20"/>
                      <a:pt x="1" y="20"/>
                      <a:pt x="1" y="19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5" y="0"/>
                      <a:pt x="36" y="0"/>
                    </a:cubicBezTo>
                    <a:cubicBezTo>
                      <a:pt x="37" y="1"/>
                      <a:pt x="37" y="1"/>
                      <a:pt x="37" y="2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4"/>
                      <a:pt x="37" y="4"/>
                      <a:pt x="36" y="5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3" y="23"/>
                      <a:pt x="3" y="23"/>
                      <a:pt x="3" y="2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6" name="Freeform 836">
                <a:extLst>
                  <a:ext uri="{FF2B5EF4-FFF2-40B4-BE49-F238E27FC236}">
                    <a16:creationId xmlns:a16="http://schemas.microsoft.com/office/drawing/2014/main" id="{721EF153-5C52-4A58-9DC7-3A86B75747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55956" y="6675208"/>
                <a:ext cx="264573" cy="253160"/>
              </a:xfrm>
              <a:custGeom>
                <a:avLst/>
                <a:gdLst>
                  <a:gd name="T0" fmla="*/ 94 w 108"/>
                  <a:gd name="T1" fmla="*/ 103 h 103"/>
                  <a:gd name="T2" fmla="*/ 93 w 108"/>
                  <a:gd name="T3" fmla="*/ 103 h 103"/>
                  <a:gd name="T4" fmla="*/ 61 w 108"/>
                  <a:gd name="T5" fmla="*/ 85 h 103"/>
                  <a:gd name="T6" fmla="*/ 60 w 108"/>
                  <a:gd name="T7" fmla="*/ 83 h 103"/>
                  <a:gd name="T8" fmla="*/ 60 w 108"/>
                  <a:gd name="T9" fmla="*/ 68 h 103"/>
                  <a:gd name="T10" fmla="*/ 1 w 108"/>
                  <a:gd name="T11" fmla="*/ 34 h 103"/>
                  <a:gd name="T12" fmla="*/ 0 w 108"/>
                  <a:gd name="T13" fmla="*/ 32 h 103"/>
                  <a:gd name="T14" fmla="*/ 1 w 108"/>
                  <a:gd name="T15" fmla="*/ 30 h 103"/>
                  <a:gd name="T16" fmla="*/ 52 w 108"/>
                  <a:gd name="T17" fmla="*/ 1 h 103"/>
                  <a:gd name="T18" fmla="*/ 54 w 108"/>
                  <a:gd name="T19" fmla="*/ 1 h 103"/>
                  <a:gd name="T20" fmla="*/ 107 w 108"/>
                  <a:gd name="T21" fmla="*/ 31 h 103"/>
                  <a:gd name="T22" fmla="*/ 108 w 108"/>
                  <a:gd name="T23" fmla="*/ 33 h 103"/>
                  <a:gd name="T24" fmla="*/ 107 w 108"/>
                  <a:gd name="T25" fmla="*/ 35 h 103"/>
                  <a:gd name="T26" fmla="*/ 96 w 108"/>
                  <a:gd name="T27" fmla="*/ 41 h 103"/>
                  <a:gd name="T28" fmla="*/ 96 w 108"/>
                  <a:gd name="T29" fmla="*/ 101 h 103"/>
                  <a:gd name="T30" fmla="*/ 95 w 108"/>
                  <a:gd name="T31" fmla="*/ 103 h 103"/>
                  <a:gd name="T32" fmla="*/ 94 w 108"/>
                  <a:gd name="T33" fmla="*/ 103 h 103"/>
                  <a:gd name="T34" fmla="*/ 64 w 108"/>
                  <a:gd name="T35" fmla="*/ 82 h 103"/>
                  <a:gd name="T36" fmla="*/ 92 w 108"/>
                  <a:gd name="T37" fmla="*/ 98 h 103"/>
                  <a:gd name="T38" fmla="*/ 92 w 108"/>
                  <a:gd name="T39" fmla="*/ 40 h 103"/>
                  <a:gd name="T40" fmla="*/ 93 w 108"/>
                  <a:gd name="T41" fmla="*/ 38 h 103"/>
                  <a:gd name="T42" fmla="*/ 102 w 108"/>
                  <a:gd name="T43" fmla="*/ 33 h 103"/>
                  <a:gd name="T44" fmla="*/ 53 w 108"/>
                  <a:gd name="T45" fmla="*/ 5 h 103"/>
                  <a:gd name="T46" fmla="*/ 6 w 108"/>
                  <a:gd name="T47" fmla="*/ 32 h 103"/>
                  <a:gd name="T48" fmla="*/ 63 w 108"/>
                  <a:gd name="T49" fmla="*/ 65 h 103"/>
                  <a:gd name="T50" fmla="*/ 64 w 108"/>
                  <a:gd name="T51" fmla="*/ 66 h 103"/>
                  <a:gd name="T52" fmla="*/ 64 w 108"/>
                  <a:gd name="T5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8" h="103">
                    <a:moveTo>
                      <a:pt x="94" y="103"/>
                    </a:moveTo>
                    <a:cubicBezTo>
                      <a:pt x="93" y="103"/>
                      <a:pt x="93" y="103"/>
                      <a:pt x="93" y="103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61" y="84"/>
                      <a:pt x="60" y="84"/>
                      <a:pt x="60" y="83"/>
                    </a:cubicBezTo>
                    <a:cubicBezTo>
                      <a:pt x="60" y="68"/>
                      <a:pt x="60" y="68"/>
                      <a:pt x="60" y="68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3"/>
                      <a:pt x="0" y="33"/>
                      <a:pt x="0" y="32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3" y="0"/>
                      <a:pt x="54" y="0"/>
                      <a:pt x="54" y="1"/>
                    </a:cubicBezTo>
                    <a:cubicBezTo>
                      <a:pt x="107" y="31"/>
                      <a:pt x="107" y="31"/>
                      <a:pt x="107" y="31"/>
                    </a:cubicBezTo>
                    <a:cubicBezTo>
                      <a:pt x="108" y="32"/>
                      <a:pt x="108" y="32"/>
                      <a:pt x="108" y="33"/>
                    </a:cubicBezTo>
                    <a:cubicBezTo>
                      <a:pt x="108" y="34"/>
                      <a:pt x="108" y="34"/>
                      <a:pt x="107" y="35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6" y="101"/>
                      <a:pt x="96" y="101"/>
                      <a:pt x="96" y="101"/>
                    </a:cubicBezTo>
                    <a:cubicBezTo>
                      <a:pt x="96" y="102"/>
                      <a:pt x="95" y="102"/>
                      <a:pt x="95" y="103"/>
                    </a:cubicBezTo>
                    <a:cubicBezTo>
                      <a:pt x="94" y="103"/>
                      <a:pt x="94" y="103"/>
                      <a:pt x="94" y="103"/>
                    </a:cubicBezTo>
                    <a:close/>
                    <a:moveTo>
                      <a:pt x="64" y="82"/>
                    </a:moveTo>
                    <a:cubicBezTo>
                      <a:pt x="92" y="98"/>
                      <a:pt x="92" y="98"/>
                      <a:pt x="92" y="98"/>
                    </a:cubicBezTo>
                    <a:cubicBezTo>
                      <a:pt x="92" y="40"/>
                      <a:pt x="92" y="40"/>
                      <a:pt x="92" y="40"/>
                    </a:cubicBezTo>
                    <a:cubicBezTo>
                      <a:pt x="92" y="39"/>
                      <a:pt x="92" y="39"/>
                      <a:pt x="93" y="38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3" y="65"/>
                      <a:pt x="63" y="65"/>
                      <a:pt x="63" y="65"/>
                    </a:cubicBezTo>
                    <a:cubicBezTo>
                      <a:pt x="64" y="65"/>
                      <a:pt x="64" y="66"/>
                      <a:pt x="64" y="66"/>
                    </a:cubicBezTo>
                    <a:lnTo>
                      <a:pt x="6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7" name="Freeform 837">
                <a:extLst>
                  <a:ext uri="{FF2B5EF4-FFF2-40B4-BE49-F238E27FC236}">
                    <a16:creationId xmlns:a16="http://schemas.microsoft.com/office/drawing/2014/main" id="{011C02FA-519F-4F19-B500-9282AA3D6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5936" y="6851590"/>
                <a:ext cx="154594" cy="161856"/>
              </a:xfrm>
              <a:custGeom>
                <a:avLst/>
                <a:gdLst>
                  <a:gd name="T0" fmla="*/ 61 w 63"/>
                  <a:gd name="T1" fmla="*/ 66 h 66"/>
                  <a:gd name="T2" fmla="*/ 60 w 63"/>
                  <a:gd name="T3" fmla="*/ 65 h 66"/>
                  <a:gd name="T4" fmla="*/ 1 w 63"/>
                  <a:gd name="T5" fmla="*/ 31 h 66"/>
                  <a:gd name="T6" fmla="*/ 0 w 63"/>
                  <a:gd name="T7" fmla="*/ 29 h 66"/>
                  <a:gd name="T8" fmla="*/ 0 w 63"/>
                  <a:gd name="T9" fmla="*/ 27 h 66"/>
                  <a:gd name="T10" fmla="*/ 1 w 63"/>
                  <a:gd name="T11" fmla="*/ 25 h 66"/>
                  <a:gd name="T12" fmla="*/ 43 w 63"/>
                  <a:gd name="T13" fmla="*/ 1 h 66"/>
                  <a:gd name="T14" fmla="*/ 45 w 63"/>
                  <a:gd name="T15" fmla="*/ 1 h 66"/>
                  <a:gd name="T16" fmla="*/ 62 w 63"/>
                  <a:gd name="T17" fmla="*/ 10 h 66"/>
                  <a:gd name="T18" fmla="*/ 63 w 63"/>
                  <a:gd name="T19" fmla="*/ 12 h 66"/>
                  <a:gd name="T20" fmla="*/ 63 w 63"/>
                  <a:gd name="T21" fmla="*/ 64 h 66"/>
                  <a:gd name="T22" fmla="*/ 62 w 63"/>
                  <a:gd name="T23" fmla="*/ 65 h 66"/>
                  <a:gd name="T24" fmla="*/ 61 w 63"/>
                  <a:gd name="T25" fmla="*/ 66 h 66"/>
                  <a:gd name="T26" fmla="*/ 4 w 63"/>
                  <a:gd name="T27" fmla="*/ 28 h 66"/>
                  <a:gd name="T28" fmla="*/ 59 w 63"/>
                  <a:gd name="T29" fmla="*/ 60 h 66"/>
                  <a:gd name="T30" fmla="*/ 59 w 63"/>
                  <a:gd name="T31" fmla="*/ 13 h 66"/>
                  <a:gd name="T32" fmla="*/ 44 w 63"/>
                  <a:gd name="T33" fmla="*/ 5 h 66"/>
                  <a:gd name="T34" fmla="*/ 4 w 63"/>
                  <a:gd name="T35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cubicBezTo>
                      <a:pt x="60" y="66"/>
                      <a:pt x="60" y="65"/>
                      <a:pt x="60" y="65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5"/>
                      <a:pt x="1" y="25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4" y="0"/>
                      <a:pt x="45" y="0"/>
                      <a:pt x="45" y="1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3" y="11"/>
                      <a:pt x="63" y="12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3" y="64"/>
                      <a:pt x="62" y="65"/>
                      <a:pt x="62" y="65"/>
                    </a:cubicBezTo>
                    <a:cubicBezTo>
                      <a:pt x="61" y="65"/>
                      <a:pt x="61" y="66"/>
                      <a:pt x="61" y="66"/>
                    </a:cubicBezTo>
                    <a:close/>
                    <a:moveTo>
                      <a:pt x="4" y="28"/>
                    </a:moveTo>
                    <a:cubicBezTo>
                      <a:pt x="59" y="60"/>
                      <a:pt x="59" y="60"/>
                      <a:pt x="59" y="60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8" name="Freeform 838">
                <a:extLst>
                  <a:ext uri="{FF2B5EF4-FFF2-40B4-BE49-F238E27FC236}">
                    <a16:creationId xmlns:a16="http://schemas.microsoft.com/office/drawing/2014/main" id="{BFE1F49E-16DE-426C-AAA2-D04893AA60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4981" y="6751986"/>
                <a:ext cx="43577" cy="99604"/>
              </a:xfrm>
              <a:custGeom>
                <a:avLst/>
                <a:gdLst>
                  <a:gd name="T0" fmla="*/ 2 w 18"/>
                  <a:gd name="T1" fmla="*/ 41 h 41"/>
                  <a:gd name="T2" fmla="*/ 1 w 18"/>
                  <a:gd name="T3" fmla="*/ 40 h 41"/>
                  <a:gd name="T4" fmla="*/ 0 w 18"/>
                  <a:gd name="T5" fmla="*/ 39 h 41"/>
                  <a:gd name="T6" fmla="*/ 0 w 18"/>
                  <a:gd name="T7" fmla="*/ 10 h 41"/>
                  <a:gd name="T8" fmla="*/ 1 w 18"/>
                  <a:gd name="T9" fmla="*/ 8 h 41"/>
                  <a:gd name="T10" fmla="*/ 15 w 18"/>
                  <a:gd name="T11" fmla="*/ 0 h 41"/>
                  <a:gd name="T12" fmla="*/ 17 w 18"/>
                  <a:gd name="T13" fmla="*/ 0 h 41"/>
                  <a:gd name="T14" fmla="*/ 18 w 18"/>
                  <a:gd name="T15" fmla="*/ 2 h 41"/>
                  <a:gd name="T16" fmla="*/ 18 w 18"/>
                  <a:gd name="T17" fmla="*/ 32 h 41"/>
                  <a:gd name="T18" fmla="*/ 17 w 18"/>
                  <a:gd name="T19" fmla="*/ 34 h 41"/>
                  <a:gd name="T20" fmla="*/ 15 w 18"/>
                  <a:gd name="T21" fmla="*/ 34 h 41"/>
                  <a:gd name="T22" fmla="*/ 14 w 18"/>
                  <a:gd name="T23" fmla="*/ 34 h 41"/>
                  <a:gd name="T24" fmla="*/ 3 w 18"/>
                  <a:gd name="T25" fmla="*/ 40 h 41"/>
                  <a:gd name="T26" fmla="*/ 2 w 18"/>
                  <a:gd name="T27" fmla="*/ 41 h 41"/>
                  <a:gd name="T28" fmla="*/ 4 w 18"/>
                  <a:gd name="T29" fmla="*/ 11 h 41"/>
                  <a:gd name="T30" fmla="*/ 4 w 18"/>
                  <a:gd name="T31" fmla="*/ 35 h 41"/>
                  <a:gd name="T32" fmla="*/ 13 w 18"/>
                  <a:gd name="T33" fmla="*/ 30 h 41"/>
                  <a:gd name="T34" fmla="*/ 14 w 18"/>
                  <a:gd name="T35" fmla="*/ 29 h 41"/>
                  <a:gd name="T36" fmla="*/ 14 w 18"/>
                  <a:gd name="T37" fmla="*/ 5 h 41"/>
                  <a:gd name="T38" fmla="*/ 4 w 18"/>
                  <a:gd name="T39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41">
                    <a:moveTo>
                      <a:pt x="2" y="41"/>
                    </a:moveTo>
                    <a:cubicBezTo>
                      <a:pt x="1" y="41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17" y="1"/>
                      <a:pt x="18" y="1"/>
                      <a:pt x="18" y="2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3"/>
                      <a:pt x="17" y="33"/>
                      <a:pt x="17" y="34"/>
                    </a:cubicBezTo>
                    <a:cubicBezTo>
                      <a:pt x="16" y="34"/>
                      <a:pt x="15" y="34"/>
                      <a:pt x="15" y="34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2" y="40"/>
                      <a:pt x="2" y="41"/>
                      <a:pt x="2" y="41"/>
                    </a:cubicBezTo>
                    <a:close/>
                    <a:moveTo>
                      <a:pt x="4" y="11"/>
                    </a:moveTo>
                    <a:cubicBezTo>
                      <a:pt x="4" y="35"/>
                      <a:pt x="4" y="35"/>
                      <a:pt x="4" y="35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3" y="30"/>
                      <a:pt x="13" y="29"/>
                      <a:pt x="14" y="29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9" name="Freeform 839">
                <a:extLst>
                  <a:ext uri="{FF2B5EF4-FFF2-40B4-BE49-F238E27FC236}">
                    <a16:creationId xmlns:a16="http://schemas.microsoft.com/office/drawing/2014/main" id="{C35FD727-6D0E-44AA-80C5-91A16D24CA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7056" y="6660683"/>
                <a:ext cx="167044" cy="225146"/>
              </a:xfrm>
              <a:custGeom>
                <a:avLst/>
                <a:gdLst>
                  <a:gd name="T0" fmla="*/ 28 w 68"/>
                  <a:gd name="T1" fmla="*/ 92 h 92"/>
                  <a:gd name="T2" fmla="*/ 27 w 68"/>
                  <a:gd name="T3" fmla="*/ 92 h 92"/>
                  <a:gd name="T4" fmla="*/ 1 w 68"/>
                  <a:gd name="T5" fmla="*/ 77 h 92"/>
                  <a:gd name="T6" fmla="*/ 0 w 68"/>
                  <a:gd name="T7" fmla="*/ 75 h 92"/>
                  <a:gd name="T8" fmla="*/ 0 w 68"/>
                  <a:gd name="T9" fmla="*/ 4 h 92"/>
                  <a:gd name="T10" fmla="*/ 1 w 68"/>
                  <a:gd name="T11" fmla="*/ 2 h 92"/>
                  <a:gd name="T12" fmla="*/ 4 w 68"/>
                  <a:gd name="T13" fmla="*/ 1 h 92"/>
                  <a:gd name="T14" fmla="*/ 6 w 68"/>
                  <a:gd name="T15" fmla="*/ 1 h 92"/>
                  <a:gd name="T16" fmla="*/ 67 w 68"/>
                  <a:gd name="T17" fmla="*/ 36 h 92"/>
                  <a:gd name="T18" fmla="*/ 68 w 68"/>
                  <a:gd name="T19" fmla="*/ 38 h 92"/>
                  <a:gd name="T20" fmla="*/ 67 w 68"/>
                  <a:gd name="T21" fmla="*/ 39 h 92"/>
                  <a:gd name="T22" fmla="*/ 53 w 68"/>
                  <a:gd name="T23" fmla="*/ 47 h 92"/>
                  <a:gd name="T24" fmla="*/ 53 w 68"/>
                  <a:gd name="T25" fmla="*/ 76 h 92"/>
                  <a:gd name="T26" fmla="*/ 52 w 68"/>
                  <a:gd name="T27" fmla="*/ 78 h 92"/>
                  <a:gd name="T28" fmla="*/ 29 w 68"/>
                  <a:gd name="T29" fmla="*/ 92 h 92"/>
                  <a:gd name="T30" fmla="*/ 28 w 68"/>
                  <a:gd name="T31" fmla="*/ 92 h 92"/>
                  <a:gd name="T32" fmla="*/ 4 w 68"/>
                  <a:gd name="T33" fmla="*/ 74 h 92"/>
                  <a:gd name="T34" fmla="*/ 28 w 68"/>
                  <a:gd name="T35" fmla="*/ 88 h 92"/>
                  <a:gd name="T36" fmla="*/ 49 w 68"/>
                  <a:gd name="T37" fmla="*/ 75 h 92"/>
                  <a:gd name="T38" fmla="*/ 49 w 68"/>
                  <a:gd name="T39" fmla="*/ 46 h 92"/>
                  <a:gd name="T40" fmla="*/ 50 w 68"/>
                  <a:gd name="T41" fmla="*/ 44 h 92"/>
                  <a:gd name="T42" fmla="*/ 62 w 68"/>
                  <a:gd name="T43" fmla="*/ 38 h 92"/>
                  <a:gd name="T44" fmla="*/ 5 w 68"/>
                  <a:gd name="T45" fmla="*/ 5 h 92"/>
                  <a:gd name="T46" fmla="*/ 4 w 68"/>
                  <a:gd name="T47" fmla="*/ 5 h 92"/>
                  <a:gd name="T48" fmla="*/ 4 w 68"/>
                  <a:gd name="T49" fmla="*/ 7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92">
                    <a:moveTo>
                      <a:pt x="28" y="92"/>
                    </a:moveTo>
                    <a:cubicBezTo>
                      <a:pt x="27" y="92"/>
                      <a:pt x="27" y="92"/>
                      <a:pt x="27" y="92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6"/>
                      <a:pt x="0" y="7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3"/>
                      <a:pt x="1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5" y="0"/>
                      <a:pt x="6" y="1"/>
                    </a:cubicBezTo>
                    <a:cubicBezTo>
                      <a:pt x="67" y="36"/>
                      <a:pt x="67" y="36"/>
                      <a:pt x="67" y="36"/>
                    </a:cubicBezTo>
                    <a:cubicBezTo>
                      <a:pt x="67" y="36"/>
                      <a:pt x="68" y="37"/>
                      <a:pt x="68" y="38"/>
                    </a:cubicBezTo>
                    <a:cubicBezTo>
                      <a:pt x="68" y="38"/>
                      <a:pt x="67" y="39"/>
                      <a:pt x="67" y="39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3" y="78"/>
                      <a:pt x="52" y="78"/>
                    </a:cubicBezTo>
                    <a:cubicBezTo>
                      <a:pt x="29" y="92"/>
                      <a:pt x="29" y="92"/>
                      <a:pt x="29" y="92"/>
                    </a:cubicBezTo>
                    <a:cubicBezTo>
                      <a:pt x="29" y="92"/>
                      <a:pt x="28" y="92"/>
                      <a:pt x="28" y="92"/>
                    </a:cubicBezTo>
                    <a:close/>
                    <a:moveTo>
                      <a:pt x="4" y="74"/>
                    </a:moveTo>
                    <a:cubicBezTo>
                      <a:pt x="28" y="88"/>
                      <a:pt x="28" y="88"/>
                      <a:pt x="28" y="88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49" y="45"/>
                      <a:pt x="49" y="45"/>
                      <a:pt x="50" y="44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0" name="Freeform 840">
                <a:extLst>
                  <a:ext uri="{FF2B5EF4-FFF2-40B4-BE49-F238E27FC236}">
                    <a16:creationId xmlns:a16="http://schemas.microsoft.com/office/drawing/2014/main" id="{D36ACF04-1199-4A98-BEFC-C0007F8D64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43411" y="6881678"/>
                <a:ext cx="381815" cy="171194"/>
              </a:xfrm>
              <a:custGeom>
                <a:avLst/>
                <a:gdLst>
                  <a:gd name="T0" fmla="*/ 78 w 156"/>
                  <a:gd name="T1" fmla="*/ 70 h 70"/>
                  <a:gd name="T2" fmla="*/ 77 w 156"/>
                  <a:gd name="T3" fmla="*/ 69 h 70"/>
                  <a:gd name="T4" fmla="*/ 1 w 156"/>
                  <a:gd name="T5" fmla="*/ 26 h 70"/>
                  <a:gd name="T6" fmla="*/ 0 w 156"/>
                  <a:gd name="T7" fmla="*/ 24 h 70"/>
                  <a:gd name="T8" fmla="*/ 1 w 156"/>
                  <a:gd name="T9" fmla="*/ 22 h 70"/>
                  <a:gd name="T10" fmla="*/ 40 w 156"/>
                  <a:gd name="T11" fmla="*/ 0 h 70"/>
                  <a:gd name="T12" fmla="*/ 42 w 156"/>
                  <a:gd name="T13" fmla="*/ 0 h 70"/>
                  <a:gd name="T14" fmla="*/ 65 w 156"/>
                  <a:gd name="T15" fmla="*/ 13 h 70"/>
                  <a:gd name="T16" fmla="*/ 66 w 156"/>
                  <a:gd name="T17" fmla="*/ 15 h 70"/>
                  <a:gd name="T18" fmla="*/ 66 w 156"/>
                  <a:gd name="T19" fmla="*/ 30 h 70"/>
                  <a:gd name="T20" fmla="*/ 79 w 156"/>
                  <a:gd name="T21" fmla="*/ 23 h 70"/>
                  <a:gd name="T22" fmla="*/ 80 w 156"/>
                  <a:gd name="T23" fmla="*/ 23 h 70"/>
                  <a:gd name="T24" fmla="*/ 80 w 156"/>
                  <a:gd name="T25" fmla="*/ 22 h 70"/>
                  <a:gd name="T26" fmla="*/ 117 w 156"/>
                  <a:gd name="T27" fmla="*/ 1 h 70"/>
                  <a:gd name="T28" fmla="*/ 119 w 156"/>
                  <a:gd name="T29" fmla="*/ 1 h 70"/>
                  <a:gd name="T30" fmla="*/ 155 w 156"/>
                  <a:gd name="T31" fmla="*/ 22 h 70"/>
                  <a:gd name="T32" fmla="*/ 156 w 156"/>
                  <a:gd name="T33" fmla="*/ 24 h 70"/>
                  <a:gd name="T34" fmla="*/ 155 w 156"/>
                  <a:gd name="T35" fmla="*/ 26 h 70"/>
                  <a:gd name="T36" fmla="*/ 79 w 156"/>
                  <a:gd name="T37" fmla="*/ 69 h 70"/>
                  <a:gd name="T38" fmla="*/ 78 w 156"/>
                  <a:gd name="T39" fmla="*/ 70 h 70"/>
                  <a:gd name="T40" fmla="*/ 6 w 156"/>
                  <a:gd name="T41" fmla="*/ 24 h 70"/>
                  <a:gd name="T42" fmla="*/ 78 w 156"/>
                  <a:gd name="T43" fmla="*/ 65 h 70"/>
                  <a:gd name="T44" fmla="*/ 150 w 156"/>
                  <a:gd name="T45" fmla="*/ 24 h 70"/>
                  <a:gd name="T46" fmla="*/ 118 w 156"/>
                  <a:gd name="T47" fmla="*/ 5 h 70"/>
                  <a:gd name="T48" fmla="*/ 83 w 156"/>
                  <a:gd name="T49" fmla="*/ 25 h 70"/>
                  <a:gd name="T50" fmla="*/ 82 w 156"/>
                  <a:gd name="T51" fmla="*/ 27 h 70"/>
                  <a:gd name="T52" fmla="*/ 80 w 156"/>
                  <a:gd name="T53" fmla="*/ 27 h 70"/>
                  <a:gd name="T54" fmla="*/ 80 w 156"/>
                  <a:gd name="T55" fmla="*/ 27 h 70"/>
                  <a:gd name="T56" fmla="*/ 65 w 156"/>
                  <a:gd name="T57" fmla="*/ 36 h 70"/>
                  <a:gd name="T58" fmla="*/ 63 w 156"/>
                  <a:gd name="T59" fmla="*/ 36 h 70"/>
                  <a:gd name="T60" fmla="*/ 62 w 156"/>
                  <a:gd name="T61" fmla="*/ 34 h 70"/>
                  <a:gd name="T62" fmla="*/ 62 w 156"/>
                  <a:gd name="T63" fmla="*/ 16 h 70"/>
                  <a:gd name="T64" fmla="*/ 41 w 156"/>
                  <a:gd name="T65" fmla="*/ 4 h 70"/>
                  <a:gd name="T66" fmla="*/ 6 w 156"/>
                  <a:gd name="T67" fmla="*/ 2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6" h="70">
                    <a:moveTo>
                      <a:pt x="78" y="70"/>
                    </a:moveTo>
                    <a:cubicBezTo>
                      <a:pt x="78" y="70"/>
                      <a:pt x="78" y="70"/>
                      <a:pt x="77" y="69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5"/>
                      <a:pt x="0" y="25"/>
                      <a:pt x="0" y="24"/>
                    </a:cubicBezTo>
                    <a:cubicBezTo>
                      <a:pt x="0" y="23"/>
                      <a:pt x="1" y="23"/>
                      <a:pt x="1" y="22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41" y="0"/>
                      <a:pt x="42" y="0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6" y="14"/>
                      <a:pt x="66" y="15"/>
                      <a:pt x="66" y="15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79" y="23"/>
                      <a:pt x="79" y="23"/>
                      <a:pt x="79" y="23"/>
                    </a:cubicBezTo>
                    <a:cubicBezTo>
                      <a:pt x="79" y="23"/>
                      <a:pt x="80" y="23"/>
                      <a:pt x="80" y="23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7" y="1"/>
                      <a:pt x="118" y="1"/>
                      <a:pt x="119" y="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6" y="23"/>
                      <a:pt x="156" y="23"/>
                      <a:pt x="156" y="24"/>
                    </a:cubicBezTo>
                    <a:cubicBezTo>
                      <a:pt x="156" y="25"/>
                      <a:pt x="156" y="25"/>
                      <a:pt x="155" y="26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79" y="70"/>
                      <a:pt x="79" y="70"/>
                      <a:pt x="78" y="70"/>
                    </a:cubicBezTo>
                    <a:close/>
                    <a:moveTo>
                      <a:pt x="6" y="24"/>
                    </a:moveTo>
                    <a:cubicBezTo>
                      <a:pt x="78" y="65"/>
                      <a:pt x="78" y="65"/>
                      <a:pt x="78" y="65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18" y="5"/>
                      <a:pt x="118" y="5"/>
                      <a:pt x="118" y="5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83" y="26"/>
                      <a:pt x="83" y="26"/>
                      <a:pt x="82" y="27"/>
                    </a:cubicBezTo>
                    <a:cubicBezTo>
                      <a:pt x="82" y="27"/>
                      <a:pt x="81" y="27"/>
                      <a:pt x="80" y="27"/>
                    </a:cubicBezTo>
                    <a:cubicBezTo>
                      <a:pt x="80" y="27"/>
                      <a:pt x="80" y="27"/>
                      <a:pt x="80" y="27"/>
                    </a:cubicBezTo>
                    <a:cubicBezTo>
                      <a:pt x="65" y="36"/>
                      <a:pt x="65" y="36"/>
                      <a:pt x="65" y="36"/>
                    </a:cubicBezTo>
                    <a:cubicBezTo>
                      <a:pt x="64" y="36"/>
                      <a:pt x="64" y="36"/>
                      <a:pt x="63" y="36"/>
                    </a:cubicBezTo>
                    <a:cubicBezTo>
                      <a:pt x="62" y="35"/>
                      <a:pt x="62" y="34"/>
                      <a:pt x="62" y="34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41" y="4"/>
                      <a:pt x="41" y="4"/>
                      <a:pt x="41" y="4"/>
                    </a:cubicBez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1" name="Freeform 841">
                <a:extLst>
                  <a:ext uri="{FF2B5EF4-FFF2-40B4-BE49-F238E27FC236}">
                    <a16:creationId xmlns:a16="http://schemas.microsoft.com/office/drawing/2014/main" id="{9B072A92-C1DD-4E21-AF73-F15C17C463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2551" y="6680396"/>
                <a:ext cx="129693" cy="208545"/>
              </a:xfrm>
              <a:custGeom>
                <a:avLst/>
                <a:gdLst>
                  <a:gd name="T0" fmla="*/ 39 w 53"/>
                  <a:gd name="T1" fmla="*/ 85 h 85"/>
                  <a:gd name="T2" fmla="*/ 38 w 53"/>
                  <a:gd name="T3" fmla="*/ 85 h 85"/>
                  <a:gd name="T4" fmla="*/ 1 w 53"/>
                  <a:gd name="T5" fmla="*/ 64 h 85"/>
                  <a:gd name="T6" fmla="*/ 0 w 53"/>
                  <a:gd name="T7" fmla="*/ 62 h 85"/>
                  <a:gd name="T8" fmla="*/ 0 w 53"/>
                  <a:gd name="T9" fmla="*/ 30 h 85"/>
                  <a:gd name="T10" fmla="*/ 1 w 53"/>
                  <a:gd name="T11" fmla="*/ 28 h 85"/>
                  <a:gd name="T12" fmla="*/ 50 w 53"/>
                  <a:gd name="T13" fmla="*/ 0 h 85"/>
                  <a:gd name="T14" fmla="*/ 52 w 53"/>
                  <a:gd name="T15" fmla="*/ 0 h 85"/>
                  <a:gd name="T16" fmla="*/ 53 w 53"/>
                  <a:gd name="T17" fmla="*/ 2 h 85"/>
                  <a:gd name="T18" fmla="*/ 53 w 53"/>
                  <a:gd name="T19" fmla="*/ 76 h 85"/>
                  <a:gd name="T20" fmla="*/ 52 w 53"/>
                  <a:gd name="T21" fmla="*/ 78 h 85"/>
                  <a:gd name="T22" fmla="*/ 40 w 53"/>
                  <a:gd name="T23" fmla="*/ 85 h 85"/>
                  <a:gd name="T24" fmla="*/ 39 w 53"/>
                  <a:gd name="T25" fmla="*/ 85 h 85"/>
                  <a:gd name="T26" fmla="*/ 4 w 53"/>
                  <a:gd name="T27" fmla="*/ 61 h 85"/>
                  <a:gd name="T28" fmla="*/ 39 w 53"/>
                  <a:gd name="T29" fmla="*/ 81 h 85"/>
                  <a:gd name="T30" fmla="*/ 49 w 53"/>
                  <a:gd name="T31" fmla="*/ 75 h 85"/>
                  <a:gd name="T32" fmla="*/ 49 w 53"/>
                  <a:gd name="T33" fmla="*/ 5 h 85"/>
                  <a:gd name="T34" fmla="*/ 4 w 53"/>
                  <a:gd name="T35" fmla="*/ 31 h 85"/>
                  <a:gd name="T36" fmla="*/ 4 w 53"/>
                  <a:gd name="T37" fmla="*/ 6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3" h="85">
                    <a:moveTo>
                      <a:pt x="39" y="85"/>
                    </a:moveTo>
                    <a:cubicBezTo>
                      <a:pt x="38" y="85"/>
                      <a:pt x="38" y="85"/>
                      <a:pt x="38" y="85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1" y="29"/>
                      <a:pt x="1" y="28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0"/>
                      <a:pt x="51" y="0"/>
                      <a:pt x="52" y="0"/>
                    </a:cubicBezTo>
                    <a:cubicBezTo>
                      <a:pt x="52" y="1"/>
                      <a:pt x="53" y="1"/>
                      <a:pt x="53" y="2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2" y="77"/>
                      <a:pt x="52" y="78"/>
                    </a:cubicBezTo>
                    <a:cubicBezTo>
                      <a:pt x="40" y="85"/>
                      <a:pt x="40" y="85"/>
                      <a:pt x="40" y="85"/>
                    </a:cubicBezTo>
                    <a:cubicBezTo>
                      <a:pt x="39" y="85"/>
                      <a:pt x="39" y="85"/>
                      <a:pt x="39" y="85"/>
                    </a:cubicBezTo>
                    <a:close/>
                    <a:moveTo>
                      <a:pt x="4" y="61"/>
                    </a:moveTo>
                    <a:cubicBezTo>
                      <a:pt x="39" y="81"/>
                      <a:pt x="39" y="81"/>
                      <a:pt x="39" y="81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4" y="6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2" name="Freeform 842">
                <a:extLst>
                  <a:ext uri="{FF2B5EF4-FFF2-40B4-BE49-F238E27FC236}">
                    <a16:creationId xmlns:a16="http://schemas.microsoft.com/office/drawing/2014/main" id="{A5320495-1694-4814-8D4B-BA4158086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88912" y="6396110"/>
                <a:ext cx="242785" cy="136955"/>
              </a:xfrm>
              <a:custGeom>
                <a:avLst/>
                <a:gdLst>
                  <a:gd name="T0" fmla="*/ 82 w 99"/>
                  <a:gd name="T1" fmla="*/ 56 h 56"/>
                  <a:gd name="T2" fmla="*/ 81 w 99"/>
                  <a:gd name="T3" fmla="*/ 56 h 56"/>
                  <a:gd name="T4" fmla="*/ 60 w 99"/>
                  <a:gd name="T5" fmla="*/ 44 h 56"/>
                  <a:gd name="T6" fmla="*/ 41 w 99"/>
                  <a:gd name="T7" fmla="*/ 55 h 56"/>
                  <a:gd name="T8" fmla="*/ 39 w 99"/>
                  <a:gd name="T9" fmla="*/ 55 h 56"/>
                  <a:gd name="T10" fmla="*/ 1 w 99"/>
                  <a:gd name="T11" fmla="*/ 33 h 56"/>
                  <a:gd name="T12" fmla="*/ 0 w 99"/>
                  <a:gd name="T13" fmla="*/ 31 h 56"/>
                  <a:gd name="T14" fmla="*/ 1 w 99"/>
                  <a:gd name="T15" fmla="*/ 30 h 56"/>
                  <a:gd name="T16" fmla="*/ 44 w 99"/>
                  <a:gd name="T17" fmla="*/ 5 h 56"/>
                  <a:gd name="T18" fmla="*/ 44 w 99"/>
                  <a:gd name="T19" fmla="*/ 2 h 56"/>
                  <a:gd name="T20" fmla="*/ 45 w 99"/>
                  <a:gd name="T21" fmla="*/ 1 h 56"/>
                  <a:gd name="T22" fmla="*/ 47 w 99"/>
                  <a:gd name="T23" fmla="*/ 1 h 56"/>
                  <a:gd name="T24" fmla="*/ 98 w 99"/>
                  <a:gd name="T25" fmla="*/ 30 h 56"/>
                  <a:gd name="T26" fmla="*/ 99 w 99"/>
                  <a:gd name="T27" fmla="*/ 32 h 56"/>
                  <a:gd name="T28" fmla="*/ 98 w 99"/>
                  <a:gd name="T29" fmla="*/ 34 h 56"/>
                  <a:gd name="T30" fmla="*/ 84 w 99"/>
                  <a:gd name="T31" fmla="*/ 41 h 56"/>
                  <a:gd name="T32" fmla="*/ 84 w 99"/>
                  <a:gd name="T33" fmla="*/ 54 h 56"/>
                  <a:gd name="T34" fmla="*/ 83 w 99"/>
                  <a:gd name="T35" fmla="*/ 56 h 56"/>
                  <a:gd name="T36" fmla="*/ 82 w 99"/>
                  <a:gd name="T37" fmla="*/ 56 h 56"/>
                  <a:gd name="T38" fmla="*/ 60 w 99"/>
                  <a:gd name="T39" fmla="*/ 40 h 56"/>
                  <a:gd name="T40" fmla="*/ 61 w 99"/>
                  <a:gd name="T41" fmla="*/ 40 h 56"/>
                  <a:gd name="T42" fmla="*/ 80 w 99"/>
                  <a:gd name="T43" fmla="*/ 51 h 56"/>
                  <a:gd name="T44" fmla="*/ 80 w 99"/>
                  <a:gd name="T45" fmla="*/ 40 h 56"/>
                  <a:gd name="T46" fmla="*/ 81 w 99"/>
                  <a:gd name="T47" fmla="*/ 38 h 56"/>
                  <a:gd name="T48" fmla="*/ 93 w 99"/>
                  <a:gd name="T49" fmla="*/ 32 h 56"/>
                  <a:gd name="T50" fmla="*/ 48 w 99"/>
                  <a:gd name="T51" fmla="*/ 6 h 56"/>
                  <a:gd name="T52" fmla="*/ 48 w 99"/>
                  <a:gd name="T53" fmla="*/ 6 h 56"/>
                  <a:gd name="T54" fmla="*/ 47 w 99"/>
                  <a:gd name="T55" fmla="*/ 8 h 56"/>
                  <a:gd name="T56" fmla="*/ 6 w 99"/>
                  <a:gd name="T57" fmla="*/ 31 h 56"/>
                  <a:gd name="T58" fmla="*/ 40 w 99"/>
                  <a:gd name="T59" fmla="*/ 51 h 56"/>
                  <a:gd name="T60" fmla="*/ 59 w 99"/>
                  <a:gd name="T61" fmla="*/ 40 h 56"/>
                  <a:gd name="T62" fmla="*/ 60 w 99"/>
                  <a:gd name="T63" fmla="*/ 4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" h="56">
                    <a:moveTo>
                      <a:pt x="82" y="56"/>
                    </a:moveTo>
                    <a:cubicBezTo>
                      <a:pt x="82" y="56"/>
                      <a:pt x="82" y="56"/>
                      <a:pt x="81" y="56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1" y="55"/>
                      <a:pt x="40" y="55"/>
                      <a:pt x="39" y="55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3"/>
                      <a:pt x="0" y="32"/>
                      <a:pt x="0" y="31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1"/>
                      <a:pt x="45" y="1"/>
                    </a:cubicBezTo>
                    <a:cubicBezTo>
                      <a:pt x="46" y="0"/>
                      <a:pt x="46" y="0"/>
                      <a:pt x="47" y="1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9" y="30"/>
                      <a:pt x="99" y="31"/>
                      <a:pt x="99" y="32"/>
                    </a:cubicBezTo>
                    <a:cubicBezTo>
                      <a:pt x="99" y="33"/>
                      <a:pt x="99" y="33"/>
                      <a:pt x="98" y="34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4" y="55"/>
                      <a:pt x="84" y="56"/>
                      <a:pt x="83" y="56"/>
                    </a:cubicBezTo>
                    <a:cubicBezTo>
                      <a:pt x="83" y="56"/>
                      <a:pt x="83" y="56"/>
                      <a:pt x="82" y="56"/>
                    </a:cubicBezTo>
                    <a:close/>
                    <a:moveTo>
                      <a:pt x="60" y="40"/>
                    </a:moveTo>
                    <a:cubicBezTo>
                      <a:pt x="61" y="40"/>
                      <a:pt x="61" y="40"/>
                      <a:pt x="61" y="40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80" y="40"/>
                      <a:pt x="81" y="39"/>
                      <a:pt x="81" y="38"/>
                    </a:cubicBezTo>
                    <a:cubicBezTo>
                      <a:pt x="93" y="32"/>
                      <a:pt x="93" y="32"/>
                      <a:pt x="93" y="32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7"/>
                      <a:pt x="48" y="8"/>
                      <a:pt x="47" y="8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60" y="40"/>
                      <a:pt x="60" y="40"/>
                      <a:pt x="60" y="4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3" name="Freeform 843">
                <a:extLst>
                  <a:ext uri="{FF2B5EF4-FFF2-40B4-BE49-F238E27FC236}">
                    <a16:creationId xmlns:a16="http://schemas.microsoft.com/office/drawing/2014/main" id="{C4C6B2B6-9663-4C09-9766-4E319B2030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6790" y="6831877"/>
                <a:ext cx="95454" cy="107904"/>
              </a:xfrm>
              <a:custGeom>
                <a:avLst/>
                <a:gdLst>
                  <a:gd name="T0" fmla="*/ 2 w 39"/>
                  <a:gd name="T1" fmla="*/ 44 h 44"/>
                  <a:gd name="T2" fmla="*/ 1 w 39"/>
                  <a:gd name="T3" fmla="*/ 44 h 44"/>
                  <a:gd name="T4" fmla="*/ 0 w 39"/>
                  <a:gd name="T5" fmla="*/ 42 h 44"/>
                  <a:gd name="T6" fmla="*/ 0 w 39"/>
                  <a:gd name="T7" fmla="*/ 2 h 44"/>
                  <a:gd name="T8" fmla="*/ 1 w 39"/>
                  <a:gd name="T9" fmla="*/ 0 h 44"/>
                  <a:gd name="T10" fmla="*/ 3 w 39"/>
                  <a:gd name="T11" fmla="*/ 0 h 44"/>
                  <a:gd name="T12" fmla="*/ 38 w 39"/>
                  <a:gd name="T13" fmla="*/ 20 h 44"/>
                  <a:gd name="T14" fmla="*/ 39 w 39"/>
                  <a:gd name="T15" fmla="*/ 22 h 44"/>
                  <a:gd name="T16" fmla="*/ 38 w 39"/>
                  <a:gd name="T17" fmla="*/ 24 h 44"/>
                  <a:gd name="T18" fmla="*/ 3 w 39"/>
                  <a:gd name="T19" fmla="*/ 44 h 44"/>
                  <a:gd name="T20" fmla="*/ 2 w 39"/>
                  <a:gd name="T21" fmla="*/ 44 h 44"/>
                  <a:gd name="T22" fmla="*/ 4 w 39"/>
                  <a:gd name="T23" fmla="*/ 5 h 44"/>
                  <a:gd name="T24" fmla="*/ 4 w 39"/>
                  <a:gd name="T25" fmla="*/ 39 h 44"/>
                  <a:gd name="T26" fmla="*/ 33 w 39"/>
                  <a:gd name="T27" fmla="*/ 22 h 44"/>
                  <a:gd name="T28" fmla="*/ 4 w 39"/>
                  <a:gd name="T2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44">
                    <a:moveTo>
                      <a:pt x="2" y="44"/>
                    </a:moveTo>
                    <a:cubicBezTo>
                      <a:pt x="2" y="44"/>
                      <a:pt x="1" y="44"/>
                      <a:pt x="1" y="44"/>
                    </a:cubicBezTo>
                    <a:cubicBezTo>
                      <a:pt x="1" y="43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9" y="21"/>
                      <a:pt x="39" y="21"/>
                      <a:pt x="39" y="22"/>
                    </a:cubicBezTo>
                    <a:cubicBezTo>
                      <a:pt x="39" y="23"/>
                      <a:pt x="39" y="23"/>
                      <a:pt x="38" y="2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3" y="44"/>
                      <a:pt x="3" y="44"/>
                      <a:pt x="2" y="44"/>
                    </a:cubicBezTo>
                    <a:close/>
                    <a:moveTo>
                      <a:pt x="4" y="5"/>
                    </a:moveTo>
                    <a:cubicBezTo>
                      <a:pt x="4" y="39"/>
                      <a:pt x="4" y="39"/>
                      <a:pt x="4" y="39"/>
                    </a:cubicBezTo>
                    <a:cubicBezTo>
                      <a:pt x="33" y="22"/>
                      <a:pt x="33" y="22"/>
                      <a:pt x="33" y="22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4" name="Freeform 844">
                <a:extLst>
                  <a:ext uri="{FF2B5EF4-FFF2-40B4-BE49-F238E27FC236}">
                    <a16:creationId xmlns:a16="http://schemas.microsoft.com/office/drawing/2014/main" id="{84F11543-E18F-4888-A49C-CA30905D3D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47411" y="6604655"/>
                <a:ext cx="73665" cy="58102"/>
              </a:xfrm>
              <a:custGeom>
                <a:avLst/>
                <a:gdLst>
                  <a:gd name="T0" fmla="*/ 11 w 30"/>
                  <a:gd name="T1" fmla="*/ 24 h 24"/>
                  <a:gd name="T2" fmla="*/ 10 w 30"/>
                  <a:gd name="T3" fmla="*/ 24 h 24"/>
                  <a:gd name="T4" fmla="*/ 1 w 30"/>
                  <a:gd name="T5" fmla="*/ 19 h 24"/>
                  <a:gd name="T6" fmla="*/ 0 w 30"/>
                  <a:gd name="T7" fmla="*/ 17 h 24"/>
                  <a:gd name="T8" fmla="*/ 1 w 30"/>
                  <a:gd name="T9" fmla="*/ 15 h 24"/>
                  <a:gd name="T10" fmla="*/ 27 w 30"/>
                  <a:gd name="T11" fmla="*/ 0 h 24"/>
                  <a:gd name="T12" fmla="*/ 29 w 30"/>
                  <a:gd name="T13" fmla="*/ 0 h 24"/>
                  <a:gd name="T14" fmla="*/ 30 w 30"/>
                  <a:gd name="T15" fmla="*/ 2 h 24"/>
                  <a:gd name="T16" fmla="*/ 30 w 30"/>
                  <a:gd name="T17" fmla="*/ 13 h 24"/>
                  <a:gd name="T18" fmla="*/ 29 w 30"/>
                  <a:gd name="T19" fmla="*/ 14 h 24"/>
                  <a:gd name="T20" fmla="*/ 14 w 30"/>
                  <a:gd name="T21" fmla="*/ 23 h 24"/>
                  <a:gd name="T22" fmla="*/ 13 w 30"/>
                  <a:gd name="T23" fmla="*/ 24 h 24"/>
                  <a:gd name="T24" fmla="*/ 13 w 30"/>
                  <a:gd name="T25" fmla="*/ 24 h 24"/>
                  <a:gd name="T26" fmla="*/ 12 w 30"/>
                  <a:gd name="T27" fmla="*/ 24 h 24"/>
                  <a:gd name="T28" fmla="*/ 11 w 30"/>
                  <a:gd name="T29" fmla="*/ 24 h 24"/>
                  <a:gd name="T30" fmla="*/ 6 w 30"/>
                  <a:gd name="T31" fmla="*/ 17 h 24"/>
                  <a:gd name="T32" fmla="*/ 10 w 30"/>
                  <a:gd name="T33" fmla="*/ 19 h 24"/>
                  <a:gd name="T34" fmla="*/ 11 w 30"/>
                  <a:gd name="T35" fmla="*/ 19 h 24"/>
                  <a:gd name="T36" fmla="*/ 13 w 30"/>
                  <a:gd name="T37" fmla="*/ 19 h 24"/>
                  <a:gd name="T38" fmla="*/ 13 w 30"/>
                  <a:gd name="T39" fmla="*/ 19 h 24"/>
                  <a:gd name="T40" fmla="*/ 26 w 30"/>
                  <a:gd name="T41" fmla="*/ 11 h 24"/>
                  <a:gd name="T42" fmla="*/ 26 w 30"/>
                  <a:gd name="T43" fmla="*/ 5 h 24"/>
                  <a:gd name="T44" fmla="*/ 6 w 30"/>
                  <a:gd name="T45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4">
                    <a:moveTo>
                      <a:pt x="11" y="24"/>
                    </a:moveTo>
                    <a:cubicBezTo>
                      <a:pt x="11" y="24"/>
                      <a:pt x="11" y="24"/>
                      <a:pt x="10" y="24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5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8" y="0"/>
                      <a:pt x="29" y="0"/>
                      <a:pt x="29" y="0"/>
                    </a:cubicBezTo>
                    <a:cubicBezTo>
                      <a:pt x="30" y="0"/>
                      <a:pt x="30" y="1"/>
                      <a:pt x="30" y="2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3"/>
                      <a:pt x="30" y="14"/>
                      <a:pt x="29" y="14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4"/>
                      <a:pt x="13" y="24"/>
                      <a:pt x="13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2" y="24"/>
                      <a:pt x="11" y="24"/>
                    </a:cubicBezTo>
                    <a:close/>
                    <a:moveTo>
                      <a:pt x="6" y="17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9"/>
                    </a:cubicBezTo>
                    <a:cubicBezTo>
                      <a:pt x="11" y="19"/>
                      <a:pt x="12" y="19"/>
                      <a:pt x="13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5"/>
                      <a:pt x="26" y="5"/>
                      <a:pt x="26" y="5"/>
                    </a:cubicBez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5" name="Freeform 845">
                <a:extLst>
                  <a:ext uri="{FF2B5EF4-FFF2-40B4-BE49-F238E27FC236}">
                    <a16:creationId xmlns:a16="http://schemas.microsoft.com/office/drawing/2014/main" id="{3E59B1FE-5241-49DB-B016-41EB25CD36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19793" y="6286131"/>
                <a:ext cx="304000" cy="190907"/>
              </a:xfrm>
              <a:custGeom>
                <a:avLst/>
                <a:gdLst>
                  <a:gd name="T0" fmla="*/ 55 w 124"/>
                  <a:gd name="T1" fmla="*/ 78 h 78"/>
                  <a:gd name="T2" fmla="*/ 54 w 124"/>
                  <a:gd name="T3" fmla="*/ 78 h 78"/>
                  <a:gd name="T4" fmla="*/ 1 w 124"/>
                  <a:gd name="T5" fmla="*/ 47 h 78"/>
                  <a:gd name="T6" fmla="*/ 0 w 124"/>
                  <a:gd name="T7" fmla="*/ 46 h 78"/>
                  <a:gd name="T8" fmla="*/ 0 w 124"/>
                  <a:gd name="T9" fmla="*/ 34 h 78"/>
                  <a:gd name="T10" fmla="*/ 1 w 124"/>
                  <a:gd name="T11" fmla="*/ 32 h 78"/>
                  <a:gd name="T12" fmla="*/ 56 w 124"/>
                  <a:gd name="T13" fmla="*/ 0 h 78"/>
                  <a:gd name="T14" fmla="*/ 58 w 124"/>
                  <a:gd name="T15" fmla="*/ 0 h 78"/>
                  <a:gd name="T16" fmla="*/ 123 w 124"/>
                  <a:gd name="T17" fmla="*/ 38 h 78"/>
                  <a:gd name="T18" fmla="*/ 124 w 124"/>
                  <a:gd name="T19" fmla="*/ 40 h 78"/>
                  <a:gd name="T20" fmla="*/ 123 w 124"/>
                  <a:gd name="T21" fmla="*/ 41 h 78"/>
                  <a:gd name="T22" fmla="*/ 107 w 124"/>
                  <a:gd name="T23" fmla="*/ 51 h 78"/>
                  <a:gd name="T24" fmla="*/ 105 w 124"/>
                  <a:gd name="T25" fmla="*/ 51 h 78"/>
                  <a:gd name="T26" fmla="*/ 104 w 124"/>
                  <a:gd name="T27" fmla="*/ 50 h 78"/>
                  <a:gd name="T28" fmla="*/ 56 w 124"/>
                  <a:gd name="T29" fmla="*/ 78 h 78"/>
                  <a:gd name="T30" fmla="*/ 55 w 124"/>
                  <a:gd name="T31" fmla="*/ 78 h 78"/>
                  <a:gd name="T32" fmla="*/ 4 w 124"/>
                  <a:gd name="T33" fmla="*/ 44 h 78"/>
                  <a:gd name="T34" fmla="*/ 55 w 124"/>
                  <a:gd name="T35" fmla="*/ 74 h 78"/>
                  <a:gd name="T36" fmla="*/ 105 w 124"/>
                  <a:gd name="T37" fmla="*/ 45 h 78"/>
                  <a:gd name="T38" fmla="*/ 107 w 124"/>
                  <a:gd name="T39" fmla="*/ 45 h 78"/>
                  <a:gd name="T40" fmla="*/ 108 w 124"/>
                  <a:gd name="T41" fmla="*/ 45 h 78"/>
                  <a:gd name="T42" fmla="*/ 118 w 124"/>
                  <a:gd name="T43" fmla="*/ 40 h 78"/>
                  <a:gd name="T44" fmla="*/ 57 w 124"/>
                  <a:gd name="T45" fmla="*/ 4 h 78"/>
                  <a:gd name="T46" fmla="*/ 4 w 124"/>
                  <a:gd name="T47" fmla="*/ 35 h 78"/>
                  <a:gd name="T48" fmla="*/ 4 w 124"/>
                  <a:gd name="T49" fmla="*/ 4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78">
                    <a:moveTo>
                      <a:pt x="55" y="78"/>
                    </a:moveTo>
                    <a:cubicBezTo>
                      <a:pt x="54" y="78"/>
                      <a:pt x="54" y="78"/>
                      <a:pt x="54" y="78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7"/>
                      <a:pt x="0" y="46"/>
                      <a:pt x="0" y="4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3"/>
                      <a:pt x="0" y="32"/>
                      <a:pt x="1" y="3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6" y="0"/>
                      <a:pt x="57" y="0"/>
                      <a:pt x="58" y="0"/>
                    </a:cubicBezTo>
                    <a:cubicBezTo>
                      <a:pt x="123" y="38"/>
                      <a:pt x="123" y="38"/>
                      <a:pt x="123" y="38"/>
                    </a:cubicBezTo>
                    <a:cubicBezTo>
                      <a:pt x="124" y="38"/>
                      <a:pt x="124" y="39"/>
                      <a:pt x="124" y="40"/>
                    </a:cubicBezTo>
                    <a:cubicBezTo>
                      <a:pt x="124" y="40"/>
                      <a:pt x="124" y="41"/>
                      <a:pt x="123" y="41"/>
                    </a:cubicBezTo>
                    <a:cubicBezTo>
                      <a:pt x="107" y="51"/>
                      <a:pt x="107" y="51"/>
                      <a:pt x="107" y="51"/>
                    </a:cubicBezTo>
                    <a:cubicBezTo>
                      <a:pt x="106" y="51"/>
                      <a:pt x="105" y="51"/>
                      <a:pt x="105" y="51"/>
                    </a:cubicBezTo>
                    <a:cubicBezTo>
                      <a:pt x="104" y="50"/>
                      <a:pt x="104" y="50"/>
                      <a:pt x="104" y="50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5" y="78"/>
                      <a:pt x="55" y="78"/>
                      <a:pt x="55" y="78"/>
                    </a:cubicBezTo>
                    <a:close/>
                    <a:moveTo>
                      <a:pt x="4" y="44"/>
                    </a:moveTo>
                    <a:cubicBezTo>
                      <a:pt x="55" y="74"/>
                      <a:pt x="55" y="74"/>
                      <a:pt x="55" y="74"/>
                    </a:cubicBezTo>
                    <a:cubicBezTo>
                      <a:pt x="105" y="45"/>
                      <a:pt x="105" y="45"/>
                      <a:pt x="105" y="45"/>
                    </a:cubicBezTo>
                    <a:cubicBezTo>
                      <a:pt x="105" y="44"/>
                      <a:pt x="106" y="44"/>
                      <a:pt x="107" y="45"/>
                    </a:cubicBezTo>
                    <a:cubicBezTo>
                      <a:pt x="107" y="45"/>
                      <a:pt x="107" y="45"/>
                      <a:pt x="108" y="45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4" y="35"/>
                      <a:pt x="4" y="35"/>
                      <a:pt x="4" y="35"/>
                    </a:cubicBezTo>
                    <a:lnTo>
                      <a:pt x="4" y="4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6" name="Freeform 846">
                <a:extLst>
                  <a:ext uri="{FF2B5EF4-FFF2-40B4-BE49-F238E27FC236}">
                    <a16:creationId xmlns:a16="http://schemas.microsoft.com/office/drawing/2014/main" id="{49573BC2-9709-420A-98A9-26CD0EBFBF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22248" y="6028821"/>
                <a:ext cx="86116" cy="63290"/>
              </a:xfrm>
              <a:custGeom>
                <a:avLst/>
                <a:gdLst>
                  <a:gd name="T0" fmla="*/ 2 w 35"/>
                  <a:gd name="T1" fmla="*/ 26 h 26"/>
                  <a:gd name="T2" fmla="*/ 1 w 35"/>
                  <a:gd name="T3" fmla="*/ 26 h 26"/>
                  <a:gd name="T4" fmla="*/ 0 w 35"/>
                  <a:gd name="T5" fmla="*/ 24 h 26"/>
                  <a:gd name="T6" fmla="*/ 0 w 35"/>
                  <a:gd name="T7" fmla="*/ 16 h 26"/>
                  <a:gd name="T8" fmla="*/ 1 w 35"/>
                  <a:gd name="T9" fmla="*/ 15 h 26"/>
                  <a:gd name="T10" fmla="*/ 26 w 35"/>
                  <a:gd name="T11" fmla="*/ 1 h 26"/>
                  <a:gd name="T12" fmla="*/ 28 w 35"/>
                  <a:gd name="T13" fmla="*/ 1 h 26"/>
                  <a:gd name="T14" fmla="*/ 34 w 35"/>
                  <a:gd name="T15" fmla="*/ 5 h 26"/>
                  <a:gd name="T16" fmla="*/ 35 w 35"/>
                  <a:gd name="T17" fmla="*/ 6 h 26"/>
                  <a:gd name="T18" fmla="*/ 34 w 35"/>
                  <a:gd name="T19" fmla="*/ 8 h 26"/>
                  <a:gd name="T20" fmla="*/ 3 w 35"/>
                  <a:gd name="T21" fmla="*/ 26 h 26"/>
                  <a:gd name="T22" fmla="*/ 2 w 35"/>
                  <a:gd name="T23" fmla="*/ 26 h 26"/>
                  <a:gd name="T24" fmla="*/ 4 w 35"/>
                  <a:gd name="T25" fmla="*/ 18 h 26"/>
                  <a:gd name="T26" fmla="*/ 4 w 35"/>
                  <a:gd name="T27" fmla="*/ 21 h 26"/>
                  <a:gd name="T28" fmla="*/ 29 w 35"/>
                  <a:gd name="T29" fmla="*/ 6 h 26"/>
                  <a:gd name="T30" fmla="*/ 27 w 35"/>
                  <a:gd name="T31" fmla="*/ 5 h 26"/>
                  <a:gd name="T32" fmla="*/ 4 w 35"/>
                  <a:gd name="T33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6">
                    <a:moveTo>
                      <a:pt x="2" y="26"/>
                    </a:moveTo>
                    <a:cubicBezTo>
                      <a:pt x="2" y="26"/>
                      <a:pt x="2" y="26"/>
                      <a:pt x="1" y="26"/>
                    </a:cubicBezTo>
                    <a:cubicBezTo>
                      <a:pt x="1" y="26"/>
                      <a:pt x="0" y="25"/>
                      <a:pt x="0" y="2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0"/>
                      <a:pt x="27" y="0"/>
                      <a:pt x="28" y="1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5" y="5"/>
                      <a:pt x="35" y="6"/>
                      <a:pt x="35" y="6"/>
                    </a:cubicBezTo>
                    <a:cubicBezTo>
                      <a:pt x="35" y="7"/>
                      <a:pt x="35" y="8"/>
                      <a:pt x="34" y="8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2" y="26"/>
                    </a:cubicBezTo>
                    <a:close/>
                    <a:moveTo>
                      <a:pt x="4" y="18"/>
                    </a:moveTo>
                    <a:cubicBezTo>
                      <a:pt x="4" y="21"/>
                      <a:pt x="4" y="21"/>
                      <a:pt x="4" y="21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7" name="Freeform 847">
                <a:extLst>
                  <a:ext uri="{FF2B5EF4-FFF2-40B4-BE49-F238E27FC236}">
                    <a16:creationId xmlns:a16="http://schemas.microsoft.com/office/drawing/2014/main" id="{5BBFF666-710F-4CDF-AF45-6F2A33A3E4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02004" y="6570417"/>
                <a:ext cx="112054" cy="102716"/>
              </a:xfrm>
              <a:custGeom>
                <a:avLst/>
                <a:gdLst>
                  <a:gd name="T0" fmla="*/ 44 w 46"/>
                  <a:gd name="T1" fmla="*/ 42 h 42"/>
                  <a:gd name="T2" fmla="*/ 43 w 46"/>
                  <a:gd name="T3" fmla="*/ 41 h 42"/>
                  <a:gd name="T4" fmla="*/ 1 w 46"/>
                  <a:gd name="T5" fmla="*/ 17 h 42"/>
                  <a:gd name="T6" fmla="*/ 0 w 46"/>
                  <a:gd name="T7" fmla="*/ 16 h 42"/>
                  <a:gd name="T8" fmla="*/ 1 w 46"/>
                  <a:gd name="T9" fmla="*/ 14 h 42"/>
                  <a:gd name="T10" fmla="*/ 26 w 46"/>
                  <a:gd name="T11" fmla="*/ 0 h 42"/>
                  <a:gd name="T12" fmla="*/ 28 w 46"/>
                  <a:gd name="T13" fmla="*/ 0 h 42"/>
                  <a:gd name="T14" fmla="*/ 45 w 46"/>
                  <a:gd name="T15" fmla="*/ 10 h 42"/>
                  <a:gd name="T16" fmla="*/ 46 w 46"/>
                  <a:gd name="T17" fmla="*/ 11 h 42"/>
                  <a:gd name="T18" fmla="*/ 46 w 46"/>
                  <a:gd name="T19" fmla="*/ 40 h 42"/>
                  <a:gd name="T20" fmla="*/ 45 w 46"/>
                  <a:gd name="T21" fmla="*/ 41 h 42"/>
                  <a:gd name="T22" fmla="*/ 44 w 46"/>
                  <a:gd name="T23" fmla="*/ 42 h 42"/>
                  <a:gd name="T24" fmla="*/ 6 w 46"/>
                  <a:gd name="T25" fmla="*/ 16 h 42"/>
                  <a:gd name="T26" fmla="*/ 42 w 46"/>
                  <a:gd name="T27" fmla="*/ 36 h 42"/>
                  <a:gd name="T28" fmla="*/ 42 w 46"/>
                  <a:gd name="T29" fmla="*/ 13 h 42"/>
                  <a:gd name="T30" fmla="*/ 27 w 46"/>
                  <a:gd name="T31" fmla="*/ 4 h 42"/>
                  <a:gd name="T32" fmla="*/ 6 w 46"/>
                  <a:gd name="T33" fmla="*/ 1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42">
                    <a:moveTo>
                      <a:pt x="44" y="42"/>
                    </a:moveTo>
                    <a:cubicBezTo>
                      <a:pt x="44" y="42"/>
                      <a:pt x="43" y="42"/>
                      <a:pt x="43" y="4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0" y="16"/>
                      <a:pt x="0" y="16"/>
                    </a:cubicBezTo>
                    <a:cubicBezTo>
                      <a:pt x="0" y="15"/>
                      <a:pt x="1" y="14"/>
                      <a:pt x="1" y="14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7" y="0"/>
                      <a:pt x="27" y="0"/>
                      <a:pt x="28" y="0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1"/>
                    </a:cubicBezTo>
                    <a:cubicBezTo>
                      <a:pt x="46" y="40"/>
                      <a:pt x="46" y="40"/>
                      <a:pt x="46" y="40"/>
                    </a:cubicBezTo>
                    <a:cubicBezTo>
                      <a:pt x="46" y="40"/>
                      <a:pt x="45" y="41"/>
                      <a:pt x="45" y="41"/>
                    </a:cubicBezTo>
                    <a:cubicBezTo>
                      <a:pt x="45" y="42"/>
                      <a:pt x="44" y="42"/>
                      <a:pt x="44" y="42"/>
                    </a:cubicBezTo>
                    <a:close/>
                    <a:moveTo>
                      <a:pt x="6" y="16"/>
                    </a:moveTo>
                    <a:cubicBezTo>
                      <a:pt x="42" y="36"/>
                      <a:pt x="42" y="36"/>
                      <a:pt x="42" y="3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4"/>
                      <a:pt x="27" y="4"/>
                      <a:pt x="27" y="4"/>
                    </a:cubicBezTo>
                    <a:lnTo>
                      <a:pt x="6" y="1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8" name="Freeform 848">
                <a:extLst>
                  <a:ext uri="{FF2B5EF4-FFF2-40B4-BE49-F238E27FC236}">
                    <a16:creationId xmlns:a16="http://schemas.microsoft.com/office/drawing/2014/main" id="{E128C4FB-7B30-41B5-A325-1AC5337CD0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47411" y="6530990"/>
                <a:ext cx="83003" cy="117242"/>
              </a:xfrm>
              <a:custGeom>
                <a:avLst/>
                <a:gdLst>
                  <a:gd name="T0" fmla="*/ 4 w 34"/>
                  <a:gd name="T1" fmla="*/ 48 h 48"/>
                  <a:gd name="T2" fmla="*/ 3 w 34"/>
                  <a:gd name="T3" fmla="*/ 48 h 48"/>
                  <a:gd name="T4" fmla="*/ 1 w 34"/>
                  <a:gd name="T5" fmla="*/ 46 h 48"/>
                  <a:gd name="T6" fmla="*/ 0 w 34"/>
                  <a:gd name="T7" fmla="*/ 45 h 48"/>
                  <a:gd name="T8" fmla="*/ 0 w 34"/>
                  <a:gd name="T9" fmla="*/ 2 h 48"/>
                  <a:gd name="T10" fmla="*/ 1 w 34"/>
                  <a:gd name="T11" fmla="*/ 1 h 48"/>
                  <a:gd name="T12" fmla="*/ 3 w 34"/>
                  <a:gd name="T13" fmla="*/ 1 h 48"/>
                  <a:gd name="T14" fmla="*/ 33 w 34"/>
                  <a:gd name="T15" fmla="*/ 18 h 48"/>
                  <a:gd name="T16" fmla="*/ 34 w 34"/>
                  <a:gd name="T17" fmla="*/ 20 h 48"/>
                  <a:gd name="T18" fmla="*/ 34 w 34"/>
                  <a:gd name="T19" fmla="*/ 30 h 48"/>
                  <a:gd name="T20" fmla="*/ 33 w 34"/>
                  <a:gd name="T21" fmla="*/ 32 h 48"/>
                  <a:gd name="T22" fmla="*/ 5 w 34"/>
                  <a:gd name="T23" fmla="*/ 48 h 48"/>
                  <a:gd name="T24" fmla="*/ 4 w 34"/>
                  <a:gd name="T25" fmla="*/ 48 h 48"/>
                  <a:gd name="T26" fmla="*/ 4 w 34"/>
                  <a:gd name="T27" fmla="*/ 44 h 48"/>
                  <a:gd name="T28" fmla="*/ 4 w 34"/>
                  <a:gd name="T29" fmla="*/ 44 h 48"/>
                  <a:gd name="T30" fmla="*/ 30 w 34"/>
                  <a:gd name="T31" fmla="*/ 29 h 48"/>
                  <a:gd name="T32" fmla="*/ 30 w 34"/>
                  <a:gd name="T33" fmla="*/ 21 h 48"/>
                  <a:gd name="T34" fmla="*/ 4 w 34"/>
                  <a:gd name="T35" fmla="*/ 6 h 48"/>
                  <a:gd name="T36" fmla="*/ 4 w 34"/>
                  <a:gd name="T37" fmla="*/ 44 h 48"/>
                  <a:gd name="T38" fmla="*/ 32 w 34"/>
                  <a:gd name="T39" fmla="*/ 30 h 48"/>
                  <a:gd name="T40" fmla="*/ 32 w 34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48">
                    <a:moveTo>
                      <a:pt x="4" y="48"/>
                    </a:moveTo>
                    <a:cubicBezTo>
                      <a:pt x="4" y="48"/>
                      <a:pt x="4" y="48"/>
                      <a:pt x="3" y="48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6"/>
                      <a:pt x="0" y="45"/>
                      <a:pt x="0" y="4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4" y="18"/>
                      <a:pt x="34" y="19"/>
                      <a:pt x="34" y="2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1"/>
                      <a:pt x="34" y="31"/>
                      <a:pt x="33" y="32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4" y="48"/>
                    </a:cubicBezTo>
                    <a:close/>
                    <a:moveTo>
                      <a:pt x="4" y="44"/>
                    </a:moveTo>
                    <a:cubicBezTo>
                      <a:pt x="4" y="44"/>
                      <a:pt x="4" y="44"/>
                      <a:pt x="4" y="44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44"/>
                    </a:lnTo>
                    <a:close/>
                    <a:moveTo>
                      <a:pt x="32" y="30"/>
                    </a:moveTo>
                    <a:cubicBezTo>
                      <a:pt x="32" y="30"/>
                      <a:pt x="32" y="30"/>
                      <a:pt x="32" y="3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9" name="Freeform 849">
                <a:extLst>
                  <a:ext uri="{FF2B5EF4-FFF2-40B4-BE49-F238E27FC236}">
                    <a16:creationId xmlns:a16="http://schemas.microsoft.com/office/drawing/2014/main" id="{083EDBB4-CEF3-4378-AAE1-CEFC36ACE6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425226" y="6498826"/>
                <a:ext cx="107904" cy="145256"/>
              </a:xfrm>
              <a:custGeom>
                <a:avLst/>
                <a:gdLst>
                  <a:gd name="T0" fmla="*/ 42 w 44"/>
                  <a:gd name="T1" fmla="*/ 59 h 59"/>
                  <a:gd name="T2" fmla="*/ 41 w 44"/>
                  <a:gd name="T3" fmla="*/ 58 h 59"/>
                  <a:gd name="T4" fmla="*/ 12 w 44"/>
                  <a:gd name="T5" fmla="*/ 41 h 59"/>
                  <a:gd name="T6" fmla="*/ 11 w 44"/>
                  <a:gd name="T7" fmla="*/ 39 h 59"/>
                  <a:gd name="T8" fmla="*/ 11 w 44"/>
                  <a:gd name="T9" fmla="*/ 20 h 59"/>
                  <a:gd name="T10" fmla="*/ 1 w 44"/>
                  <a:gd name="T11" fmla="*/ 14 h 59"/>
                  <a:gd name="T12" fmla="*/ 0 w 44"/>
                  <a:gd name="T13" fmla="*/ 12 h 59"/>
                  <a:gd name="T14" fmla="*/ 1 w 44"/>
                  <a:gd name="T15" fmla="*/ 10 h 59"/>
                  <a:gd name="T16" fmla="*/ 19 w 44"/>
                  <a:gd name="T17" fmla="*/ 0 h 59"/>
                  <a:gd name="T18" fmla="*/ 21 w 44"/>
                  <a:gd name="T19" fmla="*/ 0 h 59"/>
                  <a:gd name="T20" fmla="*/ 43 w 44"/>
                  <a:gd name="T21" fmla="*/ 13 h 59"/>
                  <a:gd name="T22" fmla="*/ 44 w 44"/>
                  <a:gd name="T23" fmla="*/ 14 h 59"/>
                  <a:gd name="T24" fmla="*/ 44 w 44"/>
                  <a:gd name="T25" fmla="*/ 57 h 59"/>
                  <a:gd name="T26" fmla="*/ 43 w 44"/>
                  <a:gd name="T27" fmla="*/ 58 h 59"/>
                  <a:gd name="T28" fmla="*/ 42 w 44"/>
                  <a:gd name="T29" fmla="*/ 59 h 59"/>
                  <a:gd name="T30" fmla="*/ 15 w 44"/>
                  <a:gd name="T31" fmla="*/ 38 h 59"/>
                  <a:gd name="T32" fmla="*/ 40 w 44"/>
                  <a:gd name="T33" fmla="*/ 53 h 59"/>
                  <a:gd name="T34" fmla="*/ 40 w 44"/>
                  <a:gd name="T35" fmla="*/ 16 h 59"/>
                  <a:gd name="T36" fmla="*/ 20 w 44"/>
                  <a:gd name="T37" fmla="*/ 4 h 59"/>
                  <a:gd name="T38" fmla="*/ 6 w 44"/>
                  <a:gd name="T39" fmla="*/ 12 h 59"/>
                  <a:gd name="T40" fmla="*/ 14 w 44"/>
                  <a:gd name="T41" fmla="*/ 17 h 59"/>
                  <a:gd name="T42" fmla="*/ 15 w 44"/>
                  <a:gd name="T43" fmla="*/ 18 h 59"/>
                  <a:gd name="T44" fmla="*/ 15 w 44"/>
                  <a:gd name="T45" fmla="*/ 3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4" h="59">
                    <a:moveTo>
                      <a:pt x="42" y="59"/>
                    </a:moveTo>
                    <a:cubicBezTo>
                      <a:pt x="42" y="59"/>
                      <a:pt x="42" y="59"/>
                      <a:pt x="41" y="58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1" y="41"/>
                      <a:pt x="11" y="40"/>
                      <a:pt x="11" y="39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2"/>
                      <a:pt x="0" y="11"/>
                      <a:pt x="1" y="1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1" y="0"/>
                      <a:pt x="21" y="0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4" y="13"/>
                      <a:pt x="44" y="14"/>
                      <a:pt x="44" y="14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44" y="57"/>
                      <a:pt x="44" y="58"/>
                      <a:pt x="43" y="58"/>
                    </a:cubicBezTo>
                    <a:cubicBezTo>
                      <a:pt x="43" y="59"/>
                      <a:pt x="43" y="59"/>
                      <a:pt x="42" y="59"/>
                    </a:cubicBezTo>
                    <a:close/>
                    <a:moveTo>
                      <a:pt x="15" y="38"/>
                    </a:moveTo>
                    <a:cubicBezTo>
                      <a:pt x="40" y="53"/>
                      <a:pt x="40" y="53"/>
                      <a:pt x="40" y="53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4" y="17"/>
                      <a:pt x="15" y="18"/>
                      <a:pt x="15" y="18"/>
                    </a:cubicBezTo>
                    <a:lnTo>
                      <a:pt x="15" y="3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0" name="Freeform 850">
                <a:extLst>
                  <a:ext uri="{FF2B5EF4-FFF2-40B4-BE49-F238E27FC236}">
                    <a16:creationId xmlns:a16="http://schemas.microsoft.com/office/drawing/2014/main" id="{2570B097-9B6A-48C6-864E-1BCF3B5F73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47411" y="6455250"/>
                <a:ext cx="83003" cy="124505"/>
              </a:xfrm>
              <a:custGeom>
                <a:avLst/>
                <a:gdLst>
                  <a:gd name="T0" fmla="*/ 32 w 34"/>
                  <a:gd name="T1" fmla="*/ 51 h 51"/>
                  <a:gd name="T2" fmla="*/ 31 w 34"/>
                  <a:gd name="T3" fmla="*/ 51 h 51"/>
                  <a:gd name="T4" fmla="*/ 1 w 34"/>
                  <a:gd name="T5" fmla="*/ 33 h 51"/>
                  <a:gd name="T6" fmla="*/ 0 w 34"/>
                  <a:gd name="T7" fmla="*/ 31 h 51"/>
                  <a:gd name="T8" fmla="*/ 0 w 34"/>
                  <a:gd name="T9" fmla="*/ 17 h 51"/>
                  <a:gd name="T10" fmla="*/ 1 w 34"/>
                  <a:gd name="T11" fmla="*/ 15 h 51"/>
                  <a:gd name="T12" fmla="*/ 16 w 34"/>
                  <a:gd name="T13" fmla="*/ 7 h 51"/>
                  <a:gd name="T14" fmla="*/ 18 w 34"/>
                  <a:gd name="T15" fmla="*/ 7 h 51"/>
                  <a:gd name="T16" fmla="*/ 19 w 34"/>
                  <a:gd name="T17" fmla="*/ 8 h 51"/>
                  <a:gd name="T18" fmla="*/ 31 w 34"/>
                  <a:gd name="T19" fmla="*/ 0 h 51"/>
                  <a:gd name="T20" fmla="*/ 33 w 34"/>
                  <a:gd name="T21" fmla="*/ 0 h 51"/>
                  <a:gd name="T22" fmla="*/ 34 w 34"/>
                  <a:gd name="T23" fmla="*/ 2 h 51"/>
                  <a:gd name="T24" fmla="*/ 34 w 34"/>
                  <a:gd name="T25" fmla="*/ 49 h 51"/>
                  <a:gd name="T26" fmla="*/ 33 w 34"/>
                  <a:gd name="T27" fmla="*/ 51 h 51"/>
                  <a:gd name="T28" fmla="*/ 32 w 34"/>
                  <a:gd name="T29" fmla="*/ 51 h 51"/>
                  <a:gd name="T30" fmla="*/ 4 w 34"/>
                  <a:gd name="T31" fmla="*/ 30 h 51"/>
                  <a:gd name="T32" fmla="*/ 30 w 34"/>
                  <a:gd name="T33" fmla="*/ 46 h 51"/>
                  <a:gd name="T34" fmla="*/ 30 w 34"/>
                  <a:gd name="T35" fmla="*/ 6 h 51"/>
                  <a:gd name="T36" fmla="*/ 20 w 34"/>
                  <a:gd name="T37" fmla="*/ 12 h 51"/>
                  <a:gd name="T38" fmla="*/ 18 w 34"/>
                  <a:gd name="T39" fmla="*/ 12 h 51"/>
                  <a:gd name="T40" fmla="*/ 17 w 34"/>
                  <a:gd name="T41" fmla="*/ 11 h 51"/>
                  <a:gd name="T42" fmla="*/ 4 w 34"/>
                  <a:gd name="T43" fmla="*/ 18 h 51"/>
                  <a:gd name="T44" fmla="*/ 4 w 34"/>
                  <a:gd name="T45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51">
                    <a:moveTo>
                      <a:pt x="32" y="51"/>
                    </a:moveTo>
                    <a:cubicBezTo>
                      <a:pt x="32" y="51"/>
                      <a:pt x="32" y="51"/>
                      <a:pt x="31" y="5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0" y="33"/>
                      <a:pt x="0" y="32"/>
                      <a:pt x="0" y="3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0" y="16"/>
                      <a:pt x="1" y="1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7"/>
                      <a:pt x="17" y="7"/>
                      <a:pt x="18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2" y="0"/>
                      <a:pt x="33" y="0"/>
                      <a:pt x="33" y="0"/>
                    </a:cubicBezTo>
                    <a:cubicBezTo>
                      <a:pt x="34" y="1"/>
                      <a:pt x="34" y="1"/>
                      <a:pt x="34" y="2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4" y="50"/>
                      <a:pt x="34" y="50"/>
                      <a:pt x="33" y="51"/>
                    </a:cubicBezTo>
                    <a:cubicBezTo>
                      <a:pt x="33" y="51"/>
                      <a:pt x="33" y="51"/>
                      <a:pt x="32" y="51"/>
                    </a:cubicBezTo>
                    <a:close/>
                    <a:moveTo>
                      <a:pt x="4" y="30"/>
                    </a:moveTo>
                    <a:cubicBezTo>
                      <a:pt x="30" y="46"/>
                      <a:pt x="30" y="46"/>
                      <a:pt x="30" y="4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19" y="12"/>
                      <a:pt x="18" y="12"/>
                      <a:pt x="18" y="12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1" name="Freeform 851">
                <a:extLst>
                  <a:ext uri="{FF2B5EF4-FFF2-40B4-BE49-F238E27FC236}">
                    <a16:creationId xmlns:a16="http://schemas.microsoft.com/office/drawing/2014/main" id="{AACB6278-C278-463C-81D4-05AB355525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4407" y="6847440"/>
                <a:ext cx="63290" cy="70553"/>
              </a:xfrm>
              <a:custGeom>
                <a:avLst/>
                <a:gdLst>
                  <a:gd name="T0" fmla="*/ 24 w 26"/>
                  <a:gd name="T1" fmla="*/ 29 h 29"/>
                  <a:gd name="T2" fmla="*/ 23 w 26"/>
                  <a:gd name="T3" fmla="*/ 29 h 29"/>
                  <a:gd name="T4" fmla="*/ 1 w 26"/>
                  <a:gd name="T5" fmla="*/ 17 h 29"/>
                  <a:gd name="T6" fmla="*/ 0 w 26"/>
                  <a:gd name="T7" fmla="*/ 15 h 29"/>
                  <a:gd name="T8" fmla="*/ 1 w 26"/>
                  <a:gd name="T9" fmla="*/ 13 h 29"/>
                  <a:gd name="T10" fmla="*/ 23 w 26"/>
                  <a:gd name="T11" fmla="*/ 1 h 29"/>
                  <a:gd name="T12" fmla="*/ 25 w 26"/>
                  <a:gd name="T13" fmla="*/ 1 h 29"/>
                  <a:gd name="T14" fmla="*/ 26 w 26"/>
                  <a:gd name="T15" fmla="*/ 2 h 29"/>
                  <a:gd name="T16" fmla="*/ 26 w 26"/>
                  <a:gd name="T17" fmla="*/ 27 h 29"/>
                  <a:gd name="T18" fmla="*/ 25 w 26"/>
                  <a:gd name="T19" fmla="*/ 29 h 29"/>
                  <a:gd name="T20" fmla="*/ 24 w 26"/>
                  <a:gd name="T21" fmla="*/ 29 h 29"/>
                  <a:gd name="T22" fmla="*/ 6 w 26"/>
                  <a:gd name="T23" fmla="*/ 15 h 29"/>
                  <a:gd name="T24" fmla="*/ 22 w 26"/>
                  <a:gd name="T25" fmla="*/ 24 h 29"/>
                  <a:gd name="T26" fmla="*/ 22 w 26"/>
                  <a:gd name="T27" fmla="*/ 6 h 29"/>
                  <a:gd name="T28" fmla="*/ 6 w 26"/>
                  <a:gd name="T29" fmla="*/ 1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4" y="29"/>
                    </a:moveTo>
                    <a:cubicBezTo>
                      <a:pt x="24" y="29"/>
                      <a:pt x="23" y="29"/>
                      <a:pt x="23" y="2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4" y="0"/>
                      <a:pt x="24" y="0"/>
                      <a:pt x="25" y="1"/>
                    </a:cubicBezTo>
                    <a:cubicBezTo>
                      <a:pt x="26" y="1"/>
                      <a:pt x="26" y="2"/>
                      <a:pt x="26" y="2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6" y="29"/>
                      <a:pt x="25" y="29"/>
                    </a:cubicBezTo>
                    <a:cubicBezTo>
                      <a:pt x="25" y="29"/>
                      <a:pt x="24" y="29"/>
                      <a:pt x="24" y="29"/>
                    </a:cubicBezTo>
                    <a:close/>
                    <a:moveTo>
                      <a:pt x="6" y="15"/>
                    </a:moveTo>
                    <a:cubicBezTo>
                      <a:pt x="22" y="24"/>
                      <a:pt x="22" y="24"/>
                      <a:pt x="22" y="24"/>
                    </a:cubicBezTo>
                    <a:cubicBezTo>
                      <a:pt x="22" y="6"/>
                      <a:pt x="22" y="6"/>
                      <a:pt x="22" y="6"/>
                    </a:cubicBezTo>
                    <a:lnTo>
                      <a:pt x="6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2" name="Freeform 852">
                <a:extLst>
                  <a:ext uri="{FF2B5EF4-FFF2-40B4-BE49-F238E27FC236}">
                    <a16:creationId xmlns:a16="http://schemas.microsoft.com/office/drawing/2014/main" id="{5DEB7632-4565-4E2E-8897-D39B1FB637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4981" y="6827726"/>
                <a:ext cx="43577" cy="112054"/>
              </a:xfrm>
              <a:custGeom>
                <a:avLst/>
                <a:gdLst>
                  <a:gd name="T0" fmla="*/ 16 w 18"/>
                  <a:gd name="T1" fmla="*/ 46 h 46"/>
                  <a:gd name="T2" fmla="*/ 15 w 18"/>
                  <a:gd name="T3" fmla="*/ 46 h 46"/>
                  <a:gd name="T4" fmla="*/ 1 w 18"/>
                  <a:gd name="T5" fmla="*/ 38 h 46"/>
                  <a:gd name="T6" fmla="*/ 0 w 18"/>
                  <a:gd name="T7" fmla="*/ 36 h 46"/>
                  <a:gd name="T8" fmla="*/ 0 w 18"/>
                  <a:gd name="T9" fmla="*/ 9 h 46"/>
                  <a:gd name="T10" fmla="*/ 1 w 18"/>
                  <a:gd name="T11" fmla="*/ 8 h 46"/>
                  <a:gd name="T12" fmla="*/ 13 w 18"/>
                  <a:gd name="T13" fmla="*/ 0 h 46"/>
                  <a:gd name="T14" fmla="*/ 15 w 18"/>
                  <a:gd name="T15" fmla="*/ 0 h 46"/>
                  <a:gd name="T16" fmla="*/ 17 w 18"/>
                  <a:gd name="T17" fmla="*/ 1 h 46"/>
                  <a:gd name="T18" fmla="*/ 18 w 18"/>
                  <a:gd name="T19" fmla="*/ 3 h 46"/>
                  <a:gd name="T20" fmla="*/ 18 w 18"/>
                  <a:gd name="T21" fmla="*/ 44 h 46"/>
                  <a:gd name="T22" fmla="*/ 17 w 18"/>
                  <a:gd name="T23" fmla="*/ 46 h 46"/>
                  <a:gd name="T24" fmla="*/ 16 w 18"/>
                  <a:gd name="T25" fmla="*/ 46 h 46"/>
                  <a:gd name="T26" fmla="*/ 4 w 18"/>
                  <a:gd name="T27" fmla="*/ 35 h 46"/>
                  <a:gd name="T28" fmla="*/ 14 w 18"/>
                  <a:gd name="T29" fmla="*/ 41 h 46"/>
                  <a:gd name="T30" fmla="*/ 14 w 18"/>
                  <a:gd name="T31" fmla="*/ 5 h 46"/>
                  <a:gd name="T32" fmla="*/ 4 w 18"/>
                  <a:gd name="T33" fmla="*/ 11 h 46"/>
                  <a:gd name="T34" fmla="*/ 4 w 18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46">
                    <a:moveTo>
                      <a:pt x="16" y="46"/>
                    </a:moveTo>
                    <a:cubicBezTo>
                      <a:pt x="15" y="46"/>
                      <a:pt x="15" y="46"/>
                      <a:pt x="15" y="46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5" y="0"/>
                      <a:pt x="15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8" y="2"/>
                      <a:pt x="18" y="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5"/>
                      <a:pt x="17" y="46"/>
                      <a:pt x="17" y="46"/>
                    </a:cubicBezTo>
                    <a:cubicBezTo>
                      <a:pt x="16" y="46"/>
                      <a:pt x="16" y="46"/>
                      <a:pt x="16" y="46"/>
                    </a:cubicBezTo>
                    <a:close/>
                    <a:moveTo>
                      <a:pt x="4" y="35"/>
                    </a:move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3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3" name="Freeform 853">
                <a:extLst>
                  <a:ext uri="{FF2B5EF4-FFF2-40B4-BE49-F238E27FC236}">
                    <a16:creationId xmlns:a16="http://schemas.microsoft.com/office/drawing/2014/main" id="{B247D013-B47B-43F2-9C80-264FA8E7F6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7056" y="6915917"/>
                <a:ext cx="41502" cy="46689"/>
              </a:xfrm>
              <a:custGeom>
                <a:avLst/>
                <a:gdLst>
                  <a:gd name="T0" fmla="*/ 2 w 17"/>
                  <a:gd name="T1" fmla="*/ 19 h 19"/>
                  <a:gd name="T2" fmla="*/ 1 w 17"/>
                  <a:gd name="T3" fmla="*/ 19 h 19"/>
                  <a:gd name="T4" fmla="*/ 0 w 17"/>
                  <a:gd name="T5" fmla="*/ 17 h 19"/>
                  <a:gd name="T6" fmla="*/ 0 w 17"/>
                  <a:gd name="T7" fmla="*/ 2 h 19"/>
                  <a:gd name="T8" fmla="*/ 1 w 17"/>
                  <a:gd name="T9" fmla="*/ 0 h 19"/>
                  <a:gd name="T10" fmla="*/ 3 w 17"/>
                  <a:gd name="T11" fmla="*/ 0 h 19"/>
                  <a:gd name="T12" fmla="*/ 16 w 17"/>
                  <a:gd name="T13" fmla="*/ 8 h 19"/>
                  <a:gd name="T14" fmla="*/ 17 w 17"/>
                  <a:gd name="T15" fmla="*/ 10 h 19"/>
                  <a:gd name="T16" fmla="*/ 16 w 17"/>
                  <a:gd name="T17" fmla="*/ 11 h 19"/>
                  <a:gd name="T18" fmla="*/ 3 w 17"/>
                  <a:gd name="T19" fmla="*/ 19 h 19"/>
                  <a:gd name="T20" fmla="*/ 2 w 17"/>
                  <a:gd name="T21" fmla="*/ 19 h 19"/>
                  <a:gd name="T22" fmla="*/ 4 w 17"/>
                  <a:gd name="T23" fmla="*/ 6 h 19"/>
                  <a:gd name="T24" fmla="*/ 4 w 17"/>
                  <a:gd name="T25" fmla="*/ 13 h 19"/>
                  <a:gd name="T26" fmla="*/ 11 w 17"/>
                  <a:gd name="T27" fmla="*/ 10 h 19"/>
                  <a:gd name="T28" fmla="*/ 4 w 17"/>
                  <a:gd name="T2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cubicBezTo>
                      <a:pt x="1" y="19"/>
                      <a:pt x="1" y="19"/>
                      <a:pt x="1" y="19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7" y="9"/>
                      <a:pt x="17" y="10"/>
                    </a:cubicBezTo>
                    <a:cubicBezTo>
                      <a:pt x="17" y="10"/>
                      <a:pt x="16" y="11"/>
                      <a:pt x="16" y="11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  <a:moveTo>
                      <a:pt x="4" y="6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1" y="10"/>
                      <a:pt x="11" y="10"/>
                      <a:pt x="11" y="10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4" name="Freeform 854">
                <a:extLst>
                  <a:ext uri="{FF2B5EF4-FFF2-40B4-BE49-F238E27FC236}">
                    <a16:creationId xmlns:a16="http://schemas.microsoft.com/office/drawing/2014/main" id="{F16010EA-3079-45A9-AD5D-087E104A058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47411" y="6450062"/>
                <a:ext cx="43577" cy="29051"/>
              </a:xfrm>
              <a:custGeom>
                <a:avLst/>
                <a:gdLst>
                  <a:gd name="T0" fmla="*/ 3 w 18"/>
                  <a:gd name="T1" fmla="*/ 12 h 12"/>
                  <a:gd name="T2" fmla="*/ 2 w 18"/>
                  <a:gd name="T3" fmla="*/ 12 h 12"/>
                  <a:gd name="T4" fmla="*/ 1 w 18"/>
                  <a:gd name="T5" fmla="*/ 12 h 12"/>
                  <a:gd name="T6" fmla="*/ 0 w 18"/>
                  <a:gd name="T7" fmla="*/ 10 h 12"/>
                  <a:gd name="T8" fmla="*/ 1 w 18"/>
                  <a:gd name="T9" fmla="*/ 8 h 12"/>
                  <a:gd name="T10" fmla="*/ 15 w 18"/>
                  <a:gd name="T11" fmla="*/ 0 h 12"/>
                  <a:gd name="T12" fmla="*/ 17 w 18"/>
                  <a:gd name="T13" fmla="*/ 0 h 12"/>
                  <a:gd name="T14" fmla="*/ 18 w 18"/>
                  <a:gd name="T15" fmla="*/ 2 h 12"/>
                  <a:gd name="T16" fmla="*/ 18 w 18"/>
                  <a:gd name="T17" fmla="*/ 2 h 12"/>
                  <a:gd name="T18" fmla="*/ 17 w 18"/>
                  <a:gd name="T19" fmla="*/ 4 h 12"/>
                  <a:gd name="T20" fmla="*/ 4 w 18"/>
                  <a:gd name="T21" fmla="*/ 12 h 12"/>
                  <a:gd name="T22" fmla="*/ 3 w 18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2">
                    <a:moveTo>
                      <a:pt x="3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18" y="0"/>
                      <a:pt x="18" y="1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3"/>
                      <a:pt x="18" y="4"/>
                      <a:pt x="17" y="4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2"/>
                      <a:pt x="3" y="12"/>
                      <a:pt x="3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5" name="Freeform 855">
                <a:extLst>
                  <a:ext uri="{FF2B5EF4-FFF2-40B4-BE49-F238E27FC236}">
                    <a16:creationId xmlns:a16="http://schemas.microsoft.com/office/drawing/2014/main" id="{2CB6A45C-F02C-429D-85D7-9AE1A50EEA9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873634" y="6013258"/>
                <a:ext cx="134880" cy="93379"/>
              </a:xfrm>
              <a:custGeom>
                <a:avLst/>
                <a:gdLst>
                  <a:gd name="T0" fmla="*/ 2 w 55"/>
                  <a:gd name="T1" fmla="*/ 38 h 38"/>
                  <a:gd name="T2" fmla="*/ 1 w 55"/>
                  <a:gd name="T3" fmla="*/ 38 h 38"/>
                  <a:gd name="T4" fmla="*/ 0 w 55"/>
                  <a:gd name="T5" fmla="*/ 36 h 38"/>
                  <a:gd name="T6" fmla="*/ 0 w 55"/>
                  <a:gd name="T7" fmla="*/ 32 h 38"/>
                  <a:gd name="T8" fmla="*/ 1 w 55"/>
                  <a:gd name="T9" fmla="*/ 30 h 38"/>
                  <a:gd name="T10" fmla="*/ 52 w 55"/>
                  <a:gd name="T11" fmla="*/ 0 h 38"/>
                  <a:gd name="T12" fmla="*/ 54 w 55"/>
                  <a:gd name="T13" fmla="*/ 0 h 38"/>
                  <a:gd name="T14" fmla="*/ 55 w 55"/>
                  <a:gd name="T15" fmla="*/ 2 h 38"/>
                  <a:gd name="T16" fmla="*/ 55 w 55"/>
                  <a:gd name="T17" fmla="*/ 7 h 38"/>
                  <a:gd name="T18" fmla="*/ 54 w 55"/>
                  <a:gd name="T19" fmla="*/ 8 h 38"/>
                  <a:gd name="T20" fmla="*/ 3 w 55"/>
                  <a:gd name="T21" fmla="*/ 38 h 38"/>
                  <a:gd name="T22" fmla="*/ 2 w 55"/>
                  <a:gd name="T2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38">
                    <a:moveTo>
                      <a:pt x="2" y="38"/>
                    </a:moveTo>
                    <a:cubicBezTo>
                      <a:pt x="1" y="38"/>
                      <a:pt x="1" y="38"/>
                      <a:pt x="1" y="38"/>
                    </a:cubicBezTo>
                    <a:cubicBezTo>
                      <a:pt x="0" y="38"/>
                      <a:pt x="0" y="37"/>
                      <a:pt x="0" y="3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0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5" y="1"/>
                      <a:pt x="55" y="1"/>
                      <a:pt x="55" y="2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55" y="8"/>
                      <a:pt x="54" y="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6" name="Freeform 856">
                <a:extLst>
                  <a:ext uri="{FF2B5EF4-FFF2-40B4-BE49-F238E27FC236}">
                    <a16:creationId xmlns:a16="http://schemas.microsoft.com/office/drawing/2014/main" id="{4B2820EE-4E6F-4B7B-8B0E-31208612BB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873634" y="5842064"/>
                <a:ext cx="134880" cy="250047"/>
              </a:xfrm>
              <a:custGeom>
                <a:avLst/>
                <a:gdLst>
                  <a:gd name="T0" fmla="*/ 2 w 55"/>
                  <a:gd name="T1" fmla="*/ 102 h 102"/>
                  <a:gd name="T2" fmla="*/ 1 w 55"/>
                  <a:gd name="T3" fmla="*/ 102 h 102"/>
                  <a:gd name="T4" fmla="*/ 0 w 55"/>
                  <a:gd name="T5" fmla="*/ 100 h 102"/>
                  <a:gd name="T6" fmla="*/ 0 w 55"/>
                  <a:gd name="T7" fmla="*/ 32 h 102"/>
                  <a:gd name="T8" fmla="*/ 1 w 55"/>
                  <a:gd name="T9" fmla="*/ 30 h 102"/>
                  <a:gd name="T10" fmla="*/ 52 w 55"/>
                  <a:gd name="T11" fmla="*/ 1 h 102"/>
                  <a:gd name="T12" fmla="*/ 54 w 55"/>
                  <a:gd name="T13" fmla="*/ 1 h 102"/>
                  <a:gd name="T14" fmla="*/ 55 w 55"/>
                  <a:gd name="T15" fmla="*/ 3 h 102"/>
                  <a:gd name="T16" fmla="*/ 55 w 55"/>
                  <a:gd name="T17" fmla="*/ 70 h 102"/>
                  <a:gd name="T18" fmla="*/ 54 w 55"/>
                  <a:gd name="T19" fmla="*/ 72 h 102"/>
                  <a:gd name="T20" fmla="*/ 3 w 55"/>
                  <a:gd name="T21" fmla="*/ 102 h 102"/>
                  <a:gd name="T22" fmla="*/ 2 w 55"/>
                  <a:gd name="T23" fmla="*/ 102 h 102"/>
                  <a:gd name="T24" fmla="*/ 4 w 55"/>
                  <a:gd name="T25" fmla="*/ 33 h 102"/>
                  <a:gd name="T26" fmla="*/ 4 w 55"/>
                  <a:gd name="T27" fmla="*/ 96 h 102"/>
                  <a:gd name="T28" fmla="*/ 51 w 55"/>
                  <a:gd name="T29" fmla="*/ 69 h 102"/>
                  <a:gd name="T30" fmla="*/ 51 w 55"/>
                  <a:gd name="T31" fmla="*/ 6 h 102"/>
                  <a:gd name="T32" fmla="*/ 4 w 55"/>
                  <a:gd name="T33" fmla="*/ 33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" h="102">
                    <a:moveTo>
                      <a:pt x="2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1"/>
                      <a:pt x="0" y="101"/>
                      <a:pt x="0" y="10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31"/>
                      <a:pt x="1" y="30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3" y="0"/>
                      <a:pt x="53" y="0"/>
                      <a:pt x="54" y="1"/>
                    </a:cubicBezTo>
                    <a:cubicBezTo>
                      <a:pt x="55" y="1"/>
                      <a:pt x="55" y="2"/>
                      <a:pt x="55" y="3"/>
                    </a:cubicBezTo>
                    <a:cubicBezTo>
                      <a:pt x="55" y="70"/>
                      <a:pt x="55" y="70"/>
                      <a:pt x="55" y="70"/>
                    </a:cubicBezTo>
                    <a:cubicBezTo>
                      <a:pt x="55" y="71"/>
                      <a:pt x="55" y="72"/>
                      <a:pt x="54" y="72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2" y="102"/>
                      <a:pt x="2" y="102"/>
                      <a:pt x="2" y="102"/>
                    </a:cubicBezTo>
                    <a:close/>
                    <a:moveTo>
                      <a:pt x="4" y="33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"/>
                      <a:pt x="51" y="6"/>
                      <a:pt x="51" y="6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7" name="Freeform 857">
                <a:extLst>
                  <a:ext uri="{FF2B5EF4-FFF2-40B4-BE49-F238E27FC236}">
                    <a16:creationId xmlns:a16="http://schemas.microsoft.com/office/drawing/2014/main" id="{9A00B0A6-737C-4141-83C4-E58793066E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02004" y="6525802"/>
                <a:ext cx="142143" cy="86116"/>
              </a:xfrm>
              <a:custGeom>
                <a:avLst/>
                <a:gdLst>
                  <a:gd name="T0" fmla="*/ 13 w 58"/>
                  <a:gd name="T1" fmla="*/ 35 h 35"/>
                  <a:gd name="T2" fmla="*/ 12 w 58"/>
                  <a:gd name="T3" fmla="*/ 35 h 35"/>
                  <a:gd name="T4" fmla="*/ 1 w 58"/>
                  <a:gd name="T5" fmla="*/ 29 h 35"/>
                  <a:gd name="T6" fmla="*/ 0 w 58"/>
                  <a:gd name="T7" fmla="*/ 27 h 35"/>
                  <a:gd name="T8" fmla="*/ 1 w 58"/>
                  <a:gd name="T9" fmla="*/ 25 h 35"/>
                  <a:gd name="T10" fmla="*/ 44 w 58"/>
                  <a:gd name="T11" fmla="*/ 0 h 35"/>
                  <a:gd name="T12" fmla="*/ 46 w 58"/>
                  <a:gd name="T13" fmla="*/ 0 h 35"/>
                  <a:gd name="T14" fmla="*/ 57 w 58"/>
                  <a:gd name="T15" fmla="*/ 7 h 35"/>
                  <a:gd name="T16" fmla="*/ 58 w 58"/>
                  <a:gd name="T17" fmla="*/ 8 h 35"/>
                  <a:gd name="T18" fmla="*/ 58 w 58"/>
                  <a:gd name="T19" fmla="*/ 28 h 35"/>
                  <a:gd name="T20" fmla="*/ 57 w 58"/>
                  <a:gd name="T21" fmla="*/ 29 h 35"/>
                  <a:gd name="T22" fmla="*/ 55 w 58"/>
                  <a:gd name="T23" fmla="*/ 29 h 35"/>
                  <a:gd name="T24" fmla="*/ 39 w 58"/>
                  <a:gd name="T25" fmla="*/ 20 h 35"/>
                  <a:gd name="T26" fmla="*/ 14 w 58"/>
                  <a:gd name="T27" fmla="*/ 35 h 35"/>
                  <a:gd name="T28" fmla="*/ 13 w 58"/>
                  <a:gd name="T29" fmla="*/ 35 h 35"/>
                  <a:gd name="T30" fmla="*/ 6 w 58"/>
                  <a:gd name="T31" fmla="*/ 27 h 35"/>
                  <a:gd name="T32" fmla="*/ 13 w 58"/>
                  <a:gd name="T33" fmla="*/ 31 h 35"/>
                  <a:gd name="T34" fmla="*/ 38 w 58"/>
                  <a:gd name="T35" fmla="*/ 16 h 35"/>
                  <a:gd name="T36" fmla="*/ 40 w 58"/>
                  <a:gd name="T37" fmla="*/ 16 h 35"/>
                  <a:gd name="T38" fmla="*/ 54 w 58"/>
                  <a:gd name="T39" fmla="*/ 24 h 35"/>
                  <a:gd name="T40" fmla="*/ 54 w 58"/>
                  <a:gd name="T41" fmla="*/ 9 h 35"/>
                  <a:gd name="T42" fmla="*/ 45 w 58"/>
                  <a:gd name="T43" fmla="*/ 4 h 35"/>
                  <a:gd name="T44" fmla="*/ 6 w 58"/>
                  <a:gd name="T45" fmla="*/ 2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8" h="35">
                    <a:moveTo>
                      <a:pt x="13" y="35"/>
                    </a:moveTo>
                    <a:cubicBezTo>
                      <a:pt x="12" y="35"/>
                      <a:pt x="12" y="35"/>
                      <a:pt x="12" y="35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8"/>
                      <a:pt x="0" y="28"/>
                      <a:pt x="0" y="27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5" y="0"/>
                      <a:pt x="46" y="0"/>
                      <a:pt x="46" y="0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7"/>
                      <a:pt x="58" y="8"/>
                      <a:pt x="58" y="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8" y="28"/>
                      <a:pt x="57" y="29"/>
                      <a:pt x="57" y="29"/>
                    </a:cubicBezTo>
                    <a:cubicBezTo>
                      <a:pt x="56" y="30"/>
                      <a:pt x="55" y="30"/>
                      <a:pt x="55" y="29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5"/>
                      <a:pt x="13" y="35"/>
                      <a:pt x="13" y="35"/>
                    </a:cubicBezTo>
                    <a:close/>
                    <a:moveTo>
                      <a:pt x="6" y="27"/>
                    </a:moveTo>
                    <a:cubicBezTo>
                      <a:pt x="13" y="31"/>
                      <a:pt x="13" y="31"/>
                      <a:pt x="13" y="3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9" y="16"/>
                      <a:pt x="39" y="16"/>
                      <a:pt x="40" y="16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5" y="4"/>
                      <a:pt x="45" y="4"/>
                      <a:pt x="45" y="4"/>
                    </a:cubicBezTo>
                    <a:lnTo>
                      <a:pt x="6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8" name="Freeform 858">
                <a:extLst>
                  <a:ext uri="{FF2B5EF4-FFF2-40B4-BE49-F238E27FC236}">
                    <a16:creationId xmlns:a16="http://schemas.microsoft.com/office/drawing/2014/main" id="{67EEAE41-0792-48DF-80C7-95EC410BE3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09703" y="6104561"/>
                <a:ext cx="330976" cy="279098"/>
              </a:xfrm>
              <a:custGeom>
                <a:avLst/>
                <a:gdLst>
                  <a:gd name="T0" fmla="*/ 74 w 135"/>
                  <a:gd name="T1" fmla="*/ 114 h 114"/>
                  <a:gd name="T2" fmla="*/ 73 w 135"/>
                  <a:gd name="T3" fmla="*/ 114 h 114"/>
                  <a:gd name="T4" fmla="*/ 55 w 135"/>
                  <a:gd name="T5" fmla="*/ 104 h 114"/>
                  <a:gd name="T6" fmla="*/ 54 w 135"/>
                  <a:gd name="T7" fmla="*/ 102 h 114"/>
                  <a:gd name="T8" fmla="*/ 54 w 135"/>
                  <a:gd name="T9" fmla="*/ 70 h 114"/>
                  <a:gd name="T10" fmla="*/ 1 w 135"/>
                  <a:gd name="T11" fmla="*/ 40 h 114"/>
                  <a:gd name="T12" fmla="*/ 0 w 135"/>
                  <a:gd name="T13" fmla="*/ 38 h 114"/>
                  <a:gd name="T14" fmla="*/ 0 w 135"/>
                  <a:gd name="T15" fmla="*/ 8 h 114"/>
                  <a:gd name="T16" fmla="*/ 1 w 135"/>
                  <a:gd name="T17" fmla="*/ 7 h 114"/>
                  <a:gd name="T18" fmla="*/ 12 w 135"/>
                  <a:gd name="T19" fmla="*/ 0 h 114"/>
                  <a:gd name="T20" fmla="*/ 14 w 135"/>
                  <a:gd name="T21" fmla="*/ 0 h 114"/>
                  <a:gd name="T22" fmla="*/ 74 w 135"/>
                  <a:gd name="T23" fmla="*/ 35 h 114"/>
                  <a:gd name="T24" fmla="*/ 88 w 135"/>
                  <a:gd name="T25" fmla="*/ 27 h 114"/>
                  <a:gd name="T26" fmla="*/ 90 w 135"/>
                  <a:gd name="T27" fmla="*/ 27 h 114"/>
                  <a:gd name="T28" fmla="*/ 134 w 135"/>
                  <a:gd name="T29" fmla="*/ 53 h 114"/>
                  <a:gd name="T30" fmla="*/ 135 w 135"/>
                  <a:gd name="T31" fmla="*/ 55 h 114"/>
                  <a:gd name="T32" fmla="*/ 134 w 135"/>
                  <a:gd name="T33" fmla="*/ 57 h 114"/>
                  <a:gd name="T34" fmla="*/ 76 w 135"/>
                  <a:gd name="T35" fmla="*/ 91 h 114"/>
                  <a:gd name="T36" fmla="*/ 76 w 135"/>
                  <a:gd name="T37" fmla="*/ 112 h 114"/>
                  <a:gd name="T38" fmla="*/ 75 w 135"/>
                  <a:gd name="T39" fmla="*/ 114 h 114"/>
                  <a:gd name="T40" fmla="*/ 74 w 135"/>
                  <a:gd name="T41" fmla="*/ 114 h 114"/>
                  <a:gd name="T42" fmla="*/ 58 w 135"/>
                  <a:gd name="T43" fmla="*/ 101 h 114"/>
                  <a:gd name="T44" fmla="*/ 72 w 135"/>
                  <a:gd name="T45" fmla="*/ 109 h 114"/>
                  <a:gd name="T46" fmla="*/ 72 w 135"/>
                  <a:gd name="T47" fmla="*/ 89 h 114"/>
                  <a:gd name="T48" fmla="*/ 73 w 135"/>
                  <a:gd name="T49" fmla="*/ 88 h 114"/>
                  <a:gd name="T50" fmla="*/ 129 w 135"/>
                  <a:gd name="T51" fmla="*/ 55 h 114"/>
                  <a:gd name="T52" fmla="*/ 89 w 135"/>
                  <a:gd name="T53" fmla="*/ 31 h 114"/>
                  <a:gd name="T54" fmla="*/ 75 w 135"/>
                  <a:gd name="T55" fmla="*/ 39 h 114"/>
                  <a:gd name="T56" fmla="*/ 73 w 135"/>
                  <a:gd name="T57" fmla="*/ 39 h 114"/>
                  <a:gd name="T58" fmla="*/ 13 w 135"/>
                  <a:gd name="T59" fmla="*/ 4 h 114"/>
                  <a:gd name="T60" fmla="*/ 4 w 135"/>
                  <a:gd name="T61" fmla="*/ 10 h 114"/>
                  <a:gd name="T62" fmla="*/ 4 w 135"/>
                  <a:gd name="T63" fmla="*/ 37 h 114"/>
                  <a:gd name="T64" fmla="*/ 57 w 135"/>
                  <a:gd name="T65" fmla="*/ 68 h 114"/>
                  <a:gd name="T66" fmla="*/ 58 w 135"/>
                  <a:gd name="T67" fmla="*/ 69 h 114"/>
                  <a:gd name="T68" fmla="*/ 58 w 135"/>
                  <a:gd name="T69" fmla="*/ 10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5" h="114">
                    <a:moveTo>
                      <a:pt x="74" y="114"/>
                    </a:moveTo>
                    <a:cubicBezTo>
                      <a:pt x="73" y="114"/>
                      <a:pt x="73" y="114"/>
                      <a:pt x="73" y="114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4" y="103"/>
                      <a:pt x="54" y="102"/>
                      <a:pt x="54" y="102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74" y="35"/>
                      <a:pt x="74" y="35"/>
                      <a:pt x="74" y="35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88" y="27"/>
                      <a:pt x="89" y="27"/>
                      <a:pt x="90" y="27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5" y="54"/>
                      <a:pt x="135" y="54"/>
                      <a:pt x="135" y="55"/>
                    </a:cubicBezTo>
                    <a:cubicBezTo>
                      <a:pt x="135" y="56"/>
                      <a:pt x="135" y="56"/>
                      <a:pt x="134" y="57"/>
                    </a:cubicBezTo>
                    <a:cubicBezTo>
                      <a:pt x="76" y="91"/>
                      <a:pt x="76" y="91"/>
                      <a:pt x="76" y="91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3"/>
                      <a:pt x="75" y="114"/>
                      <a:pt x="75" y="114"/>
                    </a:cubicBezTo>
                    <a:cubicBezTo>
                      <a:pt x="74" y="114"/>
                      <a:pt x="74" y="114"/>
                      <a:pt x="74" y="114"/>
                    </a:cubicBezTo>
                    <a:close/>
                    <a:moveTo>
                      <a:pt x="58" y="101"/>
                    </a:moveTo>
                    <a:cubicBezTo>
                      <a:pt x="72" y="109"/>
                      <a:pt x="72" y="109"/>
                      <a:pt x="72" y="109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72" y="89"/>
                      <a:pt x="72" y="88"/>
                      <a:pt x="73" y="88"/>
                    </a:cubicBezTo>
                    <a:cubicBezTo>
                      <a:pt x="129" y="55"/>
                      <a:pt x="129" y="55"/>
                      <a:pt x="129" y="55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75" y="39"/>
                      <a:pt x="75" y="39"/>
                      <a:pt x="75" y="39"/>
                    </a:cubicBezTo>
                    <a:cubicBezTo>
                      <a:pt x="75" y="39"/>
                      <a:pt x="74" y="39"/>
                      <a:pt x="73" y="39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57" y="68"/>
                      <a:pt x="57" y="68"/>
                      <a:pt x="57" y="68"/>
                    </a:cubicBezTo>
                    <a:cubicBezTo>
                      <a:pt x="57" y="68"/>
                      <a:pt x="58" y="69"/>
                      <a:pt x="58" y="69"/>
                    </a:cubicBezTo>
                    <a:lnTo>
                      <a:pt x="58" y="10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9" name="Freeform 859">
                <a:extLst>
                  <a:ext uri="{FF2B5EF4-FFF2-40B4-BE49-F238E27FC236}">
                    <a16:creationId xmlns:a16="http://schemas.microsoft.com/office/drawing/2014/main" id="{F5F8A852-D989-4633-A814-0C7669518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822795" y="6003920"/>
                <a:ext cx="185720" cy="190907"/>
              </a:xfrm>
              <a:custGeom>
                <a:avLst/>
                <a:gdLst>
                  <a:gd name="T0" fmla="*/ 61 w 76"/>
                  <a:gd name="T1" fmla="*/ 78 h 78"/>
                  <a:gd name="T2" fmla="*/ 60 w 76"/>
                  <a:gd name="T3" fmla="*/ 78 h 78"/>
                  <a:gd name="T4" fmla="*/ 1 w 76"/>
                  <a:gd name="T5" fmla="*/ 44 h 78"/>
                  <a:gd name="T6" fmla="*/ 0 w 76"/>
                  <a:gd name="T7" fmla="*/ 42 h 78"/>
                  <a:gd name="T8" fmla="*/ 1 w 76"/>
                  <a:gd name="T9" fmla="*/ 40 h 78"/>
                  <a:gd name="T10" fmla="*/ 53 w 76"/>
                  <a:gd name="T11" fmla="*/ 10 h 78"/>
                  <a:gd name="T12" fmla="*/ 53 w 76"/>
                  <a:gd name="T13" fmla="*/ 5 h 78"/>
                  <a:gd name="T14" fmla="*/ 54 w 76"/>
                  <a:gd name="T15" fmla="*/ 3 h 78"/>
                  <a:gd name="T16" fmla="*/ 60 w 76"/>
                  <a:gd name="T17" fmla="*/ 0 h 78"/>
                  <a:gd name="T18" fmla="*/ 62 w 76"/>
                  <a:gd name="T19" fmla="*/ 0 h 78"/>
                  <a:gd name="T20" fmla="*/ 63 w 76"/>
                  <a:gd name="T21" fmla="*/ 2 h 78"/>
                  <a:gd name="T22" fmla="*/ 63 w 76"/>
                  <a:gd name="T23" fmla="*/ 60 h 78"/>
                  <a:gd name="T24" fmla="*/ 75 w 76"/>
                  <a:gd name="T25" fmla="*/ 67 h 78"/>
                  <a:gd name="T26" fmla="*/ 76 w 76"/>
                  <a:gd name="T27" fmla="*/ 69 h 78"/>
                  <a:gd name="T28" fmla="*/ 75 w 76"/>
                  <a:gd name="T29" fmla="*/ 71 h 78"/>
                  <a:gd name="T30" fmla="*/ 62 w 76"/>
                  <a:gd name="T31" fmla="*/ 78 h 78"/>
                  <a:gd name="T32" fmla="*/ 61 w 76"/>
                  <a:gd name="T33" fmla="*/ 78 h 78"/>
                  <a:gd name="T34" fmla="*/ 6 w 76"/>
                  <a:gd name="T35" fmla="*/ 42 h 78"/>
                  <a:gd name="T36" fmla="*/ 61 w 76"/>
                  <a:gd name="T37" fmla="*/ 74 h 78"/>
                  <a:gd name="T38" fmla="*/ 70 w 76"/>
                  <a:gd name="T39" fmla="*/ 69 h 78"/>
                  <a:gd name="T40" fmla="*/ 60 w 76"/>
                  <a:gd name="T41" fmla="*/ 63 h 78"/>
                  <a:gd name="T42" fmla="*/ 59 w 76"/>
                  <a:gd name="T43" fmla="*/ 61 h 78"/>
                  <a:gd name="T44" fmla="*/ 59 w 76"/>
                  <a:gd name="T45" fmla="*/ 5 h 78"/>
                  <a:gd name="T46" fmla="*/ 57 w 76"/>
                  <a:gd name="T47" fmla="*/ 6 h 78"/>
                  <a:gd name="T48" fmla="*/ 57 w 76"/>
                  <a:gd name="T49" fmla="*/ 11 h 78"/>
                  <a:gd name="T50" fmla="*/ 56 w 76"/>
                  <a:gd name="T51" fmla="*/ 13 h 78"/>
                  <a:gd name="T52" fmla="*/ 6 w 76"/>
                  <a:gd name="T53" fmla="*/ 4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6" h="78">
                    <a:moveTo>
                      <a:pt x="61" y="78"/>
                    </a:moveTo>
                    <a:cubicBezTo>
                      <a:pt x="61" y="78"/>
                      <a:pt x="61" y="78"/>
                      <a:pt x="60" y="7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1"/>
                      <a:pt x="1" y="4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4"/>
                      <a:pt x="53" y="4"/>
                      <a:pt x="54" y="3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0" y="0"/>
                      <a:pt x="61" y="0"/>
                      <a:pt x="62" y="0"/>
                    </a:cubicBezTo>
                    <a:cubicBezTo>
                      <a:pt x="62" y="0"/>
                      <a:pt x="63" y="1"/>
                      <a:pt x="63" y="2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75" y="67"/>
                      <a:pt x="75" y="67"/>
                      <a:pt x="75" y="67"/>
                    </a:cubicBezTo>
                    <a:cubicBezTo>
                      <a:pt x="76" y="68"/>
                      <a:pt x="76" y="68"/>
                      <a:pt x="76" y="69"/>
                    </a:cubicBezTo>
                    <a:cubicBezTo>
                      <a:pt x="76" y="70"/>
                      <a:pt x="76" y="71"/>
                      <a:pt x="75" y="71"/>
                    </a:cubicBezTo>
                    <a:cubicBezTo>
                      <a:pt x="62" y="78"/>
                      <a:pt x="62" y="78"/>
                      <a:pt x="62" y="78"/>
                    </a:cubicBezTo>
                    <a:cubicBezTo>
                      <a:pt x="62" y="78"/>
                      <a:pt x="62" y="78"/>
                      <a:pt x="61" y="78"/>
                    </a:cubicBezTo>
                    <a:close/>
                    <a:moveTo>
                      <a:pt x="6" y="42"/>
                    </a:moveTo>
                    <a:cubicBezTo>
                      <a:pt x="61" y="74"/>
                      <a:pt x="61" y="74"/>
                      <a:pt x="61" y="74"/>
                    </a:cubicBezTo>
                    <a:cubicBezTo>
                      <a:pt x="70" y="69"/>
                      <a:pt x="70" y="69"/>
                      <a:pt x="70" y="6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59" y="63"/>
                      <a:pt x="59" y="62"/>
                      <a:pt x="59" y="61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11"/>
                      <a:pt x="57" y="11"/>
                      <a:pt x="57" y="11"/>
                    </a:cubicBezTo>
                    <a:cubicBezTo>
                      <a:pt x="57" y="12"/>
                      <a:pt x="56" y="13"/>
                      <a:pt x="56" y="13"/>
                    </a:cubicBezTo>
                    <a:lnTo>
                      <a:pt x="6" y="4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0" name="Freeform 860">
                <a:extLst>
                  <a:ext uri="{FF2B5EF4-FFF2-40B4-BE49-F238E27FC236}">
                    <a16:creationId xmlns:a16="http://schemas.microsoft.com/office/drawing/2014/main" id="{B76CFA67-1A72-4B26-A313-6088C23BC1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07627" y="5979019"/>
                <a:ext cx="154594" cy="113092"/>
              </a:xfrm>
              <a:custGeom>
                <a:avLst/>
                <a:gdLst>
                  <a:gd name="T0" fmla="*/ 61 w 63"/>
                  <a:gd name="T1" fmla="*/ 46 h 46"/>
                  <a:gd name="T2" fmla="*/ 60 w 63"/>
                  <a:gd name="T3" fmla="*/ 46 h 46"/>
                  <a:gd name="T4" fmla="*/ 1 w 63"/>
                  <a:gd name="T5" fmla="*/ 12 h 46"/>
                  <a:gd name="T6" fmla="*/ 0 w 63"/>
                  <a:gd name="T7" fmla="*/ 10 h 46"/>
                  <a:gd name="T8" fmla="*/ 0 w 63"/>
                  <a:gd name="T9" fmla="*/ 2 h 46"/>
                  <a:gd name="T10" fmla="*/ 1 w 63"/>
                  <a:gd name="T11" fmla="*/ 1 h 46"/>
                  <a:gd name="T12" fmla="*/ 3 w 63"/>
                  <a:gd name="T13" fmla="*/ 1 h 46"/>
                  <a:gd name="T14" fmla="*/ 62 w 63"/>
                  <a:gd name="T15" fmla="*/ 35 h 46"/>
                  <a:gd name="T16" fmla="*/ 63 w 63"/>
                  <a:gd name="T17" fmla="*/ 36 h 46"/>
                  <a:gd name="T18" fmla="*/ 63 w 63"/>
                  <a:gd name="T19" fmla="*/ 44 h 46"/>
                  <a:gd name="T20" fmla="*/ 62 w 63"/>
                  <a:gd name="T21" fmla="*/ 46 h 46"/>
                  <a:gd name="T22" fmla="*/ 61 w 63"/>
                  <a:gd name="T23" fmla="*/ 46 h 46"/>
                  <a:gd name="T24" fmla="*/ 4 w 63"/>
                  <a:gd name="T25" fmla="*/ 9 h 46"/>
                  <a:gd name="T26" fmla="*/ 59 w 63"/>
                  <a:gd name="T27" fmla="*/ 40 h 46"/>
                  <a:gd name="T28" fmla="*/ 59 w 63"/>
                  <a:gd name="T29" fmla="*/ 38 h 46"/>
                  <a:gd name="T30" fmla="*/ 4 w 63"/>
                  <a:gd name="T31" fmla="*/ 6 h 46"/>
                  <a:gd name="T32" fmla="*/ 4 w 63"/>
                  <a:gd name="T33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6">
                    <a:moveTo>
                      <a:pt x="61" y="46"/>
                    </a:moveTo>
                    <a:cubicBezTo>
                      <a:pt x="61" y="46"/>
                      <a:pt x="61" y="46"/>
                      <a:pt x="60" y="4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3" y="35"/>
                      <a:pt x="63" y="36"/>
                      <a:pt x="63" y="36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63" y="45"/>
                      <a:pt x="63" y="45"/>
                      <a:pt x="62" y="46"/>
                    </a:cubicBezTo>
                    <a:cubicBezTo>
                      <a:pt x="62" y="46"/>
                      <a:pt x="62" y="46"/>
                      <a:pt x="61" y="46"/>
                    </a:cubicBezTo>
                    <a:close/>
                    <a:moveTo>
                      <a:pt x="4" y="9"/>
                    </a:move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1" name="Freeform 861">
                <a:extLst>
                  <a:ext uri="{FF2B5EF4-FFF2-40B4-BE49-F238E27FC236}">
                    <a16:creationId xmlns:a16="http://schemas.microsoft.com/office/drawing/2014/main" id="{168BF76F-0621-46A8-A3AB-5D4C099274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18153" y="6286131"/>
                <a:ext cx="605924" cy="381815"/>
              </a:xfrm>
              <a:custGeom>
                <a:avLst/>
                <a:gdLst>
                  <a:gd name="T0" fmla="*/ 134 w 247"/>
                  <a:gd name="T1" fmla="*/ 156 h 156"/>
                  <a:gd name="T2" fmla="*/ 133 w 247"/>
                  <a:gd name="T3" fmla="*/ 156 h 156"/>
                  <a:gd name="T4" fmla="*/ 1 w 247"/>
                  <a:gd name="T5" fmla="*/ 80 h 156"/>
                  <a:gd name="T6" fmla="*/ 0 w 247"/>
                  <a:gd name="T7" fmla="*/ 78 h 156"/>
                  <a:gd name="T8" fmla="*/ 1 w 247"/>
                  <a:gd name="T9" fmla="*/ 76 h 156"/>
                  <a:gd name="T10" fmla="*/ 31 w 247"/>
                  <a:gd name="T11" fmla="*/ 59 h 156"/>
                  <a:gd name="T12" fmla="*/ 33 w 247"/>
                  <a:gd name="T13" fmla="*/ 59 h 156"/>
                  <a:gd name="T14" fmla="*/ 47 w 247"/>
                  <a:gd name="T15" fmla="*/ 67 h 156"/>
                  <a:gd name="T16" fmla="*/ 47 w 247"/>
                  <a:gd name="T17" fmla="*/ 51 h 156"/>
                  <a:gd name="T18" fmla="*/ 48 w 247"/>
                  <a:gd name="T19" fmla="*/ 50 h 156"/>
                  <a:gd name="T20" fmla="*/ 66 w 247"/>
                  <a:gd name="T21" fmla="*/ 39 h 156"/>
                  <a:gd name="T22" fmla="*/ 68 w 247"/>
                  <a:gd name="T23" fmla="*/ 39 h 156"/>
                  <a:gd name="T24" fmla="*/ 69 w 247"/>
                  <a:gd name="T25" fmla="*/ 41 h 156"/>
                  <a:gd name="T26" fmla="*/ 69 w 247"/>
                  <a:gd name="T27" fmla="*/ 84 h 156"/>
                  <a:gd name="T28" fmla="*/ 127 w 247"/>
                  <a:gd name="T29" fmla="*/ 50 h 156"/>
                  <a:gd name="T30" fmla="*/ 127 w 247"/>
                  <a:gd name="T31" fmla="*/ 5 h 156"/>
                  <a:gd name="T32" fmla="*/ 128 w 247"/>
                  <a:gd name="T33" fmla="*/ 3 h 156"/>
                  <a:gd name="T34" fmla="*/ 133 w 247"/>
                  <a:gd name="T35" fmla="*/ 0 h 156"/>
                  <a:gd name="T36" fmla="*/ 135 w 247"/>
                  <a:gd name="T37" fmla="*/ 0 h 156"/>
                  <a:gd name="T38" fmla="*/ 198 w 247"/>
                  <a:gd name="T39" fmla="*/ 36 h 156"/>
                  <a:gd name="T40" fmla="*/ 199 w 247"/>
                  <a:gd name="T41" fmla="*/ 38 h 156"/>
                  <a:gd name="T42" fmla="*/ 198 w 247"/>
                  <a:gd name="T43" fmla="*/ 40 h 156"/>
                  <a:gd name="T44" fmla="*/ 180 w 247"/>
                  <a:gd name="T45" fmla="*/ 50 h 156"/>
                  <a:gd name="T46" fmla="*/ 246 w 247"/>
                  <a:gd name="T47" fmla="*/ 89 h 156"/>
                  <a:gd name="T48" fmla="*/ 247 w 247"/>
                  <a:gd name="T49" fmla="*/ 90 h 156"/>
                  <a:gd name="T50" fmla="*/ 246 w 247"/>
                  <a:gd name="T51" fmla="*/ 92 h 156"/>
                  <a:gd name="T52" fmla="*/ 135 w 247"/>
                  <a:gd name="T53" fmla="*/ 156 h 156"/>
                  <a:gd name="T54" fmla="*/ 134 w 247"/>
                  <a:gd name="T55" fmla="*/ 156 h 156"/>
                  <a:gd name="T56" fmla="*/ 6 w 247"/>
                  <a:gd name="T57" fmla="*/ 78 h 156"/>
                  <a:gd name="T58" fmla="*/ 134 w 247"/>
                  <a:gd name="T59" fmla="*/ 152 h 156"/>
                  <a:gd name="T60" fmla="*/ 241 w 247"/>
                  <a:gd name="T61" fmla="*/ 90 h 156"/>
                  <a:gd name="T62" fmla="*/ 175 w 247"/>
                  <a:gd name="T63" fmla="*/ 52 h 156"/>
                  <a:gd name="T64" fmla="*/ 174 w 247"/>
                  <a:gd name="T65" fmla="*/ 50 h 156"/>
                  <a:gd name="T66" fmla="*/ 175 w 247"/>
                  <a:gd name="T67" fmla="*/ 49 h 156"/>
                  <a:gd name="T68" fmla="*/ 193 w 247"/>
                  <a:gd name="T69" fmla="*/ 38 h 156"/>
                  <a:gd name="T70" fmla="*/ 134 w 247"/>
                  <a:gd name="T71" fmla="*/ 4 h 156"/>
                  <a:gd name="T72" fmla="*/ 131 w 247"/>
                  <a:gd name="T73" fmla="*/ 6 h 156"/>
                  <a:gd name="T74" fmla="*/ 131 w 247"/>
                  <a:gd name="T75" fmla="*/ 51 h 156"/>
                  <a:gd name="T76" fmla="*/ 130 w 247"/>
                  <a:gd name="T77" fmla="*/ 53 h 156"/>
                  <a:gd name="T78" fmla="*/ 68 w 247"/>
                  <a:gd name="T79" fmla="*/ 89 h 156"/>
                  <a:gd name="T80" fmla="*/ 66 w 247"/>
                  <a:gd name="T81" fmla="*/ 89 h 156"/>
                  <a:gd name="T82" fmla="*/ 65 w 247"/>
                  <a:gd name="T83" fmla="*/ 87 h 156"/>
                  <a:gd name="T84" fmla="*/ 65 w 247"/>
                  <a:gd name="T85" fmla="*/ 44 h 156"/>
                  <a:gd name="T86" fmla="*/ 51 w 247"/>
                  <a:gd name="T87" fmla="*/ 52 h 156"/>
                  <a:gd name="T88" fmla="*/ 51 w 247"/>
                  <a:gd name="T89" fmla="*/ 71 h 156"/>
                  <a:gd name="T90" fmla="*/ 50 w 247"/>
                  <a:gd name="T91" fmla="*/ 72 h 156"/>
                  <a:gd name="T92" fmla="*/ 48 w 247"/>
                  <a:gd name="T93" fmla="*/ 72 h 156"/>
                  <a:gd name="T94" fmla="*/ 32 w 247"/>
                  <a:gd name="T95" fmla="*/ 63 h 156"/>
                  <a:gd name="T96" fmla="*/ 6 w 247"/>
                  <a:gd name="T97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7" h="156">
                    <a:moveTo>
                      <a:pt x="134" y="156"/>
                    </a:moveTo>
                    <a:cubicBezTo>
                      <a:pt x="134" y="156"/>
                      <a:pt x="134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1" y="79"/>
                      <a:pt x="0" y="79"/>
                      <a:pt x="0" y="78"/>
                    </a:cubicBezTo>
                    <a:cubicBezTo>
                      <a:pt x="0" y="77"/>
                      <a:pt x="1" y="77"/>
                      <a:pt x="1" y="76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32" y="59"/>
                      <a:pt x="32" y="59"/>
                      <a:pt x="33" y="59"/>
                    </a:cubicBezTo>
                    <a:cubicBezTo>
                      <a:pt x="47" y="67"/>
                      <a:pt x="47" y="67"/>
                      <a:pt x="47" y="67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7" y="51"/>
                      <a:pt x="47" y="50"/>
                      <a:pt x="48" y="50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66" y="39"/>
                      <a:pt x="67" y="39"/>
                      <a:pt x="68" y="39"/>
                    </a:cubicBezTo>
                    <a:cubicBezTo>
                      <a:pt x="68" y="40"/>
                      <a:pt x="69" y="40"/>
                      <a:pt x="69" y="41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127" y="50"/>
                      <a:pt x="127" y="50"/>
                      <a:pt x="127" y="50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7" y="4"/>
                      <a:pt x="127" y="4"/>
                      <a:pt x="128" y="3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4" y="0"/>
                      <a:pt x="135" y="0"/>
                      <a:pt x="135" y="0"/>
                    </a:cubicBezTo>
                    <a:cubicBezTo>
                      <a:pt x="198" y="36"/>
                      <a:pt x="198" y="36"/>
                      <a:pt x="198" y="36"/>
                    </a:cubicBezTo>
                    <a:cubicBezTo>
                      <a:pt x="199" y="37"/>
                      <a:pt x="199" y="37"/>
                      <a:pt x="199" y="38"/>
                    </a:cubicBezTo>
                    <a:cubicBezTo>
                      <a:pt x="199" y="39"/>
                      <a:pt x="199" y="39"/>
                      <a:pt x="198" y="40"/>
                    </a:cubicBezTo>
                    <a:cubicBezTo>
                      <a:pt x="180" y="50"/>
                      <a:pt x="180" y="50"/>
                      <a:pt x="180" y="50"/>
                    </a:cubicBezTo>
                    <a:cubicBezTo>
                      <a:pt x="246" y="89"/>
                      <a:pt x="246" y="89"/>
                      <a:pt x="246" y="89"/>
                    </a:cubicBezTo>
                    <a:cubicBezTo>
                      <a:pt x="246" y="89"/>
                      <a:pt x="247" y="90"/>
                      <a:pt x="247" y="90"/>
                    </a:cubicBezTo>
                    <a:cubicBezTo>
                      <a:pt x="247" y="91"/>
                      <a:pt x="246" y="92"/>
                      <a:pt x="246" y="92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5" y="156"/>
                      <a:pt x="135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1" y="90"/>
                      <a:pt x="241" y="90"/>
                      <a:pt x="241" y="90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4" y="52"/>
                      <a:pt x="174" y="51"/>
                      <a:pt x="174" y="50"/>
                    </a:cubicBezTo>
                    <a:cubicBezTo>
                      <a:pt x="174" y="50"/>
                      <a:pt x="174" y="49"/>
                      <a:pt x="175" y="49"/>
                    </a:cubicBezTo>
                    <a:cubicBezTo>
                      <a:pt x="193" y="38"/>
                      <a:pt x="193" y="38"/>
                      <a:pt x="193" y="38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2"/>
                      <a:pt x="131" y="53"/>
                      <a:pt x="130" y="53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7" y="89"/>
                      <a:pt x="66" y="89"/>
                      <a:pt x="66" y="89"/>
                    </a:cubicBezTo>
                    <a:cubicBezTo>
                      <a:pt x="65" y="89"/>
                      <a:pt x="65" y="88"/>
                      <a:pt x="65" y="87"/>
                    </a:cubicBezTo>
                    <a:cubicBezTo>
                      <a:pt x="65" y="44"/>
                      <a:pt x="65" y="44"/>
                      <a:pt x="65" y="44"/>
                    </a:cubicBezTo>
                    <a:cubicBezTo>
                      <a:pt x="51" y="52"/>
                      <a:pt x="51" y="52"/>
                      <a:pt x="51" y="52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1" y="71"/>
                      <a:pt x="50" y="72"/>
                      <a:pt x="50" y="72"/>
                    </a:cubicBezTo>
                    <a:cubicBezTo>
                      <a:pt x="49" y="73"/>
                      <a:pt x="48" y="73"/>
                      <a:pt x="48" y="72"/>
                    </a:cubicBezTo>
                    <a:cubicBezTo>
                      <a:pt x="32" y="63"/>
                      <a:pt x="32" y="63"/>
                      <a:pt x="32" y="63"/>
                    </a:cubicBezTo>
                    <a:lnTo>
                      <a:pt x="6" y="7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2" name="Freeform 862">
                <a:extLst>
                  <a:ext uri="{FF2B5EF4-FFF2-40B4-BE49-F238E27FC236}">
                    <a16:creationId xmlns:a16="http://schemas.microsoft.com/office/drawing/2014/main" id="{EB4BECC6-091C-4CAF-B4C2-296CE5CF8E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07627" y="6003920"/>
                <a:ext cx="154594" cy="171194"/>
              </a:xfrm>
              <a:custGeom>
                <a:avLst/>
                <a:gdLst>
                  <a:gd name="T0" fmla="*/ 16 w 63"/>
                  <a:gd name="T1" fmla="*/ 70 h 70"/>
                  <a:gd name="T2" fmla="*/ 15 w 63"/>
                  <a:gd name="T3" fmla="*/ 70 h 70"/>
                  <a:gd name="T4" fmla="*/ 1 w 63"/>
                  <a:gd name="T5" fmla="*/ 62 h 70"/>
                  <a:gd name="T6" fmla="*/ 0 w 63"/>
                  <a:gd name="T7" fmla="*/ 60 h 70"/>
                  <a:gd name="T8" fmla="*/ 0 w 63"/>
                  <a:gd name="T9" fmla="*/ 2 h 70"/>
                  <a:gd name="T10" fmla="*/ 1 w 63"/>
                  <a:gd name="T11" fmla="*/ 0 h 70"/>
                  <a:gd name="T12" fmla="*/ 3 w 63"/>
                  <a:gd name="T13" fmla="*/ 0 h 70"/>
                  <a:gd name="T14" fmla="*/ 62 w 63"/>
                  <a:gd name="T15" fmla="*/ 34 h 70"/>
                  <a:gd name="T16" fmla="*/ 63 w 63"/>
                  <a:gd name="T17" fmla="*/ 36 h 70"/>
                  <a:gd name="T18" fmla="*/ 63 w 63"/>
                  <a:gd name="T19" fmla="*/ 42 h 70"/>
                  <a:gd name="T20" fmla="*/ 62 w 63"/>
                  <a:gd name="T21" fmla="*/ 44 h 70"/>
                  <a:gd name="T22" fmla="*/ 17 w 63"/>
                  <a:gd name="T23" fmla="*/ 70 h 70"/>
                  <a:gd name="T24" fmla="*/ 16 w 63"/>
                  <a:gd name="T25" fmla="*/ 70 h 70"/>
                  <a:gd name="T26" fmla="*/ 4 w 63"/>
                  <a:gd name="T27" fmla="*/ 59 h 70"/>
                  <a:gd name="T28" fmla="*/ 16 w 63"/>
                  <a:gd name="T29" fmla="*/ 66 h 70"/>
                  <a:gd name="T30" fmla="*/ 59 w 63"/>
                  <a:gd name="T31" fmla="*/ 41 h 70"/>
                  <a:gd name="T32" fmla="*/ 59 w 63"/>
                  <a:gd name="T33" fmla="*/ 37 h 70"/>
                  <a:gd name="T34" fmla="*/ 4 w 63"/>
                  <a:gd name="T35" fmla="*/ 5 h 70"/>
                  <a:gd name="T36" fmla="*/ 4 w 63"/>
                  <a:gd name="T37" fmla="*/ 5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70">
                    <a:moveTo>
                      <a:pt x="16" y="70"/>
                    </a:moveTo>
                    <a:cubicBezTo>
                      <a:pt x="15" y="70"/>
                      <a:pt x="15" y="70"/>
                      <a:pt x="15" y="70"/>
                    </a:cubicBezTo>
                    <a:cubicBezTo>
                      <a:pt x="1" y="62"/>
                      <a:pt x="1" y="62"/>
                      <a:pt x="1" y="62"/>
                    </a:cubicBezTo>
                    <a:cubicBezTo>
                      <a:pt x="1" y="62"/>
                      <a:pt x="0" y="61"/>
                      <a:pt x="0" y="6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3" y="34"/>
                      <a:pt x="63" y="35"/>
                      <a:pt x="63" y="36"/>
                    </a:cubicBezTo>
                    <a:cubicBezTo>
                      <a:pt x="63" y="42"/>
                      <a:pt x="63" y="42"/>
                      <a:pt x="63" y="42"/>
                    </a:cubicBezTo>
                    <a:cubicBezTo>
                      <a:pt x="63" y="43"/>
                      <a:pt x="63" y="43"/>
                      <a:pt x="62" y="44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6" y="70"/>
                      <a:pt x="16" y="70"/>
                      <a:pt x="16" y="70"/>
                    </a:cubicBezTo>
                    <a:close/>
                    <a:moveTo>
                      <a:pt x="4" y="59"/>
                    </a:moveTo>
                    <a:cubicBezTo>
                      <a:pt x="16" y="66"/>
                      <a:pt x="16" y="66"/>
                      <a:pt x="16" y="66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3" name="Freeform 863">
                <a:extLst>
                  <a:ext uri="{FF2B5EF4-FFF2-40B4-BE49-F238E27FC236}">
                    <a16:creationId xmlns:a16="http://schemas.microsoft.com/office/drawing/2014/main" id="{4798C30F-C1C1-4E89-89AD-FADC628FB7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5901204"/>
                <a:ext cx="166007" cy="181569"/>
              </a:xfrm>
              <a:custGeom>
                <a:avLst/>
                <a:gdLst>
                  <a:gd name="T0" fmla="*/ 53 w 68"/>
                  <a:gd name="T1" fmla="*/ 74 h 74"/>
                  <a:gd name="T2" fmla="*/ 52 w 68"/>
                  <a:gd name="T3" fmla="*/ 74 h 74"/>
                  <a:gd name="T4" fmla="*/ 1 w 68"/>
                  <a:gd name="T5" fmla="*/ 44 h 74"/>
                  <a:gd name="T6" fmla="*/ 0 w 68"/>
                  <a:gd name="T7" fmla="*/ 42 h 74"/>
                  <a:gd name="T8" fmla="*/ 0 w 68"/>
                  <a:gd name="T9" fmla="*/ 36 h 74"/>
                  <a:gd name="T10" fmla="*/ 1 w 68"/>
                  <a:gd name="T11" fmla="*/ 35 h 74"/>
                  <a:gd name="T12" fmla="*/ 60 w 68"/>
                  <a:gd name="T13" fmla="*/ 1 h 74"/>
                  <a:gd name="T14" fmla="*/ 62 w 68"/>
                  <a:gd name="T15" fmla="*/ 1 h 74"/>
                  <a:gd name="T16" fmla="*/ 67 w 68"/>
                  <a:gd name="T17" fmla="*/ 4 h 74"/>
                  <a:gd name="T18" fmla="*/ 68 w 68"/>
                  <a:gd name="T19" fmla="*/ 5 h 74"/>
                  <a:gd name="T20" fmla="*/ 68 w 68"/>
                  <a:gd name="T21" fmla="*/ 7 h 74"/>
                  <a:gd name="T22" fmla="*/ 67 w 68"/>
                  <a:gd name="T23" fmla="*/ 9 h 74"/>
                  <a:gd name="T24" fmla="*/ 55 w 68"/>
                  <a:gd name="T25" fmla="*/ 16 h 74"/>
                  <a:gd name="T26" fmla="*/ 55 w 68"/>
                  <a:gd name="T27" fmla="*/ 72 h 74"/>
                  <a:gd name="T28" fmla="*/ 54 w 68"/>
                  <a:gd name="T29" fmla="*/ 74 h 74"/>
                  <a:gd name="T30" fmla="*/ 53 w 68"/>
                  <a:gd name="T31" fmla="*/ 74 h 74"/>
                  <a:gd name="T32" fmla="*/ 4 w 68"/>
                  <a:gd name="T33" fmla="*/ 41 h 74"/>
                  <a:gd name="T34" fmla="*/ 51 w 68"/>
                  <a:gd name="T35" fmla="*/ 69 h 74"/>
                  <a:gd name="T36" fmla="*/ 51 w 68"/>
                  <a:gd name="T37" fmla="*/ 15 h 74"/>
                  <a:gd name="T38" fmla="*/ 52 w 68"/>
                  <a:gd name="T39" fmla="*/ 13 h 74"/>
                  <a:gd name="T40" fmla="*/ 64 w 68"/>
                  <a:gd name="T41" fmla="*/ 6 h 74"/>
                  <a:gd name="T42" fmla="*/ 61 w 68"/>
                  <a:gd name="T43" fmla="*/ 5 h 74"/>
                  <a:gd name="T44" fmla="*/ 4 w 68"/>
                  <a:gd name="T45" fmla="*/ 38 h 74"/>
                  <a:gd name="T46" fmla="*/ 4 w 68"/>
                  <a:gd name="T47" fmla="*/ 4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74">
                    <a:moveTo>
                      <a:pt x="53" y="74"/>
                    </a:moveTo>
                    <a:cubicBezTo>
                      <a:pt x="53" y="74"/>
                      <a:pt x="53" y="74"/>
                      <a:pt x="52" y="74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5"/>
                      <a:pt x="1" y="35"/>
                    </a:cubicBezTo>
                    <a:cubicBezTo>
                      <a:pt x="60" y="1"/>
                      <a:pt x="60" y="1"/>
                      <a:pt x="60" y="1"/>
                    </a:cubicBezTo>
                    <a:cubicBezTo>
                      <a:pt x="61" y="0"/>
                      <a:pt x="61" y="0"/>
                      <a:pt x="62" y="1"/>
                    </a:cubicBezTo>
                    <a:cubicBezTo>
                      <a:pt x="67" y="4"/>
                      <a:pt x="67" y="4"/>
                      <a:pt x="67" y="4"/>
                    </a:cubicBezTo>
                    <a:cubicBezTo>
                      <a:pt x="68" y="4"/>
                      <a:pt x="68" y="5"/>
                      <a:pt x="68" y="5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8"/>
                      <a:pt x="68" y="9"/>
                      <a:pt x="67" y="9"/>
                    </a:cubicBezTo>
                    <a:cubicBezTo>
                      <a:pt x="55" y="16"/>
                      <a:pt x="55" y="16"/>
                      <a:pt x="55" y="16"/>
                    </a:cubicBezTo>
                    <a:cubicBezTo>
                      <a:pt x="55" y="72"/>
                      <a:pt x="55" y="72"/>
                      <a:pt x="55" y="72"/>
                    </a:cubicBezTo>
                    <a:cubicBezTo>
                      <a:pt x="55" y="73"/>
                      <a:pt x="55" y="74"/>
                      <a:pt x="54" y="74"/>
                    </a:cubicBezTo>
                    <a:cubicBezTo>
                      <a:pt x="54" y="74"/>
                      <a:pt x="54" y="74"/>
                      <a:pt x="53" y="74"/>
                    </a:cubicBezTo>
                    <a:close/>
                    <a:moveTo>
                      <a:pt x="4" y="41"/>
                    </a:move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4"/>
                      <a:pt x="52" y="13"/>
                      <a:pt x="52" y="13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4" y="4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4" name="Freeform 864">
                <a:extLst>
                  <a:ext uri="{FF2B5EF4-FFF2-40B4-BE49-F238E27FC236}">
                    <a16:creationId xmlns:a16="http://schemas.microsoft.com/office/drawing/2014/main" id="{D515FF99-D23B-4C18-8072-1FC30CCA10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195272" y="5842064"/>
                <a:ext cx="113092" cy="194020"/>
              </a:xfrm>
              <a:custGeom>
                <a:avLst/>
                <a:gdLst>
                  <a:gd name="T0" fmla="*/ 27 w 46"/>
                  <a:gd name="T1" fmla="*/ 79 h 79"/>
                  <a:gd name="T2" fmla="*/ 26 w 46"/>
                  <a:gd name="T3" fmla="*/ 78 h 79"/>
                  <a:gd name="T4" fmla="*/ 1 w 46"/>
                  <a:gd name="T5" fmla="*/ 64 h 79"/>
                  <a:gd name="T6" fmla="*/ 0 w 46"/>
                  <a:gd name="T7" fmla="*/ 63 h 79"/>
                  <a:gd name="T8" fmla="*/ 0 w 46"/>
                  <a:gd name="T9" fmla="*/ 26 h 79"/>
                  <a:gd name="T10" fmla="*/ 1 w 46"/>
                  <a:gd name="T11" fmla="*/ 25 h 79"/>
                  <a:gd name="T12" fmla="*/ 43 w 46"/>
                  <a:gd name="T13" fmla="*/ 1 h 79"/>
                  <a:gd name="T14" fmla="*/ 45 w 46"/>
                  <a:gd name="T15" fmla="*/ 1 h 79"/>
                  <a:gd name="T16" fmla="*/ 46 w 46"/>
                  <a:gd name="T17" fmla="*/ 3 h 79"/>
                  <a:gd name="T18" fmla="*/ 46 w 46"/>
                  <a:gd name="T19" fmla="*/ 67 h 79"/>
                  <a:gd name="T20" fmla="*/ 45 w 46"/>
                  <a:gd name="T21" fmla="*/ 68 h 79"/>
                  <a:gd name="T22" fmla="*/ 28 w 46"/>
                  <a:gd name="T23" fmla="*/ 78 h 79"/>
                  <a:gd name="T24" fmla="*/ 27 w 46"/>
                  <a:gd name="T25" fmla="*/ 79 h 79"/>
                  <a:gd name="T26" fmla="*/ 4 w 46"/>
                  <a:gd name="T27" fmla="*/ 61 h 79"/>
                  <a:gd name="T28" fmla="*/ 27 w 46"/>
                  <a:gd name="T29" fmla="*/ 74 h 79"/>
                  <a:gd name="T30" fmla="*/ 42 w 46"/>
                  <a:gd name="T31" fmla="*/ 66 h 79"/>
                  <a:gd name="T32" fmla="*/ 42 w 46"/>
                  <a:gd name="T33" fmla="*/ 6 h 79"/>
                  <a:gd name="T34" fmla="*/ 4 w 46"/>
                  <a:gd name="T35" fmla="*/ 28 h 79"/>
                  <a:gd name="T36" fmla="*/ 4 w 46"/>
                  <a:gd name="T37" fmla="*/ 61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6" h="79">
                    <a:moveTo>
                      <a:pt x="27" y="79"/>
                    </a:moveTo>
                    <a:cubicBezTo>
                      <a:pt x="26" y="79"/>
                      <a:pt x="26" y="78"/>
                      <a:pt x="26" y="78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4"/>
                      <a:pt x="0" y="63"/>
                      <a:pt x="0" y="6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43" y="0"/>
                      <a:pt x="44" y="0"/>
                      <a:pt x="45" y="1"/>
                    </a:cubicBezTo>
                    <a:cubicBezTo>
                      <a:pt x="45" y="1"/>
                      <a:pt x="46" y="2"/>
                      <a:pt x="46" y="3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6" y="67"/>
                      <a:pt x="45" y="68"/>
                      <a:pt x="45" y="68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27" y="78"/>
                      <a:pt x="27" y="79"/>
                      <a:pt x="27" y="79"/>
                    </a:cubicBezTo>
                    <a:close/>
                    <a:moveTo>
                      <a:pt x="4" y="61"/>
                    </a:moveTo>
                    <a:cubicBezTo>
                      <a:pt x="27" y="74"/>
                      <a:pt x="27" y="74"/>
                      <a:pt x="27" y="74"/>
                    </a:cubicBezTo>
                    <a:cubicBezTo>
                      <a:pt x="42" y="66"/>
                      <a:pt x="42" y="66"/>
                      <a:pt x="42" y="6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6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5" name="Freeform 865">
                <a:extLst>
                  <a:ext uri="{FF2B5EF4-FFF2-40B4-BE49-F238E27FC236}">
                    <a16:creationId xmlns:a16="http://schemas.microsoft.com/office/drawing/2014/main" id="{3035E02F-D226-4DE1-93BF-F8BA631202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41961" y="5994582"/>
                <a:ext cx="66403" cy="75740"/>
              </a:xfrm>
              <a:custGeom>
                <a:avLst/>
                <a:gdLst>
                  <a:gd name="T0" fmla="*/ 2 w 27"/>
                  <a:gd name="T1" fmla="*/ 31 h 31"/>
                  <a:gd name="T2" fmla="*/ 1 w 27"/>
                  <a:gd name="T3" fmla="*/ 30 h 31"/>
                  <a:gd name="T4" fmla="*/ 0 w 27"/>
                  <a:gd name="T5" fmla="*/ 29 h 31"/>
                  <a:gd name="T6" fmla="*/ 0 w 27"/>
                  <a:gd name="T7" fmla="*/ 3 h 31"/>
                  <a:gd name="T8" fmla="*/ 1 w 27"/>
                  <a:gd name="T9" fmla="*/ 1 h 31"/>
                  <a:gd name="T10" fmla="*/ 3 w 27"/>
                  <a:gd name="T11" fmla="*/ 1 h 31"/>
                  <a:gd name="T12" fmla="*/ 26 w 27"/>
                  <a:gd name="T13" fmla="*/ 14 h 31"/>
                  <a:gd name="T14" fmla="*/ 27 w 27"/>
                  <a:gd name="T15" fmla="*/ 16 h 31"/>
                  <a:gd name="T16" fmla="*/ 26 w 27"/>
                  <a:gd name="T17" fmla="*/ 17 h 31"/>
                  <a:gd name="T18" fmla="*/ 3 w 27"/>
                  <a:gd name="T19" fmla="*/ 30 h 31"/>
                  <a:gd name="T20" fmla="*/ 2 w 27"/>
                  <a:gd name="T21" fmla="*/ 31 h 31"/>
                  <a:gd name="T22" fmla="*/ 4 w 27"/>
                  <a:gd name="T23" fmla="*/ 6 h 31"/>
                  <a:gd name="T24" fmla="*/ 4 w 27"/>
                  <a:gd name="T25" fmla="*/ 25 h 31"/>
                  <a:gd name="T26" fmla="*/ 21 w 27"/>
                  <a:gd name="T27" fmla="*/ 16 h 31"/>
                  <a:gd name="T28" fmla="*/ 4 w 27"/>
                  <a:gd name="T2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1">
                    <a:moveTo>
                      <a:pt x="2" y="31"/>
                    </a:moveTo>
                    <a:cubicBezTo>
                      <a:pt x="2" y="31"/>
                      <a:pt x="2" y="30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7" y="14"/>
                      <a:pt x="27" y="15"/>
                      <a:pt x="27" y="16"/>
                    </a:cubicBezTo>
                    <a:cubicBezTo>
                      <a:pt x="27" y="16"/>
                      <a:pt x="27" y="17"/>
                      <a:pt x="26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1"/>
                      <a:pt x="2" y="31"/>
                    </a:cubicBezTo>
                    <a:close/>
                    <a:moveTo>
                      <a:pt x="4" y="6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1" y="16"/>
                      <a:pt x="21" y="16"/>
                      <a:pt x="21" y="1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6" name="Freeform 866">
                <a:extLst>
                  <a:ext uri="{FF2B5EF4-FFF2-40B4-BE49-F238E27FC236}">
                    <a16:creationId xmlns:a16="http://schemas.microsoft.com/office/drawing/2014/main" id="{787BB952-C062-43BF-B771-DB2AC31C2C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35491" y="5513164"/>
                <a:ext cx="284286" cy="170156"/>
              </a:xfrm>
              <a:custGeom>
                <a:avLst/>
                <a:gdLst>
                  <a:gd name="T0" fmla="*/ 38 w 116"/>
                  <a:gd name="T1" fmla="*/ 69 h 69"/>
                  <a:gd name="T2" fmla="*/ 37 w 116"/>
                  <a:gd name="T3" fmla="*/ 69 h 69"/>
                  <a:gd name="T4" fmla="*/ 1 w 116"/>
                  <a:gd name="T5" fmla="*/ 48 h 69"/>
                  <a:gd name="T6" fmla="*/ 0 w 116"/>
                  <a:gd name="T7" fmla="*/ 46 h 69"/>
                  <a:gd name="T8" fmla="*/ 1 w 116"/>
                  <a:gd name="T9" fmla="*/ 44 h 69"/>
                  <a:gd name="T10" fmla="*/ 77 w 116"/>
                  <a:gd name="T11" fmla="*/ 1 h 69"/>
                  <a:gd name="T12" fmla="*/ 79 w 116"/>
                  <a:gd name="T13" fmla="*/ 1 h 69"/>
                  <a:gd name="T14" fmla="*/ 115 w 116"/>
                  <a:gd name="T15" fmla="*/ 21 h 69"/>
                  <a:gd name="T16" fmla="*/ 116 w 116"/>
                  <a:gd name="T17" fmla="*/ 23 h 69"/>
                  <a:gd name="T18" fmla="*/ 115 w 116"/>
                  <a:gd name="T19" fmla="*/ 25 h 69"/>
                  <a:gd name="T20" fmla="*/ 39 w 116"/>
                  <a:gd name="T21" fmla="*/ 69 h 69"/>
                  <a:gd name="T22" fmla="*/ 38 w 116"/>
                  <a:gd name="T23" fmla="*/ 69 h 69"/>
                  <a:gd name="T24" fmla="*/ 6 w 116"/>
                  <a:gd name="T25" fmla="*/ 46 h 69"/>
                  <a:gd name="T26" fmla="*/ 38 w 116"/>
                  <a:gd name="T27" fmla="*/ 65 h 69"/>
                  <a:gd name="T28" fmla="*/ 110 w 116"/>
                  <a:gd name="T29" fmla="*/ 23 h 69"/>
                  <a:gd name="T30" fmla="*/ 78 w 116"/>
                  <a:gd name="T31" fmla="*/ 5 h 69"/>
                  <a:gd name="T32" fmla="*/ 6 w 116"/>
                  <a:gd name="T33" fmla="*/ 4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6" h="69">
                    <a:moveTo>
                      <a:pt x="38" y="69"/>
                    </a:moveTo>
                    <a:cubicBezTo>
                      <a:pt x="38" y="69"/>
                      <a:pt x="37" y="69"/>
                      <a:pt x="37" y="69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47"/>
                      <a:pt x="0" y="47"/>
                      <a:pt x="0" y="46"/>
                    </a:cubicBezTo>
                    <a:cubicBezTo>
                      <a:pt x="0" y="45"/>
                      <a:pt x="0" y="45"/>
                      <a:pt x="1" y="44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7" y="0"/>
                      <a:pt x="78" y="0"/>
                      <a:pt x="79" y="1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5" y="22"/>
                      <a:pt x="116" y="22"/>
                      <a:pt x="116" y="23"/>
                    </a:cubicBezTo>
                    <a:cubicBezTo>
                      <a:pt x="116" y="24"/>
                      <a:pt x="115" y="25"/>
                      <a:pt x="115" y="25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39" y="69"/>
                      <a:pt x="38" y="69"/>
                      <a:pt x="38" y="69"/>
                    </a:cubicBezTo>
                    <a:close/>
                    <a:moveTo>
                      <a:pt x="6" y="46"/>
                    </a:moveTo>
                    <a:cubicBezTo>
                      <a:pt x="38" y="65"/>
                      <a:pt x="38" y="65"/>
                      <a:pt x="38" y="65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78" y="5"/>
                      <a:pt x="78" y="5"/>
                      <a:pt x="78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7" name="Freeform 867">
                <a:extLst>
                  <a:ext uri="{FF2B5EF4-FFF2-40B4-BE49-F238E27FC236}">
                    <a16:creationId xmlns:a16="http://schemas.microsoft.com/office/drawing/2014/main" id="{57B44BA4-CB9C-4802-ACF7-42258033C2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5663607"/>
                <a:ext cx="304000" cy="345501"/>
              </a:xfrm>
              <a:custGeom>
                <a:avLst/>
                <a:gdLst>
                  <a:gd name="T0" fmla="*/ 45 w 124"/>
                  <a:gd name="T1" fmla="*/ 141 h 141"/>
                  <a:gd name="T2" fmla="*/ 44 w 124"/>
                  <a:gd name="T3" fmla="*/ 141 h 141"/>
                  <a:gd name="T4" fmla="*/ 43 w 124"/>
                  <a:gd name="T5" fmla="*/ 139 h 141"/>
                  <a:gd name="T6" fmla="*/ 43 w 124"/>
                  <a:gd name="T7" fmla="*/ 76 h 141"/>
                  <a:gd name="T8" fmla="*/ 3 w 124"/>
                  <a:gd name="T9" fmla="*/ 99 h 141"/>
                  <a:gd name="T10" fmla="*/ 1 w 124"/>
                  <a:gd name="T11" fmla="*/ 99 h 141"/>
                  <a:gd name="T12" fmla="*/ 0 w 124"/>
                  <a:gd name="T13" fmla="*/ 97 h 141"/>
                  <a:gd name="T14" fmla="*/ 0 w 124"/>
                  <a:gd name="T15" fmla="*/ 25 h 141"/>
                  <a:gd name="T16" fmla="*/ 1 w 124"/>
                  <a:gd name="T17" fmla="*/ 24 h 141"/>
                  <a:gd name="T18" fmla="*/ 32 w 124"/>
                  <a:gd name="T19" fmla="*/ 6 h 141"/>
                  <a:gd name="T20" fmla="*/ 34 w 124"/>
                  <a:gd name="T21" fmla="*/ 6 h 141"/>
                  <a:gd name="T22" fmla="*/ 73 w 124"/>
                  <a:gd name="T23" fmla="*/ 28 h 141"/>
                  <a:gd name="T24" fmla="*/ 121 w 124"/>
                  <a:gd name="T25" fmla="*/ 0 h 141"/>
                  <a:gd name="T26" fmla="*/ 123 w 124"/>
                  <a:gd name="T27" fmla="*/ 0 h 141"/>
                  <a:gd name="T28" fmla="*/ 124 w 124"/>
                  <a:gd name="T29" fmla="*/ 2 h 141"/>
                  <a:gd name="T30" fmla="*/ 124 w 124"/>
                  <a:gd name="T31" fmla="*/ 94 h 141"/>
                  <a:gd name="T32" fmla="*/ 123 w 124"/>
                  <a:gd name="T33" fmla="*/ 96 h 141"/>
                  <a:gd name="T34" fmla="*/ 118 w 124"/>
                  <a:gd name="T35" fmla="*/ 99 h 141"/>
                  <a:gd name="T36" fmla="*/ 116 w 124"/>
                  <a:gd name="T37" fmla="*/ 99 h 141"/>
                  <a:gd name="T38" fmla="*/ 58 w 124"/>
                  <a:gd name="T39" fmla="*/ 66 h 141"/>
                  <a:gd name="T40" fmla="*/ 58 w 124"/>
                  <a:gd name="T41" fmla="*/ 133 h 141"/>
                  <a:gd name="T42" fmla="*/ 57 w 124"/>
                  <a:gd name="T43" fmla="*/ 134 h 141"/>
                  <a:gd name="T44" fmla="*/ 46 w 124"/>
                  <a:gd name="T45" fmla="*/ 141 h 141"/>
                  <a:gd name="T46" fmla="*/ 45 w 124"/>
                  <a:gd name="T47" fmla="*/ 141 h 141"/>
                  <a:gd name="T48" fmla="*/ 45 w 124"/>
                  <a:gd name="T49" fmla="*/ 71 h 141"/>
                  <a:gd name="T50" fmla="*/ 46 w 124"/>
                  <a:gd name="T51" fmla="*/ 71 h 141"/>
                  <a:gd name="T52" fmla="*/ 47 w 124"/>
                  <a:gd name="T53" fmla="*/ 73 h 141"/>
                  <a:gd name="T54" fmla="*/ 47 w 124"/>
                  <a:gd name="T55" fmla="*/ 135 h 141"/>
                  <a:gd name="T56" fmla="*/ 54 w 124"/>
                  <a:gd name="T57" fmla="*/ 131 h 141"/>
                  <a:gd name="T58" fmla="*/ 54 w 124"/>
                  <a:gd name="T59" fmla="*/ 62 h 141"/>
                  <a:gd name="T60" fmla="*/ 55 w 124"/>
                  <a:gd name="T61" fmla="*/ 61 h 141"/>
                  <a:gd name="T62" fmla="*/ 57 w 124"/>
                  <a:gd name="T63" fmla="*/ 61 h 141"/>
                  <a:gd name="T64" fmla="*/ 117 w 124"/>
                  <a:gd name="T65" fmla="*/ 95 h 141"/>
                  <a:gd name="T66" fmla="*/ 120 w 124"/>
                  <a:gd name="T67" fmla="*/ 93 h 141"/>
                  <a:gd name="T68" fmla="*/ 120 w 124"/>
                  <a:gd name="T69" fmla="*/ 6 h 141"/>
                  <a:gd name="T70" fmla="*/ 74 w 124"/>
                  <a:gd name="T71" fmla="*/ 32 h 141"/>
                  <a:gd name="T72" fmla="*/ 72 w 124"/>
                  <a:gd name="T73" fmla="*/ 32 h 141"/>
                  <a:gd name="T74" fmla="*/ 33 w 124"/>
                  <a:gd name="T75" fmla="*/ 10 h 141"/>
                  <a:gd name="T76" fmla="*/ 4 w 124"/>
                  <a:gd name="T77" fmla="*/ 27 h 141"/>
                  <a:gd name="T78" fmla="*/ 4 w 124"/>
                  <a:gd name="T79" fmla="*/ 94 h 141"/>
                  <a:gd name="T80" fmla="*/ 44 w 124"/>
                  <a:gd name="T81" fmla="*/ 71 h 141"/>
                  <a:gd name="T82" fmla="*/ 45 w 124"/>
                  <a:gd name="T83" fmla="*/ 7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4" h="141">
                    <a:moveTo>
                      <a:pt x="45" y="141"/>
                    </a:moveTo>
                    <a:cubicBezTo>
                      <a:pt x="45" y="141"/>
                      <a:pt x="45" y="141"/>
                      <a:pt x="44" y="141"/>
                    </a:cubicBezTo>
                    <a:cubicBezTo>
                      <a:pt x="44" y="140"/>
                      <a:pt x="43" y="140"/>
                      <a:pt x="43" y="139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3" y="100"/>
                      <a:pt x="2" y="100"/>
                      <a:pt x="1" y="99"/>
                    </a:cubicBezTo>
                    <a:cubicBezTo>
                      <a:pt x="1" y="99"/>
                      <a:pt x="0" y="98"/>
                      <a:pt x="0" y="9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4"/>
                      <a:pt x="1" y="24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3" y="6"/>
                      <a:pt x="33" y="6"/>
                      <a:pt x="34" y="6"/>
                    </a:cubicBezTo>
                    <a:cubicBezTo>
                      <a:pt x="73" y="28"/>
                      <a:pt x="73" y="28"/>
                      <a:pt x="73" y="28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2" y="0"/>
                      <a:pt x="122" y="0"/>
                      <a:pt x="123" y="0"/>
                    </a:cubicBezTo>
                    <a:cubicBezTo>
                      <a:pt x="124" y="1"/>
                      <a:pt x="124" y="1"/>
                      <a:pt x="124" y="2"/>
                    </a:cubicBezTo>
                    <a:cubicBezTo>
                      <a:pt x="124" y="94"/>
                      <a:pt x="124" y="94"/>
                      <a:pt x="124" y="94"/>
                    </a:cubicBezTo>
                    <a:cubicBezTo>
                      <a:pt x="124" y="95"/>
                      <a:pt x="124" y="96"/>
                      <a:pt x="123" y="96"/>
                    </a:cubicBezTo>
                    <a:cubicBezTo>
                      <a:pt x="118" y="99"/>
                      <a:pt x="118" y="99"/>
                      <a:pt x="118" y="99"/>
                    </a:cubicBezTo>
                    <a:cubicBezTo>
                      <a:pt x="117" y="100"/>
                      <a:pt x="117" y="100"/>
                      <a:pt x="116" y="99"/>
                    </a:cubicBezTo>
                    <a:cubicBezTo>
                      <a:pt x="58" y="66"/>
                      <a:pt x="58" y="66"/>
                      <a:pt x="58" y="66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58" y="133"/>
                      <a:pt x="58" y="134"/>
                      <a:pt x="57" y="134"/>
                    </a:cubicBezTo>
                    <a:cubicBezTo>
                      <a:pt x="46" y="141"/>
                      <a:pt x="46" y="141"/>
                      <a:pt x="46" y="141"/>
                    </a:cubicBezTo>
                    <a:cubicBezTo>
                      <a:pt x="46" y="141"/>
                      <a:pt x="46" y="141"/>
                      <a:pt x="45" y="141"/>
                    </a:cubicBezTo>
                    <a:close/>
                    <a:moveTo>
                      <a:pt x="45" y="71"/>
                    </a:moveTo>
                    <a:cubicBezTo>
                      <a:pt x="46" y="71"/>
                      <a:pt x="46" y="71"/>
                      <a:pt x="46" y="71"/>
                    </a:cubicBezTo>
                    <a:cubicBezTo>
                      <a:pt x="47" y="71"/>
                      <a:pt x="47" y="72"/>
                      <a:pt x="47" y="73"/>
                    </a:cubicBezTo>
                    <a:cubicBezTo>
                      <a:pt x="47" y="135"/>
                      <a:pt x="47" y="135"/>
                      <a:pt x="47" y="135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4" y="62"/>
                      <a:pt x="54" y="61"/>
                      <a:pt x="55" y="61"/>
                    </a:cubicBezTo>
                    <a:cubicBezTo>
                      <a:pt x="56" y="60"/>
                      <a:pt x="56" y="60"/>
                      <a:pt x="57" y="61"/>
                    </a:cubicBezTo>
                    <a:cubicBezTo>
                      <a:pt x="117" y="95"/>
                      <a:pt x="117" y="95"/>
                      <a:pt x="117" y="95"/>
                    </a:cubicBezTo>
                    <a:cubicBezTo>
                      <a:pt x="120" y="93"/>
                      <a:pt x="120" y="93"/>
                      <a:pt x="120" y="93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3" y="33"/>
                      <a:pt x="72" y="33"/>
                      <a:pt x="72" y="32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4" y="94"/>
                      <a:pt x="4" y="94"/>
                      <a:pt x="4" y="94"/>
                    </a:cubicBezTo>
                    <a:cubicBezTo>
                      <a:pt x="44" y="71"/>
                      <a:pt x="44" y="71"/>
                      <a:pt x="44" y="71"/>
                    </a:cubicBezTo>
                    <a:cubicBezTo>
                      <a:pt x="45" y="71"/>
                      <a:pt x="45" y="71"/>
                      <a:pt x="45" y="7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8" name="Freeform 868">
                <a:extLst>
                  <a:ext uri="{FF2B5EF4-FFF2-40B4-BE49-F238E27FC236}">
                    <a16:creationId xmlns:a16="http://schemas.microsoft.com/office/drawing/2014/main" id="{BC4A43BD-C134-4879-B0FE-EB7DF6C9E5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5550515"/>
                <a:ext cx="34239" cy="39427"/>
              </a:xfrm>
              <a:custGeom>
                <a:avLst/>
                <a:gdLst>
                  <a:gd name="T0" fmla="*/ 12 w 14"/>
                  <a:gd name="T1" fmla="*/ 16 h 16"/>
                  <a:gd name="T2" fmla="*/ 11 w 14"/>
                  <a:gd name="T3" fmla="*/ 16 h 16"/>
                  <a:gd name="T4" fmla="*/ 1 w 14"/>
                  <a:gd name="T5" fmla="*/ 10 h 16"/>
                  <a:gd name="T6" fmla="*/ 0 w 14"/>
                  <a:gd name="T7" fmla="*/ 8 h 16"/>
                  <a:gd name="T8" fmla="*/ 1 w 14"/>
                  <a:gd name="T9" fmla="*/ 6 h 16"/>
                  <a:gd name="T10" fmla="*/ 11 w 14"/>
                  <a:gd name="T11" fmla="*/ 1 h 16"/>
                  <a:gd name="T12" fmla="*/ 13 w 14"/>
                  <a:gd name="T13" fmla="*/ 1 h 16"/>
                  <a:gd name="T14" fmla="*/ 14 w 14"/>
                  <a:gd name="T15" fmla="*/ 2 h 16"/>
                  <a:gd name="T16" fmla="*/ 14 w 14"/>
                  <a:gd name="T17" fmla="*/ 14 h 16"/>
                  <a:gd name="T18" fmla="*/ 13 w 14"/>
                  <a:gd name="T19" fmla="*/ 16 h 16"/>
                  <a:gd name="T20" fmla="*/ 12 w 14"/>
                  <a:gd name="T21" fmla="*/ 16 h 16"/>
                  <a:gd name="T22" fmla="*/ 6 w 14"/>
                  <a:gd name="T23" fmla="*/ 8 h 16"/>
                  <a:gd name="T24" fmla="*/ 10 w 14"/>
                  <a:gd name="T25" fmla="*/ 10 h 16"/>
                  <a:gd name="T26" fmla="*/ 10 w 14"/>
                  <a:gd name="T27" fmla="*/ 6 h 16"/>
                  <a:gd name="T28" fmla="*/ 6 w 14"/>
                  <a:gd name="T2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12" y="16"/>
                    </a:moveTo>
                    <a:cubicBezTo>
                      <a:pt x="12" y="16"/>
                      <a:pt x="11" y="16"/>
                      <a:pt x="11" y="16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12" y="0"/>
                      <a:pt x="13" y="1"/>
                    </a:cubicBezTo>
                    <a:cubicBezTo>
                      <a:pt x="14" y="1"/>
                      <a:pt x="14" y="2"/>
                      <a:pt x="14" y="2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5"/>
                      <a:pt x="14" y="15"/>
                      <a:pt x="13" y="16"/>
                    </a:cubicBezTo>
                    <a:cubicBezTo>
                      <a:pt x="13" y="16"/>
                      <a:pt x="12" y="16"/>
                      <a:pt x="12" y="16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9" name="Freeform 869">
                <a:extLst>
                  <a:ext uri="{FF2B5EF4-FFF2-40B4-BE49-F238E27FC236}">
                    <a16:creationId xmlns:a16="http://schemas.microsoft.com/office/drawing/2014/main" id="{32DF2FDC-5FE1-424B-BC1C-3717765B79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5567116"/>
                <a:ext cx="223071" cy="172232"/>
              </a:xfrm>
              <a:custGeom>
                <a:avLst/>
                <a:gdLst>
                  <a:gd name="T0" fmla="*/ 40 w 91"/>
                  <a:gd name="T1" fmla="*/ 70 h 70"/>
                  <a:gd name="T2" fmla="*/ 39 w 91"/>
                  <a:gd name="T3" fmla="*/ 69 h 70"/>
                  <a:gd name="T4" fmla="*/ 1 w 91"/>
                  <a:gd name="T5" fmla="*/ 48 h 70"/>
                  <a:gd name="T6" fmla="*/ 0 w 91"/>
                  <a:gd name="T7" fmla="*/ 46 h 70"/>
                  <a:gd name="T8" fmla="*/ 1 w 91"/>
                  <a:gd name="T9" fmla="*/ 44 h 70"/>
                  <a:gd name="T10" fmla="*/ 76 w 91"/>
                  <a:gd name="T11" fmla="*/ 0 h 70"/>
                  <a:gd name="T12" fmla="*/ 78 w 91"/>
                  <a:gd name="T13" fmla="*/ 0 h 70"/>
                  <a:gd name="T14" fmla="*/ 90 w 91"/>
                  <a:gd name="T15" fmla="*/ 7 h 70"/>
                  <a:gd name="T16" fmla="*/ 91 w 91"/>
                  <a:gd name="T17" fmla="*/ 9 h 70"/>
                  <a:gd name="T18" fmla="*/ 91 w 91"/>
                  <a:gd name="T19" fmla="*/ 39 h 70"/>
                  <a:gd name="T20" fmla="*/ 90 w 91"/>
                  <a:gd name="T21" fmla="*/ 41 h 70"/>
                  <a:gd name="T22" fmla="*/ 41 w 91"/>
                  <a:gd name="T23" fmla="*/ 69 h 70"/>
                  <a:gd name="T24" fmla="*/ 40 w 91"/>
                  <a:gd name="T25" fmla="*/ 70 h 70"/>
                  <a:gd name="T26" fmla="*/ 6 w 91"/>
                  <a:gd name="T27" fmla="*/ 46 h 70"/>
                  <a:gd name="T28" fmla="*/ 40 w 91"/>
                  <a:gd name="T29" fmla="*/ 65 h 70"/>
                  <a:gd name="T30" fmla="*/ 87 w 91"/>
                  <a:gd name="T31" fmla="*/ 38 h 70"/>
                  <a:gd name="T32" fmla="*/ 87 w 91"/>
                  <a:gd name="T33" fmla="*/ 10 h 70"/>
                  <a:gd name="T34" fmla="*/ 77 w 91"/>
                  <a:gd name="T35" fmla="*/ 4 h 70"/>
                  <a:gd name="T36" fmla="*/ 6 w 91"/>
                  <a:gd name="T37" fmla="*/ 46 h 70"/>
                  <a:gd name="T38" fmla="*/ 89 w 91"/>
                  <a:gd name="T39" fmla="*/ 39 h 70"/>
                  <a:gd name="T40" fmla="*/ 89 w 91"/>
                  <a:gd name="T41" fmla="*/ 3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1" h="70">
                    <a:moveTo>
                      <a:pt x="40" y="70"/>
                    </a:moveTo>
                    <a:cubicBezTo>
                      <a:pt x="39" y="70"/>
                      <a:pt x="39" y="70"/>
                      <a:pt x="39" y="69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47"/>
                      <a:pt x="0" y="47"/>
                      <a:pt x="0" y="46"/>
                    </a:cubicBezTo>
                    <a:cubicBezTo>
                      <a:pt x="0" y="45"/>
                      <a:pt x="0" y="44"/>
                      <a:pt x="1" y="44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7" y="0"/>
                      <a:pt x="78" y="0"/>
                      <a:pt x="78" y="0"/>
                    </a:cubicBezTo>
                    <a:cubicBezTo>
                      <a:pt x="90" y="7"/>
                      <a:pt x="90" y="7"/>
                      <a:pt x="90" y="7"/>
                    </a:cubicBezTo>
                    <a:cubicBezTo>
                      <a:pt x="91" y="7"/>
                      <a:pt x="91" y="8"/>
                      <a:pt x="91" y="9"/>
                    </a:cubicBezTo>
                    <a:cubicBezTo>
                      <a:pt x="91" y="39"/>
                      <a:pt x="91" y="39"/>
                      <a:pt x="91" y="39"/>
                    </a:cubicBezTo>
                    <a:cubicBezTo>
                      <a:pt x="91" y="40"/>
                      <a:pt x="91" y="41"/>
                      <a:pt x="90" y="41"/>
                    </a:cubicBezTo>
                    <a:cubicBezTo>
                      <a:pt x="41" y="69"/>
                      <a:pt x="41" y="69"/>
                      <a:pt x="41" y="69"/>
                    </a:cubicBezTo>
                    <a:cubicBezTo>
                      <a:pt x="40" y="70"/>
                      <a:pt x="40" y="70"/>
                      <a:pt x="40" y="70"/>
                    </a:cubicBezTo>
                    <a:close/>
                    <a:moveTo>
                      <a:pt x="6" y="46"/>
                    </a:moveTo>
                    <a:cubicBezTo>
                      <a:pt x="40" y="65"/>
                      <a:pt x="40" y="65"/>
                      <a:pt x="40" y="65"/>
                    </a:cubicBezTo>
                    <a:cubicBezTo>
                      <a:pt x="87" y="38"/>
                      <a:pt x="87" y="38"/>
                      <a:pt x="87" y="38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77" y="4"/>
                      <a:pt x="77" y="4"/>
                      <a:pt x="77" y="4"/>
                    </a:cubicBezTo>
                    <a:lnTo>
                      <a:pt x="6" y="46"/>
                    </a:lnTo>
                    <a:close/>
                    <a:moveTo>
                      <a:pt x="89" y="39"/>
                    </a:moveTo>
                    <a:cubicBezTo>
                      <a:pt x="89" y="39"/>
                      <a:pt x="89" y="39"/>
                      <a:pt x="89" y="3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0" name="Freeform 870">
                <a:extLst>
                  <a:ext uri="{FF2B5EF4-FFF2-40B4-BE49-F238E27FC236}">
                    <a16:creationId xmlns:a16="http://schemas.microsoft.com/office/drawing/2014/main" id="{2DC9CE78-F8EE-4881-B4E4-D650B5020BF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999177" y="6092111"/>
                <a:ext cx="24901" cy="17638"/>
              </a:xfrm>
              <a:custGeom>
                <a:avLst/>
                <a:gdLst>
                  <a:gd name="T0" fmla="*/ 6 w 10"/>
                  <a:gd name="T1" fmla="*/ 7 h 7"/>
                  <a:gd name="T2" fmla="*/ 5 w 10"/>
                  <a:gd name="T3" fmla="*/ 7 h 7"/>
                  <a:gd name="T4" fmla="*/ 1 w 10"/>
                  <a:gd name="T5" fmla="*/ 5 h 7"/>
                  <a:gd name="T6" fmla="*/ 0 w 10"/>
                  <a:gd name="T7" fmla="*/ 3 h 7"/>
                  <a:gd name="T8" fmla="*/ 1 w 10"/>
                  <a:gd name="T9" fmla="*/ 1 h 7"/>
                  <a:gd name="T10" fmla="*/ 3 w 10"/>
                  <a:gd name="T11" fmla="*/ 0 h 7"/>
                  <a:gd name="T12" fmla="*/ 5 w 10"/>
                  <a:gd name="T13" fmla="*/ 0 h 7"/>
                  <a:gd name="T14" fmla="*/ 9 w 10"/>
                  <a:gd name="T15" fmla="*/ 3 h 7"/>
                  <a:gd name="T16" fmla="*/ 10 w 10"/>
                  <a:gd name="T17" fmla="*/ 4 h 7"/>
                  <a:gd name="T18" fmla="*/ 9 w 10"/>
                  <a:gd name="T19" fmla="*/ 6 h 7"/>
                  <a:gd name="T20" fmla="*/ 7 w 10"/>
                  <a:gd name="T21" fmla="*/ 7 h 7"/>
                  <a:gd name="T22" fmla="*/ 6 w 10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7">
                    <a:moveTo>
                      <a:pt x="6" y="7"/>
                    </a:moveTo>
                    <a:cubicBezTo>
                      <a:pt x="6" y="7"/>
                      <a:pt x="6" y="7"/>
                      <a:pt x="5" y="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10" y="4"/>
                      <a:pt x="10" y="4"/>
                    </a:cubicBezTo>
                    <a:cubicBezTo>
                      <a:pt x="10" y="5"/>
                      <a:pt x="9" y="6"/>
                      <a:pt x="9" y="6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6" y="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1" name="Freeform 871">
                <a:extLst>
                  <a:ext uri="{FF2B5EF4-FFF2-40B4-BE49-F238E27FC236}">
                    <a16:creationId xmlns:a16="http://schemas.microsoft.com/office/drawing/2014/main" id="{F447E0C4-6323-4545-9311-C1BDCF4EF1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18605" y="6363946"/>
                <a:ext cx="30089" cy="37351"/>
              </a:xfrm>
              <a:custGeom>
                <a:avLst/>
                <a:gdLst>
                  <a:gd name="T0" fmla="*/ 10 w 12"/>
                  <a:gd name="T1" fmla="*/ 15 h 15"/>
                  <a:gd name="T2" fmla="*/ 9 w 12"/>
                  <a:gd name="T3" fmla="*/ 14 h 15"/>
                  <a:gd name="T4" fmla="*/ 1 w 12"/>
                  <a:gd name="T5" fmla="*/ 9 h 15"/>
                  <a:gd name="T6" fmla="*/ 0 w 12"/>
                  <a:gd name="T7" fmla="*/ 8 h 15"/>
                  <a:gd name="T8" fmla="*/ 1 w 12"/>
                  <a:gd name="T9" fmla="*/ 6 h 15"/>
                  <a:gd name="T10" fmla="*/ 9 w 12"/>
                  <a:gd name="T11" fmla="*/ 1 h 15"/>
                  <a:gd name="T12" fmla="*/ 11 w 12"/>
                  <a:gd name="T13" fmla="*/ 1 h 15"/>
                  <a:gd name="T14" fmla="*/ 12 w 12"/>
                  <a:gd name="T15" fmla="*/ 3 h 15"/>
                  <a:gd name="T16" fmla="*/ 12 w 12"/>
                  <a:gd name="T17" fmla="*/ 13 h 15"/>
                  <a:gd name="T18" fmla="*/ 11 w 12"/>
                  <a:gd name="T19" fmla="*/ 14 h 15"/>
                  <a:gd name="T20" fmla="*/ 10 w 12"/>
                  <a:gd name="T21" fmla="*/ 15 h 15"/>
                  <a:gd name="T22" fmla="*/ 6 w 12"/>
                  <a:gd name="T23" fmla="*/ 8 h 15"/>
                  <a:gd name="T24" fmla="*/ 8 w 12"/>
                  <a:gd name="T25" fmla="*/ 9 h 15"/>
                  <a:gd name="T26" fmla="*/ 8 w 12"/>
                  <a:gd name="T27" fmla="*/ 6 h 15"/>
                  <a:gd name="T28" fmla="*/ 6 w 12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5">
                    <a:moveTo>
                      <a:pt x="10" y="15"/>
                    </a:moveTo>
                    <a:cubicBezTo>
                      <a:pt x="10" y="15"/>
                      <a:pt x="10" y="14"/>
                      <a:pt x="9" y="14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2" y="1"/>
                      <a:pt x="12" y="2"/>
                      <a:pt x="12" y="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4"/>
                      <a:pt x="11" y="14"/>
                    </a:cubicBezTo>
                    <a:cubicBezTo>
                      <a:pt x="11" y="14"/>
                      <a:pt x="11" y="15"/>
                      <a:pt x="10" y="15"/>
                    </a:cubicBezTo>
                    <a:close/>
                    <a:moveTo>
                      <a:pt x="6" y="8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2" name="Freeform 872">
                <a:extLst>
                  <a:ext uri="{FF2B5EF4-FFF2-40B4-BE49-F238E27FC236}">
                    <a16:creationId xmlns:a16="http://schemas.microsoft.com/office/drawing/2014/main" id="{A0F83A04-DBE9-44F3-A440-506633E56F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67464" y="5656344"/>
                <a:ext cx="64328" cy="158744"/>
              </a:xfrm>
              <a:custGeom>
                <a:avLst/>
                <a:gdLst>
                  <a:gd name="T0" fmla="*/ 2 w 26"/>
                  <a:gd name="T1" fmla="*/ 65 h 65"/>
                  <a:gd name="T2" fmla="*/ 1 w 26"/>
                  <a:gd name="T3" fmla="*/ 65 h 65"/>
                  <a:gd name="T4" fmla="*/ 0 w 26"/>
                  <a:gd name="T5" fmla="*/ 63 h 65"/>
                  <a:gd name="T6" fmla="*/ 0 w 26"/>
                  <a:gd name="T7" fmla="*/ 2 h 65"/>
                  <a:gd name="T8" fmla="*/ 1 w 26"/>
                  <a:gd name="T9" fmla="*/ 0 h 65"/>
                  <a:gd name="T10" fmla="*/ 3 w 26"/>
                  <a:gd name="T11" fmla="*/ 0 h 65"/>
                  <a:gd name="T12" fmla="*/ 25 w 26"/>
                  <a:gd name="T13" fmla="*/ 13 h 65"/>
                  <a:gd name="T14" fmla="*/ 26 w 26"/>
                  <a:gd name="T15" fmla="*/ 14 h 65"/>
                  <a:gd name="T16" fmla="*/ 26 w 26"/>
                  <a:gd name="T17" fmla="*/ 51 h 65"/>
                  <a:gd name="T18" fmla="*/ 25 w 26"/>
                  <a:gd name="T19" fmla="*/ 53 h 65"/>
                  <a:gd name="T20" fmla="*/ 3 w 26"/>
                  <a:gd name="T21" fmla="*/ 65 h 65"/>
                  <a:gd name="T22" fmla="*/ 2 w 26"/>
                  <a:gd name="T23" fmla="*/ 65 h 65"/>
                  <a:gd name="T24" fmla="*/ 4 w 26"/>
                  <a:gd name="T25" fmla="*/ 6 h 65"/>
                  <a:gd name="T26" fmla="*/ 4 w 26"/>
                  <a:gd name="T27" fmla="*/ 60 h 65"/>
                  <a:gd name="T28" fmla="*/ 22 w 26"/>
                  <a:gd name="T29" fmla="*/ 50 h 65"/>
                  <a:gd name="T30" fmla="*/ 22 w 26"/>
                  <a:gd name="T31" fmla="*/ 16 h 65"/>
                  <a:gd name="T32" fmla="*/ 4 w 26"/>
                  <a:gd name="T33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65">
                    <a:moveTo>
                      <a:pt x="2" y="65"/>
                    </a:moveTo>
                    <a:cubicBezTo>
                      <a:pt x="2" y="65"/>
                      <a:pt x="2" y="65"/>
                      <a:pt x="1" y="65"/>
                    </a:cubicBezTo>
                    <a:cubicBezTo>
                      <a:pt x="1" y="65"/>
                      <a:pt x="0" y="64"/>
                      <a:pt x="0" y="6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4"/>
                      <a:pt x="26" y="14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2"/>
                      <a:pt x="25" y="52"/>
                      <a:pt x="25" y="53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3" y="65"/>
                      <a:pt x="3" y="65"/>
                      <a:pt x="2" y="65"/>
                    </a:cubicBezTo>
                    <a:close/>
                    <a:moveTo>
                      <a:pt x="4" y="6"/>
                    </a:moveTo>
                    <a:cubicBezTo>
                      <a:pt x="4" y="60"/>
                      <a:pt x="4" y="60"/>
                      <a:pt x="4" y="6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16"/>
                      <a:pt x="22" y="16"/>
                      <a:pt x="22" y="16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3" name="Freeform 873">
                <a:extLst>
                  <a:ext uri="{FF2B5EF4-FFF2-40B4-BE49-F238E27FC236}">
                    <a16:creationId xmlns:a16="http://schemas.microsoft.com/office/drawing/2014/main" id="{60133BF9-2CA2-4C34-8440-4930D3481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3267" y="6036084"/>
                <a:ext cx="288437" cy="509432"/>
              </a:xfrm>
              <a:custGeom>
                <a:avLst/>
                <a:gdLst>
                  <a:gd name="T0" fmla="*/ 115 w 118"/>
                  <a:gd name="T1" fmla="*/ 208 h 208"/>
                  <a:gd name="T2" fmla="*/ 114 w 118"/>
                  <a:gd name="T3" fmla="*/ 208 h 208"/>
                  <a:gd name="T4" fmla="*/ 41 w 118"/>
                  <a:gd name="T5" fmla="*/ 165 h 208"/>
                  <a:gd name="T6" fmla="*/ 40 w 118"/>
                  <a:gd name="T7" fmla="*/ 164 h 208"/>
                  <a:gd name="T8" fmla="*/ 41 w 118"/>
                  <a:gd name="T9" fmla="*/ 162 h 208"/>
                  <a:gd name="T10" fmla="*/ 57 w 118"/>
                  <a:gd name="T11" fmla="*/ 152 h 208"/>
                  <a:gd name="T12" fmla="*/ 1 w 118"/>
                  <a:gd name="T13" fmla="*/ 120 h 208"/>
                  <a:gd name="T14" fmla="*/ 0 w 118"/>
                  <a:gd name="T15" fmla="*/ 119 h 208"/>
                  <a:gd name="T16" fmla="*/ 1 w 118"/>
                  <a:gd name="T17" fmla="*/ 117 h 208"/>
                  <a:gd name="T18" fmla="*/ 11 w 118"/>
                  <a:gd name="T19" fmla="*/ 111 h 208"/>
                  <a:gd name="T20" fmla="*/ 11 w 118"/>
                  <a:gd name="T21" fmla="*/ 2 h 208"/>
                  <a:gd name="T22" fmla="*/ 12 w 118"/>
                  <a:gd name="T23" fmla="*/ 1 h 208"/>
                  <a:gd name="T24" fmla="*/ 14 w 118"/>
                  <a:gd name="T25" fmla="*/ 1 h 208"/>
                  <a:gd name="T26" fmla="*/ 117 w 118"/>
                  <a:gd name="T27" fmla="*/ 60 h 208"/>
                  <a:gd name="T28" fmla="*/ 118 w 118"/>
                  <a:gd name="T29" fmla="*/ 62 h 208"/>
                  <a:gd name="T30" fmla="*/ 118 w 118"/>
                  <a:gd name="T31" fmla="*/ 82 h 208"/>
                  <a:gd name="T32" fmla="*/ 117 w 118"/>
                  <a:gd name="T33" fmla="*/ 84 h 208"/>
                  <a:gd name="T34" fmla="*/ 117 w 118"/>
                  <a:gd name="T35" fmla="*/ 206 h 208"/>
                  <a:gd name="T36" fmla="*/ 116 w 118"/>
                  <a:gd name="T37" fmla="*/ 208 h 208"/>
                  <a:gd name="T38" fmla="*/ 115 w 118"/>
                  <a:gd name="T39" fmla="*/ 208 h 208"/>
                  <a:gd name="T40" fmla="*/ 46 w 118"/>
                  <a:gd name="T41" fmla="*/ 164 h 208"/>
                  <a:gd name="T42" fmla="*/ 113 w 118"/>
                  <a:gd name="T43" fmla="*/ 202 h 208"/>
                  <a:gd name="T44" fmla="*/ 113 w 118"/>
                  <a:gd name="T45" fmla="*/ 82 h 208"/>
                  <a:gd name="T46" fmla="*/ 114 w 118"/>
                  <a:gd name="T47" fmla="*/ 81 h 208"/>
                  <a:gd name="T48" fmla="*/ 114 w 118"/>
                  <a:gd name="T49" fmla="*/ 63 h 208"/>
                  <a:gd name="T50" fmla="*/ 15 w 118"/>
                  <a:gd name="T51" fmla="*/ 6 h 208"/>
                  <a:gd name="T52" fmla="*/ 15 w 118"/>
                  <a:gd name="T53" fmla="*/ 112 h 208"/>
                  <a:gd name="T54" fmla="*/ 14 w 118"/>
                  <a:gd name="T55" fmla="*/ 114 h 208"/>
                  <a:gd name="T56" fmla="*/ 6 w 118"/>
                  <a:gd name="T57" fmla="*/ 119 h 208"/>
                  <a:gd name="T58" fmla="*/ 62 w 118"/>
                  <a:gd name="T59" fmla="*/ 151 h 208"/>
                  <a:gd name="T60" fmla="*/ 63 w 118"/>
                  <a:gd name="T61" fmla="*/ 152 h 208"/>
                  <a:gd name="T62" fmla="*/ 62 w 118"/>
                  <a:gd name="T63" fmla="*/ 154 h 208"/>
                  <a:gd name="T64" fmla="*/ 46 w 118"/>
                  <a:gd name="T65" fmla="*/ 16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8" h="208">
                    <a:moveTo>
                      <a:pt x="115" y="208"/>
                    </a:moveTo>
                    <a:cubicBezTo>
                      <a:pt x="115" y="208"/>
                      <a:pt x="114" y="208"/>
                      <a:pt x="114" y="208"/>
                    </a:cubicBezTo>
                    <a:cubicBezTo>
                      <a:pt x="41" y="165"/>
                      <a:pt x="41" y="165"/>
                      <a:pt x="41" y="165"/>
                    </a:cubicBezTo>
                    <a:cubicBezTo>
                      <a:pt x="40" y="165"/>
                      <a:pt x="40" y="164"/>
                      <a:pt x="40" y="164"/>
                    </a:cubicBezTo>
                    <a:cubicBezTo>
                      <a:pt x="40" y="163"/>
                      <a:pt x="40" y="162"/>
                      <a:pt x="41" y="162"/>
                    </a:cubicBezTo>
                    <a:cubicBezTo>
                      <a:pt x="57" y="152"/>
                      <a:pt x="57" y="152"/>
                      <a:pt x="57" y="15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20"/>
                      <a:pt x="0" y="119"/>
                      <a:pt x="0" y="119"/>
                    </a:cubicBezTo>
                    <a:cubicBezTo>
                      <a:pt x="0" y="118"/>
                      <a:pt x="1" y="117"/>
                      <a:pt x="1" y="117"/>
                    </a:cubicBezTo>
                    <a:cubicBezTo>
                      <a:pt x="11" y="111"/>
                      <a:pt x="11" y="111"/>
                      <a:pt x="11" y="111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2" y="1"/>
                      <a:pt x="12" y="1"/>
                    </a:cubicBezTo>
                    <a:cubicBezTo>
                      <a:pt x="13" y="0"/>
                      <a:pt x="14" y="0"/>
                      <a:pt x="14" y="1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7" y="60"/>
                      <a:pt x="118" y="61"/>
                      <a:pt x="118" y="62"/>
                    </a:cubicBezTo>
                    <a:cubicBezTo>
                      <a:pt x="118" y="82"/>
                      <a:pt x="118" y="82"/>
                      <a:pt x="118" y="82"/>
                    </a:cubicBezTo>
                    <a:cubicBezTo>
                      <a:pt x="118" y="83"/>
                      <a:pt x="118" y="83"/>
                      <a:pt x="117" y="84"/>
                    </a:cubicBezTo>
                    <a:cubicBezTo>
                      <a:pt x="117" y="206"/>
                      <a:pt x="117" y="206"/>
                      <a:pt x="117" y="206"/>
                    </a:cubicBezTo>
                    <a:cubicBezTo>
                      <a:pt x="117" y="207"/>
                      <a:pt x="117" y="207"/>
                      <a:pt x="116" y="208"/>
                    </a:cubicBezTo>
                    <a:cubicBezTo>
                      <a:pt x="116" y="208"/>
                      <a:pt x="115" y="208"/>
                      <a:pt x="115" y="208"/>
                    </a:cubicBezTo>
                    <a:close/>
                    <a:moveTo>
                      <a:pt x="46" y="164"/>
                    </a:moveTo>
                    <a:cubicBezTo>
                      <a:pt x="113" y="202"/>
                      <a:pt x="113" y="202"/>
                      <a:pt x="113" y="202"/>
                    </a:cubicBezTo>
                    <a:cubicBezTo>
                      <a:pt x="113" y="82"/>
                      <a:pt x="113" y="82"/>
                      <a:pt x="113" y="82"/>
                    </a:cubicBezTo>
                    <a:cubicBezTo>
                      <a:pt x="113" y="82"/>
                      <a:pt x="113" y="81"/>
                      <a:pt x="114" y="81"/>
                    </a:cubicBezTo>
                    <a:cubicBezTo>
                      <a:pt x="114" y="63"/>
                      <a:pt x="114" y="63"/>
                      <a:pt x="114" y="63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112"/>
                      <a:pt x="15" y="112"/>
                      <a:pt x="15" y="112"/>
                    </a:cubicBezTo>
                    <a:cubicBezTo>
                      <a:pt x="15" y="113"/>
                      <a:pt x="15" y="114"/>
                      <a:pt x="14" y="114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62" y="151"/>
                      <a:pt x="62" y="151"/>
                      <a:pt x="62" y="151"/>
                    </a:cubicBezTo>
                    <a:cubicBezTo>
                      <a:pt x="62" y="151"/>
                      <a:pt x="63" y="152"/>
                      <a:pt x="63" y="152"/>
                    </a:cubicBezTo>
                    <a:cubicBezTo>
                      <a:pt x="63" y="153"/>
                      <a:pt x="62" y="154"/>
                      <a:pt x="62" y="154"/>
                    </a:cubicBezTo>
                    <a:lnTo>
                      <a:pt x="46" y="16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4" name="Freeform 874">
                <a:extLst>
                  <a:ext uri="{FF2B5EF4-FFF2-40B4-BE49-F238E27FC236}">
                    <a16:creationId xmlns:a16="http://schemas.microsoft.com/office/drawing/2014/main" id="{A35E0F82-A668-4CC0-92AC-FCA4253629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65936" y="6640969"/>
                <a:ext cx="46689" cy="41502"/>
              </a:xfrm>
              <a:custGeom>
                <a:avLst/>
                <a:gdLst>
                  <a:gd name="T0" fmla="*/ 9 w 19"/>
                  <a:gd name="T1" fmla="*/ 17 h 17"/>
                  <a:gd name="T2" fmla="*/ 8 w 19"/>
                  <a:gd name="T3" fmla="*/ 16 h 17"/>
                  <a:gd name="T4" fmla="*/ 1 w 19"/>
                  <a:gd name="T5" fmla="*/ 12 h 17"/>
                  <a:gd name="T6" fmla="*/ 0 w 19"/>
                  <a:gd name="T7" fmla="*/ 10 h 17"/>
                  <a:gd name="T8" fmla="*/ 1 w 19"/>
                  <a:gd name="T9" fmla="*/ 9 h 17"/>
                  <a:gd name="T10" fmla="*/ 16 w 19"/>
                  <a:gd name="T11" fmla="*/ 0 h 17"/>
                  <a:gd name="T12" fmla="*/ 18 w 19"/>
                  <a:gd name="T13" fmla="*/ 0 h 17"/>
                  <a:gd name="T14" fmla="*/ 19 w 19"/>
                  <a:gd name="T15" fmla="*/ 2 h 17"/>
                  <a:gd name="T16" fmla="*/ 19 w 19"/>
                  <a:gd name="T17" fmla="*/ 10 h 17"/>
                  <a:gd name="T18" fmla="*/ 18 w 19"/>
                  <a:gd name="T19" fmla="*/ 12 h 17"/>
                  <a:gd name="T20" fmla="*/ 10 w 19"/>
                  <a:gd name="T21" fmla="*/ 16 h 17"/>
                  <a:gd name="T22" fmla="*/ 9 w 19"/>
                  <a:gd name="T23" fmla="*/ 17 h 17"/>
                  <a:gd name="T24" fmla="*/ 6 w 19"/>
                  <a:gd name="T25" fmla="*/ 10 h 17"/>
                  <a:gd name="T26" fmla="*/ 9 w 19"/>
                  <a:gd name="T27" fmla="*/ 12 h 17"/>
                  <a:gd name="T28" fmla="*/ 15 w 19"/>
                  <a:gd name="T29" fmla="*/ 9 h 17"/>
                  <a:gd name="T30" fmla="*/ 15 w 19"/>
                  <a:gd name="T31" fmla="*/ 5 h 17"/>
                  <a:gd name="T32" fmla="*/ 6 w 19"/>
                  <a:gd name="T3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7">
                    <a:moveTo>
                      <a:pt x="9" y="17"/>
                    </a:moveTo>
                    <a:cubicBezTo>
                      <a:pt x="9" y="17"/>
                      <a:pt x="9" y="17"/>
                      <a:pt x="8" y="1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1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0"/>
                      <a:pt x="19" y="1"/>
                      <a:pt x="19" y="2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1"/>
                      <a:pt x="18" y="12"/>
                      <a:pt x="18" y="12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7"/>
                      <a:pt x="10" y="17"/>
                      <a:pt x="9" y="17"/>
                    </a:cubicBezTo>
                    <a:close/>
                    <a:moveTo>
                      <a:pt x="6" y="1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5" name="Freeform 875">
                <a:extLst>
                  <a:ext uri="{FF2B5EF4-FFF2-40B4-BE49-F238E27FC236}">
                    <a16:creationId xmlns:a16="http://schemas.microsoft.com/office/drawing/2014/main" id="{54C4F843-832C-4E1B-BC2A-310BC427CC0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658673" y="6489489"/>
                <a:ext cx="14526" cy="154593"/>
              </a:xfrm>
              <a:custGeom>
                <a:avLst/>
                <a:gdLst>
                  <a:gd name="T0" fmla="*/ 2 w 6"/>
                  <a:gd name="T1" fmla="*/ 63 h 63"/>
                  <a:gd name="T2" fmla="*/ 1 w 6"/>
                  <a:gd name="T3" fmla="*/ 63 h 63"/>
                  <a:gd name="T4" fmla="*/ 0 w 6"/>
                  <a:gd name="T5" fmla="*/ 61 h 63"/>
                  <a:gd name="T6" fmla="*/ 0 w 6"/>
                  <a:gd name="T7" fmla="*/ 3 h 63"/>
                  <a:gd name="T8" fmla="*/ 1 w 6"/>
                  <a:gd name="T9" fmla="*/ 2 h 63"/>
                  <a:gd name="T10" fmla="*/ 3 w 6"/>
                  <a:gd name="T11" fmla="*/ 0 h 63"/>
                  <a:gd name="T12" fmla="*/ 5 w 6"/>
                  <a:gd name="T13" fmla="*/ 0 h 63"/>
                  <a:gd name="T14" fmla="*/ 6 w 6"/>
                  <a:gd name="T15" fmla="*/ 2 h 63"/>
                  <a:gd name="T16" fmla="*/ 6 w 6"/>
                  <a:gd name="T17" fmla="*/ 60 h 63"/>
                  <a:gd name="T18" fmla="*/ 5 w 6"/>
                  <a:gd name="T19" fmla="*/ 61 h 63"/>
                  <a:gd name="T20" fmla="*/ 3 w 6"/>
                  <a:gd name="T21" fmla="*/ 63 h 63"/>
                  <a:gd name="T22" fmla="*/ 2 w 6"/>
                  <a:gd name="T2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63">
                    <a:moveTo>
                      <a:pt x="2" y="63"/>
                    </a:moveTo>
                    <a:cubicBezTo>
                      <a:pt x="2" y="63"/>
                      <a:pt x="2" y="63"/>
                      <a:pt x="1" y="63"/>
                    </a:cubicBezTo>
                    <a:cubicBezTo>
                      <a:pt x="1" y="62"/>
                      <a:pt x="0" y="62"/>
                      <a:pt x="0" y="6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60"/>
                      <a:pt x="6" y="61"/>
                      <a:pt x="5" y="61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3"/>
                      <a:pt x="3" y="63"/>
                      <a:pt x="2" y="6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6" name="Freeform 876">
                <a:extLst>
                  <a:ext uri="{FF2B5EF4-FFF2-40B4-BE49-F238E27FC236}">
                    <a16:creationId xmlns:a16="http://schemas.microsoft.com/office/drawing/2014/main" id="{1F7DAFED-7E97-4A54-8740-24600EF066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531055" y="6469775"/>
                <a:ext cx="132805" cy="169119"/>
              </a:xfrm>
              <a:custGeom>
                <a:avLst/>
                <a:gdLst>
                  <a:gd name="T0" fmla="*/ 2 w 54"/>
                  <a:gd name="T1" fmla="*/ 69 h 69"/>
                  <a:gd name="T2" fmla="*/ 1 w 54"/>
                  <a:gd name="T3" fmla="*/ 68 h 69"/>
                  <a:gd name="T4" fmla="*/ 0 w 54"/>
                  <a:gd name="T5" fmla="*/ 67 h 69"/>
                  <a:gd name="T6" fmla="*/ 0 w 54"/>
                  <a:gd name="T7" fmla="*/ 9 h 69"/>
                  <a:gd name="T8" fmla="*/ 1 w 54"/>
                  <a:gd name="T9" fmla="*/ 8 h 69"/>
                  <a:gd name="T10" fmla="*/ 13 w 54"/>
                  <a:gd name="T11" fmla="*/ 1 h 69"/>
                  <a:gd name="T12" fmla="*/ 15 w 54"/>
                  <a:gd name="T13" fmla="*/ 1 h 69"/>
                  <a:gd name="T14" fmla="*/ 53 w 54"/>
                  <a:gd name="T15" fmla="*/ 22 h 69"/>
                  <a:gd name="T16" fmla="*/ 54 w 54"/>
                  <a:gd name="T17" fmla="*/ 24 h 69"/>
                  <a:gd name="T18" fmla="*/ 53 w 54"/>
                  <a:gd name="T19" fmla="*/ 26 h 69"/>
                  <a:gd name="T20" fmla="*/ 11 w 54"/>
                  <a:gd name="T21" fmla="*/ 50 h 69"/>
                  <a:gd name="T22" fmla="*/ 20 w 54"/>
                  <a:gd name="T23" fmla="*/ 55 h 69"/>
                  <a:gd name="T24" fmla="*/ 21 w 54"/>
                  <a:gd name="T25" fmla="*/ 57 h 69"/>
                  <a:gd name="T26" fmla="*/ 20 w 54"/>
                  <a:gd name="T27" fmla="*/ 58 h 69"/>
                  <a:gd name="T28" fmla="*/ 3 w 54"/>
                  <a:gd name="T29" fmla="*/ 68 h 69"/>
                  <a:gd name="T30" fmla="*/ 2 w 54"/>
                  <a:gd name="T31" fmla="*/ 69 h 69"/>
                  <a:gd name="T32" fmla="*/ 4 w 54"/>
                  <a:gd name="T33" fmla="*/ 10 h 69"/>
                  <a:gd name="T34" fmla="*/ 4 w 54"/>
                  <a:gd name="T35" fmla="*/ 63 h 69"/>
                  <a:gd name="T36" fmla="*/ 15 w 54"/>
                  <a:gd name="T37" fmla="*/ 57 h 69"/>
                  <a:gd name="T38" fmla="*/ 6 w 54"/>
                  <a:gd name="T39" fmla="*/ 52 h 69"/>
                  <a:gd name="T40" fmla="*/ 5 w 54"/>
                  <a:gd name="T41" fmla="*/ 50 h 69"/>
                  <a:gd name="T42" fmla="*/ 6 w 54"/>
                  <a:gd name="T43" fmla="*/ 48 h 69"/>
                  <a:gd name="T44" fmla="*/ 48 w 54"/>
                  <a:gd name="T45" fmla="*/ 24 h 69"/>
                  <a:gd name="T46" fmla="*/ 14 w 54"/>
                  <a:gd name="T47" fmla="*/ 5 h 69"/>
                  <a:gd name="T48" fmla="*/ 4 w 54"/>
                  <a:gd name="T49" fmla="*/ 1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4" h="69">
                    <a:moveTo>
                      <a:pt x="2" y="69"/>
                    </a:moveTo>
                    <a:cubicBezTo>
                      <a:pt x="2" y="69"/>
                      <a:pt x="1" y="69"/>
                      <a:pt x="1" y="68"/>
                    </a:cubicBezTo>
                    <a:cubicBezTo>
                      <a:pt x="0" y="68"/>
                      <a:pt x="0" y="67"/>
                      <a:pt x="0" y="6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4" y="0"/>
                      <a:pt x="15" y="1"/>
                    </a:cubicBezTo>
                    <a:cubicBezTo>
                      <a:pt x="53" y="22"/>
                      <a:pt x="53" y="22"/>
                      <a:pt x="53" y="22"/>
                    </a:cubicBezTo>
                    <a:cubicBezTo>
                      <a:pt x="53" y="23"/>
                      <a:pt x="54" y="24"/>
                      <a:pt x="54" y="24"/>
                    </a:cubicBezTo>
                    <a:cubicBezTo>
                      <a:pt x="54" y="25"/>
                      <a:pt x="53" y="26"/>
                      <a:pt x="53" y="26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1" y="55"/>
                      <a:pt x="21" y="56"/>
                      <a:pt x="21" y="57"/>
                    </a:cubicBezTo>
                    <a:cubicBezTo>
                      <a:pt x="21" y="57"/>
                      <a:pt x="21" y="58"/>
                      <a:pt x="20" y="58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3" y="69"/>
                      <a:pt x="2" y="69"/>
                      <a:pt x="2" y="69"/>
                    </a:cubicBezTo>
                    <a:close/>
                    <a:moveTo>
                      <a:pt x="4" y="10"/>
                    </a:moveTo>
                    <a:cubicBezTo>
                      <a:pt x="4" y="63"/>
                      <a:pt x="4" y="63"/>
                      <a:pt x="4" y="63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6" y="51"/>
                      <a:pt x="5" y="51"/>
                      <a:pt x="5" y="50"/>
                    </a:cubicBezTo>
                    <a:cubicBezTo>
                      <a:pt x="5" y="49"/>
                      <a:pt x="6" y="48"/>
                      <a:pt x="6" y="48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7" name="Freeform 877">
                <a:extLst>
                  <a:ext uri="{FF2B5EF4-FFF2-40B4-BE49-F238E27FC236}">
                    <a16:creationId xmlns:a16="http://schemas.microsoft.com/office/drawing/2014/main" id="{64CE68E7-8C53-4A41-8C7B-5BDF50CFAB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629622" y="6452137"/>
                <a:ext cx="34239" cy="39427"/>
              </a:xfrm>
              <a:custGeom>
                <a:avLst/>
                <a:gdLst>
                  <a:gd name="T0" fmla="*/ 2 w 14"/>
                  <a:gd name="T1" fmla="*/ 16 h 16"/>
                  <a:gd name="T2" fmla="*/ 1 w 14"/>
                  <a:gd name="T3" fmla="*/ 16 h 16"/>
                  <a:gd name="T4" fmla="*/ 0 w 14"/>
                  <a:gd name="T5" fmla="*/ 14 h 16"/>
                  <a:gd name="T6" fmla="*/ 0 w 14"/>
                  <a:gd name="T7" fmla="*/ 3 h 16"/>
                  <a:gd name="T8" fmla="*/ 1 w 14"/>
                  <a:gd name="T9" fmla="*/ 1 h 16"/>
                  <a:gd name="T10" fmla="*/ 3 w 14"/>
                  <a:gd name="T11" fmla="*/ 1 h 16"/>
                  <a:gd name="T12" fmla="*/ 13 w 14"/>
                  <a:gd name="T13" fmla="*/ 7 h 16"/>
                  <a:gd name="T14" fmla="*/ 14 w 14"/>
                  <a:gd name="T15" fmla="*/ 8 h 16"/>
                  <a:gd name="T16" fmla="*/ 13 w 14"/>
                  <a:gd name="T17" fmla="*/ 10 h 16"/>
                  <a:gd name="T18" fmla="*/ 3 w 14"/>
                  <a:gd name="T19" fmla="*/ 16 h 16"/>
                  <a:gd name="T20" fmla="*/ 2 w 14"/>
                  <a:gd name="T21" fmla="*/ 16 h 16"/>
                  <a:gd name="T22" fmla="*/ 4 w 14"/>
                  <a:gd name="T23" fmla="*/ 6 h 16"/>
                  <a:gd name="T24" fmla="*/ 4 w 14"/>
                  <a:gd name="T25" fmla="*/ 11 h 16"/>
                  <a:gd name="T26" fmla="*/ 8 w 14"/>
                  <a:gd name="T27" fmla="*/ 8 h 16"/>
                  <a:gd name="T28" fmla="*/ 4 w 14"/>
                  <a:gd name="T29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2" y="16"/>
                    </a:moveTo>
                    <a:cubicBezTo>
                      <a:pt x="2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4" y="7"/>
                      <a:pt x="14" y="8"/>
                      <a:pt x="14" y="8"/>
                    </a:cubicBezTo>
                    <a:cubicBezTo>
                      <a:pt x="14" y="9"/>
                      <a:pt x="14" y="10"/>
                      <a:pt x="13" y="10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  <a:moveTo>
                      <a:pt x="4" y="6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8" name="Freeform 878">
                <a:extLst>
                  <a:ext uri="{FF2B5EF4-FFF2-40B4-BE49-F238E27FC236}">
                    <a16:creationId xmlns:a16="http://schemas.microsoft.com/office/drawing/2014/main" id="{36C3558C-D9A8-4516-9C7E-CBF764C46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67464" y="5780849"/>
                <a:ext cx="64328" cy="190907"/>
              </a:xfrm>
              <a:custGeom>
                <a:avLst/>
                <a:gdLst>
                  <a:gd name="T0" fmla="*/ 2 w 26"/>
                  <a:gd name="T1" fmla="*/ 78 h 78"/>
                  <a:gd name="T2" fmla="*/ 1 w 26"/>
                  <a:gd name="T3" fmla="*/ 78 h 78"/>
                  <a:gd name="T4" fmla="*/ 0 w 26"/>
                  <a:gd name="T5" fmla="*/ 76 h 78"/>
                  <a:gd name="T6" fmla="*/ 0 w 26"/>
                  <a:gd name="T7" fmla="*/ 14 h 78"/>
                  <a:gd name="T8" fmla="*/ 1 w 26"/>
                  <a:gd name="T9" fmla="*/ 12 h 78"/>
                  <a:gd name="T10" fmla="*/ 23 w 26"/>
                  <a:gd name="T11" fmla="*/ 0 h 78"/>
                  <a:gd name="T12" fmla="*/ 25 w 26"/>
                  <a:gd name="T13" fmla="*/ 0 h 78"/>
                  <a:gd name="T14" fmla="*/ 26 w 26"/>
                  <a:gd name="T15" fmla="*/ 2 h 78"/>
                  <a:gd name="T16" fmla="*/ 26 w 26"/>
                  <a:gd name="T17" fmla="*/ 64 h 78"/>
                  <a:gd name="T18" fmla="*/ 25 w 26"/>
                  <a:gd name="T19" fmla="*/ 65 h 78"/>
                  <a:gd name="T20" fmla="*/ 3 w 26"/>
                  <a:gd name="T21" fmla="*/ 78 h 78"/>
                  <a:gd name="T22" fmla="*/ 2 w 26"/>
                  <a:gd name="T23" fmla="*/ 78 h 78"/>
                  <a:gd name="T24" fmla="*/ 4 w 26"/>
                  <a:gd name="T25" fmla="*/ 15 h 78"/>
                  <a:gd name="T26" fmla="*/ 4 w 26"/>
                  <a:gd name="T27" fmla="*/ 72 h 78"/>
                  <a:gd name="T28" fmla="*/ 22 w 26"/>
                  <a:gd name="T29" fmla="*/ 62 h 78"/>
                  <a:gd name="T30" fmla="*/ 22 w 26"/>
                  <a:gd name="T31" fmla="*/ 5 h 78"/>
                  <a:gd name="T32" fmla="*/ 4 w 26"/>
                  <a:gd name="T3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78">
                    <a:moveTo>
                      <a:pt x="2" y="78"/>
                    </a:moveTo>
                    <a:cubicBezTo>
                      <a:pt x="2" y="78"/>
                      <a:pt x="2" y="78"/>
                      <a:pt x="1" y="78"/>
                    </a:cubicBezTo>
                    <a:cubicBezTo>
                      <a:pt x="1" y="77"/>
                      <a:pt x="0" y="77"/>
                      <a:pt x="0" y="7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1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6" y="64"/>
                      <a:pt x="25" y="65"/>
                      <a:pt x="25" y="65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3" y="78"/>
                      <a:pt x="3" y="78"/>
                      <a:pt x="2" y="78"/>
                    </a:cubicBezTo>
                    <a:close/>
                    <a:moveTo>
                      <a:pt x="4" y="15"/>
                    </a:moveTo>
                    <a:cubicBezTo>
                      <a:pt x="4" y="72"/>
                      <a:pt x="4" y="72"/>
                      <a:pt x="4" y="72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5"/>
                      <a:pt x="22" y="5"/>
                      <a:pt x="22" y="5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9" name="Freeform 879">
                <a:extLst>
                  <a:ext uri="{FF2B5EF4-FFF2-40B4-BE49-F238E27FC236}">
                    <a16:creationId xmlns:a16="http://schemas.microsoft.com/office/drawing/2014/main" id="{C7F9A988-F88C-49B6-915D-431BB6D47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08816" y="5550515"/>
                <a:ext cx="34239" cy="291549"/>
              </a:xfrm>
              <a:custGeom>
                <a:avLst/>
                <a:gdLst>
                  <a:gd name="T0" fmla="*/ 12 w 14"/>
                  <a:gd name="T1" fmla="*/ 119 h 119"/>
                  <a:gd name="T2" fmla="*/ 11 w 14"/>
                  <a:gd name="T3" fmla="*/ 119 h 119"/>
                  <a:gd name="T4" fmla="*/ 1 w 14"/>
                  <a:gd name="T5" fmla="*/ 114 h 119"/>
                  <a:gd name="T6" fmla="*/ 0 w 14"/>
                  <a:gd name="T7" fmla="*/ 112 h 119"/>
                  <a:gd name="T8" fmla="*/ 0 w 14"/>
                  <a:gd name="T9" fmla="*/ 8 h 119"/>
                  <a:gd name="T10" fmla="*/ 1 w 14"/>
                  <a:gd name="T11" fmla="*/ 6 h 119"/>
                  <a:gd name="T12" fmla="*/ 11 w 14"/>
                  <a:gd name="T13" fmla="*/ 1 h 119"/>
                  <a:gd name="T14" fmla="*/ 13 w 14"/>
                  <a:gd name="T15" fmla="*/ 1 h 119"/>
                  <a:gd name="T16" fmla="*/ 14 w 14"/>
                  <a:gd name="T17" fmla="*/ 2 h 119"/>
                  <a:gd name="T18" fmla="*/ 14 w 14"/>
                  <a:gd name="T19" fmla="*/ 117 h 119"/>
                  <a:gd name="T20" fmla="*/ 13 w 14"/>
                  <a:gd name="T21" fmla="*/ 119 h 119"/>
                  <a:gd name="T22" fmla="*/ 12 w 14"/>
                  <a:gd name="T23" fmla="*/ 119 h 119"/>
                  <a:gd name="T24" fmla="*/ 4 w 14"/>
                  <a:gd name="T25" fmla="*/ 111 h 119"/>
                  <a:gd name="T26" fmla="*/ 10 w 14"/>
                  <a:gd name="T27" fmla="*/ 114 h 119"/>
                  <a:gd name="T28" fmla="*/ 10 w 14"/>
                  <a:gd name="T29" fmla="*/ 6 h 119"/>
                  <a:gd name="T30" fmla="*/ 4 w 14"/>
                  <a:gd name="T31" fmla="*/ 9 h 119"/>
                  <a:gd name="T32" fmla="*/ 4 w 14"/>
                  <a:gd name="T33" fmla="*/ 111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19">
                    <a:moveTo>
                      <a:pt x="12" y="119"/>
                    </a:moveTo>
                    <a:cubicBezTo>
                      <a:pt x="11" y="119"/>
                      <a:pt x="11" y="119"/>
                      <a:pt x="11" y="119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3"/>
                      <a:pt x="0" y="113"/>
                      <a:pt x="0" y="11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4" y="117"/>
                      <a:pt x="14" y="117"/>
                      <a:pt x="14" y="117"/>
                    </a:cubicBezTo>
                    <a:cubicBezTo>
                      <a:pt x="14" y="118"/>
                      <a:pt x="13" y="119"/>
                      <a:pt x="13" y="119"/>
                    </a:cubicBezTo>
                    <a:cubicBezTo>
                      <a:pt x="12" y="119"/>
                      <a:pt x="12" y="119"/>
                      <a:pt x="12" y="119"/>
                    </a:cubicBezTo>
                    <a:close/>
                    <a:moveTo>
                      <a:pt x="4" y="111"/>
                    </a:moveTo>
                    <a:cubicBezTo>
                      <a:pt x="10" y="114"/>
                      <a:pt x="10" y="114"/>
                      <a:pt x="10" y="114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1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0" name="Freeform 880">
                <a:extLst>
                  <a:ext uri="{FF2B5EF4-FFF2-40B4-BE49-F238E27FC236}">
                    <a16:creationId xmlns:a16="http://schemas.microsoft.com/office/drawing/2014/main" id="{C15E838A-41DC-46D6-B731-0A693578F4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5513164"/>
                <a:ext cx="318525" cy="400490"/>
              </a:xfrm>
              <a:custGeom>
                <a:avLst/>
                <a:gdLst>
                  <a:gd name="T0" fmla="*/ 61 w 130"/>
                  <a:gd name="T1" fmla="*/ 163 h 163"/>
                  <a:gd name="T2" fmla="*/ 60 w 130"/>
                  <a:gd name="T3" fmla="*/ 162 h 163"/>
                  <a:gd name="T4" fmla="*/ 12 w 130"/>
                  <a:gd name="T5" fmla="*/ 135 h 163"/>
                  <a:gd name="T6" fmla="*/ 11 w 130"/>
                  <a:gd name="T7" fmla="*/ 133 h 163"/>
                  <a:gd name="T8" fmla="*/ 11 w 130"/>
                  <a:gd name="T9" fmla="*/ 18 h 163"/>
                  <a:gd name="T10" fmla="*/ 3 w 130"/>
                  <a:gd name="T11" fmla="*/ 23 h 163"/>
                  <a:gd name="T12" fmla="*/ 1 w 130"/>
                  <a:gd name="T13" fmla="*/ 23 h 163"/>
                  <a:gd name="T14" fmla="*/ 0 w 130"/>
                  <a:gd name="T15" fmla="*/ 21 h 163"/>
                  <a:gd name="T16" fmla="*/ 0 w 130"/>
                  <a:gd name="T17" fmla="*/ 18 h 163"/>
                  <a:gd name="T18" fmla="*/ 1 w 130"/>
                  <a:gd name="T19" fmla="*/ 16 h 163"/>
                  <a:gd name="T20" fmla="*/ 28 w 130"/>
                  <a:gd name="T21" fmla="*/ 1 h 163"/>
                  <a:gd name="T22" fmla="*/ 30 w 130"/>
                  <a:gd name="T23" fmla="*/ 1 h 163"/>
                  <a:gd name="T24" fmla="*/ 129 w 130"/>
                  <a:gd name="T25" fmla="*/ 58 h 163"/>
                  <a:gd name="T26" fmla="*/ 130 w 130"/>
                  <a:gd name="T27" fmla="*/ 59 h 163"/>
                  <a:gd name="T28" fmla="*/ 130 w 130"/>
                  <a:gd name="T29" fmla="*/ 122 h 163"/>
                  <a:gd name="T30" fmla="*/ 129 w 130"/>
                  <a:gd name="T31" fmla="*/ 124 h 163"/>
                  <a:gd name="T32" fmla="*/ 62 w 130"/>
                  <a:gd name="T33" fmla="*/ 162 h 163"/>
                  <a:gd name="T34" fmla="*/ 61 w 130"/>
                  <a:gd name="T35" fmla="*/ 163 h 163"/>
                  <a:gd name="T36" fmla="*/ 15 w 130"/>
                  <a:gd name="T37" fmla="*/ 132 h 163"/>
                  <a:gd name="T38" fmla="*/ 61 w 130"/>
                  <a:gd name="T39" fmla="*/ 158 h 163"/>
                  <a:gd name="T40" fmla="*/ 126 w 130"/>
                  <a:gd name="T41" fmla="*/ 121 h 163"/>
                  <a:gd name="T42" fmla="*/ 126 w 130"/>
                  <a:gd name="T43" fmla="*/ 60 h 163"/>
                  <a:gd name="T44" fmla="*/ 29 w 130"/>
                  <a:gd name="T45" fmla="*/ 5 h 163"/>
                  <a:gd name="T46" fmla="*/ 14 w 130"/>
                  <a:gd name="T47" fmla="*/ 13 h 163"/>
                  <a:gd name="T48" fmla="*/ 15 w 130"/>
                  <a:gd name="T49" fmla="*/ 15 h 163"/>
                  <a:gd name="T50" fmla="*/ 15 w 130"/>
                  <a:gd name="T51" fmla="*/ 13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0" h="163">
                    <a:moveTo>
                      <a:pt x="61" y="163"/>
                    </a:moveTo>
                    <a:cubicBezTo>
                      <a:pt x="60" y="163"/>
                      <a:pt x="60" y="163"/>
                      <a:pt x="60" y="162"/>
                    </a:cubicBezTo>
                    <a:cubicBezTo>
                      <a:pt x="12" y="135"/>
                      <a:pt x="12" y="135"/>
                      <a:pt x="12" y="135"/>
                    </a:cubicBezTo>
                    <a:cubicBezTo>
                      <a:pt x="12" y="135"/>
                      <a:pt x="11" y="134"/>
                      <a:pt x="11" y="133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2" y="23"/>
                      <a:pt x="1" y="23"/>
                    </a:cubicBezTo>
                    <a:cubicBezTo>
                      <a:pt x="1" y="22"/>
                      <a:pt x="0" y="21"/>
                      <a:pt x="0" y="21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1" y="16"/>
                      <a:pt x="1" y="1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9" y="0"/>
                      <a:pt x="29" y="0"/>
                      <a:pt x="30" y="1"/>
                    </a:cubicBezTo>
                    <a:cubicBezTo>
                      <a:pt x="129" y="58"/>
                      <a:pt x="129" y="58"/>
                      <a:pt x="129" y="58"/>
                    </a:cubicBezTo>
                    <a:cubicBezTo>
                      <a:pt x="129" y="58"/>
                      <a:pt x="130" y="59"/>
                      <a:pt x="130" y="59"/>
                    </a:cubicBezTo>
                    <a:cubicBezTo>
                      <a:pt x="130" y="122"/>
                      <a:pt x="130" y="122"/>
                      <a:pt x="130" y="122"/>
                    </a:cubicBezTo>
                    <a:cubicBezTo>
                      <a:pt x="130" y="123"/>
                      <a:pt x="129" y="123"/>
                      <a:pt x="129" y="124"/>
                    </a:cubicBezTo>
                    <a:cubicBezTo>
                      <a:pt x="62" y="162"/>
                      <a:pt x="62" y="162"/>
                      <a:pt x="62" y="162"/>
                    </a:cubicBezTo>
                    <a:cubicBezTo>
                      <a:pt x="62" y="163"/>
                      <a:pt x="61" y="163"/>
                      <a:pt x="61" y="163"/>
                    </a:cubicBezTo>
                    <a:close/>
                    <a:moveTo>
                      <a:pt x="15" y="132"/>
                    </a:moveTo>
                    <a:cubicBezTo>
                      <a:pt x="61" y="158"/>
                      <a:pt x="61" y="158"/>
                      <a:pt x="61" y="158"/>
                    </a:cubicBezTo>
                    <a:cubicBezTo>
                      <a:pt x="126" y="121"/>
                      <a:pt x="126" y="121"/>
                      <a:pt x="126" y="121"/>
                    </a:cubicBezTo>
                    <a:cubicBezTo>
                      <a:pt x="126" y="60"/>
                      <a:pt x="126" y="60"/>
                      <a:pt x="126" y="60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5" y="13"/>
                      <a:pt x="15" y="14"/>
                      <a:pt x="15" y="15"/>
                    </a:cubicBezTo>
                    <a:lnTo>
                      <a:pt x="15" y="13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1" name="Freeform 881">
                <a:extLst>
                  <a:ext uri="{FF2B5EF4-FFF2-40B4-BE49-F238E27FC236}">
                    <a16:creationId xmlns:a16="http://schemas.microsoft.com/office/drawing/2014/main" id="{0E417D2A-36D3-4656-AC20-1ADC83F87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35792" y="5555703"/>
                <a:ext cx="315413" cy="205433"/>
              </a:xfrm>
              <a:custGeom>
                <a:avLst/>
                <a:gdLst>
                  <a:gd name="T0" fmla="*/ 16 w 129"/>
                  <a:gd name="T1" fmla="*/ 84 h 84"/>
                  <a:gd name="T2" fmla="*/ 15 w 129"/>
                  <a:gd name="T3" fmla="*/ 84 h 84"/>
                  <a:gd name="T4" fmla="*/ 1 w 129"/>
                  <a:gd name="T5" fmla="*/ 75 h 84"/>
                  <a:gd name="T6" fmla="*/ 0 w 129"/>
                  <a:gd name="T7" fmla="*/ 74 h 84"/>
                  <a:gd name="T8" fmla="*/ 1 w 129"/>
                  <a:gd name="T9" fmla="*/ 72 h 84"/>
                  <a:gd name="T10" fmla="*/ 126 w 129"/>
                  <a:gd name="T11" fmla="*/ 0 h 84"/>
                  <a:gd name="T12" fmla="*/ 128 w 129"/>
                  <a:gd name="T13" fmla="*/ 0 h 84"/>
                  <a:gd name="T14" fmla="*/ 129 w 129"/>
                  <a:gd name="T15" fmla="*/ 2 h 84"/>
                  <a:gd name="T16" fmla="*/ 129 w 129"/>
                  <a:gd name="T17" fmla="*/ 5 h 84"/>
                  <a:gd name="T18" fmla="*/ 128 w 129"/>
                  <a:gd name="T19" fmla="*/ 6 h 84"/>
                  <a:gd name="T20" fmla="*/ 18 w 129"/>
                  <a:gd name="T21" fmla="*/ 70 h 84"/>
                  <a:gd name="T22" fmla="*/ 18 w 129"/>
                  <a:gd name="T23" fmla="*/ 82 h 84"/>
                  <a:gd name="T24" fmla="*/ 17 w 129"/>
                  <a:gd name="T25" fmla="*/ 84 h 84"/>
                  <a:gd name="T26" fmla="*/ 16 w 129"/>
                  <a:gd name="T27" fmla="*/ 84 h 84"/>
                  <a:gd name="T28" fmla="*/ 6 w 129"/>
                  <a:gd name="T29" fmla="*/ 74 h 84"/>
                  <a:gd name="T30" fmla="*/ 14 w 129"/>
                  <a:gd name="T31" fmla="*/ 78 h 84"/>
                  <a:gd name="T32" fmla="*/ 14 w 129"/>
                  <a:gd name="T33" fmla="*/ 69 h 84"/>
                  <a:gd name="T34" fmla="*/ 6 w 129"/>
                  <a:gd name="T35" fmla="*/ 7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9" h="84">
                    <a:moveTo>
                      <a:pt x="16" y="84"/>
                    </a:moveTo>
                    <a:cubicBezTo>
                      <a:pt x="16" y="84"/>
                      <a:pt x="16" y="84"/>
                      <a:pt x="15" y="84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0" y="75"/>
                      <a:pt x="0" y="74"/>
                      <a:pt x="0" y="74"/>
                    </a:cubicBezTo>
                    <a:cubicBezTo>
                      <a:pt x="0" y="73"/>
                      <a:pt x="0" y="72"/>
                      <a:pt x="1" y="72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7" y="0"/>
                      <a:pt x="128" y="0"/>
                    </a:cubicBezTo>
                    <a:cubicBezTo>
                      <a:pt x="128" y="0"/>
                      <a:pt x="129" y="1"/>
                      <a:pt x="129" y="2"/>
                    </a:cubicBezTo>
                    <a:cubicBezTo>
                      <a:pt x="129" y="5"/>
                      <a:pt x="129" y="5"/>
                      <a:pt x="129" y="5"/>
                    </a:cubicBezTo>
                    <a:cubicBezTo>
                      <a:pt x="129" y="5"/>
                      <a:pt x="128" y="6"/>
                      <a:pt x="128" y="6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18" y="82"/>
                      <a:pt x="18" y="82"/>
                      <a:pt x="18" y="82"/>
                    </a:cubicBezTo>
                    <a:cubicBezTo>
                      <a:pt x="18" y="83"/>
                      <a:pt x="18" y="83"/>
                      <a:pt x="17" y="84"/>
                    </a:cubicBezTo>
                    <a:cubicBezTo>
                      <a:pt x="17" y="84"/>
                      <a:pt x="17" y="84"/>
                      <a:pt x="16" y="84"/>
                    </a:cubicBezTo>
                    <a:close/>
                    <a:moveTo>
                      <a:pt x="6" y="74"/>
                    </a:moveTo>
                    <a:cubicBezTo>
                      <a:pt x="14" y="78"/>
                      <a:pt x="14" y="78"/>
                      <a:pt x="14" y="78"/>
                    </a:cubicBezTo>
                    <a:cubicBezTo>
                      <a:pt x="14" y="69"/>
                      <a:pt x="14" y="69"/>
                      <a:pt x="14" y="69"/>
                    </a:cubicBezTo>
                    <a:lnTo>
                      <a:pt x="6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2" name="Freeform 882">
                <a:extLst>
                  <a:ext uri="{FF2B5EF4-FFF2-40B4-BE49-F238E27FC236}">
                    <a16:creationId xmlns:a16="http://schemas.microsoft.com/office/drawing/2014/main" id="{F6F72681-5519-4E9F-B41F-284D3B469E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08816" y="5567116"/>
                <a:ext cx="304000" cy="348613"/>
              </a:xfrm>
              <a:custGeom>
                <a:avLst/>
                <a:gdLst>
                  <a:gd name="T0" fmla="*/ 110 w 124"/>
                  <a:gd name="T1" fmla="*/ 142 h 142"/>
                  <a:gd name="T2" fmla="*/ 109 w 124"/>
                  <a:gd name="T3" fmla="*/ 142 h 142"/>
                  <a:gd name="T4" fmla="*/ 1 w 124"/>
                  <a:gd name="T5" fmla="*/ 80 h 142"/>
                  <a:gd name="T6" fmla="*/ 0 w 124"/>
                  <a:gd name="T7" fmla="*/ 78 h 142"/>
                  <a:gd name="T8" fmla="*/ 0 w 124"/>
                  <a:gd name="T9" fmla="*/ 64 h 142"/>
                  <a:gd name="T10" fmla="*/ 1 w 124"/>
                  <a:gd name="T11" fmla="*/ 63 h 142"/>
                  <a:gd name="T12" fmla="*/ 110 w 124"/>
                  <a:gd name="T13" fmla="*/ 0 h 142"/>
                  <a:gd name="T14" fmla="*/ 112 w 124"/>
                  <a:gd name="T15" fmla="*/ 0 h 142"/>
                  <a:gd name="T16" fmla="*/ 113 w 124"/>
                  <a:gd name="T17" fmla="*/ 2 h 142"/>
                  <a:gd name="T18" fmla="*/ 113 w 124"/>
                  <a:gd name="T19" fmla="*/ 105 h 142"/>
                  <a:gd name="T20" fmla="*/ 123 w 124"/>
                  <a:gd name="T21" fmla="*/ 110 h 142"/>
                  <a:gd name="T22" fmla="*/ 124 w 124"/>
                  <a:gd name="T23" fmla="*/ 112 h 142"/>
                  <a:gd name="T24" fmla="*/ 124 w 124"/>
                  <a:gd name="T25" fmla="*/ 133 h 142"/>
                  <a:gd name="T26" fmla="*/ 123 w 124"/>
                  <a:gd name="T27" fmla="*/ 135 h 142"/>
                  <a:gd name="T28" fmla="*/ 111 w 124"/>
                  <a:gd name="T29" fmla="*/ 142 h 142"/>
                  <a:gd name="T30" fmla="*/ 110 w 124"/>
                  <a:gd name="T31" fmla="*/ 142 h 142"/>
                  <a:gd name="T32" fmla="*/ 4 w 124"/>
                  <a:gd name="T33" fmla="*/ 77 h 142"/>
                  <a:gd name="T34" fmla="*/ 110 w 124"/>
                  <a:gd name="T35" fmla="*/ 138 h 142"/>
                  <a:gd name="T36" fmla="*/ 120 w 124"/>
                  <a:gd name="T37" fmla="*/ 132 h 142"/>
                  <a:gd name="T38" fmla="*/ 120 w 124"/>
                  <a:gd name="T39" fmla="*/ 113 h 142"/>
                  <a:gd name="T40" fmla="*/ 110 w 124"/>
                  <a:gd name="T41" fmla="*/ 108 h 142"/>
                  <a:gd name="T42" fmla="*/ 109 w 124"/>
                  <a:gd name="T43" fmla="*/ 106 h 142"/>
                  <a:gd name="T44" fmla="*/ 109 w 124"/>
                  <a:gd name="T45" fmla="*/ 5 h 142"/>
                  <a:gd name="T46" fmla="*/ 4 w 124"/>
                  <a:gd name="T47" fmla="*/ 66 h 142"/>
                  <a:gd name="T48" fmla="*/ 4 w 124"/>
                  <a:gd name="T49" fmla="*/ 77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142">
                    <a:moveTo>
                      <a:pt x="110" y="142"/>
                    </a:moveTo>
                    <a:cubicBezTo>
                      <a:pt x="110" y="142"/>
                      <a:pt x="109" y="142"/>
                      <a:pt x="109" y="142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4"/>
                      <a:pt x="0" y="63"/>
                      <a:pt x="1" y="63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10" y="0"/>
                      <a:pt x="111" y="0"/>
                      <a:pt x="112" y="0"/>
                    </a:cubicBezTo>
                    <a:cubicBezTo>
                      <a:pt x="112" y="0"/>
                      <a:pt x="113" y="1"/>
                      <a:pt x="113" y="2"/>
                    </a:cubicBezTo>
                    <a:cubicBezTo>
                      <a:pt x="113" y="105"/>
                      <a:pt x="113" y="105"/>
                      <a:pt x="113" y="105"/>
                    </a:cubicBezTo>
                    <a:cubicBezTo>
                      <a:pt x="123" y="110"/>
                      <a:pt x="123" y="110"/>
                      <a:pt x="123" y="110"/>
                    </a:cubicBezTo>
                    <a:cubicBezTo>
                      <a:pt x="123" y="111"/>
                      <a:pt x="124" y="111"/>
                      <a:pt x="124" y="112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24" y="134"/>
                      <a:pt x="123" y="135"/>
                      <a:pt x="123" y="135"/>
                    </a:cubicBezTo>
                    <a:cubicBezTo>
                      <a:pt x="111" y="142"/>
                      <a:pt x="111" y="142"/>
                      <a:pt x="111" y="142"/>
                    </a:cubicBezTo>
                    <a:cubicBezTo>
                      <a:pt x="111" y="142"/>
                      <a:pt x="110" y="142"/>
                      <a:pt x="110" y="142"/>
                    </a:cubicBezTo>
                    <a:close/>
                    <a:moveTo>
                      <a:pt x="4" y="77"/>
                    </a:moveTo>
                    <a:cubicBezTo>
                      <a:pt x="110" y="138"/>
                      <a:pt x="110" y="138"/>
                      <a:pt x="110" y="138"/>
                    </a:cubicBezTo>
                    <a:cubicBezTo>
                      <a:pt x="120" y="132"/>
                      <a:pt x="120" y="132"/>
                      <a:pt x="120" y="132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10" y="108"/>
                      <a:pt x="110" y="108"/>
                      <a:pt x="110" y="108"/>
                    </a:cubicBezTo>
                    <a:cubicBezTo>
                      <a:pt x="109" y="107"/>
                      <a:pt x="109" y="107"/>
                      <a:pt x="109" y="106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4" y="66"/>
                      <a:pt x="4" y="66"/>
                      <a:pt x="4" y="66"/>
                    </a:cubicBezTo>
                    <a:lnTo>
                      <a:pt x="4" y="7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3" name="Freeform 883">
                <a:extLst>
                  <a:ext uri="{FF2B5EF4-FFF2-40B4-BE49-F238E27FC236}">
                    <a16:creationId xmlns:a16="http://schemas.microsoft.com/office/drawing/2014/main" id="{8C25CD79-2CEC-4936-AB64-1392B2C35C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67464" y="5935442"/>
                <a:ext cx="64328" cy="104791"/>
              </a:xfrm>
              <a:custGeom>
                <a:avLst/>
                <a:gdLst>
                  <a:gd name="T0" fmla="*/ 24 w 26"/>
                  <a:gd name="T1" fmla="*/ 43 h 43"/>
                  <a:gd name="T2" fmla="*/ 23 w 26"/>
                  <a:gd name="T3" fmla="*/ 42 h 43"/>
                  <a:gd name="T4" fmla="*/ 1 w 26"/>
                  <a:gd name="T5" fmla="*/ 30 h 43"/>
                  <a:gd name="T6" fmla="*/ 0 w 26"/>
                  <a:gd name="T7" fmla="*/ 28 h 43"/>
                  <a:gd name="T8" fmla="*/ 0 w 26"/>
                  <a:gd name="T9" fmla="*/ 15 h 43"/>
                  <a:gd name="T10" fmla="*/ 1 w 26"/>
                  <a:gd name="T11" fmla="*/ 13 h 43"/>
                  <a:gd name="T12" fmla="*/ 23 w 26"/>
                  <a:gd name="T13" fmla="*/ 1 h 43"/>
                  <a:gd name="T14" fmla="*/ 25 w 26"/>
                  <a:gd name="T15" fmla="*/ 1 h 43"/>
                  <a:gd name="T16" fmla="*/ 26 w 26"/>
                  <a:gd name="T17" fmla="*/ 3 h 43"/>
                  <a:gd name="T18" fmla="*/ 26 w 26"/>
                  <a:gd name="T19" fmla="*/ 41 h 43"/>
                  <a:gd name="T20" fmla="*/ 25 w 26"/>
                  <a:gd name="T21" fmla="*/ 42 h 43"/>
                  <a:gd name="T22" fmla="*/ 24 w 26"/>
                  <a:gd name="T23" fmla="*/ 43 h 43"/>
                  <a:gd name="T24" fmla="*/ 4 w 26"/>
                  <a:gd name="T25" fmla="*/ 27 h 43"/>
                  <a:gd name="T26" fmla="*/ 22 w 26"/>
                  <a:gd name="T27" fmla="*/ 37 h 43"/>
                  <a:gd name="T28" fmla="*/ 22 w 26"/>
                  <a:gd name="T29" fmla="*/ 6 h 43"/>
                  <a:gd name="T30" fmla="*/ 4 w 26"/>
                  <a:gd name="T31" fmla="*/ 16 h 43"/>
                  <a:gd name="T32" fmla="*/ 4 w 26"/>
                  <a:gd name="T33" fmla="*/ 2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43">
                    <a:moveTo>
                      <a:pt x="24" y="43"/>
                    </a:moveTo>
                    <a:cubicBezTo>
                      <a:pt x="23" y="43"/>
                      <a:pt x="23" y="42"/>
                      <a:pt x="23" y="4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0" y="29"/>
                      <a:pt x="0" y="2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0"/>
                      <a:pt x="24" y="0"/>
                      <a:pt x="25" y="1"/>
                    </a:cubicBezTo>
                    <a:cubicBezTo>
                      <a:pt x="25" y="1"/>
                      <a:pt x="26" y="2"/>
                      <a:pt x="26" y="3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6" y="41"/>
                      <a:pt x="25" y="42"/>
                      <a:pt x="25" y="42"/>
                    </a:cubicBezTo>
                    <a:cubicBezTo>
                      <a:pt x="24" y="42"/>
                      <a:pt x="24" y="43"/>
                      <a:pt x="24" y="43"/>
                    </a:cubicBezTo>
                    <a:close/>
                    <a:moveTo>
                      <a:pt x="4" y="27"/>
                    </a:move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2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4" name="Freeform 884">
                <a:extLst>
                  <a:ext uri="{FF2B5EF4-FFF2-40B4-BE49-F238E27FC236}">
                    <a16:creationId xmlns:a16="http://schemas.microsoft.com/office/drawing/2014/main" id="{04072685-963F-4723-80CF-0A897EF8A8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5464400"/>
                <a:ext cx="318525" cy="194020"/>
              </a:xfrm>
              <a:custGeom>
                <a:avLst/>
                <a:gdLst>
                  <a:gd name="T0" fmla="*/ 128 w 130"/>
                  <a:gd name="T1" fmla="*/ 79 h 79"/>
                  <a:gd name="T2" fmla="*/ 127 w 130"/>
                  <a:gd name="T3" fmla="*/ 79 h 79"/>
                  <a:gd name="T4" fmla="*/ 29 w 130"/>
                  <a:gd name="T5" fmla="*/ 23 h 79"/>
                  <a:gd name="T6" fmla="*/ 3 w 130"/>
                  <a:gd name="T7" fmla="*/ 38 h 79"/>
                  <a:gd name="T8" fmla="*/ 1 w 130"/>
                  <a:gd name="T9" fmla="*/ 38 h 79"/>
                  <a:gd name="T10" fmla="*/ 0 w 130"/>
                  <a:gd name="T11" fmla="*/ 36 h 79"/>
                  <a:gd name="T12" fmla="*/ 0 w 130"/>
                  <a:gd name="T13" fmla="*/ 2 h 79"/>
                  <a:gd name="T14" fmla="*/ 1 w 130"/>
                  <a:gd name="T15" fmla="*/ 0 h 79"/>
                  <a:gd name="T16" fmla="*/ 3 w 130"/>
                  <a:gd name="T17" fmla="*/ 0 h 79"/>
                  <a:gd name="T18" fmla="*/ 129 w 130"/>
                  <a:gd name="T19" fmla="*/ 73 h 79"/>
                  <a:gd name="T20" fmla="*/ 130 w 130"/>
                  <a:gd name="T21" fmla="*/ 75 h 79"/>
                  <a:gd name="T22" fmla="*/ 130 w 130"/>
                  <a:gd name="T23" fmla="*/ 77 h 79"/>
                  <a:gd name="T24" fmla="*/ 129 w 130"/>
                  <a:gd name="T25" fmla="*/ 79 h 79"/>
                  <a:gd name="T26" fmla="*/ 128 w 130"/>
                  <a:gd name="T27" fmla="*/ 79 h 79"/>
                  <a:gd name="T28" fmla="*/ 4 w 130"/>
                  <a:gd name="T29" fmla="*/ 6 h 79"/>
                  <a:gd name="T30" fmla="*/ 4 w 130"/>
                  <a:gd name="T31" fmla="*/ 32 h 79"/>
                  <a:gd name="T32" fmla="*/ 28 w 130"/>
                  <a:gd name="T33" fmla="*/ 19 h 79"/>
                  <a:gd name="T34" fmla="*/ 4 w 130"/>
                  <a:gd name="T35" fmla="*/ 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79">
                    <a:moveTo>
                      <a:pt x="128" y="79"/>
                    </a:moveTo>
                    <a:cubicBezTo>
                      <a:pt x="127" y="79"/>
                      <a:pt x="127" y="79"/>
                      <a:pt x="127" y="79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38"/>
                      <a:pt x="2" y="38"/>
                      <a:pt x="1" y="38"/>
                    </a:cubicBezTo>
                    <a:cubicBezTo>
                      <a:pt x="1" y="37"/>
                      <a:pt x="0" y="37"/>
                      <a:pt x="0" y="3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9" y="73"/>
                      <a:pt x="129" y="73"/>
                      <a:pt x="129" y="73"/>
                    </a:cubicBezTo>
                    <a:cubicBezTo>
                      <a:pt x="129" y="73"/>
                      <a:pt x="130" y="74"/>
                      <a:pt x="130" y="75"/>
                    </a:cubicBezTo>
                    <a:cubicBezTo>
                      <a:pt x="130" y="77"/>
                      <a:pt x="130" y="77"/>
                      <a:pt x="130" y="77"/>
                    </a:cubicBezTo>
                    <a:cubicBezTo>
                      <a:pt x="130" y="78"/>
                      <a:pt x="129" y="79"/>
                      <a:pt x="129" y="79"/>
                    </a:cubicBezTo>
                    <a:cubicBezTo>
                      <a:pt x="128" y="79"/>
                      <a:pt x="128" y="79"/>
                      <a:pt x="128" y="79"/>
                    </a:cubicBezTo>
                    <a:close/>
                    <a:moveTo>
                      <a:pt x="4" y="6"/>
                    </a:moveTo>
                    <a:cubicBezTo>
                      <a:pt x="4" y="32"/>
                      <a:pt x="4" y="32"/>
                      <a:pt x="4" y="32"/>
                    </a:cubicBezTo>
                    <a:cubicBezTo>
                      <a:pt x="28" y="19"/>
                      <a:pt x="28" y="19"/>
                      <a:pt x="28" y="19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5" name="Freeform 885">
                <a:extLst>
                  <a:ext uri="{FF2B5EF4-FFF2-40B4-BE49-F238E27FC236}">
                    <a16:creationId xmlns:a16="http://schemas.microsoft.com/office/drawing/2014/main" id="{EE42B619-B2DF-4AF5-8189-26F58E8D2E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04174" y="6340083"/>
                <a:ext cx="392191" cy="254197"/>
              </a:xfrm>
              <a:custGeom>
                <a:avLst/>
                <a:gdLst>
                  <a:gd name="T0" fmla="*/ 50 w 160"/>
                  <a:gd name="T1" fmla="*/ 104 h 104"/>
                  <a:gd name="T2" fmla="*/ 49 w 160"/>
                  <a:gd name="T3" fmla="*/ 104 h 104"/>
                  <a:gd name="T4" fmla="*/ 1 w 160"/>
                  <a:gd name="T5" fmla="*/ 76 h 104"/>
                  <a:gd name="T6" fmla="*/ 0 w 160"/>
                  <a:gd name="T7" fmla="*/ 74 h 104"/>
                  <a:gd name="T8" fmla="*/ 0 w 160"/>
                  <a:gd name="T9" fmla="*/ 64 h 104"/>
                  <a:gd name="T10" fmla="*/ 1 w 160"/>
                  <a:gd name="T11" fmla="*/ 62 h 104"/>
                  <a:gd name="T12" fmla="*/ 108 w 160"/>
                  <a:gd name="T13" fmla="*/ 1 h 104"/>
                  <a:gd name="T14" fmla="*/ 110 w 160"/>
                  <a:gd name="T15" fmla="*/ 1 h 104"/>
                  <a:gd name="T16" fmla="*/ 111 w 160"/>
                  <a:gd name="T17" fmla="*/ 2 h 104"/>
                  <a:gd name="T18" fmla="*/ 111 w 160"/>
                  <a:gd name="T19" fmla="*/ 10 h 104"/>
                  <a:gd name="T20" fmla="*/ 159 w 160"/>
                  <a:gd name="T21" fmla="*/ 38 h 104"/>
                  <a:gd name="T22" fmla="*/ 160 w 160"/>
                  <a:gd name="T23" fmla="*/ 40 h 104"/>
                  <a:gd name="T24" fmla="*/ 159 w 160"/>
                  <a:gd name="T25" fmla="*/ 41 h 104"/>
                  <a:gd name="T26" fmla="*/ 51 w 160"/>
                  <a:gd name="T27" fmla="*/ 104 h 104"/>
                  <a:gd name="T28" fmla="*/ 50 w 160"/>
                  <a:gd name="T29" fmla="*/ 104 h 104"/>
                  <a:gd name="T30" fmla="*/ 4 w 160"/>
                  <a:gd name="T31" fmla="*/ 73 h 104"/>
                  <a:gd name="T32" fmla="*/ 50 w 160"/>
                  <a:gd name="T33" fmla="*/ 100 h 104"/>
                  <a:gd name="T34" fmla="*/ 154 w 160"/>
                  <a:gd name="T35" fmla="*/ 40 h 104"/>
                  <a:gd name="T36" fmla="*/ 108 w 160"/>
                  <a:gd name="T37" fmla="*/ 13 h 104"/>
                  <a:gd name="T38" fmla="*/ 107 w 160"/>
                  <a:gd name="T39" fmla="*/ 11 h 104"/>
                  <a:gd name="T40" fmla="*/ 107 w 160"/>
                  <a:gd name="T41" fmla="*/ 6 h 104"/>
                  <a:gd name="T42" fmla="*/ 4 w 160"/>
                  <a:gd name="T43" fmla="*/ 65 h 104"/>
                  <a:gd name="T44" fmla="*/ 4 w 160"/>
                  <a:gd name="T45" fmla="*/ 7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0" h="104">
                    <a:moveTo>
                      <a:pt x="50" y="104"/>
                    </a:moveTo>
                    <a:cubicBezTo>
                      <a:pt x="50" y="104"/>
                      <a:pt x="49" y="104"/>
                      <a:pt x="49" y="104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0" y="75"/>
                      <a:pt x="0" y="75"/>
                      <a:pt x="0" y="7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3"/>
                      <a:pt x="0" y="63"/>
                      <a:pt x="1" y="62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8" y="0"/>
                      <a:pt x="109" y="0"/>
                      <a:pt x="110" y="1"/>
                    </a:cubicBezTo>
                    <a:cubicBezTo>
                      <a:pt x="110" y="1"/>
                      <a:pt x="111" y="2"/>
                      <a:pt x="111" y="2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59" y="38"/>
                      <a:pt x="159" y="38"/>
                      <a:pt x="159" y="38"/>
                    </a:cubicBezTo>
                    <a:cubicBezTo>
                      <a:pt x="160" y="38"/>
                      <a:pt x="160" y="39"/>
                      <a:pt x="160" y="40"/>
                    </a:cubicBezTo>
                    <a:cubicBezTo>
                      <a:pt x="160" y="40"/>
                      <a:pt x="160" y="41"/>
                      <a:pt x="159" y="41"/>
                    </a:cubicBezTo>
                    <a:cubicBezTo>
                      <a:pt x="51" y="104"/>
                      <a:pt x="51" y="104"/>
                      <a:pt x="51" y="104"/>
                    </a:cubicBezTo>
                    <a:cubicBezTo>
                      <a:pt x="51" y="104"/>
                      <a:pt x="50" y="104"/>
                      <a:pt x="50" y="104"/>
                    </a:cubicBezTo>
                    <a:close/>
                    <a:moveTo>
                      <a:pt x="4" y="73"/>
                    </a:moveTo>
                    <a:cubicBezTo>
                      <a:pt x="50" y="100"/>
                      <a:pt x="50" y="100"/>
                      <a:pt x="50" y="100"/>
                    </a:cubicBezTo>
                    <a:cubicBezTo>
                      <a:pt x="154" y="40"/>
                      <a:pt x="154" y="40"/>
                      <a:pt x="154" y="4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7" y="12"/>
                      <a:pt x="107" y="12"/>
                      <a:pt x="107" y="11"/>
                    </a:cubicBezTo>
                    <a:cubicBezTo>
                      <a:pt x="107" y="6"/>
                      <a:pt x="107" y="6"/>
                      <a:pt x="107" y="6"/>
                    </a:cubicBezTo>
                    <a:cubicBezTo>
                      <a:pt x="4" y="65"/>
                      <a:pt x="4" y="65"/>
                      <a:pt x="4" y="65"/>
                    </a:cubicBezTo>
                    <a:lnTo>
                      <a:pt x="4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6" name="Freeform 886">
                <a:extLst>
                  <a:ext uri="{FF2B5EF4-FFF2-40B4-BE49-F238E27FC236}">
                    <a16:creationId xmlns:a16="http://schemas.microsoft.com/office/drawing/2014/main" id="{FD61005A-F0EC-429B-9370-9B54823590C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86837" y="6658607"/>
                <a:ext cx="43577" cy="34239"/>
              </a:xfrm>
              <a:custGeom>
                <a:avLst/>
                <a:gdLst>
                  <a:gd name="T0" fmla="*/ 2 w 18"/>
                  <a:gd name="T1" fmla="*/ 14 h 14"/>
                  <a:gd name="T2" fmla="*/ 1 w 18"/>
                  <a:gd name="T3" fmla="*/ 14 h 14"/>
                  <a:gd name="T4" fmla="*/ 0 w 18"/>
                  <a:gd name="T5" fmla="*/ 12 h 14"/>
                  <a:gd name="T6" fmla="*/ 0 w 18"/>
                  <a:gd name="T7" fmla="*/ 10 h 14"/>
                  <a:gd name="T8" fmla="*/ 1 w 18"/>
                  <a:gd name="T9" fmla="*/ 8 h 14"/>
                  <a:gd name="T10" fmla="*/ 14 w 18"/>
                  <a:gd name="T11" fmla="*/ 1 h 14"/>
                  <a:gd name="T12" fmla="*/ 16 w 18"/>
                  <a:gd name="T13" fmla="*/ 1 h 14"/>
                  <a:gd name="T14" fmla="*/ 18 w 18"/>
                  <a:gd name="T15" fmla="*/ 2 h 14"/>
                  <a:gd name="T16" fmla="*/ 18 w 18"/>
                  <a:gd name="T17" fmla="*/ 4 h 14"/>
                  <a:gd name="T18" fmla="*/ 17 w 18"/>
                  <a:gd name="T19" fmla="*/ 6 h 14"/>
                  <a:gd name="T20" fmla="*/ 3 w 18"/>
                  <a:gd name="T21" fmla="*/ 14 h 14"/>
                  <a:gd name="T22" fmla="*/ 2 w 18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14">
                    <a:moveTo>
                      <a:pt x="2" y="14"/>
                    </a:moveTo>
                    <a:cubicBezTo>
                      <a:pt x="2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9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6" y="1"/>
                    </a:cubicBezTo>
                    <a:cubicBezTo>
                      <a:pt x="17" y="1"/>
                      <a:pt x="18" y="2"/>
                      <a:pt x="18" y="2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5"/>
                      <a:pt x="17" y="5"/>
                      <a:pt x="17" y="6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2" y="14"/>
                      <a:pt x="2" y="1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7" name="Freeform 887">
                <a:extLst>
                  <a:ext uri="{FF2B5EF4-FFF2-40B4-BE49-F238E27FC236}">
                    <a16:creationId xmlns:a16="http://schemas.microsoft.com/office/drawing/2014/main" id="{2CDD9166-04FD-4BA6-93D3-94EE0F42F4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425226" y="6594280"/>
                <a:ext cx="80928" cy="91303"/>
              </a:xfrm>
              <a:custGeom>
                <a:avLst/>
                <a:gdLst>
                  <a:gd name="T0" fmla="*/ 9 w 33"/>
                  <a:gd name="T1" fmla="*/ 37 h 37"/>
                  <a:gd name="T2" fmla="*/ 8 w 33"/>
                  <a:gd name="T3" fmla="*/ 37 h 37"/>
                  <a:gd name="T4" fmla="*/ 1 w 33"/>
                  <a:gd name="T5" fmla="*/ 32 h 37"/>
                  <a:gd name="T6" fmla="*/ 0 w 33"/>
                  <a:gd name="T7" fmla="*/ 31 h 37"/>
                  <a:gd name="T8" fmla="*/ 0 w 33"/>
                  <a:gd name="T9" fmla="*/ 2 h 37"/>
                  <a:gd name="T10" fmla="*/ 1 w 33"/>
                  <a:gd name="T11" fmla="*/ 1 h 37"/>
                  <a:gd name="T12" fmla="*/ 3 w 33"/>
                  <a:gd name="T13" fmla="*/ 1 h 37"/>
                  <a:gd name="T14" fmla="*/ 32 w 33"/>
                  <a:gd name="T15" fmla="*/ 18 h 37"/>
                  <a:gd name="T16" fmla="*/ 33 w 33"/>
                  <a:gd name="T17" fmla="*/ 20 h 37"/>
                  <a:gd name="T18" fmla="*/ 33 w 33"/>
                  <a:gd name="T19" fmla="*/ 22 h 37"/>
                  <a:gd name="T20" fmla="*/ 32 w 33"/>
                  <a:gd name="T21" fmla="*/ 24 h 37"/>
                  <a:gd name="T22" fmla="*/ 10 w 33"/>
                  <a:gd name="T23" fmla="*/ 37 h 37"/>
                  <a:gd name="T24" fmla="*/ 9 w 33"/>
                  <a:gd name="T25" fmla="*/ 37 h 37"/>
                  <a:gd name="T26" fmla="*/ 4 w 33"/>
                  <a:gd name="T27" fmla="*/ 29 h 37"/>
                  <a:gd name="T28" fmla="*/ 9 w 33"/>
                  <a:gd name="T29" fmla="*/ 33 h 37"/>
                  <a:gd name="T30" fmla="*/ 29 w 33"/>
                  <a:gd name="T31" fmla="*/ 21 h 37"/>
                  <a:gd name="T32" fmla="*/ 29 w 33"/>
                  <a:gd name="T33" fmla="*/ 21 h 37"/>
                  <a:gd name="T34" fmla="*/ 4 w 33"/>
                  <a:gd name="T35" fmla="*/ 6 h 37"/>
                  <a:gd name="T36" fmla="*/ 4 w 33"/>
                  <a:gd name="T37" fmla="*/ 29 h 37"/>
                  <a:gd name="T38" fmla="*/ 31 w 33"/>
                  <a:gd name="T39" fmla="*/ 22 h 37"/>
                  <a:gd name="T40" fmla="*/ 31 w 33"/>
                  <a:gd name="T41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37">
                    <a:moveTo>
                      <a:pt x="9" y="37"/>
                    </a:moveTo>
                    <a:cubicBezTo>
                      <a:pt x="9" y="37"/>
                      <a:pt x="9" y="37"/>
                      <a:pt x="8" y="37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3" y="18"/>
                      <a:pt x="33" y="19"/>
                      <a:pt x="33" y="20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3"/>
                      <a:pt x="33" y="24"/>
                      <a:pt x="32" y="24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0" y="37"/>
                      <a:pt x="10" y="37"/>
                      <a:pt x="9" y="37"/>
                    </a:cubicBezTo>
                    <a:close/>
                    <a:moveTo>
                      <a:pt x="4" y="29"/>
                    </a:moveTo>
                    <a:cubicBezTo>
                      <a:pt x="9" y="33"/>
                      <a:pt x="9" y="33"/>
                      <a:pt x="9" y="33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9"/>
                    </a:lnTo>
                    <a:close/>
                    <a:moveTo>
                      <a:pt x="31" y="22"/>
                    </a:moveTo>
                    <a:cubicBezTo>
                      <a:pt x="31" y="22"/>
                      <a:pt x="31" y="22"/>
                      <a:pt x="31" y="2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8" name="Freeform 928">
                <a:extLst>
                  <a:ext uri="{FF2B5EF4-FFF2-40B4-BE49-F238E27FC236}">
                    <a16:creationId xmlns:a16="http://schemas.microsoft.com/office/drawing/2014/main" id="{41E9107C-8741-4622-BAAF-91510AEF1F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425226" y="6689734"/>
                <a:ext cx="167044" cy="255235"/>
              </a:xfrm>
              <a:custGeom>
                <a:avLst/>
                <a:gdLst>
                  <a:gd name="T0" fmla="*/ 14 w 68"/>
                  <a:gd name="T1" fmla="*/ 104 h 104"/>
                  <a:gd name="T2" fmla="*/ 13 w 68"/>
                  <a:gd name="T3" fmla="*/ 104 h 104"/>
                  <a:gd name="T4" fmla="*/ 1 w 68"/>
                  <a:gd name="T5" fmla="*/ 98 h 104"/>
                  <a:gd name="T6" fmla="*/ 0 w 68"/>
                  <a:gd name="T7" fmla="*/ 96 h 104"/>
                  <a:gd name="T8" fmla="*/ 0 w 68"/>
                  <a:gd name="T9" fmla="*/ 35 h 104"/>
                  <a:gd name="T10" fmla="*/ 1 w 68"/>
                  <a:gd name="T11" fmla="*/ 33 h 104"/>
                  <a:gd name="T12" fmla="*/ 14 w 68"/>
                  <a:gd name="T13" fmla="*/ 26 h 104"/>
                  <a:gd name="T14" fmla="*/ 16 w 68"/>
                  <a:gd name="T15" fmla="*/ 26 h 104"/>
                  <a:gd name="T16" fmla="*/ 18 w 68"/>
                  <a:gd name="T17" fmla="*/ 27 h 104"/>
                  <a:gd name="T18" fmla="*/ 65 w 68"/>
                  <a:gd name="T19" fmla="*/ 0 h 104"/>
                  <a:gd name="T20" fmla="*/ 67 w 68"/>
                  <a:gd name="T21" fmla="*/ 0 h 104"/>
                  <a:gd name="T22" fmla="*/ 68 w 68"/>
                  <a:gd name="T23" fmla="*/ 2 h 104"/>
                  <a:gd name="T24" fmla="*/ 68 w 68"/>
                  <a:gd name="T25" fmla="*/ 72 h 104"/>
                  <a:gd name="T26" fmla="*/ 67 w 68"/>
                  <a:gd name="T27" fmla="*/ 74 h 104"/>
                  <a:gd name="T28" fmla="*/ 15 w 68"/>
                  <a:gd name="T29" fmla="*/ 104 h 104"/>
                  <a:gd name="T30" fmla="*/ 14 w 68"/>
                  <a:gd name="T31" fmla="*/ 104 h 104"/>
                  <a:gd name="T32" fmla="*/ 4 w 68"/>
                  <a:gd name="T33" fmla="*/ 95 h 104"/>
                  <a:gd name="T34" fmla="*/ 14 w 68"/>
                  <a:gd name="T35" fmla="*/ 100 h 104"/>
                  <a:gd name="T36" fmla="*/ 64 w 68"/>
                  <a:gd name="T37" fmla="*/ 71 h 104"/>
                  <a:gd name="T38" fmla="*/ 64 w 68"/>
                  <a:gd name="T39" fmla="*/ 5 h 104"/>
                  <a:gd name="T40" fmla="*/ 19 w 68"/>
                  <a:gd name="T41" fmla="*/ 31 h 104"/>
                  <a:gd name="T42" fmla="*/ 17 w 68"/>
                  <a:gd name="T43" fmla="*/ 31 h 104"/>
                  <a:gd name="T44" fmla="*/ 15 w 68"/>
                  <a:gd name="T45" fmla="*/ 30 h 104"/>
                  <a:gd name="T46" fmla="*/ 4 w 68"/>
                  <a:gd name="T47" fmla="*/ 36 h 104"/>
                  <a:gd name="T48" fmla="*/ 4 w 68"/>
                  <a:gd name="T49" fmla="*/ 9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8" h="104">
                    <a:moveTo>
                      <a:pt x="14" y="104"/>
                    </a:moveTo>
                    <a:cubicBezTo>
                      <a:pt x="13" y="104"/>
                      <a:pt x="13" y="104"/>
                      <a:pt x="13" y="104"/>
                    </a:cubicBezTo>
                    <a:cubicBezTo>
                      <a:pt x="1" y="98"/>
                      <a:pt x="1" y="98"/>
                      <a:pt x="1" y="98"/>
                    </a:cubicBezTo>
                    <a:cubicBezTo>
                      <a:pt x="1" y="97"/>
                      <a:pt x="0" y="97"/>
                      <a:pt x="0" y="96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4"/>
                      <a:pt x="1" y="34"/>
                      <a:pt x="1" y="33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4" y="26"/>
                      <a:pt x="15" y="26"/>
                      <a:pt x="16" y="26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6" y="0"/>
                      <a:pt x="67" y="0"/>
                      <a:pt x="67" y="0"/>
                    </a:cubicBezTo>
                    <a:cubicBezTo>
                      <a:pt x="68" y="0"/>
                      <a:pt x="68" y="1"/>
                      <a:pt x="68" y="2"/>
                    </a:cubicBezTo>
                    <a:cubicBezTo>
                      <a:pt x="68" y="72"/>
                      <a:pt x="68" y="72"/>
                      <a:pt x="68" y="72"/>
                    </a:cubicBezTo>
                    <a:cubicBezTo>
                      <a:pt x="68" y="73"/>
                      <a:pt x="68" y="73"/>
                      <a:pt x="67" y="74"/>
                    </a:cubicBezTo>
                    <a:cubicBezTo>
                      <a:pt x="15" y="104"/>
                      <a:pt x="15" y="104"/>
                      <a:pt x="15" y="104"/>
                    </a:cubicBezTo>
                    <a:cubicBezTo>
                      <a:pt x="14" y="104"/>
                      <a:pt x="14" y="104"/>
                      <a:pt x="14" y="104"/>
                    </a:cubicBezTo>
                    <a:close/>
                    <a:moveTo>
                      <a:pt x="4" y="95"/>
                    </a:moveTo>
                    <a:cubicBezTo>
                      <a:pt x="14" y="100"/>
                      <a:pt x="14" y="100"/>
                      <a:pt x="14" y="100"/>
                    </a:cubicBezTo>
                    <a:cubicBezTo>
                      <a:pt x="64" y="71"/>
                      <a:pt x="64" y="71"/>
                      <a:pt x="64" y="71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8" y="32"/>
                      <a:pt x="18" y="32"/>
                      <a:pt x="17" y="31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4" y="36"/>
                      <a:pt x="4" y="36"/>
                      <a:pt x="4" y="36"/>
                    </a:cubicBezTo>
                    <a:lnTo>
                      <a:pt x="4" y="9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9" name="Freeform 929">
                <a:extLst>
                  <a:ext uri="{FF2B5EF4-FFF2-40B4-BE49-F238E27FC236}">
                    <a16:creationId xmlns:a16="http://schemas.microsoft.com/office/drawing/2014/main" id="{8DEE51A2-13F9-4DC5-8E37-76E77488C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425226" y="6648232"/>
                <a:ext cx="80928" cy="78853"/>
              </a:xfrm>
              <a:custGeom>
                <a:avLst/>
                <a:gdLst>
                  <a:gd name="T0" fmla="*/ 2 w 33"/>
                  <a:gd name="T1" fmla="*/ 32 h 32"/>
                  <a:gd name="T2" fmla="*/ 1 w 33"/>
                  <a:gd name="T3" fmla="*/ 32 h 32"/>
                  <a:gd name="T4" fmla="*/ 0 w 33"/>
                  <a:gd name="T5" fmla="*/ 30 h 32"/>
                  <a:gd name="T6" fmla="*/ 0 w 33"/>
                  <a:gd name="T7" fmla="*/ 11 h 32"/>
                  <a:gd name="T8" fmla="*/ 1 w 33"/>
                  <a:gd name="T9" fmla="*/ 9 h 32"/>
                  <a:gd name="T10" fmla="*/ 3 w 33"/>
                  <a:gd name="T11" fmla="*/ 9 h 32"/>
                  <a:gd name="T12" fmla="*/ 9 w 33"/>
                  <a:gd name="T13" fmla="*/ 13 h 32"/>
                  <a:gd name="T14" fmla="*/ 30 w 33"/>
                  <a:gd name="T15" fmla="*/ 1 h 32"/>
                  <a:gd name="T16" fmla="*/ 32 w 33"/>
                  <a:gd name="T17" fmla="*/ 1 h 32"/>
                  <a:gd name="T18" fmla="*/ 33 w 33"/>
                  <a:gd name="T19" fmla="*/ 2 h 32"/>
                  <a:gd name="T20" fmla="*/ 33 w 33"/>
                  <a:gd name="T21" fmla="*/ 13 h 32"/>
                  <a:gd name="T22" fmla="*/ 32 w 33"/>
                  <a:gd name="T23" fmla="*/ 15 h 32"/>
                  <a:gd name="T24" fmla="*/ 3 w 33"/>
                  <a:gd name="T25" fmla="*/ 32 h 32"/>
                  <a:gd name="T26" fmla="*/ 2 w 33"/>
                  <a:gd name="T27" fmla="*/ 32 h 32"/>
                  <a:gd name="T28" fmla="*/ 4 w 33"/>
                  <a:gd name="T29" fmla="*/ 14 h 32"/>
                  <a:gd name="T30" fmla="*/ 4 w 33"/>
                  <a:gd name="T31" fmla="*/ 27 h 32"/>
                  <a:gd name="T32" fmla="*/ 29 w 33"/>
                  <a:gd name="T33" fmla="*/ 12 h 32"/>
                  <a:gd name="T34" fmla="*/ 29 w 33"/>
                  <a:gd name="T35" fmla="*/ 6 h 32"/>
                  <a:gd name="T36" fmla="*/ 10 w 33"/>
                  <a:gd name="T37" fmla="*/ 17 h 32"/>
                  <a:gd name="T38" fmla="*/ 8 w 33"/>
                  <a:gd name="T39" fmla="*/ 17 h 32"/>
                  <a:gd name="T40" fmla="*/ 4 w 33"/>
                  <a:gd name="T41" fmla="*/ 14 h 32"/>
                  <a:gd name="T42" fmla="*/ 31 w 33"/>
                  <a:gd name="T43" fmla="*/ 13 h 32"/>
                  <a:gd name="T44" fmla="*/ 31 w 33"/>
                  <a:gd name="T45" fmla="*/ 1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" h="32">
                    <a:moveTo>
                      <a:pt x="2" y="32"/>
                    </a:move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" y="8"/>
                      <a:pt x="2" y="8"/>
                      <a:pt x="3" y="9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1" y="0"/>
                      <a:pt x="32" y="0"/>
                      <a:pt x="32" y="1"/>
                    </a:cubicBezTo>
                    <a:cubicBezTo>
                      <a:pt x="33" y="1"/>
                      <a:pt x="33" y="2"/>
                      <a:pt x="33" y="2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3" y="14"/>
                      <a:pt x="33" y="14"/>
                      <a:pt x="32" y="15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lose/>
                    <a:moveTo>
                      <a:pt x="4" y="14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9" y="17"/>
                      <a:pt x="8" y="17"/>
                    </a:cubicBezTo>
                    <a:lnTo>
                      <a:pt x="4" y="14"/>
                    </a:lnTo>
                    <a:close/>
                    <a:moveTo>
                      <a:pt x="31" y="13"/>
                    </a:moveTo>
                    <a:cubicBezTo>
                      <a:pt x="31" y="13"/>
                      <a:pt x="31" y="13"/>
                      <a:pt x="31" y="13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0" name="Freeform 933">
                <a:extLst>
                  <a:ext uri="{FF2B5EF4-FFF2-40B4-BE49-F238E27FC236}">
                    <a16:creationId xmlns:a16="http://schemas.microsoft.com/office/drawing/2014/main" id="{EDA404E3-90B6-4986-A276-3DA7CBBFDA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86837" y="6878566"/>
                <a:ext cx="646388" cy="350688"/>
              </a:xfrm>
              <a:custGeom>
                <a:avLst/>
                <a:gdLst>
                  <a:gd name="T0" fmla="*/ 126 w 264"/>
                  <a:gd name="T1" fmla="*/ 143 h 143"/>
                  <a:gd name="T2" fmla="*/ 125 w 264"/>
                  <a:gd name="T3" fmla="*/ 142 h 143"/>
                  <a:gd name="T4" fmla="*/ 1 w 264"/>
                  <a:gd name="T5" fmla="*/ 71 h 143"/>
                  <a:gd name="T6" fmla="*/ 0 w 264"/>
                  <a:gd name="T7" fmla="*/ 69 h 143"/>
                  <a:gd name="T8" fmla="*/ 1 w 264"/>
                  <a:gd name="T9" fmla="*/ 68 h 143"/>
                  <a:gd name="T10" fmla="*/ 87 w 264"/>
                  <a:gd name="T11" fmla="*/ 18 h 143"/>
                  <a:gd name="T12" fmla="*/ 89 w 264"/>
                  <a:gd name="T13" fmla="*/ 18 h 143"/>
                  <a:gd name="T14" fmla="*/ 147 w 264"/>
                  <a:gd name="T15" fmla="*/ 52 h 143"/>
                  <a:gd name="T16" fmla="*/ 147 w 264"/>
                  <a:gd name="T17" fmla="*/ 2 h 143"/>
                  <a:gd name="T18" fmla="*/ 148 w 264"/>
                  <a:gd name="T19" fmla="*/ 0 h 143"/>
                  <a:gd name="T20" fmla="*/ 150 w 264"/>
                  <a:gd name="T21" fmla="*/ 0 h 143"/>
                  <a:gd name="T22" fmla="*/ 182 w 264"/>
                  <a:gd name="T23" fmla="*/ 18 h 143"/>
                  <a:gd name="T24" fmla="*/ 183 w 264"/>
                  <a:gd name="T25" fmla="*/ 20 h 143"/>
                  <a:gd name="T26" fmla="*/ 183 w 264"/>
                  <a:gd name="T27" fmla="*/ 31 h 143"/>
                  <a:gd name="T28" fmla="*/ 193 w 264"/>
                  <a:gd name="T29" fmla="*/ 26 h 143"/>
                  <a:gd name="T30" fmla="*/ 195 w 264"/>
                  <a:gd name="T31" fmla="*/ 26 h 143"/>
                  <a:gd name="T32" fmla="*/ 263 w 264"/>
                  <a:gd name="T33" fmla="*/ 65 h 143"/>
                  <a:gd name="T34" fmla="*/ 264 w 264"/>
                  <a:gd name="T35" fmla="*/ 67 h 143"/>
                  <a:gd name="T36" fmla="*/ 264 w 264"/>
                  <a:gd name="T37" fmla="*/ 68 h 143"/>
                  <a:gd name="T38" fmla="*/ 263 w 264"/>
                  <a:gd name="T39" fmla="*/ 70 h 143"/>
                  <a:gd name="T40" fmla="*/ 249 w 264"/>
                  <a:gd name="T41" fmla="*/ 78 h 143"/>
                  <a:gd name="T42" fmla="*/ 247 w 264"/>
                  <a:gd name="T43" fmla="*/ 78 h 143"/>
                  <a:gd name="T44" fmla="*/ 246 w 264"/>
                  <a:gd name="T45" fmla="*/ 76 h 143"/>
                  <a:gd name="T46" fmla="*/ 246 w 264"/>
                  <a:gd name="T47" fmla="*/ 73 h 143"/>
                  <a:gd name="T48" fmla="*/ 127 w 264"/>
                  <a:gd name="T49" fmla="*/ 142 h 143"/>
                  <a:gd name="T50" fmla="*/ 126 w 264"/>
                  <a:gd name="T51" fmla="*/ 143 h 143"/>
                  <a:gd name="T52" fmla="*/ 6 w 264"/>
                  <a:gd name="T53" fmla="*/ 69 h 143"/>
                  <a:gd name="T54" fmla="*/ 126 w 264"/>
                  <a:gd name="T55" fmla="*/ 138 h 143"/>
                  <a:gd name="T56" fmla="*/ 247 w 264"/>
                  <a:gd name="T57" fmla="*/ 68 h 143"/>
                  <a:gd name="T58" fmla="*/ 249 w 264"/>
                  <a:gd name="T59" fmla="*/ 68 h 143"/>
                  <a:gd name="T60" fmla="*/ 250 w 264"/>
                  <a:gd name="T61" fmla="*/ 70 h 143"/>
                  <a:gd name="T62" fmla="*/ 250 w 264"/>
                  <a:gd name="T63" fmla="*/ 73 h 143"/>
                  <a:gd name="T64" fmla="*/ 259 w 264"/>
                  <a:gd name="T65" fmla="*/ 68 h 143"/>
                  <a:gd name="T66" fmla="*/ 194 w 264"/>
                  <a:gd name="T67" fmla="*/ 30 h 143"/>
                  <a:gd name="T68" fmla="*/ 182 w 264"/>
                  <a:gd name="T69" fmla="*/ 37 h 143"/>
                  <a:gd name="T70" fmla="*/ 180 w 264"/>
                  <a:gd name="T71" fmla="*/ 37 h 143"/>
                  <a:gd name="T72" fmla="*/ 179 w 264"/>
                  <a:gd name="T73" fmla="*/ 35 h 143"/>
                  <a:gd name="T74" fmla="*/ 179 w 264"/>
                  <a:gd name="T75" fmla="*/ 21 h 143"/>
                  <a:gd name="T76" fmla="*/ 151 w 264"/>
                  <a:gd name="T77" fmla="*/ 5 h 143"/>
                  <a:gd name="T78" fmla="*/ 151 w 264"/>
                  <a:gd name="T79" fmla="*/ 55 h 143"/>
                  <a:gd name="T80" fmla="*/ 150 w 264"/>
                  <a:gd name="T81" fmla="*/ 57 h 143"/>
                  <a:gd name="T82" fmla="*/ 148 w 264"/>
                  <a:gd name="T83" fmla="*/ 57 h 143"/>
                  <a:gd name="T84" fmla="*/ 88 w 264"/>
                  <a:gd name="T85" fmla="*/ 22 h 143"/>
                  <a:gd name="T86" fmla="*/ 6 w 264"/>
                  <a:gd name="T87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4" h="143">
                    <a:moveTo>
                      <a:pt x="126" y="143"/>
                    </a:moveTo>
                    <a:cubicBezTo>
                      <a:pt x="125" y="143"/>
                      <a:pt x="125" y="142"/>
                      <a:pt x="125" y="142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69"/>
                    </a:cubicBezTo>
                    <a:cubicBezTo>
                      <a:pt x="0" y="69"/>
                      <a:pt x="1" y="68"/>
                      <a:pt x="1" y="68"/>
                    </a:cubicBezTo>
                    <a:cubicBezTo>
                      <a:pt x="87" y="18"/>
                      <a:pt x="87" y="18"/>
                      <a:pt x="87" y="18"/>
                    </a:cubicBezTo>
                    <a:cubicBezTo>
                      <a:pt x="87" y="18"/>
                      <a:pt x="88" y="18"/>
                      <a:pt x="89" y="18"/>
                    </a:cubicBezTo>
                    <a:cubicBezTo>
                      <a:pt x="147" y="52"/>
                      <a:pt x="147" y="52"/>
                      <a:pt x="147" y="52"/>
                    </a:cubicBezTo>
                    <a:cubicBezTo>
                      <a:pt x="147" y="2"/>
                      <a:pt x="147" y="2"/>
                      <a:pt x="147" y="2"/>
                    </a:cubicBezTo>
                    <a:cubicBezTo>
                      <a:pt x="147" y="1"/>
                      <a:pt x="148" y="0"/>
                      <a:pt x="148" y="0"/>
                    </a:cubicBezTo>
                    <a:cubicBezTo>
                      <a:pt x="149" y="0"/>
                      <a:pt x="150" y="0"/>
                      <a:pt x="150" y="0"/>
                    </a:cubicBezTo>
                    <a:cubicBezTo>
                      <a:pt x="182" y="18"/>
                      <a:pt x="182" y="18"/>
                      <a:pt x="182" y="18"/>
                    </a:cubicBezTo>
                    <a:cubicBezTo>
                      <a:pt x="182" y="19"/>
                      <a:pt x="183" y="19"/>
                      <a:pt x="183" y="20"/>
                    </a:cubicBezTo>
                    <a:cubicBezTo>
                      <a:pt x="183" y="31"/>
                      <a:pt x="183" y="31"/>
                      <a:pt x="183" y="31"/>
                    </a:cubicBezTo>
                    <a:cubicBezTo>
                      <a:pt x="193" y="26"/>
                      <a:pt x="193" y="26"/>
                      <a:pt x="193" y="26"/>
                    </a:cubicBezTo>
                    <a:cubicBezTo>
                      <a:pt x="193" y="25"/>
                      <a:pt x="194" y="25"/>
                      <a:pt x="195" y="26"/>
                    </a:cubicBezTo>
                    <a:cubicBezTo>
                      <a:pt x="263" y="65"/>
                      <a:pt x="263" y="65"/>
                      <a:pt x="263" y="65"/>
                    </a:cubicBezTo>
                    <a:cubicBezTo>
                      <a:pt x="263" y="65"/>
                      <a:pt x="264" y="66"/>
                      <a:pt x="264" y="67"/>
                    </a:cubicBezTo>
                    <a:cubicBezTo>
                      <a:pt x="264" y="68"/>
                      <a:pt x="264" y="68"/>
                      <a:pt x="264" y="68"/>
                    </a:cubicBezTo>
                    <a:cubicBezTo>
                      <a:pt x="264" y="69"/>
                      <a:pt x="263" y="70"/>
                      <a:pt x="263" y="70"/>
                    </a:cubicBezTo>
                    <a:cubicBezTo>
                      <a:pt x="249" y="78"/>
                      <a:pt x="249" y="78"/>
                      <a:pt x="249" y="78"/>
                    </a:cubicBezTo>
                    <a:cubicBezTo>
                      <a:pt x="248" y="78"/>
                      <a:pt x="248" y="78"/>
                      <a:pt x="247" y="78"/>
                    </a:cubicBezTo>
                    <a:cubicBezTo>
                      <a:pt x="246" y="78"/>
                      <a:pt x="246" y="77"/>
                      <a:pt x="246" y="76"/>
                    </a:cubicBezTo>
                    <a:cubicBezTo>
                      <a:pt x="246" y="73"/>
                      <a:pt x="246" y="73"/>
                      <a:pt x="246" y="73"/>
                    </a:cubicBezTo>
                    <a:cubicBezTo>
                      <a:pt x="127" y="142"/>
                      <a:pt x="127" y="142"/>
                      <a:pt x="127" y="142"/>
                    </a:cubicBezTo>
                    <a:cubicBezTo>
                      <a:pt x="126" y="142"/>
                      <a:pt x="126" y="143"/>
                      <a:pt x="126" y="143"/>
                    </a:cubicBezTo>
                    <a:close/>
                    <a:moveTo>
                      <a:pt x="6" y="69"/>
                    </a:moveTo>
                    <a:cubicBezTo>
                      <a:pt x="126" y="138"/>
                      <a:pt x="126" y="138"/>
                      <a:pt x="126" y="138"/>
                    </a:cubicBezTo>
                    <a:cubicBezTo>
                      <a:pt x="247" y="68"/>
                      <a:pt x="247" y="68"/>
                      <a:pt x="247" y="68"/>
                    </a:cubicBezTo>
                    <a:cubicBezTo>
                      <a:pt x="248" y="68"/>
                      <a:pt x="248" y="68"/>
                      <a:pt x="249" y="68"/>
                    </a:cubicBezTo>
                    <a:cubicBezTo>
                      <a:pt x="250" y="69"/>
                      <a:pt x="250" y="69"/>
                      <a:pt x="250" y="70"/>
                    </a:cubicBezTo>
                    <a:cubicBezTo>
                      <a:pt x="250" y="73"/>
                      <a:pt x="250" y="73"/>
                      <a:pt x="250" y="73"/>
                    </a:cubicBezTo>
                    <a:cubicBezTo>
                      <a:pt x="259" y="68"/>
                      <a:pt x="259" y="68"/>
                      <a:pt x="259" y="68"/>
                    </a:cubicBezTo>
                    <a:cubicBezTo>
                      <a:pt x="194" y="30"/>
                      <a:pt x="194" y="30"/>
                      <a:pt x="194" y="30"/>
                    </a:cubicBezTo>
                    <a:cubicBezTo>
                      <a:pt x="182" y="37"/>
                      <a:pt x="182" y="37"/>
                      <a:pt x="182" y="37"/>
                    </a:cubicBezTo>
                    <a:cubicBezTo>
                      <a:pt x="181" y="37"/>
                      <a:pt x="180" y="37"/>
                      <a:pt x="180" y="37"/>
                    </a:cubicBezTo>
                    <a:cubicBezTo>
                      <a:pt x="179" y="36"/>
                      <a:pt x="179" y="35"/>
                      <a:pt x="179" y="35"/>
                    </a:cubicBezTo>
                    <a:cubicBezTo>
                      <a:pt x="179" y="21"/>
                      <a:pt x="179" y="21"/>
                      <a:pt x="179" y="21"/>
                    </a:cubicBezTo>
                    <a:cubicBezTo>
                      <a:pt x="151" y="5"/>
                      <a:pt x="151" y="5"/>
                      <a:pt x="151" y="5"/>
                    </a:cubicBezTo>
                    <a:cubicBezTo>
                      <a:pt x="151" y="55"/>
                      <a:pt x="151" y="55"/>
                      <a:pt x="151" y="55"/>
                    </a:cubicBezTo>
                    <a:cubicBezTo>
                      <a:pt x="151" y="56"/>
                      <a:pt x="151" y="57"/>
                      <a:pt x="150" y="57"/>
                    </a:cubicBezTo>
                    <a:cubicBezTo>
                      <a:pt x="150" y="57"/>
                      <a:pt x="149" y="57"/>
                      <a:pt x="148" y="57"/>
                    </a:cubicBezTo>
                    <a:cubicBezTo>
                      <a:pt x="88" y="22"/>
                      <a:pt x="88" y="22"/>
                      <a:pt x="88" y="22"/>
                    </a:cubicBezTo>
                    <a:lnTo>
                      <a:pt x="6" y="6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1" name="Freeform 934">
                <a:extLst>
                  <a:ext uri="{FF2B5EF4-FFF2-40B4-BE49-F238E27FC236}">
                    <a16:creationId xmlns:a16="http://schemas.microsoft.com/office/drawing/2014/main" id="{0771558F-1A25-4622-A0B6-BA7EAE26544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425226" y="6680396"/>
                <a:ext cx="132805" cy="83003"/>
              </a:xfrm>
              <a:custGeom>
                <a:avLst/>
                <a:gdLst>
                  <a:gd name="T0" fmla="*/ 4 w 54"/>
                  <a:gd name="T1" fmla="*/ 34 h 34"/>
                  <a:gd name="T2" fmla="*/ 3 w 54"/>
                  <a:gd name="T3" fmla="*/ 34 h 34"/>
                  <a:gd name="T4" fmla="*/ 1 w 54"/>
                  <a:gd name="T5" fmla="*/ 33 h 34"/>
                  <a:gd name="T6" fmla="*/ 0 w 54"/>
                  <a:gd name="T7" fmla="*/ 31 h 34"/>
                  <a:gd name="T8" fmla="*/ 1 w 54"/>
                  <a:gd name="T9" fmla="*/ 29 h 34"/>
                  <a:gd name="T10" fmla="*/ 21 w 54"/>
                  <a:gd name="T11" fmla="*/ 18 h 34"/>
                  <a:gd name="T12" fmla="*/ 21 w 54"/>
                  <a:gd name="T13" fmla="*/ 18 h 34"/>
                  <a:gd name="T14" fmla="*/ 22 w 54"/>
                  <a:gd name="T15" fmla="*/ 18 h 34"/>
                  <a:gd name="T16" fmla="*/ 51 w 54"/>
                  <a:gd name="T17" fmla="*/ 0 h 34"/>
                  <a:gd name="T18" fmla="*/ 53 w 54"/>
                  <a:gd name="T19" fmla="*/ 0 h 34"/>
                  <a:gd name="T20" fmla="*/ 54 w 54"/>
                  <a:gd name="T21" fmla="*/ 2 h 34"/>
                  <a:gd name="T22" fmla="*/ 54 w 54"/>
                  <a:gd name="T23" fmla="*/ 4 h 34"/>
                  <a:gd name="T24" fmla="*/ 53 w 54"/>
                  <a:gd name="T25" fmla="*/ 6 h 34"/>
                  <a:gd name="T26" fmla="*/ 5 w 54"/>
                  <a:gd name="T27" fmla="*/ 34 h 34"/>
                  <a:gd name="T28" fmla="*/ 4 w 54"/>
                  <a:gd name="T2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34">
                    <a:moveTo>
                      <a:pt x="4" y="34"/>
                    </a:moveTo>
                    <a:cubicBezTo>
                      <a:pt x="4" y="34"/>
                      <a:pt x="3" y="34"/>
                      <a:pt x="3" y="3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2"/>
                      <a:pt x="0" y="32"/>
                      <a:pt x="0" y="31"/>
                    </a:cubicBezTo>
                    <a:cubicBezTo>
                      <a:pt x="0" y="30"/>
                      <a:pt x="1" y="30"/>
                      <a:pt x="1" y="29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2" y="18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2" y="0"/>
                      <a:pt x="53" y="0"/>
                      <a:pt x="53" y="0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5"/>
                      <a:pt x="54" y="5"/>
                      <a:pt x="53" y="6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4" y="34"/>
                      <a:pt x="4" y="34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2" name="Freeform 950">
                <a:extLst>
                  <a:ext uri="{FF2B5EF4-FFF2-40B4-BE49-F238E27FC236}">
                    <a16:creationId xmlns:a16="http://schemas.microsoft.com/office/drawing/2014/main" id="{F9236255-121E-4E91-A844-1918000767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957485" y="6324520"/>
                <a:ext cx="174307" cy="116204"/>
              </a:xfrm>
              <a:custGeom>
                <a:avLst/>
                <a:gdLst>
                  <a:gd name="T0" fmla="*/ 52 w 71"/>
                  <a:gd name="T1" fmla="*/ 47 h 47"/>
                  <a:gd name="T2" fmla="*/ 51 w 71"/>
                  <a:gd name="T3" fmla="*/ 46 h 47"/>
                  <a:gd name="T4" fmla="*/ 1 w 71"/>
                  <a:gd name="T5" fmla="*/ 18 h 47"/>
                  <a:gd name="T6" fmla="*/ 0 w 71"/>
                  <a:gd name="T7" fmla="*/ 16 h 47"/>
                  <a:gd name="T8" fmla="*/ 0 w 71"/>
                  <a:gd name="T9" fmla="*/ 7 h 47"/>
                  <a:gd name="T10" fmla="*/ 1 w 71"/>
                  <a:gd name="T11" fmla="*/ 6 h 47"/>
                  <a:gd name="T12" fmla="*/ 11 w 71"/>
                  <a:gd name="T13" fmla="*/ 0 h 47"/>
                  <a:gd name="T14" fmla="*/ 13 w 71"/>
                  <a:gd name="T15" fmla="*/ 0 h 47"/>
                  <a:gd name="T16" fmla="*/ 70 w 71"/>
                  <a:gd name="T17" fmla="*/ 33 h 47"/>
                  <a:gd name="T18" fmla="*/ 71 w 71"/>
                  <a:gd name="T19" fmla="*/ 34 h 47"/>
                  <a:gd name="T20" fmla="*/ 70 w 71"/>
                  <a:gd name="T21" fmla="*/ 36 h 47"/>
                  <a:gd name="T22" fmla="*/ 53 w 71"/>
                  <a:gd name="T23" fmla="*/ 46 h 47"/>
                  <a:gd name="T24" fmla="*/ 52 w 71"/>
                  <a:gd name="T25" fmla="*/ 47 h 47"/>
                  <a:gd name="T26" fmla="*/ 4 w 71"/>
                  <a:gd name="T27" fmla="*/ 15 h 47"/>
                  <a:gd name="T28" fmla="*/ 52 w 71"/>
                  <a:gd name="T29" fmla="*/ 42 h 47"/>
                  <a:gd name="T30" fmla="*/ 65 w 71"/>
                  <a:gd name="T31" fmla="*/ 34 h 47"/>
                  <a:gd name="T32" fmla="*/ 12 w 71"/>
                  <a:gd name="T33" fmla="*/ 4 h 47"/>
                  <a:gd name="T34" fmla="*/ 4 w 71"/>
                  <a:gd name="T35" fmla="*/ 9 h 47"/>
                  <a:gd name="T36" fmla="*/ 4 w 71"/>
                  <a:gd name="T37" fmla="*/ 1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47">
                    <a:moveTo>
                      <a:pt x="52" y="47"/>
                    </a:moveTo>
                    <a:cubicBezTo>
                      <a:pt x="52" y="47"/>
                      <a:pt x="51" y="46"/>
                      <a:pt x="51" y="4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7"/>
                      <a:pt x="0" y="17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3" y="0"/>
                      <a:pt x="13" y="0"/>
                    </a:cubicBezTo>
                    <a:cubicBezTo>
                      <a:pt x="70" y="33"/>
                      <a:pt x="70" y="33"/>
                      <a:pt x="70" y="33"/>
                    </a:cubicBezTo>
                    <a:cubicBezTo>
                      <a:pt x="71" y="33"/>
                      <a:pt x="71" y="34"/>
                      <a:pt x="71" y="34"/>
                    </a:cubicBezTo>
                    <a:cubicBezTo>
                      <a:pt x="71" y="35"/>
                      <a:pt x="71" y="36"/>
                      <a:pt x="70" y="36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3" y="46"/>
                      <a:pt x="52" y="47"/>
                      <a:pt x="52" y="47"/>
                    </a:cubicBezTo>
                    <a:close/>
                    <a:moveTo>
                      <a:pt x="4" y="15"/>
                    </a:moveTo>
                    <a:cubicBezTo>
                      <a:pt x="52" y="42"/>
                      <a:pt x="52" y="42"/>
                      <a:pt x="52" y="42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3" name="Freeform 956">
                <a:extLst>
                  <a:ext uri="{FF2B5EF4-FFF2-40B4-BE49-F238E27FC236}">
                    <a16:creationId xmlns:a16="http://schemas.microsoft.com/office/drawing/2014/main" id="{2A616417-6052-4E14-8D1C-31C32851073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15342" y="6915917"/>
                <a:ext cx="225147" cy="134880"/>
              </a:xfrm>
              <a:custGeom>
                <a:avLst/>
                <a:gdLst>
                  <a:gd name="T0" fmla="*/ 4 w 92"/>
                  <a:gd name="T1" fmla="*/ 55 h 55"/>
                  <a:gd name="T2" fmla="*/ 3 w 92"/>
                  <a:gd name="T3" fmla="*/ 55 h 55"/>
                  <a:gd name="T4" fmla="*/ 1 w 92"/>
                  <a:gd name="T5" fmla="*/ 54 h 55"/>
                  <a:gd name="T6" fmla="*/ 0 w 92"/>
                  <a:gd name="T7" fmla="*/ 52 h 55"/>
                  <a:gd name="T8" fmla="*/ 1 w 92"/>
                  <a:gd name="T9" fmla="*/ 51 h 55"/>
                  <a:gd name="T10" fmla="*/ 89 w 92"/>
                  <a:gd name="T11" fmla="*/ 0 h 55"/>
                  <a:gd name="T12" fmla="*/ 91 w 92"/>
                  <a:gd name="T13" fmla="*/ 0 h 55"/>
                  <a:gd name="T14" fmla="*/ 92 w 92"/>
                  <a:gd name="T15" fmla="*/ 2 h 55"/>
                  <a:gd name="T16" fmla="*/ 92 w 92"/>
                  <a:gd name="T17" fmla="*/ 3 h 55"/>
                  <a:gd name="T18" fmla="*/ 91 w 92"/>
                  <a:gd name="T19" fmla="*/ 5 h 55"/>
                  <a:gd name="T20" fmla="*/ 5 w 92"/>
                  <a:gd name="T21" fmla="*/ 55 h 55"/>
                  <a:gd name="T22" fmla="*/ 4 w 92"/>
                  <a:gd name="T23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2" h="55">
                    <a:moveTo>
                      <a:pt x="4" y="55"/>
                    </a:moveTo>
                    <a:cubicBezTo>
                      <a:pt x="3" y="55"/>
                      <a:pt x="3" y="55"/>
                      <a:pt x="3" y="55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4"/>
                      <a:pt x="0" y="53"/>
                      <a:pt x="0" y="52"/>
                    </a:cubicBezTo>
                    <a:cubicBezTo>
                      <a:pt x="0" y="52"/>
                      <a:pt x="1" y="51"/>
                      <a:pt x="1" y="5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0" y="0"/>
                      <a:pt x="90" y="0"/>
                      <a:pt x="91" y="0"/>
                    </a:cubicBezTo>
                    <a:cubicBezTo>
                      <a:pt x="92" y="0"/>
                      <a:pt x="92" y="1"/>
                      <a:pt x="92" y="2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2" y="4"/>
                      <a:pt x="92" y="5"/>
                      <a:pt x="91" y="5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4" y="55"/>
                      <a:pt x="4" y="55"/>
                      <a:pt x="4" y="5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4" name="Freeform 959">
                <a:extLst>
                  <a:ext uri="{FF2B5EF4-FFF2-40B4-BE49-F238E27FC236}">
                    <a16:creationId xmlns:a16="http://schemas.microsoft.com/office/drawing/2014/main" id="{32EF7AF8-457C-4285-AB69-6FB3B57580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99628" y="6309994"/>
                <a:ext cx="32164" cy="34239"/>
              </a:xfrm>
              <a:custGeom>
                <a:avLst/>
                <a:gdLst>
                  <a:gd name="T0" fmla="*/ 2 w 13"/>
                  <a:gd name="T1" fmla="*/ 14 h 14"/>
                  <a:gd name="T2" fmla="*/ 1 w 13"/>
                  <a:gd name="T3" fmla="*/ 13 h 14"/>
                  <a:gd name="T4" fmla="*/ 0 w 13"/>
                  <a:gd name="T5" fmla="*/ 12 h 14"/>
                  <a:gd name="T6" fmla="*/ 0 w 13"/>
                  <a:gd name="T7" fmla="*/ 2 h 14"/>
                  <a:gd name="T8" fmla="*/ 1 w 13"/>
                  <a:gd name="T9" fmla="*/ 0 h 14"/>
                  <a:gd name="T10" fmla="*/ 3 w 13"/>
                  <a:gd name="T11" fmla="*/ 0 h 14"/>
                  <a:gd name="T12" fmla="*/ 12 w 13"/>
                  <a:gd name="T13" fmla="*/ 5 h 14"/>
                  <a:gd name="T14" fmla="*/ 13 w 13"/>
                  <a:gd name="T15" fmla="*/ 7 h 14"/>
                  <a:gd name="T16" fmla="*/ 12 w 13"/>
                  <a:gd name="T17" fmla="*/ 8 h 14"/>
                  <a:gd name="T18" fmla="*/ 3 w 13"/>
                  <a:gd name="T19" fmla="*/ 13 h 14"/>
                  <a:gd name="T20" fmla="*/ 2 w 13"/>
                  <a:gd name="T21" fmla="*/ 14 h 14"/>
                  <a:gd name="T22" fmla="*/ 4 w 13"/>
                  <a:gd name="T23" fmla="*/ 5 h 14"/>
                  <a:gd name="T24" fmla="*/ 4 w 13"/>
                  <a:gd name="T25" fmla="*/ 8 h 14"/>
                  <a:gd name="T26" fmla="*/ 7 w 13"/>
                  <a:gd name="T27" fmla="*/ 7 h 14"/>
                  <a:gd name="T28" fmla="*/ 4 w 13"/>
                  <a:gd name="T2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4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3" y="6"/>
                      <a:pt x="13" y="7"/>
                    </a:cubicBezTo>
                    <a:cubicBezTo>
                      <a:pt x="13" y="7"/>
                      <a:pt x="12" y="8"/>
                      <a:pt x="12" y="8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3"/>
                      <a:pt x="3" y="14"/>
                      <a:pt x="2" y="14"/>
                    </a:cubicBezTo>
                    <a:close/>
                    <a:moveTo>
                      <a:pt x="4" y="5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5" name="Freeform 960">
                <a:extLst>
                  <a:ext uri="{FF2B5EF4-FFF2-40B4-BE49-F238E27FC236}">
                    <a16:creationId xmlns:a16="http://schemas.microsoft.com/office/drawing/2014/main" id="{891CCE5C-2F34-4F5E-9E07-43DF91492F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5342" y="6579754"/>
                <a:ext cx="304000" cy="517732"/>
              </a:xfrm>
              <a:custGeom>
                <a:avLst/>
                <a:gdLst>
                  <a:gd name="T0" fmla="*/ 3 w 124"/>
                  <a:gd name="T1" fmla="*/ 211 h 211"/>
                  <a:gd name="T2" fmla="*/ 2 w 124"/>
                  <a:gd name="T3" fmla="*/ 211 h 211"/>
                  <a:gd name="T4" fmla="*/ 1 w 124"/>
                  <a:gd name="T5" fmla="*/ 210 h 211"/>
                  <a:gd name="T6" fmla="*/ 0 w 124"/>
                  <a:gd name="T7" fmla="*/ 208 h 211"/>
                  <a:gd name="T8" fmla="*/ 0 w 124"/>
                  <a:gd name="T9" fmla="*/ 71 h 211"/>
                  <a:gd name="T10" fmla="*/ 1 w 124"/>
                  <a:gd name="T11" fmla="*/ 70 h 211"/>
                  <a:gd name="T12" fmla="*/ 121 w 124"/>
                  <a:gd name="T13" fmla="*/ 1 h 211"/>
                  <a:gd name="T14" fmla="*/ 123 w 124"/>
                  <a:gd name="T15" fmla="*/ 1 h 211"/>
                  <a:gd name="T16" fmla="*/ 124 w 124"/>
                  <a:gd name="T17" fmla="*/ 2 h 211"/>
                  <a:gd name="T18" fmla="*/ 124 w 124"/>
                  <a:gd name="T19" fmla="*/ 137 h 211"/>
                  <a:gd name="T20" fmla="*/ 123 w 124"/>
                  <a:gd name="T21" fmla="*/ 139 h 211"/>
                  <a:gd name="T22" fmla="*/ 35 w 124"/>
                  <a:gd name="T23" fmla="*/ 189 h 211"/>
                  <a:gd name="T24" fmla="*/ 35 w 124"/>
                  <a:gd name="T25" fmla="*/ 190 h 211"/>
                  <a:gd name="T26" fmla="*/ 36 w 124"/>
                  <a:gd name="T27" fmla="*/ 191 h 211"/>
                  <a:gd name="T28" fmla="*/ 35 w 124"/>
                  <a:gd name="T29" fmla="*/ 193 h 211"/>
                  <a:gd name="T30" fmla="*/ 4 w 124"/>
                  <a:gd name="T31" fmla="*/ 211 h 211"/>
                  <a:gd name="T32" fmla="*/ 3 w 124"/>
                  <a:gd name="T33" fmla="*/ 211 h 211"/>
                  <a:gd name="T34" fmla="*/ 4 w 124"/>
                  <a:gd name="T35" fmla="*/ 73 h 211"/>
                  <a:gd name="T36" fmla="*/ 4 w 124"/>
                  <a:gd name="T37" fmla="*/ 206 h 211"/>
                  <a:gd name="T38" fmla="*/ 30 w 124"/>
                  <a:gd name="T39" fmla="*/ 191 h 211"/>
                  <a:gd name="T40" fmla="*/ 30 w 124"/>
                  <a:gd name="T41" fmla="*/ 191 h 211"/>
                  <a:gd name="T42" fmla="*/ 29 w 124"/>
                  <a:gd name="T43" fmla="*/ 189 h 211"/>
                  <a:gd name="T44" fmla="*/ 30 w 124"/>
                  <a:gd name="T45" fmla="*/ 188 h 211"/>
                  <a:gd name="T46" fmla="*/ 120 w 124"/>
                  <a:gd name="T47" fmla="*/ 136 h 211"/>
                  <a:gd name="T48" fmla="*/ 120 w 124"/>
                  <a:gd name="T49" fmla="*/ 6 h 211"/>
                  <a:gd name="T50" fmla="*/ 4 w 124"/>
                  <a:gd name="T51" fmla="*/ 73 h 211"/>
                  <a:gd name="T52" fmla="*/ 122 w 124"/>
                  <a:gd name="T53" fmla="*/ 137 h 211"/>
                  <a:gd name="T54" fmla="*/ 122 w 124"/>
                  <a:gd name="T55" fmla="*/ 137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4" h="211">
                    <a:moveTo>
                      <a:pt x="3" y="211"/>
                    </a:moveTo>
                    <a:cubicBezTo>
                      <a:pt x="3" y="211"/>
                      <a:pt x="3" y="211"/>
                      <a:pt x="2" y="211"/>
                    </a:cubicBezTo>
                    <a:cubicBezTo>
                      <a:pt x="1" y="210"/>
                      <a:pt x="1" y="210"/>
                      <a:pt x="1" y="210"/>
                    </a:cubicBezTo>
                    <a:cubicBezTo>
                      <a:pt x="1" y="210"/>
                      <a:pt x="0" y="209"/>
                      <a:pt x="0" y="208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1" y="70"/>
                      <a:pt x="1" y="70"/>
                    </a:cubicBezTo>
                    <a:cubicBezTo>
                      <a:pt x="121" y="1"/>
                      <a:pt x="121" y="1"/>
                      <a:pt x="121" y="1"/>
                    </a:cubicBezTo>
                    <a:cubicBezTo>
                      <a:pt x="122" y="0"/>
                      <a:pt x="122" y="0"/>
                      <a:pt x="123" y="1"/>
                    </a:cubicBezTo>
                    <a:cubicBezTo>
                      <a:pt x="124" y="1"/>
                      <a:pt x="124" y="2"/>
                      <a:pt x="124" y="2"/>
                    </a:cubicBezTo>
                    <a:cubicBezTo>
                      <a:pt x="124" y="137"/>
                      <a:pt x="124" y="137"/>
                      <a:pt x="124" y="137"/>
                    </a:cubicBezTo>
                    <a:cubicBezTo>
                      <a:pt x="124" y="138"/>
                      <a:pt x="124" y="138"/>
                      <a:pt x="123" y="139"/>
                    </a:cubicBezTo>
                    <a:cubicBezTo>
                      <a:pt x="35" y="189"/>
                      <a:pt x="35" y="189"/>
                      <a:pt x="35" y="189"/>
                    </a:cubicBezTo>
                    <a:cubicBezTo>
                      <a:pt x="35" y="190"/>
                      <a:pt x="35" y="190"/>
                      <a:pt x="35" y="190"/>
                    </a:cubicBezTo>
                    <a:cubicBezTo>
                      <a:pt x="36" y="190"/>
                      <a:pt x="36" y="191"/>
                      <a:pt x="36" y="191"/>
                    </a:cubicBezTo>
                    <a:cubicBezTo>
                      <a:pt x="36" y="192"/>
                      <a:pt x="36" y="193"/>
                      <a:pt x="35" y="193"/>
                    </a:cubicBezTo>
                    <a:cubicBezTo>
                      <a:pt x="4" y="211"/>
                      <a:pt x="4" y="211"/>
                      <a:pt x="4" y="211"/>
                    </a:cubicBezTo>
                    <a:cubicBezTo>
                      <a:pt x="4" y="211"/>
                      <a:pt x="4" y="211"/>
                      <a:pt x="3" y="211"/>
                    </a:cubicBezTo>
                    <a:close/>
                    <a:moveTo>
                      <a:pt x="4" y="73"/>
                    </a:moveTo>
                    <a:cubicBezTo>
                      <a:pt x="4" y="206"/>
                      <a:pt x="4" y="206"/>
                      <a:pt x="4" y="206"/>
                    </a:cubicBezTo>
                    <a:cubicBezTo>
                      <a:pt x="30" y="191"/>
                      <a:pt x="30" y="191"/>
                      <a:pt x="30" y="191"/>
                    </a:cubicBezTo>
                    <a:cubicBezTo>
                      <a:pt x="30" y="191"/>
                      <a:pt x="30" y="191"/>
                      <a:pt x="30" y="191"/>
                    </a:cubicBezTo>
                    <a:cubicBezTo>
                      <a:pt x="29" y="191"/>
                      <a:pt x="29" y="190"/>
                      <a:pt x="29" y="189"/>
                    </a:cubicBezTo>
                    <a:cubicBezTo>
                      <a:pt x="29" y="189"/>
                      <a:pt x="29" y="188"/>
                      <a:pt x="30" y="188"/>
                    </a:cubicBezTo>
                    <a:cubicBezTo>
                      <a:pt x="120" y="136"/>
                      <a:pt x="120" y="136"/>
                      <a:pt x="120" y="136"/>
                    </a:cubicBezTo>
                    <a:cubicBezTo>
                      <a:pt x="120" y="6"/>
                      <a:pt x="120" y="6"/>
                      <a:pt x="120" y="6"/>
                    </a:cubicBezTo>
                    <a:lnTo>
                      <a:pt x="4" y="73"/>
                    </a:lnTo>
                    <a:close/>
                    <a:moveTo>
                      <a:pt x="122" y="137"/>
                    </a:moveTo>
                    <a:cubicBezTo>
                      <a:pt x="122" y="137"/>
                      <a:pt x="122" y="137"/>
                      <a:pt x="122" y="13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6" name="Freeform 961">
                <a:extLst>
                  <a:ext uri="{FF2B5EF4-FFF2-40B4-BE49-F238E27FC236}">
                    <a16:creationId xmlns:a16="http://schemas.microsoft.com/office/drawing/2014/main" id="{1846754E-AA4A-4A69-BFCB-1681B85E92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67314" y="6459400"/>
                <a:ext cx="29051" cy="34239"/>
              </a:xfrm>
              <a:custGeom>
                <a:avLst/>
                <a:gdLst>
                  <a:gd name="T0" fmla="*/ 2 w 12"/>
                  <a:gd name="T1" fmla="*/ 14 h 14"/>
                  <a:gd name="T2" fmla="*/ 1 w 12"/>
                  <a:gd name="T3" fmla="*/ 14 h 14"/>
                  <a:gd name="T4" fmla="*/ 0 w 12"/>
                  <a:gd name="T5" fmla="*/ 12 h 14"/>
                  <a:gd name="T6" fmla="*/ 0 w 12"/>
                  <a:gd name="T7" fmla="*/ 2 h 14"/>
                  <a:gd name="T8" fmla="*/ 1 w 12"/>
                  <a:gd name="T9" fmla="*/ 0 h 14"/>
                  <a:gd name="T10" fmla="*/ 3 w 12"/>
                  <a:gd name="T11" fmla="*/ 0 h 14"/>
                  <a:gd name="T12" fmla="*/ 11 w 12"/>
                  <a:gd name="T13" fmla="*/ 5 h 14"/>
                  <a:gd name="T14" fmla="*/ 12 w 12"/>
                  <a:gd name="T15" fmla="*/ 7 h 14"/>
                  <a:gd name="T16" fmla="*/ 11 w 12"/>
                  <a:gd name="T17" fmla="*/ 9 h 14"/>
                  <a:gd name="T18" fmla="*/ 3 w 12"/>
                  <a:gd name="T19" fmla="*/ 14 h 14"/>
                  <a:gd name="T20" fmla="*/ 2 w 12"/>
                  <a:gd name="T21" fmla="*/ 14 h 14"/>
                  <a:gd name="T22" fmla="*/ 4 w 12"/>
                  <a:gd name="T23" fmla="*/ 6 h 14"/>
                  <a:gd name="T24" fmla="*/ 4 w 12"/>
                  <a:gd name="T25" fmla="*/ 9 h 14"/>
                  <a:gd name="T26" fmla="*/ 6 w 12"/>
                  <a:gd name="T27" fmla="*/ 7 h 14"/>
                  <a:gd name="T28" fmla="*/ 4 w 12"/>
                  <a:gd name="T2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4">
                    <a:moveTo>
                      <a:pt x="2" y="14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6"/>
                      <a:pt x="12" y="6"/>
                      <a:pt x="12" y="7"/>
                    </a:cubicBezTo>
                    <a:cubicBezTo>
                      <a:pt x="12" y="8"/>
                      <a:pt x="12" y="8"/>
                      <a:pt x="11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2" y="14"/>
                      <a:pt x="2" y="14"/>
                      <a:pt x="2" y="14"/>
                    </a:cubicBezTo>
                    <a:close/>
                    <a:moveTo>
                      <a:pt x="4" y="6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7" name="Freeform 962">
                <a:extLst>
                  <a:ext uri="{FF2B5EF4-FFF2-40B4-BE49-F238E27FC236}">
                    <a16:creationId xmlns:a16="http://schemas.microsoft.com/office/drawing/2014/main" id="{3F880165-4731-4735-A3D6-008294783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56938" y="5979019"/>
                <a:ext cx="328901" cy="397378"/>
              </a:xfrm>
              <a:custGeom>
                <a:avLst/>
                <a:gdLst>
                  <a:gd name="T0" fmla="*/ 64 w 134"/>
                  <a:gd name="T1" fmla="*/ 162 h 162"/>
                  <a:gd name="T2" fmla="*/ 63 w 134"/>
                  <a:gd name="T3" fmla="*/ 162 h 162"/>
                  <a:gd name="T4" fmla="*/ 1 w 134"/>
                  <a:gd name="T5" fmla="*/ 126 h 162"/>
                  <a:gd name="T6" fmla="*/ 0 w 134"/>
                  <a:gd name="T7" fmla="*/ 125 h 162"/>
                  <a:gd name="T8" fmla="*/ 0 w 134"/>
                  <a:gd name="T9" fmla="*/ 30 h 162"/>
                  <a:gd name="T10" fmla="*/ 1 w 134"/>
                  <a:gd name="T11" fmla="*/ 29 h 162"/>
                  <a:gd name="T12" fmla="*/ 49 w 134"/>
                  <a:gd name="T13" fmla="*/ 1 h 162"/>
                  <a:gd name="T14" fmla="*/ 51 w 134"/>
                  <a:gd name="T15" fmla="*/ 1 h 162"/>
                  <a:gd name="T16" fmla="*/ 133 w 134"/>
                  <a:gd name="T17" fmla="*/ 48 h 162"/>
                  <a:gd name="T18" fmla="*/ 134 w 134"/>
                  <a:gd name="T19" fmla="*/ 49 h 162"/>
                  <a:gd name="T20" fmla="*/ 134 w 134"/>
                  <a:gd name="T21" fmla="*/ 51 h 162"/>
                  <a:gd name="T22" fmla="*/ 133 w 134"/>
                  <a:gd name="T23" fmla="*/ 52 h 162"/>
                  <a:gd name="T24" fmla="*/ 120 w 134"/>
                  <a:gd name="T25" fmla="*/ 60 h 162"/>
                  <a:gd name="T26" fmla="*/ 120 w 134"/>
                  <a:gd name="T27" fmla="*/ 129 h 162"/>
                  <a:gd name="T28" fmla="*/ 119 w 134"/>
                  <a:gd name="T29" fmla="*/ 131 h 162"/>
                  <a:gd name="T30" fmla="*/ 65 w 134"/>
                  <a:gd name="T31" fmla="*/ 162 h 162"/>
                  <a:gd name="T32" fmla="*/ 64 w 134"/>
                  <a:gd name="T33" fmla="*/ 162 h 162"/>
                  <a:gd name="T34" fmla="*/ 4 w 134"/>
                  <a:gd name="T35" fmla="*/ 124 h 162"/>
                  <a:gd name="T36" fmla="*/ 64 w 134"/>
                  <a:gd name="T37" fmla="*/ 158 h 162"/>
                  <a:gd name="T38" fmla="*/ 116 w 134"/>
                  <a:gd name="T39" fmla="*/ 128 h 162"/>
                  <a:gd name="T40" fmla="*/ 116 w 134"/>
                  <a:gd name="T41" fmla="*/ 58 h 162"/>
                  <a:gd name="T42" fmla="*/ 117 w 134"/>
                  <a:gd name="T43" fmla="*/ 57 h 162"/>
                  <a:gd name="T44" fmla="*/ 129 w 134"/>
                  <a:gd name="T45" fmla="*/ 50 h 162"/>
                  <a:gd name="T46" fmla="*/ 50 w 134"/>
                  <a:gd name="T47" fmla="*/ 5 h 162"/>
                  <a:gd name="T48" fmla="*/ 4 w 134"/>
                  <a:gd name="T49" fmla="*/ 31 h 162"/>
                  <a:gd name="T50" fmla="*/ 4 w 134"/>
                  <a:gd name="T51" fmla="*/ 124 h 162"/>
                  <a:gd name="T52" fmla="*/ 132 w 134"/>
                  <a:gd name="T53" fmla="*/ 51 h 162"/>
                  <a:gd name="T54" fmla="*/ 132 w 134"/>
                  <a:gd name="T55" fmla="*/ 5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4" h="162">
                    <a:moveTo>
                      <a:pt x="64" y="162"/>
                    </a:moveTo>
                    <a:cubicBezTo>
                      <a:pt x="63" y="162"/>
                      <a:pt x="63" y="162"/>
                      <a:pt x="63" y="162"/>
                    </a:cubicBezTo>
                    <a:cubicBezTo>
                      <a:pt x="1" y="126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50" y="0"/>
                      <a:pt x="50" y="0"/>
                      <a:pt x="51" y="1"/>
                    </a:cubicBezTo>
                    <a:cubicBezTo>
                      <a:pt x="133" y="48"/>
                      <a:pt x="133" y="48"/>
                      <a:pt x="133" y="48"/>
                    </a:cubicBezTo>
                    <a:cubicBezTo>
                      <a:pt x="133" y="48"/>
                      <a:pt x="134" y="49"/>
                      <a:pt x="134" y="49"/>
                    </a:cubicBezTo>
                    <a:cubicBezTo>
                      <a:pt x="134" y="51"/>
                      <a:pt x="134" y="51"/>
                      <a:pt x="134" y="51"/>
                    </a:cubicBezTo>
                    <a:cubicBezTo>
                      <a:pt x="134" y="51"/>
                      <a:pt x="133" y="52"/>
                      <a:pt x="133" y="52"/>
                    </a:cubicBezTo>
                    <a:cubicBezTo>
                      <a:pt x="120" y="60"/>
                      <a:pt x="120" y="60"/>
                      <a:pt x="120" y="60"/>
                    </a:cubicBezTo>
                    <a:cubicBezTo>
                      <a:pt x="120" y="129"/>
                      <a:pt x="120" y="129"/>
                      <a:pt x="120" y="129"/>
                    </a:cubicBezTo>
                    <a:cubicBezTo>
                      <a:pt x="120" y="130"/>
                      <a:pt x="120" y="130"/>
                      <a:pt x="119" y="131"/>
                    </a:cubicBezTo>
                    <a:cubicBezTo>
                      <a:pt x="65" y="162"/>
                      <a:pt x="65" y="162"/>
                      <a:pt x="65" y="162"/>
                    </a:cubicBezTo>
                    <a:cubicBezTo>
                      <a:pt x="64" y="162"/>
                      <a:pt x="64" y="162"/>
                      <a:pt x="64" y="162"/>
                    </a:cubicBezTo>
                    <a:close/>
                    <a:moveTo>
                      <a:pt x="4" y="124"/>
                    </a:moveTo>
                    <a:cubicBezTo>
                      <a:pt x="64" y="158"/>
                      <a:pt x="64" y="158"/>
                      <a:pt x="64" y="158"/>
                    </a:cubicBezTo>
                    <a:cubicBezTo>
                      <a:pt x="116" y="128"/>
                      <a:pt x="116" y="128"/>
                      <a:pt x="116" y="128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6" y="58"/>
                      <a:pt x="117" y="57"/>
                      <a:pt x="117" y="57"/>
                    </a:cubicBezTo>
                    <a:cubicBezTo>
                      <a:pt x="129" y="50"/>
                      <a:pt x="129" y="50"/>
                      <a:pt x="129" y="50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4" y="124"/>
                    </a:lnTo>
                    <a:close/>
                    <a:moveTo>
                      <a:pt x="132" y="51"/>
                    </a:moveTo>
                    <a:cubicBezTo>
                      <a:pt x="132" y="51"/>
                      <a:pt x="132" y="51"/>
                      <a:pt x="132" y="51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8" name="Freeform 963">
                <a:extLst>
                  <a:ext uri="{FF2B5EF4-FFF2-40B4-BE49-F238E27FC236}">
                    <a16:creationId xmlns:a16="http://schemas.microsoft.com/office/drawing/2014/main" id="{73361E9B-2834-454F-9F43-1E4FE96E4D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067464" y="6003920"/>
                <a:ext cx="64328" cy="325787"/>
              </a:xfrm>
              <a:custGeom>
                <a:avLst/>
                <a:gdLst>
                  <a:gd name="T0" fmla="*/ 12 w 26"/>
                  <a:gd name="T1" fmla="*/ 133 h 133"/>
                  <a:gd name="T2" fmla="*/ 11 w 26"/>
                  <a:gd name="T3" fmla="*/ 132 h 133"/>
                  <a:gd name="T4" fmla="*/ 1 w 26"/>
                  <a:gd name="T5" fmla="*/ 127 h 133"/>
                  <a:gd name="T6" fmla="*/ 0 w 26"/>
                  <a:gd name="T7" fmla="*/ 125 h 133"/>
                  <a:gd name="T8" fmla="*/ 0 w 26"/>
                  <a:gd name="T9" fmla="*/ 2 h 133"/>
                  <a:gd name="T10" fmla="*/ 1 w 26"/>
                  <a:gd name="T11" fmla="*/ 0 h 133"/>
                  <a:gd name="T12" fmla="*/ 3 w 26"/>
                  <a:gd name="T13" fmla="*/ 0 h 133"/>
                  <a:gd name="T14" fmla="*/ 25 w 26"/>
                  <a:gd name="T15" fmla="*/ 13 h 133"/>
                  <a:gd name="T16" fmla="*/ 26 w 26"/>
                  <a:gd name="T17" fmla="*/ 14 h 133"/>
                  <a:gd name="T18" fmla="*/ 26 w 26"/>
                  <a:gd name="T19" fmla="*/ 124 h 133"/>
                  <a:gd name="T20" fmla="*/ 25 w 26"/>
                  <a:gd name="T21" fmla="*/ 126 h 133"/>
                  <a:gd name="T22" fmla="*/ 13 w 26"/>
                  <a:gd name="T23" fmla="*/ 132 h 133"/>
                  <a:gd name="T24" fmla="*/ 12 w 26"/>
                  <a:gd name="T25" fmla="*/ 133 h 133"/>
                  <a:gd name="T26" fmla="*/ 4 w 26"/>
                  <a:gd name="T27" fmla="*/ 124 h 133"/>
                  <a:gd name="T28" fmla="*/ 12 w 26"/>
                  <a:gd name="T29" fmla="*/ 128 h 133"/>
                  <a:gd name="T30" fmla="*/ 22 w 26"/>
                  <a:gd name="T31" fmla="*/ 123 h 133"/>
                  <a:gd name="T32" fmla="*/ 22 w 26"/>
                  <a:gd name="T33" fmla="*/ 16 h 133"/>
                  <a:gd name="T34" fmla="*/ 4 w 26"/>
                  <a:gd name="T35" fmla="*/ 6 h 133"/>
                  <a:gd name="T36" fmla="*/ 4 w 26"/>
                  <a:gd name="T37" fmla="*/ 124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33">
                    <a:moveTo>
                      <a:pt x="12" y="133"/>
                    </a:moveTo>
                    <a:cubicBezTo>
                      <a:pt x="12" y="133"/>
                      <a:pt x="12" y="133"/>
                      <a:pt x="11" y="13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1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3"/>
                      <a:pt x="26" y="14"/>
                      <a:pt x="26" y="14"/>
                    </a:cubicBezTo>
                    <a:cubicBezTo>
                      <a:pt x="26" y="124"/>
                      <a:pt x="26" y="124"/>
                      <a:pt x="26" y="124"/>
                    </a:cubicBezTo>
                    <a:cubicBezTo>
                      <a:pt x="26" y="125"/>
                      <a:pt x="25" y="126"/>
                      <a:pt x="25" y="126"/>
                    </a:cubicBezTo>
                    <a:cubicBezTo>
                      <a:pt x="13" y="132"/>
                      <a:pt x="13" y="132"/>
                      <a:pt x="13" y="132"/>
                    </a:cubicBezTo>
                    <a:cubicBezTo>
                      <a:pt x="13" y="133"/>
                      <a:pt x="13" y="133"/>
                      <a:pt x="12" y="133"/>
                    </a:cubicBezTo>
                    <a:close/>
                    <a:moveTo>
                      <a:pt x="4" y="124"/>
                    </a:moveTo>
                    <a:cubicBezTo>
                      <a:pt x="12" y="128"/>
                      <a:pt x="12" y="128"/>
                      <a:pt x="12" y="128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9" name="Freeform 964">
                <a:extLst>
                  <a:ext uri="{FF2B5EF4-FFF2-40B4-BE49-F238E27FC236}">
                    <a16:creationId xmlns:a16="http://schemas.microsoft.com/office/drawing/2014/main" id="{A019B3D2-751D-480E-A289-A587355B8C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815342" y="6432424"/>
                <a:ext cx="581023" cy="323712"/>
              </a:xfrm>
              <a:custGeom>
                <a:avLst/>
                <a:gdLst>
                  <a:gd name="T0" fmla="*/ 115 w 237"/>
                  <a:gd name="T1" fmla="*/ 132 h 132"/>
                  <a:gd name="T2" fmla="*/ 114 w 237"/>
                  <a:gd name="T3" fmla="*/ 132 h 132"/>
                  <a:gd name="T4" fmla="*/ 1 w 237"/>
                  <a:gd name="T5" fmla="*/ 67 h 132"/>
                  <a:gd name="T6" fmla="*/ 0 w 237"/>
                  <a:gd name="T7" fmla="*/ 65 h 132"/>
                  <a:gd name="T8" fmla="*/ 0 w 237"/>
                  <a:gd name="T9" fmla="*/ 38 h 132"/>
                  <a:gd name="T10" fmla="*/ 1 w 237"/>
                  <a:gd name="T11" fmla="*/ 36 h 132"/>
                  <a:gd name="T12" fmla="*/ 3 w 237"/>
                  <a:gd name="T13" fmla="*/ 36 h 132"/>
                  <a:gd name="T14" fmla="*/ 50 w 237"/>
                  <a:gd name="T15" fmla="*/ 64 h 132"/>
                  <a:gd name="T16" fmla="*/ 159 w 237"/>
                  <a:gd name="T17" fmla="*/ 1 h 132"/>
                  <a:gd name="T18" fmla="*/ 161 w 237"/>
                  <a:gd name="T19" fmla="*/ 1 h 132"/>
                  <a:gd name="T20" fmla="*/ 236 w 237"/>
                  <a:gd name="T21" fmla="*/ 44 h 132"/>
                  <a:gd name="T22" fmla="*/ 237 w 237"/>
                  <a:gd name="T23" fmla="*/ 46 h 132"/>
                  <a:gd name="T24" fmla="*/ 237 w 237"/>
                  <a:gd name="T25" fmla="*/ 60 h 132"/>
                  <a:gd name="T26" fmla="*/ 236 w 237"/>
                  <a:gd name="T27" fmla="*/ 62 h 132"/>
                  <a:gd name="T28" fmla="*/ 116 w 237"/>
                  <a:gd name="T29" fmla="*/ 132 h 132"/>
                  <a:gd name="T30" fmla="*/ 115 w 237"/>
                  <a:gd name="T31" fmla="*/ 132 h 132"/>
                  <a:gd name="T32" fmla="*/ 4 w 237"/>
                  <a:gd name="T33" fmla="*/ 64 h 132"/>
                  <a:gd name="T34" fmla="*/ 115 w 237"/>
                  <a:gd name="T35" fmla="*/ 128 h 132"/>
                  <a:gd name="T36" fmla="*/ 233 w 237"/>
                  <a:gd name="T37" fmla="*/ 59 h 132"/>
                  <a:gd name="T38" fmla="*/ 233 w 237"/>
                  <a:gd name="T39" fmla="*/ 47 h 132"/>
                  <a:gd name="T40" fmla="*/ 160 w 237"/>
                  <a:gd name="T41" fmla="*/ 5 h 132"/>
                  <a:gd name="T42" fmla="*/ 51 w 237"/>
                  <a:gd name="T43" fmla="*/ 68 h 132"/>
                  <a:gd name="T44" fmla="*/ 49 w 237"/>
                  <a:gd name="T45" fmla="*/ 68 h 132"/>
                  <a:gd name="T46" fmla="*/ 4 w 237"/>
                  <a:gd name="T47" fmla="*/ 41 h 132"/>
                  <a:gd name="T48" fmla="*/ 4 w 237"/>
                  <a:gd name="T49" fmla="*/ 64 h 132"/>
                  <a:gd name="T50" fmla="*/ 235 w 237"/>
                  <a:gd name="T51" fmla="*/ 60 h 132"/>
                  <a:gd name="T52" fmla="*/ 235 w 237"/>
                  <a:gd name="T53" fmla="*/ 6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7" h="132">
                    <a:moveTo>
                      <a:pt x="115" y="132"/>
                    </a:moveTo>
                    <a:cubicBezTo>
                      <a:pt x="114" y="132"/>
                      <a:pt x="114" y="132"/>
                      <a:pt x="114" y="132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66"/>
                      <a:pt x="0" y="66"/>
                      <a:pt x="0" y="65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7"/>
                      <a:pt x="0" y="37"/>
                      <a:pt x="1" y="36"/>
                    </a:cubicBezTo>
                    <a:cubicBezTo>
                      <a:pt x="1" y="36"/>
                      <a:pt x="2" y="36"/>
                      <a:pt x="3" y="36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159" y="1"/>
                      <a:pt x="159" y="1"/>
                      <a:pt x="159" y="1"/>
                    </a:cubicBezTo>
                    <a:cubicBezTo>
                      <a:pt x="159" y="0"/>
                      <a:pt x="160" y="0"/>
                      <a:pt x="161" y="1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7" y="44"/>
                      <a:pt x="237" y="45"/>
                      <a:pt x="237" y="46"/>
                    </a:cubicBezTo>
                    <a:cubicBezTo>
                      <a:pt x="237" y="60"/>
                      <a:pt x="237" y="60"/>
                      <a:pt x="237" y="60"/>
                    </a:cubicBezTo>
                    <a:cubicBezTo>
                      <a:pt x="237" y="61"/>
                      <a:pt x="237" y="62"/>
                      <a:pt x="236" y="62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5" y="132"/>
                      <a:pt x="115" y="132"/>
                      <a:pt x="115" y="132"/>
                    </a:cubicBezTo>
                    <a:close/>
                    <a:moveTo>
                      <a:pt x="4" y="64"/>
                    </a:moveTo>
                    <a:cubicBezTo>
                      <a:pt x="115" y="128"/>
                      <a:pt x="115" y="128"/>
                      <a:pt x="115" y="128"/>
                    </a:cubicBezTo>
                    <a:cubicBezTo>
                      <a:pt x="233" y="59"/>
                      <a:pt x="233" y="59"/>
                      <a:pt x="233" y="59"/>
                    </a:cubicBezTo>
                    <a:cubicBezTo>
                      <a:pt x="233" y="47"/>
                      <a:pt x="233" y="47"/>
                      <a:pt x="233" y="47"/>
                    </a:cubicBezTo>
                    <a:cubicBezTo>
                      <a:pt x="160" y="5"/>
                      <a:pt x="160" y="5"/>
                      <a:pt x="160" y="5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1" y="68"/>
                      <a:pt x="50" y="68"/>
                      <a:pt x="49" y="68"/>
                    </a:cubicBezTo>
                    <a:cubicBezTo>
                      <a:pt x="4" y="41"/>
                      <a:pt x="4" y="41"/>
                      <a:pt x="4" y="41"/>
                    </a:cubicBezTo>
                    <a:lnTo>
                      <a:pt x="4" y="64"/>
                    </a:lnTo>
                    <a:close/>
                    <a:moveTo>
                      <a:pt x="235" y="60"/>
                    </a:moveTo>
                    <a:cubicBezTo>
                      <a:pt x="235" y="60"/>
                      <a:pt x="235" y="60"/>
                      <a:pt x="235" y="6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0" name="Freeform 965">
                <a:extLst>
                  <a:ext uri="{FF2B5EF4-FFF2-40B4-BE49-F238E27FC236}">
                    <a16:creationId xmlns:a16="http://schemas.microsoft.com/office/drawing/2014/main" id="{80D36B02-9FF2-4FA4-9AA6-41798225D8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27040" y="6523727"/>
                <a:ext cx="328901" cy="509432"/>
              </a:xfrm>
              <a:custGeom>
                <a:avLst/>
                <a:gdLst>
                  <a:gd name="T0" fmla="*/ 132 w 134"/>
                  <a:gd name="T1" fmla="*/ 208 h 208"/>
                  <a:gd name="T2" fmla="*/ 131 w 134"/>
                  <a:gd name="T3" fmla="*/ 208 h 208"/>
                  <a:gd name="T4" fmla="*/ 1 w 134"/>
                  <a:gd name="T5" fmla="*/ 133 h 208"/>
                  <a:gd name="T6" fmla="*/ 0 w 134"/>
                  <a:gd name="T7" fmla="*/ 131 h 208"/>
                  <a:gd name="T8" fmla="*/ 0 w 134"/>
                  <a:gd name="T9" fmla="*/ 2 h 208"/>
                  <a:gd name="T10" fmla="*/ 1 w 134"/>
                  <a:gd name="T11" fmla="*/ 0 h 208"/>
                  <a:gd name="T12" fmla="*/ 3 w 134"/>
                  <a:gd name="T13" fmla="*/ 0 h 208"/>
                  <a:gd name="T14" fmla="*/ 23 w 134"/>
                  <a:gd name="T15" fmla="*/ 11 h 208"/>
                  <a:gd name="T16" fmla="*/ 24 w 134"/>
                  <a:gd name="T17" fmla="*/ 13 h 208"/>
                  <a:gd name="T18" fmla="*/ 24 w 134"/>
                  <a:gd name="T19" fmla="*/ 22 h 208"/>
                  <a:gd name="T20" fmla="*/ 31 w 134"/>
                  <a:gd name="T21" fmla="*/ 18 h 208"/>
                  <a:gd name="T22" fmla="*/ 33 w 134"/>
                  <a:gd name="T23" fmla="*/ 18 h 208"/>
                  <a:gd name="T24" fmla="*/ 49 w 134"/>
                  <a:gd name="T25" fmla="*/ 27 h 208"/>
                  <a:gd name="T26" fmla="*/ 66 w 134"/>
                  <a:gd name="T27" fmla="*/ 17 h 208"/>
                  <a:gd name="T28" fmla="*/ 68 w 134"/>
                  <a:gd name="T29" fmla="*/ 17 h 208"/>
                  <a:gd name="T30" fmla="*/ 133 w 134"/>
                  <a:gd name="T31" fmla="*/ 54 h 208"/>
                  <a:gd name="T32" fmla="*/ 134 w 134"/>
                  <a:gd name="T33" fmla="*/ 56 h 208"/>
                  <a:gd name="T34" fmla="*/ 134 w 134"/>
                  <a:gd name="T35" fmla="*/ 206 h 208"/>
                  <a:gd name="T36" fmla="*/ 133 w 134"/>
                  <a:gd name="T37" fmla="*/ 208 h 208"/>
                  <a:gd name="T38" fmla="*/ 132 w 134"/>
                  <a:gd name="T39" fmla="*/ 208 h 208"/>
                  <a:gd name="T40" fmla="*/ 4 w 134"/>
                  <a:gd name="T41" fmla="*/ 130 h 208"/>
                  <a:gd name="T42" fmla="*/ 130 w 134"/>
                  <a:gd name="T43" fmla="*/ 203 h 208"/>
                  <a:gd name="T44" fmla="*/ 130 w 134"/>
                  <a:gd name="T45" fmla="*/ 57 h 208"/>
                  <a:gd name="T46" fmla="*/ 67 w 134"/>
                  <a:gd name="T47" fmla="*/ 21 h 208"/>
                  <a:gd name="T48" fmla="*/ 50 w 134"/>
                  <a:gd name="T49" fmla="*/ 31 h 208"/>
                  <a:gd name="T50" fmla="*/ 48 w 134"/>
                  <a:gd name="T51" fmla="*/ 31 h 208"/>
                  <a:gd name="T52" fmla="*/ 32 w 134"/>
                  <a:gd name="T53" fmla="*/ 22 h 208"/>
                  <a:gd name="T54" fmla="*/ 23 w 134"/>
                  <a:gd name="T55" fmla="*/ 27 h 208"/>
                  <a:gd name="T56" fmla="*/ 21 w 134"/>
                  <a:gd name="T57" fmla="*/ 27 h 208"/>
                  <a:gd name="T58" fmla="*/ 20 w 134"/>
                  <a:gd name="T59" fmla="*/ 25 h 208"/>
                  <a:gd name="T60" fmla="*/ 20 w 134"/>
                  <a:gd name="T61" fmla="*/ 14 h 208"/>
                  <a:gd name="T62" fmla="*/ 4 w 134"/>
                  <a:gd name="T63" fmla="*/ 5 h 208"/>
                  <a:gd name="T64" fmla="*/ 4 w 134"/>
                  <a:gd name="T65" fmla="*/ 13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208">
                    <a:moveTo>
                      <a:pt x="132" y="208"/>
                    </a:moveTo>
                    <a:cubicBezTo>
                      <a:pt x="132" y="208"/>
                      <a:pt x="131" y="208"/>
                      <a:pt x="131" y="208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2"/>
                      <a:pt x="0" y="132"/>
                      <a:pt x="0" y="13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2" y="17"/>
                      <a:pt x="32" y="17"/>
                      <a:pt x="33" y="18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7" y="16"/>
                      <a:pt x="67" y="16"/>
                      <a:pt x="68" y="17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4" y="55"/>
                      <a:pt x="134" y="55"/>
                      <a:pt x="134" y="56"/>
                    </a:cubicBezTo>
                    <a:cubicBezTo>
                      <a:pt x="134" y="206"/>
                      <a:pt x="134" y="206"/>
                      <a:pt x="134" y="206"/>
                    </a:cubicBezTo>
                    <a:cubicBezTo>
                      <a:pt x="134" y="207"/>
                      <a:pt x="134" y="208"/>
                      <a:pt x="133" y="208"/>
                    </a:cubicBezTo>
                    <a:cubicBezTo>
                      <a:pt x="133" y="208"/>
                      <a:pt x="132" y="208"/>
                      <a:pt x="132" y="208"/>
                    </a:cubicBezTo>
                    <a:close/>
                    <a:moveTo>
                      <a:pt x="4" y="130"/>
                    </a:moveTo>
                    <a:cubicBezTo>
                      <a:pt x="130" y="203"/>
                      <a:pt x="130" y="203"/>
                      <a:pt x="130" y="203"/>
                    </a:cubicBezTo>
                    <a:cubicBezTo>
                      <a:pt x="130" y="57"/>
                      <a:pt x="130" y="57"/>
                      <a:pt x="130" y="57"/>
                    </a:cubicBezTo>
                    <a:cubicBezTo>
                      <a:pt x="67" y="21"/>
                      <a:pt x="67" y="21"/>
                      <a:pt x="67" y="21"/>
                    </a:cubicBezTo>
                    <a:cubicBezTo>
                      <a:pt x="50" y="31"/>
                      <a:pt x="50" y="31"/>
                      <a:pt x="50" y="31"/>
                    </a:cubicBezTo>
                    <a:cubicBezTo>
                      <a:pt x="49" y="31"/>
                      <a:pt x="48" y="31"/>
                      <a:pt x="48" y="31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27"/>
                      <a:pt x="21" y="27"/>
                      <a:pt x="21" y="27"/>
                    </a:cubicBezTo>
                    <a:cubicBezTo>
                      <a:pt x="20" y="27"/>
                      <a:pt x="20" y="26"/>
                      <a:pt x="20" y="25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1" name="Freeform 967">
                <a:extLst>
                  <a:ext uri="{FF2B5EF4-FFF2-40B4-BE49-F238E27FC236}">
                    <a16:creationId xmlns:a16="http://schemas.microsoft.com/office/drawing/2014/main" id="{E8CB52AE-58B6-4CEB-B8B3-3F944140D58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356938" y="6452137"/>
                <a:ext cx="39427" cy="30089"/>
              </a:xfrm>
              <a:custGeom>
                <a:avLst/>
                <a:gdLst>
                  <a:gd name="T0" fmla="*/ 13 w 16"/>
                  <a:gd name="T1" fmla="*/ 12 h 12"/>
                  <a:gd name="T2" fmla="*/ 12 w 16"/>
                  <a:gd name="T3" fmla="*/ 12 h 12"/>
                  <a:gd name="T4" fmla="*/ 1 w 16"/>
                  <a:gd name="T5" fmla="*/ 5 h 12"/>
                  <a:gd name="T6" fmla="*/ 0 w 16"/>
                  <a:gd name="T7" fmla="*/ 3 h 12"/>
                  <a:gd name="T8" fmla="*/ 0 w 16"/>
                  <a:gd name="T9" fmla="*/ 2 h 12"/>
                  <a:gd name="T10" fmla="*/ 1 w 16"/>
                  <a:gd name="T11" fmla="*/ 0 h 12"/>
                  <a:gd name="T12" fmla="*/ 3 w 16"/>
                  <a:gd name="T13" fmla="*/ 0 h 12"/>
                  <a:gd name="T14" fmla="*/ 15 w 16"/>
                  <a:gd name="T15" fmla="*/ 7 h 12"/>
                  <a:gd name="T16" fmla="*/ 16 w 16"/>
                  <a:gd name="T17" fmla="*/ 9 h 12"/>
                  <a:gd name="T18" fmla="*/ 15 w 16"/>
                  <a:gd name="T19" fmla="*/ 11 h 12"/>
                  <a:gd name="T20" fmla="*/ 14 w 16"/>
                  <a:gd name="T21" fmla="*/ 12 h 12"/>
                  <a:gd name="T22" fmla="*/ 13 w 16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2">
                    <a:moveTo>
                      <a:pt x="13" y="12"/>
                    </a:moveTo>
                    <a:cubicBezTo>
                      <a:pt x="13" y="12"/>
                      <a:pt x="12" y="12"/>
                      <a:pt x="12" y="1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8"/>
                      <a:pt x="16" y="8"/>
                      <a:pt x="16" y="9"/>
                    </a:cubicBezTo>
                    <a:cubicBezTo>
                      <a:pt x="16" y="10"/>
                      <a:pt x="16" y="10"/>
                      <a:pt x="15" y="11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3" y="12"/>
                      <a:pt x="13" y="12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2" name="Freeform 984">
                <a:extLst>
                  <a:ext uri="{FF2B5EF4-FFF2-40B4-BE49-F238E27FC236}">
                    <a16:creationId xmlns:a16="http://schemas.microsoft.com/office/drawing/2014/main" id="{04F23057-AD1D-4FA9-9E24-38CDE1648E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15777" y="6827727"/>
                <a:ext cx="292587" cy="198170"/>
              </a:xfrm>
              <a:custGeom>
                <a:avLst/>
                <a:gdLst>
                  <a:gd name="T0" fmla="*/ 54 w 119"/>
                  <a:gd name="T1" fmla="*/ 81 h 81"/>
                  <a:gd name="T2" fmla="*/ 53 w 119"/>
                  <a:gd name="T3" fmla="*/ 81 h 81"/>
                  <a:gd name="T4" fmla="*/ 44 w 119"/>
                  <a:gd name="T5" fmla="*/ 76 h 81"/>
                  <a:gd name="T6" fmla="*/ 43 w 119"/>
                  <a:gd name="T7" fmla="*/ 74 h 81"/>
                  <a:gd name="T8" fmla="*/ 43 w 119"/>
                  <a:gd name="T9" fmla="*/ 56 h 81"/>
                  <a:gd name="T10" fmla="*/ 28 w 119"/>
                  <a:gd name="T11" fmla="*/ 65 h 81"/>
                  <a:gd name="T12" fmla="*/ 26 w 119"/>
                  <a:gd name="T13" fmla="*/ 65 h 81"/>
                  <a:gd name="T14" fmla="*/ 1 w 119"/>
                  <a:gd name="T15" fmla="*/ 51 h 81"/>
                  <a:gd name="T16" fmla="*/ 0 w 119"/>
                  <a:gd name="T17" fmla="*/ 49 h 81"/>
                  <a:gd name="T18" fmla="*/ 0 w 119"/>
                  <a:gd name="T19" fmla="*/ 43 h 81"/>
                  <a:gd name="T20" fmla="*/ 1 w 119"/>
                  <a:gd name="T21" fmla="*/ 41 h 81"/>
                  <a:gd name="T22" fmla="*/ 72 w 119"/>
                  <a:gd name="T23" fmla="*/ 0 h 81"/>
                  <a:gd name="T24" fmla="*/ 74 w 119"/>
                  <a:gd name="T25" fmla="*/ 0 h 81"/>
                  <a:gd name="T26" fmla="*/ 101 w 119"/>
                  <a:gd name="T27" fmla="*/ 16 h 81"/>
                  <a:gd name="T28" fmla="*/ 102 w 119"/>
                  <a:gd name="T29" fmla="*/ 18 h 81"/>
                  <a:gd name="T30" fmla="*/ 102 w 119"/>
                  <a:gd name="T31" fmla="*/ 31 h 81"/>
                  <a:gd name="T32" fmla="*/ 118 w 119"/>
                  <a:gd name="T33" fmla="*/ 40 h 81"/>
                  <a:gd name="T34" fmla="*/ 119 w 119"/>
                  <a:gd name="T35" fmla="*/ 42 h 81"/>
                  <a:gd name="T36" fmla="*/ 118 w 119"/>
                  <a:gd name="T37" fmla="*/ 44 h 81"/>
                  <a:gd name="T38" fmla="*/ 86 w 119"/>
                  <a:gd name="T39" fmla="*/ 63 h 81"/>
                  <a:gd name="T40" fmla="*/ 84 w 119"/>
                  <a:gd name="T41" fmla="*/ 63 h 81"/>
                  <a:gd name="T42" fmla="*/ 58 w 119"/>
                  <a:gd name="T43" fmla="*/ 48 h 81"/>
                  <a:gd name="T44" fmla="*/ 58 w 119"/>
                  <a:gd name="T45" fmla="*/ 78 h 81"/>
                  <a:gd name="T46" fmla="*/ 57 w 119"/>
                  <a:gd name="T47" fmla="*/ 79 h 81"/>
                  <a:gd name="T48" fmla="*/ 55 w 119"/>
                  <a:gd name="T49" fmla="*/ 81 h 81"/>
                  <a:gd name="T50" fmla="*/ 54 w 119"/>
                  <a:gd name="T51" fmla="*/ 81 h 81"/>
                  <a:gd name="T52" fmla="*/ 47 w 119"/>
                  <a:gd name="T53" fmla="*/ 73 h 81"/>
                  <a:gd name="T54" fmla="*/ 54 w 119"/>
                  <a:gd name="T55" fmla="*/ 76 h 81"/>
                  <a:gd name="T56" fmla="*/ 54 w 119"/>
                  <a:gd name="T57" fmla="*/ 76 h 81"/>
                  <a:gd name="T58" fmla="*/ 54 w 119"/>
                  <a:gd name="T59" fmla="*/ 44 h 81"/>
                  <a:gd name="T60" fmla="*/ 55 w 119"/>
                  <a:gd name="T61" fmla="*/ 43 h 81"/>
                  <a:gd name="T62" fmla="*/ 57 w 119"/>
                  <a:gd name="T63" fmla="*/ 43 h 81"/>
                  <a:gd name="T64" fmla="*/ 85 w 119"/>
                  <a:gd name="T65" fmla="*/ 59 h 81"/>
                  <a:gd name="T66" fmla="*/ 113 w 119"/>
                  <a:gd name="T67" fmla="*/ 42 h 81"/>
                  <a:gd name="T68" fmla="*/ 99 w 119"/>
                  <a:gd name="T69" fmla="*/ 34 h 81"/>
                  <a:gd name="T70" fmla="*/ 98 w 119"/>
                  <a:gd name="T71" fmla="*/ 32 h 81"/>
                  <a:gd name="T72" fmla="*/ 98 w 119"/>
                  <a:gd name="T73" fmla="*/ 19 h 81"/>
                  <a:gd name="T74" fmla="*/ 73 w 119"/>
                  <a:gd name="T75" fmla="*/ 5 h 81"/>
                  <a:gd name="T76" fmla="*/ 4 w 119"/>
                  <a:gd name="T77" fmla="*/ 44 h 81"/>
                  <a:gd name="T78" fmla="*/ 4 w 119"/>
                  <a:gd name="T79" fmla="*/ 48 h 81"/>
                  <a:gd name="T80" fmla="*/ 27 w 119"/>
                  <a:gd name="T81" fmla="*/ 61 h 81"/>
                  <a:gd name="T82" fmla="*/ 44 w 119"/>
                  <a:gd name="T83" fmla="*/ 51 h 81"/>
                  <a:gd name="T84" fmla="*/ 46 w 119"/>
                  <a:gd name="T85" fmla="*/ 51 h 81"/>
                  <a:gd name="T86" fmla="*/ 47 w 119"/>
                  <a:gd name="T87" fmla="*/ 53 h 81"/>
                  <a:gd name="T88" fmla="*/ 47 w 119"/>
                  <a:gd name="T89" fmla="*/ 7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81">
                    <a:moveTo>
                      <a:pt x="54" y="81"/>
                    </a:moveTo>
                    <a:cubicBezTo>
                      <a:pt x="54" y="81"/>
                      <a:pt x="53" y="81"/>
                      <a:pt x="53" y="81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4" y="75"/>
                      <a:pt x="43" y="75"/>
                      <a:pt x="43" y="74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7" y="65"/>
                      <a:pt x="26" y="65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3" y="0"/>
                      <a:pt x="74" y="0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1" y="16"/>
                      <a:pt x="102" y="17"/>
                      <a:pt x="102" y="18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2"/>
                    </a:cubicBezTo>
                    <a:cubicBezTo>
                      <a:pt x="119" y="43"/>
                      <a:pt x="119" y="44"/>
                      <a:pt x="118" y="44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5" y="63"/>
                      <a:pt x="85" y="63"/>
                      <a:pt x="84" y="63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78"/>
                      <a:pt x="58" y="79"/>
                      <a:pt x="57" y="79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5" y="81"/>
                      <a:pt x="54" y="81"/>
                      <a:pt x="54" y="81"/>
                    </a:cubicBezTo>
                    <a:close/>
                    <a:moveTo>
                      <a:pt x="47" y="73"/>
                    </a:move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4"/>
                      <a:pt x="54" y="43"/>
                      <a:pt x="55" y="43"/>
                    </a:cubicBezTo>
                    <a:cubicBezTo>
                      <a:pt x="56" y="42"/>
                      <a:pt x="56" y="42"/>
                      <a:pt x="57" y="43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99" y="34"/>
                      <a:pt x="99" y="34"/>
                      <a:pt x="99" y="34"/>
                    </a:cubicBezTo>
                    <a:cubicBezTo>
                      <a:pt x="98" y="33"/>
                      <a:pt x="98" y="33"/>
                      <a:pt x="98" y="32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27" y="61"/>
                      <a:pt x="27" y="61"/>
                      <a:pt x="27" y="6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5" y="51"/>
                      <a:pt x="46" y="51"/>
                      <a:pt x="46" y="51"/>
                    </a:cubicBezTo>
                    <a:cubicBezTo>
                      <a:pt x="47" y="52"/>
                      <a:pt x="47" y="52"/>
                      <a:pt x="47" y="53"/>
                    </a:cubicBezTo>
                    <a:lnTo>
                      <a:pt x="47" y="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3" name="Freeform 985">
                <a:extLst>
                  <a:ext uri="{FF2B5EF4-FFF2-40B4-BE49-F238E27FC236}">
                    <a16:creationId xmlns:a16="http://schemas.microsoft.com/office/drawing/2014/main" id="{709E0EC9-2C1E-4D97-B9DD-E546A3C98C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58316" y="6611918"/>
                <a:ext cx="250048" cy="320600"/>
              </a:xfrm>
              <a:custGeom>
                <a:avLst/>
                <a:gdLst>
                  <a:gd name="T0" fmla="*/ 2 w 102"/>
                  <a:gd name="T1" fmla="*/ 131 h 131"/>
                  <a:gd name="T2" fmla="*/ 1 w 102"/>
                  <a:gd name="T3" fmla="*/ 131 h 131"/>
                  <a:gd name="T4" fmla="*/ 0 w 102"/>
                  <a:gd name="T5" fmla="*/ 129 h 131"/>
                  <a:gd name="T6" fmla="*/ 0 w 102"/>
                  <a:gd name="T7" fmla="*/ 58 h 131"/>
                  <a:gd name="T8" fmla="*/ 1 w 102"/>
                  <a:gd name="T9" fmla="*/ 57 h 131"/>
                  <a:gd name="T10" fmla="*/ 99 w 102"/>
                  <a:gd name="T11" fmla="*/ 1 h 131"/>
                  <a:gd name="T12" fmla="*/ 101 w 102"/>
                  <a:gd name="T13" fmla="*/ 1 h 131"/>
                  <a:gd name="T14" fmla="*/ 102 w 102"/>
                  <a:gd name="T15" fmla="*/ 2 h 131"/>
                  <a:gd name="T16" fmla="*/ 102 w 102"/>
                  <a:gd name="T17" fmla="*/ 104 h 131"/>
                  <a:gd name="T18" fmla="*/ 101 w 102"/>
                  <a:gd name="T19" fmla="*/ 106 h 131"/>
                  <a:gd name="T20" fmla="*/ 99 w 102"/>
                  <a:gd name="T21" fmla="*/ 106 h 131"/>
                  <a:gd name="T22" fmla="*/ 73 w 102"/>
                  <a:gd name="T23" fmla="*/ 91 h 131"/>
                  <a:gd name="T24" fmla="*/ 3 w 102"/>
                  <a:gd name="T25" fmla="*/ 131 h 131"/>
                  <a:gd name="T26" fmla="*/ 2 w 102"/>
                  <a:gd name="T27" fmla="*/ 131 h 131"/>
                  <a:gd name="T28" fmla="*/ 4 w 102"/>
                  <a:gd name="T29" fmla="*/ 60 h 131"/>
                  <a:gd name="T30" fmla="*/ 4 w 102"/>
                  <a:gd name="T31" fmla="*/ 125 h 131"/>
                  <a:gd name="T32" fmla="*/ 72 w 102"/>
                  <a:gd name="T33" fmla="*/ 87 h 131"/>
                  <a:gd name="T34" fmla="*/ 74 w 102"/>
                  <a:gd name="T35" fmla="*/ 87 h 131"/>
                  <a:gd name="T36" fmla="*/ 98 w 102"/>
                  <a:gd name="T37" fmla="*/ 100 h 131"/>
                  <a:gd name="T38" fmla="*/ 98 w 102"/>
                  <a:gd name="T39" fmla="*/ 6 h 131"/>
                  <a:gd name="T40" fmla="*/ 4 w 102"/>
                  <a:gd name="T41" fmla="*/ 6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31">
                    <a:moveTo>
                      <a:pt x="2" y="131"/>
                    </a:moveTo>
                    <a:cubicBezTo>
                      <a:pt x="2" y="131"/>
                      <a:pt x="2" y="131"/>
                      <a:pt x="1" y="131"/>
                    </a:cubicBezTo>
                    <a:cubicBezTo>
                      <a:pt x="1" y="130"/>
                      <a:pt x="0" y="130"/>
                      <a:pt x="0" y="129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1" y="57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5"/>
                      <a:pt x="101" y="105"/>
                      <a:pt x="101" y="106"/>
                    </a:cubicBezTo>
                    <a:cubicBezTo>
                      <a:pt x="100" y="106"/>
                      <a:pt x="99" y="106"/>
                      <a:pt x="99" y="106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" y="131"/>
                      <a:pt x="3" y="131"/>
                      <a:pt x="2" y="131"/>
                    </a:cubicBezTo>
                    <a:close/>
                    <a:moveTo>
                      <a:pt x="4" y="60"/>
                    </a:moveTo>
                    <a:cubicBezTo>
                      <a:pt x="4" y="125"/>
                      <a:pt x="4" y="125"/>
                      <a:pt x="4" y="125"/>
                    </a:cubicBezTo>
                    <a:cubicBezTo>
                      <a:pt x="72" y="87"/>
                      <a:pt x="72" y="87"/>
                      <a:pt x="72" y="87"/>
                    </a:cubicBezTo>
                    <a:cubicBezTo>
                      <a:pt x="72" y="86"/>
                      <a:pt x="73" y="86"/>
                      <a:pt x="74" y="87"/>
                    </a:cubicBezTo>
                    <a:cubicBezTo>
                      <a:pt x="98" y="100"/>
                      <a:pt x="98" y="100"/>
                      <a:pt x="98" y="100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4" name="Freeform 986">
                <a:extLst>
                  <a:ext uri="{FF2B5EF4-FFF2-40B4-BE49-F238E27FC236}">
                    <a16:creationId xmlns:a16="http://schemas.microsoft.com/office/drawing/2014/main" id="{EE0B662A-4DA5-426A-BD24-C834C62320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38849" y="6948081"/>
                <a:ext cx="69515" cy="75740"/>
              </a:xfrm>
              <a:custGeom>
                <a:avLst/>
                <a:gdLst>
                  <a:gd name="T0" fmla="*/ 2 w 28"/>
                  <a:gd name="T1" fmla="*/ 31 h 31"/>
                  <a:gd name="T2" fmla="*/ 1 w 28"/>
                  <a:gd name="T3" fmla="*/ 30 h 31"/>
                  <a:gd name="T4" fmla="*/ 0 w 28"/>
                  <a:gd name="T5" fmla="*/ 29 h 31"/>
                  <a:gd name="T6" fmla="*/ 0 w 28"/>
                  <a:gd name="T7" fmla="*/ 2 h 31"/>
                  <a:gd name="T8" fmla="*/ 1 w 28"/>
                  <a:gd name="T9" fmla="*/ 0 h 31"/>
                  <a:gd name="T10" fmla="*/ 3 w 28"/>
                  <a:gd name="T11" fmla="*/ 0 h 31"/>
                  <a:gd name="T12" fmla="*/ 27 w 28"/>
                  <a:gd name="T13" fmla="*/ 14 h 31"/>
                  <a:gd name="T14" fmla="*/ 28 w 28"/>
                  <a:gd name="T15" fmla="*/ 15 h 31"/>
                  <a:gd name="T16" fmla="*/ 27 w 28"/>
                  <a:gd name="T17" fmla="*/ 17 h 31"/>
                  <a:gd name="T18" fmla="*/ 3 w 28"/>
                  <a:gd name="T19" fmla="*/ 30 h 31"/>
                  <a:gd name="T20" fmla="*/ 2 w 28"/>
                  <a:gd name="T21" fmla="*/ 31 h 31"/>
                  <a:gd name="T22" fmla="*/ 4 w 28"/>
                  <a:gd name="T23" fmla="*/ 5 h 31"/>
                  <a:gd name="T24" fmla="*/ 4 w 28"/>
                  <a:gd name="T25" fmla="*/ 25 h 31"/>
                  <a:gd name="T26" fmla="*/ 22 w 28"/>
                  <a:gd name="T27" fmla="*/ 15 h 31"/>
                  <a:gd name="T28" fmla="*/ 4 w 28"/>
                  <a:gd name="T2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1">
                    <a:moveTo>
                      <a:pt x="2" y="31"/>
                    </a:moveTo>
                    <a:cubicBezTo>
                      <a:pt x="2" y="31"/>
                      <a:pt x="2" y="31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4"/>
                      <a:pt x="28" y="15"/>
                      <a:pt x="28" y="15"/>
                    </a:cubicBezTo>
                    <a:cubicBezTo>
                      <a:pt x="28" y="16"/>
                      <a:pt x="27" y="17"/>
                      <a:pt x="27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1"/>
                      <a:pt x="3" y="31"/>
                      <a:pt x="2" y="31"/>
                    </a:cubicBezTo>
                    <a:close/>
                    <a:moveTo>
                      <a:pt x="4" y="5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2" y="15"/>
                      <a:pt x="22" y="15"/>
                      <a:pt x="22" y="15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5" name="Freeform 987">
                <a:extLst>
                  <a:ext uri="{FF2B5EF4-FFF2-40B4-BE49-F238E27FC236}">
                    <a16:creationId xmlns:a16="http://schemas.microsoft.com/office/drawing/2014/main" id="{15A0C902-5EF5-410C-A606-4CAFF059CF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1252" y="6543441"/>
                <a:ext cx="64328" cy="70553"/>
              </a:xfrm>
              <a:custGeom>
                <a:avLst/>
                <a:gdLst>
                  <a:gd name="T0" fmla="*/ 2 w 26"/>
                  <a:gd name="T1" fmla="*/ 29 h 29"/>
                  <a:gd name="T2" fmla="*/ 1 w 26"/>
                  <a:gd name="T3" fmla="*/ 29 h 29"/>
                  <a:gd name="T4" fmla="*/ 0 w 26"/>
                  <a:gd name="T5" fmla="*/ 27 h 29"/>
                  <a:gd name="T6" fmla="*/ 0 w 26"/>
                  <a:gd name="T7" fmla="*/ 2 h 29"/>
                  <a:gd name="T8" fmla="*/ 1 w 26"/>
                  <a:gd name="T9" fmla="*/ 1 h 29"/>
                  <a:gd name="T10" fmla="*/ 3 w 26"/>
                  <a:gd name="T11" fmla="*/ 1 h 29"/>
                  <a:gd name="T12" fmla="*/ 25 w 26"/>
                  <a:gd name="T13" fmla="*/ 13 h 29"/>
                  <a:gd name="T14" fmla="*/ 26 w 26"/>
                  <a:gd name="T15" fmla="*/ 15 h 29"/>
                  <a:gd name="T16" fmla="*/ 25 w 26"/>
                  <a:gd name="T17" fmla="*/ 17 h 29"/>
                  <a:gd name="T18" fmla="*/ 3 w 26"/>
                  <a:gd name="T19" fmla="*/ 29 h 29"/>
                  <a:gd name="T20" fmla="*/ 2 w 26"/>
                  <a:gd name="T21" fmla="*/ 29 h 29"/>
                  <a:gd name="T22" fmla="*/ 4 w 26"/>
                  <a:gd name="T23" fmla="*/ 6 h 29"/>
                  <a:gd name="T24" fmla="*/ 4 w 26"/>
                  <a:gd name="T25" fmla="*/ 24 h 29"/>
                  <a:gd name="T26" fmla="*/ 20 w 26"/>
                  <a:gd name="T27" fmla="*/ 15 h 29"/>
                  <a:gd name="T28" fmla="*/ 4 w 26"/>
                  <a:gd name="T29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" y="29"/>
                    </a:moveTo>
                    <a:cubicBezTo>
                      <a:pt x="2" y="29"/>
                      <a:pt x="2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3"/>
                      <a:pt x="26" y="14"/>
                      <a:pt x="26" y="15"/>
                    </a:cubicBezTo>
                    <a:cubicBezTo>
                      <a:pt x="26" y="16"/>
                      <a:pt x="26" y="16"/>
                      <a:pt x="25" y="1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2" y="29"/>
                    </a:cubicBezTo>
                    <a:close/>
                    <a:moveTo>
                      <a:pt x="4" y="6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20" y="15"/>
                      <a:pt x="20" y="15"/>
                      <a:pt x="20" y="1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6" name="Freeform 988">
                <a:extLst>
                  <a:ext uri="{FF2B5EF4-FFF2-40B4-BE49-F238E27FC236}">
                    <a16:creationId xmlns:a16="http://schemas.microsoft.com/office/drawing/2014/main" id="{A3F828A7-F166-42E9-81EF-7089C41680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195272" y="6982320"/>
                <a:ext cx="113092" cy="115167"/>
              </a:xfrm>
              <a:custGeom>
                <a:avLst/>
                <a:gdLst>
                  <a:gd name="T0" fmla="*/ 4 w 46"/>
                  <a:gd name="T1" fmla="*/ 47 h 47"/>
                  <a:gd name="T2" fmla="*/ 3 w 46"/>
                  <a:gd name="T3" fmla="*/ 47 h 47"/>
                  <a:gd name="T4" fmla="*/ 1 w 46"/>
                  <a:gd name="T5" fmla="*/ 46 h 47"/>
                  <a:gd name="T6" fmla="*/ 0 w 46"/>
                  <a:gd name="T7" fmla="*/ 44 h 47"/>
                  <a:gd name="T8" fmla="*/ 0 w 46"/>
                  <a:gd name="T9" fmla="*/ 17 h 47"/>
                  <a:gd name="T10" fmla="*/ 1 w 46"/>
                  <a:gd name="T11" fmla="*/ 15 h 47"/>
                  <a:gd name="T12" fmla="*/ 26 w 46"/>
                  <a:gd name="T13" fmla="*/ 1 h 47"/>
                  <a:gd name="T14" fmla="*/ 28 w 46"/>
                  <a:gd name="T15" fmla="*/ 1 h 47"/>
                  <a:gd name="T16" fmla="*/ 45 w 46"/>
                  <a:gd name="T17" fmla="*/ 10 h 47"/>
                  <a:gd name="T18" fmla="*/ 46 w 46"/>
                  <a:gd name="T19" fmla="*/ 12 h 47"/>
                  <a:gd name="T20" fmla="*/ 46 w 46"/>
                  <a:gd name="T21" fmla="*/ 22 h 47"/>
                  <a:gd name="T22" fmla="*/ 45 w 46"/>
                  <a:gd name="T23" fmla="*/ 23 h 47"/>
                  <a:gd name="T24" fmla="*/ 5 w 46"/>
                  <a:gd name="T25" fmla="*/ 47 h 47"/>
                  <a:gd name="T26" fmla="*/ 4 w 46"/>
                  <a:gd name="T27" fmla="*/ 47 h 47"/>
                  <a:gd name="T28" fmla="*/ 4 w 46"/>
                  <a:gd name="T29" fmla="*/ 18 h 47"/>
                  <a:gd name="T30" fmla="*/ 4 w 46"/>
                  <a:gd name="T31" fmla="*/ 42 h 47"/>
                  <a:gd name="T32" fmla="*/ 42 w 46"/>
                  <a:gd name="T33" fmla="*/ 21 h 47"/>
                  <a:gd name="T34" fmla="*/ 42 w 46"/>
                  <a:gd name="T35" fmla="*/ 13 h 47"/>
                  <a:gd name="T36" fmla="*/ 27 w 46"/>
                  <a:gd name="T37" fmla="*/ 5 h 47"/>
                  <a:gd name="T38" fmla="*/ 4 w 46"/>
                  <a:gd name="T39" fmla="*/ 1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7">
                    <a:moveTo>
                      <a:pt x="4" y="47"/>
                    </a:move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8" y="0"/>
                      <a:pt x="28" y="1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2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22"/>
                      <a:pt x="45" y="23"/>
                      <a:pt x="45" y="2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7"/>
                      <a:pt x="4" y="47"/>
                      <a:pt x="4" y="47"/>
                    </a:cubicBezTo>
                    <a:close/>
                    <a:moveTo>
                      <a:pt x="4" y="18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7" name="Freeform 989">
                <a:extLst>
                  <a:ext uri="{FF2B5EF4-FFF2-40B4-BE49-F238E27FC236}">
                    <a16:creationId xmlns:a16="http://schemas.microsoft.com/office/drawing/2014/main" id="{0F0AC0FE-2D0E-418D-9E96-36FA14F516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6579755"/>
                <a:ext cx="61215" cy="323712"/>
              </a:xfrm>
              <a:custGeom>
                <a:avLst/>
                <a:gdLst>
                  <a:gd name="T0" fmla="*/ 23 w 25"/>
                  <a:gd name="T1" fmla="*/ 132 h 132"/>
                  <a:gd name="T2" fmla="*/ 22 w 25"/>
                  <a:gd name="T3" fmla="*/ 132 h 132"/>
                  <a:gd name="T4" fmla="*/ 1 w 25"/>
                  <a:gd name="T5" fmla="*/ 120 h 132"/>
                  <a:gd name="T6" fmla="*/ 0 w 25"/>
                  <a:gd name="T7" fmla="*/ 118 h 132"/>
                  <a:gd name="T8" fmla="*/ 0 w 25"/>
                  <a:gd name="T9" fmla="*/ 14 h 132"/>
                  <a:gd name="T10" fmla="*/ 1 w 25"/>
                  <a:gd name="T11" fmla="*/ 13 h 132"/>
                  <a:gd name="T12" fmla="*/ 22 w 25"/>
                  <a:gd name="T13" fmla="*/ 1 h 132"/>
                  <a:gd name="T14" fmla="*/ 24 w 25"/>
                  <a:gd name="T15" fmla="*/ 1 h 132"/>
                  <a:gd name="T16" fmla="*/ 25 w 25"/>
                  <a:gd name="T17" fmla="*/ 2 h 132"/>
                  <a:gd name="T18" fmla="*/ 25 w 25"/>
                  <a:gd name="T19" fmla="*/ 130 h 132"/>
                  <a:gd name="T20" fmla="*/ 24 w 25"/>
                  <a:gd name="T21" fmla="*/ 132 h 132"/>
                  <a:gd name="T22" fmla="*/ 23 w 25"/>
                  <a:gd name="T23" fmla="*/ 132 h 132"/>
                  <a:gd name="T24" fmla="*/ 4 w 25"/>
                  <a:gd name="T25" fmla="*/ 117 h 132"/>
                  <a:gd name="T26" fmla="*/ 21 w 25"/>
                  <a:gd name="T27" fmla="*/ 126 h 132"/>
                  <a:gd name="T28" fmla="*/ 21 w 25"/>
                  <a:gd name="T29" fmla="*/ 6 h 132"/>
                  <a:gd name="T30" fmla="*/ 4 w 25"/>
                  <a:gd name="T31" fmla="*/ 16 h 132"/>
                  <a:gd name="T32" fmla="*/ 4 w 25"/>
                  <a:gd name="T33" fmla="*/ 11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132">
                    <a:moveTo>
                      <a:pt x="23" y="132"/>
                    </a:moveTo>
                    <a:cubicBezTo>
                      <a:pt x="23" y="132"/>
                      <a:pt x="22" y="132"/>
                      <a:pt x="22" y="13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19"/>
                      <a:pt x="0" y="119"/>
                      <a:pt x="0" y="11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5" y="1"/>
                      <a:pt x="25" y="2"/>
                      <a:pt x="25" y="2"/>
                    </a:cubicBezTo>
                    <a:cubicBezTo>
                      <a:pt x="25" y="130"/>
                      <a:pt x="25" y="130"/>
                      <a:pt x="25" y="130"/>
                    </a:cubicBezTo>
                    <a:cubicBezTo>
                      <a:pt x="25" y="131"/>
                      <a:pt x="25" y="131"/>
                      <a:pt x="24" y="132"/>
                    </a:cubicBezTo>
                    <a:cubicBezTo>
                      <a:pt x="24" y="132"/>
                      <a:pt x="23" y="132"/>
                      <a:pt x="23" y="132"/>
                    </a:cubicBezTo>
                    <a:close/>
                    <a:moveTo>
                      <a:pt x="4" y="117"/>
                    </a:moveTo>
                    <a:cubicBezTo>
                      <a:pt x="21" y="126"/>
                      <a:pt x="21" y="126"/>
                      <a:pt x="21" y="12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1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8" name="Freeform 990">
                <a:extLst>
                  <a:ext uri="{FF2B5EF4-FFF2-40B4-BE49-F238E27FC236}">
                    <a16:creationId xmlns:a16="http://schemas.microsoft.com/office/drawing/2014/main" id="{C797A93D-3A45-4642-977F-AAEC6DA4C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940037" y="6901392"/>
                <a:ext cx="75741" cy="58102"/>
              </a:xfrm>
              <a:custGeom>
                <a:avLst/>
                <a:gdLst>
                  <a:gd name="T0" fmla="*/ 19 w 31"/>
                  <a:gd name="T1" fmla="*/ 24 h 24"/>
                  <a:gd name="T2" fmla="*/ 18 w 31"/>
                  <a:gd name="T3" fmla="*/ 24 h 24"/>
                  <a:gd name="T4" fmla="*/ 1 w 31"/>
                  <a:gd name="T5" fmla="*/ 14 h 24"/>
                  <a:gd name="T6" fmla="*/ 0 w 31"/>
                  <a:gd name="T7" fmla="*/ 12 h 24"/>
                  <a:gd name="T8" fmla="*/ 1 w 31"/>
                  <a:gd name="T9" fmla="*/ 10 h 24"/>
                  <a:gd name="T10" fmla="*/ 3 w 31"/>
                  <a:gd name="T11" fmla="*/ 9 h 24"/>
                  <a:gd name="T12" fmla="*/ 3 w 31"/>
                  <a:gd name="T13" fmla="*/ 2 h 24"/>
                  <a:gd name="T14" fmla="*/ 4 w 31"/>
                  <a:gd name="T15" fmla="*/ 0 h 24"/>
                  <a:gd name="T16" fmla="*/ 6 w 31"/>
                  <a:gd name="T17" fmla="*/ 0 h 24"/>
                  <a:gd name="T18" fmla="*/ 30 w 31"/>
                  <a:gd name="T19" fmla="*/ 14 h 24"/>
                  <a:gd name="T20" fmla="*/ 31 w 31"/>
                  <a:gd name="T21" fmla="*/ 16 h 24"/>
                  <a:gd name="T22" fmla="*/ 30 w 31"/>
                  <a:gd name="T23" fmla="*/ 18 h 24"/>
                  <a:gd name="T24" fmla="*/ 20 w 31"/>
                  <a:gd name="T25" fmla="*/ 24 h 24"/>
                  <a:gd name="T26" fmla="*/ 19 w 31"/>
                  <a:gd name="T27" fmla="*/ 24 h 24"/>
                  <a:gd name="T28" fmla="*/ 6 w 31"/>
                  <a:gd name="T29" fmla="*/ 12 h 24"/>
                  <a:gd name="T30" fmla="*/ 19 w 31"/>
                  <a:gd name="T31" fmla="*/ 20 h 24"/>
                  <a:gd name="T32" fmla="*/ 25 w 31"/>
                  <a:gd name="T33" fmla="*/ 16 h 24"/>
                  <a:gd name="T34" fmla="*/ 7 w 31"/>
                  <a:gd name="T35" fmla="*/ 5 h 24"/>
                  <a:gd name="T36" fmla="*/ 7 w 31"/>
                  <a:gd name="T37" fmla="*/ 10 h 24"/>
                  <a:gd name="T38" fmla="*/ 6 w 31"/>
                  <a:gd name="T39" fmla="*/ 12 h 24"/>
                  <a:gd name="T40" fmla="*/ 5 w 31"/>
                  <a:gd name="T41" fmla="*/ 10 h 24"/>
                  <a:gd name="T42" fmla="*/ 5 w 31"/>
                  <a:gd name="T4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24">
                    <a:moveTo>
                      <a:pt x="19" y="24"/>
                    </a:moveTo>
                    <a:cubicBezTo>
                      <a:pt x="18" y="24"/>
                      <a:pt x="18" y="24"/>
                      <a:pt x="18" y="2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0"/>
                      <a:pt x="4" y="0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5"/>
                      <a:pt x="31" y="15"/>
                      <a:pt x="31" y="16"/>
                    </a:cubicBezTo>
                    <a:cubicBezTo>
                      <a:pt x="31" y="17"/>
                      <a:pt x="31" y="17"/>
                      <a:pt x="30" y="18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9" y="24"/>
                      <a:pt x="19" y="24"/>
                      <a:pt x="19" y="24"/>
                    </a:cubicBezTo>
                    <a:close/>
                    <a:moveTo>
                      <a:pt x="6" y="12"/>
                    </a:moveTo>
                    <a:cubicBezTo>
                      <a:pt x="19" y="20"/>
                      <a:pt x="19" y="20"/>
                      <a:pt x="19" y="20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9" name="Freeform 991">
                <a:extLst>
                  <a:ext uri="{FF2B5EF4-FFF2-40B4-BE49-F238E27FC236}">
                    <a16:creationId xmlns:a16="http://schemas.microsoft.com/office/drawing/2014/main" id="{76970A02-08AE-45C3-B48F-FC2061757B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004364" y="6869228"/>
                <a:ext cx="61215" cy="63290"/>
              </a:xfrm>
              <a:custGeom>
                <a:avLst/>
                <a:gdLst>
                  <a:gd name="T0" fmla="*/ 20 w 25"/>
                  <a:gd name="T1" fmla="*/ 26 h 26"/>
                  <a:gd name="T2" fmla="*/ 19 w 25"/>
                  <a:gd name="T3" fmla="*/ 26 h 26"/>
                  <a:gd name="T4" fmla="*/ 1 w 25"/>
                  <a:gd name="T5" fmla="*/ 16 h 26"/>
                  <a:gd name="T6" fmla="*/ 0 w 25"/>
                  <a:gd name="T7" fmla="*/ 14 h 26"/>
                  <a:gd name="T8" fmla="*/ 0 w 25"/>
                  <a:gd name="T9" fmla="*/ 2 h 26"/>
                  <a:gd name="T10" fmla="*/ 1 w 25"/>
                  <a:gd name="T11" fmla="*/ 0 h 26"/>
                  <a:gd name="T12" fmla="*/ 3 w 25"/>
                  <a:gd name="T13" fmla="*/ 0 h 26"/>
                  <a:gd name="T14" fmla="*/ 24 w 25"/>
                  <a:gd name="T15" fmla="*/ 12 h 26"/>
                  <a:gd name="T16" fmla="*/ 25 w 25"/>
                  <a:gd name="T17" fmla="*/ 14 h 26"/>
                  <a:gd name="T18" fmla="*/ 25 w 25"/>
                  <a:gd name="T19" fmla="*/ 22 h 26"/>
                  <a:gd name="T20" fmla="*/ 24 w 25"/>
                  <a:gd name="T21" fmla="*/ 24 h 26"/>
                  <a:gd name="T22" fmla="*/ 21 w 25"/>
                  <a:gd name="T23" fmla="*/ 26 h 26"/>
                  <a:gd name="T24" fmla="*/ 20 w 25"/>
                  <a:gd name="T25" fmla="*/ 26 h 26"/>
                  <a:gd name="T26" fmla="*/ 4 w 25"/>
                  <a:gd name="T27" fmla="*/ 13 h 26"/>
                  <a:gd name="T28" fmla="*/ 20 w 25"/>
                  <a:gd name="T29" fmla="*/ 22 h 26"/>
                  <a:gd name="T30" fmla="*/ 21 w 25"/>
                  <a:gd name="T31" fmla="*/ 21 h 26"/>
                  <a:gd name="T32" fmla="*/ 21 w 25"/>
                  <a:gd name="T33" fmla="*/ 15 h 26"/>
                  <a:gd name="T34" fmla="*/ 4 w 25"/>
                  <a:gd name="T35" fmla="*/ 5 h 26"/>
                  <a:gd name="T36" fmla="*/ 4 w 25"/>
                  <a:gd name="T37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6">
                    <a:moveTo>
                      <a:pt x="20" y="26"/>
                    </a:moveTo>
                    <a:cubicBezTo>
                      <a:pt x="20" y="26"/>
                      <a:pt x="19" y="26"/>
                      <a:pt x="19" y="2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5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5" y="12"/>
                      <a:pt x="25" y="13"/>
                      <a:pt x="25" y="1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5" y="23"/>
                      <a:pt x="25" y="24"/>
                      <a:pt x="24" y="24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0" y="26"/>
                      <a:pt x="20" y="26"/>
                    </a:cubicBezTo>
                    <a:close/>
                    <a:moveTo>
                      <a:pt x="4" y="13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0" name="Freeform 992">
                <a:extLst>
                  <a:ext uri="{FF2B5EF4-FFF2-40B4-BE49-F238E27FC236}">
                    <a16:creationId xmlns:a16="http://schemas.microsoft.com/office/drawing/2014/main" id="{6BDE5D89-F6A3-4225-91AF-41AD6CD363F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300064" y="6930443"/>
                <a:ext cx="19713" cy="19713"/>
              </a:xfrm>
              <a:custGeom>
                <a:avLst/>
                <a:gdLst>
                  <a:gd name="T0" fmla="*/ 6 w 8"/>
                  <a:gd name="T1" fmla="*/ 8 h 8"/>
                  <a:gd name="T2" fmla="*/ 5 w 8"/>
                  <a:gd name="T3" fmla="*/ 8 h 8"/>
                  <a:gd name="T4" fmla="*/ 1 w 8"/>
                  <a:gd name="T5" fmla="*/ 6 h 8"/>
                  <a:gd name="T6" fmla="*/ 0 w 8"/>
                  <a:gd name="T7" fmla="*/ 4 h 8"/>
                  <a:gd name="T8" fmla="*/ 1 w 8"/>
                  <a:gd name="T9" fmla="*/ 2 h 8"/>
                  <a:gd name="T10" fmla="*/ 5 w 8"/>
                  <a:gd name="T11" fmla="*/ 0 h 8"/>
                  <a:gd name="T12" fmla="*/ 7 w 8"/>
                  <a:gd name="T13" fmla="*/ 0 h 8"/>
                  <a:gd name="T14" fmla="*/ 8 w 8"/>
                  <a:gd name="T15" fmla="*/ 2 h 8"/>
                  <a:gd name="T16" fmla="*/ 8 w 8"/>
                  <a:gd name="T17" fmla="*/ 6 h 8"/>
                  <a:gd name="T18" fmla="*/ 7 w 8"/>
                  <a:gd name="T19" fmla="*/ 8 h 8"/>
                  <a:gd name="T20" fmla="*/ 6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7" y="8"/>
                    </a:cubicBezTo>
                    <a:cubicBezTo>
                      <a:pt x="7" y="8"/>
                      <a:pt x="6" y="8"/>
                      <a:pt x="6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1" name="Freeform 994">
                <a:extLst>
                  <a:ext uri="{FF2B5EF4-FFF2-40B4-BE49-F238E27FC236}">
                    <a16:creationId xmlns:a16="http://schemas.microsoft.com/office/drawing/2014/main" id="{E9FC40C6-5DFA-4135-9B5E-9DC675B1BF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24965" y="6506089"/>
                <a:ext cx="519808" cy="629786"/>
              </a:xfrm>
              <a:custGeom>
                <a:avLst/>
                <a:gdLst>
                  <a:gd name="T0" fmla="*/ 129 w 212"/>
                  <a:gd name="T1" fmla="*/ 257 h 257"/>
                  <a:gd name="T2" fmla="*/ 128 w 212"/>
                  <a:gd name="T3" fmla="*/ 201 h 257"/>
                  <a:gd name="T4" fmla="*/ 66 w 212"/>
                  <a:gd name="T5" fmla="*/ 236 h 257"/>
                  <a:gd name="T6" fmla="*/ 65 w 212"/>
                  <a:gd name="T7" fmla="*/ 224 h 257"/>
                  <a:gd name="T8" fmla="*/ 0 w 212"/>
                  <a:gd name="T9" fmla="*/ 185 h 257"/>
                  <a:gd name="T10" fmla="*/ 4 w 212"/>
                  <a:gd name="T11" fmla="*/ 182 h 257"/>
                  <a:gd name="T12" fmla="*/ 68 w 212"/>
                  <a:gd name="T13" fmla="*/ 218 h 257"/>
                  <a:gd name="T14" fmla="*/ 68 w 212"/>
                  <a:gd name="T15" fmla="*/ 144 h 257"/>
                  <a:gd name="T16" fmla="*/ 66 w 212"/>
                  <a:gd name="T17" fmla="*/ 144 h 257"/>
                  <a:gd name="T18" fmla="*/ 65 w 212"/>
                  <a:gd name="T19" fmla="*/ 2 h 257"/>
                  <a:gd name="T20" fmla="*/ 68 w 212"/>
                  <a:gd name="T21" fmla="*/ 0 h 257"/>
                  <a:gd name="T22" fmla="*/ 79 w 212"/>
                  <a:gd name="T23" fmla="*/ 8 h 257"/>
                  <a:gd name="T24" fmla="*/ 211 w 212"/>
                  <a:gd name="T25" fmla="*/ 214 h 257"/>
                  <a:gd name="T26" fmla="*/ 211 w 212"/>
                  <a:gd name="T27" fmla="*/ 217 h 257"/>
                  <a:gd name="T28" fmla="*/ 198 w 212"/>
                  <a:gd name="T29" fmla="*/ 226 h 257"/>
                  <a:gd name="T30" fmla="*/ 190 w 212"/>
                  <a:gd name="T31" fmla="*/ 222 h 257"/>
                  <a:gd name="T32" fmla="*/ 187 w 212"/>
                  <a:gd name="T33" fmla="*/ 223 h 257"/>
                  <a:gd name="T34" fmla="*/ 161 w 212"/>
                  <a:gd name="T35" fmla="*/ 238 h 257"/>
                  <a:gd name="T36" fmla="*/ 131 w 212"/>
                  <a:gd name="T37" fmla="*/ 257 h 257"/>
                  <a:gd name="T38" fmla="*/ 130 w 212"/>
                  <a:gd name="T39" fmla="*/ 196 h 257"/>
                  <a:gd name="T40" fmla="*/ 132 w 212"/>
                  <a:gd name="T41" fmla="*/ 198 h 257"/>
                  <a:gd name="T42" fmla="*/ 157 w 212"/>
                  <a:gd name="T43" fmla="*/ 237 h 257"/>
                  <a:gd name="T44" fmla="*/ 158 w 212"/>
                  <a:gd name="T45" fmla="*/ 203 h 257"/>
                  <a:gd name="T46" fmla="*/ 188 w 212"/>
                  <a:gd name="T47" fmla="*/ 219 h 257"/>
                  <a:gd name="T48" fmla="*/ 191 w 212"/>
                  <a:gd name="T49" fmla="*/ 218 h 257"/>
                  <a:gd name="T50" fmla="*/ 206 w 212"/>
                  <a:gd name="T51" fmla="*/ 215 h 257"/>
                  <a:gd name="T52" fmla="*/ 75 w 212"/>
                  <a:gd name="T53" fmla="*/ 139 h 257"/>
                  <a:gd name="T54" fmla="*/ 69 w 212"/>
                  <a:gd name="T55" fmla="*/ 6 h 257"/>
                  <a:gd name="T56" fmla="*/ 69 w 212"/>
                  <a:gd name="T57" fmla="*/ 140 h 257"/>
                  <a:gd name="T58" fmla="*/ 139 w 212"/>
                  <a:gd name="T59" fmla="*/ 181 h 257"/>
                  <a:gd name="T60" fmla="*/ 69 w 212"/>
                  <a:gd name="T61" fmla="*/ 222 h 257"/>
                  <a:gd name="T62" fmla="*/ 69 w 212"/>
                  <a:gd name="T63" fmla="*/ 223 h 257"/>
                  <a:gd name="T64" fmla="*/ 129 w 212"/>
                  <a:gd name="T65" fmla="*/ 196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2" h="257">
                    <a:moveTo>
                      <a:pt x="130" y="257"/>
                    </a:moveTo>
                    <a:cubicBezTo>
                      <a:pt x="129" y="257"/>
                      <a:pt x="129" y="257"/>
                      <a:pt x="129" y="257"/>
                    </a:cubicBezTo>
                    <a:cubicBezTo>
                      <a:pt x="128" y="256"/>
                      <a:pt x="128" y="256"/>
                      <a:pt x="128" y="255"/>
                    </a:cubicBezTo>
                    <a:cubicBezTo>
                      <a:pt x="128" y="201"/>
                      <a:pt x="128" y="201"/>
                      <a:pt x="128" y="201"/>
                    </a:cubicBezTo>
                    <a:cubicBezTo>
                      <a:pt x="68" y="236"/>
                      <a:pt x="68" y="236"/>
                      <a:pt x="68" y="236"/>
                    </a:cubicBezTo>
                    <a:cubicBezTo>
                      <a:pt x="68" y="236"/>
                      <a:pt x="67" y="236"/>
                      <a:pt x="66" y="236"/>
                    </a:cubicBezTo>
                    <a:cubicBezTo>
                      <a:pt x="66" y="235"/>
                      <a:pt x="65" y="235"/>
                      <a:pt x="65" y="234"/>
                    </a:cubicBezTo>
                    <a:cubicBezTo>
                      <a:pt x="65" y="224"/>
                      <a:pt x="65" y="224"/>
                      <a:pt x="65" y="224"/>
                    </a:cubicBezTo>
                    <a:cubicBezTo>
                      <a:pt x="1" y="187"/>
                      <a:pt x="1" y="187"/>
                      <a:pt x="1" y="187"/>
                    </a:cubicBezTo>
                    <a:cubicBezTo>
                      <a:pt x="1" y="187"/>
                      <a:pt x="0" y="186"/>
                      <a:pt x="0" y="185"/>
                    </a:cubicBezTo>
                    <a:cubicBezTo>
                      <a:pt x="0" y="185"/>
                      <a:pt x="1" y="184"/>
                      <a:pt x="1" y="184"/>
                    </a:cubicBezTo>
                    <a:cubicBezTo>
                      <a:pt x="4" y="182"/>
                      <a:pt x="4" y="182"/>
                      <a:pt x="4" y="182"/>
                    </a:cubicBezTo>
                    <a:cubicBezTo>
                      <a:pt x="5" y="182"/>
                      <a:pt x="5" y="182"/>
                      <a:pt x="6" y="182"/>
                    </a:cubicBezTo>
                    <a:cubicBezTo>
                      <a:pt x="68" y="218"/>
                      <a:pt x="68" y="218"/>
                      <a:pt x="68" y="218"/>
                    </a:cubicBezTo>
                    <a:cubicBezTo>
                      <a:pt x="133" y="181"/>
                      <a:pt x="133" y="181"/>
                      <a:pt x="133" y="181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7" y="144"/>
                      <a:pt x="66" y="144"/>
                    </a:cubicBezTo>
                    <a:cubicBezTo>
                      <a:pt x="66" y="144"/>
                      <a:pt x="65" y="143"/>
                      <a:pt x="65" y="14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5" y="1"/>
                      <a:pt x="66" y="1"/>
                      <a:pt x="66" y="0"/>
                    </a:cubicBezTo>
                    <a:cubicBezTo>
                      <a:pt x="67" y="0"/>
                      <a:pt x="68" y="0"/>
                      <a:pt x="68" y="0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9" y="7"/>
                      <a:pt x="79" y="7"/>
                      <a:pt x="79" y="8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211" y="214"/>
                      <a:pt x="211" y="214"/>
                      <a:pt x="211" y="214"/>
                    </a:cubicBezTo>
                    <a:cubicBezTo>
                      <a:pt x="211" y="214"/>
                      <a:pt x="212" y="215"/>
                      <a:pt x="212" y="215"/>
                    </a:cubicBezTo>
                    <a:cubicBezTo>
                      <a:pt x="212" y="216"/>
                      <a:pt x="211" y="217"/>
                      <a:pt x="211" y="217"/>
                    </a:cubicBezTo>
                    <a:cubicBezTo>
                      <a:pt x="199" y="224"/>
                      <a:pt x="199" y="224"/>
                      <a:pt x="199" y="224"/>
                    </a:cubicBezTo>
                    <a:cubicBezTo>
                      <a:pt x="199" y="225"/>
                      <a:pt x="199" y="225"/>
                      <a:pt x="198" y="226"/>
                    </a:cubicBezTo>
                    <a:cubicBezTo>
                      <a:pt x="197" y="226"/>
                      <a:pt x="197" y="226"/>
                      <a:pt x="196" y="226"/>
                    </a:cubicBezTo>
                    <a:cubicBezTo>
                      <a:pt x="190" y="222"/>
                      <a:pt x="190" y="222"/>
                      <a:pt x="190" y="222"/>
                    </a:cubicBezTo>
                    <a:cubicBezTo>
                      <a:pt x="189" y="223"/>
                      <a:pt x="189" y="223"/>
                      <a:pt x="189" y="223"/>
                    </a:cubicBezTo>
                    <a:cubicBezTo>
                      <a:pt x="188" y="223"/>
                      <a:pt x="188" y="223"/>
                      <a:pt x="187" y="223"/>
                    </a:cubicBezTo>
                    <a:cubicBezTo>
                      <a:pt x="161" y="208"/>
                      <a:pt x="161" y="208"/>
                      <a:pt x="161" y="208"/>
                    </a:cubicBezTo>
                    <a:cubicBezTo>
                      <a:pt x="161" y="238"/>
                      <a:pt x="161" y="238"/>
                      <a:pt x="161" y="238"/>
                    </a:cubicBezTo>
                    <a:cubicBezTo>
                      <a:pt x="161" y="238"/>
                      <a:pt x="161" y="239"/>
                      <a:pt x="160" y="239"/>
                    </a:cubicBezTo>
                    <a:cubicBezTo>
                      <a:pt x="131" y="257"/>
                      <a:pt x="131" y="257"/>
                      <a:pt x="131" y="257"/>
                    </a:cubicBezTo>
                    <a:cubicBezTo>
                      <a:pt x="130" y="257"/>
                      <a:pt x="130" y="257"/>
                      <a:pt x="130" y="257"/>
                    </a:cubicBezTo>
                    <a:close/>
                    <a:moveTo>
                      <a:pt x="130" y="196"/>
                    </a:moveTo>
                    <a:cubicBezTo>
                      <a:pt x="130" y="196"/>
                      <a:pt x="130" y="196"/>
                      <a:pt x="131" y="196"/>
                    </a:cubicBezTo>
                    <a:cubicBezTo>
                      <a:pt x="131" y="196"/>
                      <a:pt x="132" y="197"/>
                      <a:pt x="132" y="198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57" y="237"/>
                      <a:pt x="157" y="237"/>
                      <a:pt x="157" y="237"/>
                    </a:cubicBezTo>
                    <a:cubicBezTo>
                      <a:pt x="157" y="205"/>
                      <a:pt x="157" y="205"/>
                      <a:pt x="157" y="205"/>
                    </a:cubicBezTo>
                    <a:cubicBezTo>
                      <a:pt x="157" y="204"/>
                      <a:pt x="158" y="203"/>
                      <a:pt x="158" y="203"/>
                    </a:cubicBezTo>
                    <a:cubicBezTo>
                      <a:pt x="159" y="202"/>
                      <a:pt x="160" y="202"/>
                      <a:pt x="160" y="203"/>
                    </a:cubicBezTo>
                    <a:cubicBezTo>
                      <a:pt x="188" y="219"/>
                      <a:pt x="188" y="219"/>
                      <a:pt x="188" y="219"/>
                    </a:cubicBezTo>
                    <a:cubicBezTo>
                      <a:pt x="189" y="218"/>
                      <a:pt x="189" y="218"/>
                      <a:pt x="189" y="218"/>
                    </a:cubicBezTo>
                    <a:cubicBezTo>
                      <a:pt x="190" y="218"/>
                      <a:pt x="190" y="218"/>
                      <a:pt x="191" y="218"/>
                    </a:cubicBezTo>
                    <a:cubicBezTo>
                      <a:pt x="196" y="221"/>
                      <a:pt x="196" y="221"/>
                      <a:pt x="196" y="221"/>
                    </a:cubicBezTo>
                    <a:cubicBezTo>
                      <a:pt x="206" y="215"/>
                      <a:pt x="206" y="215"/>
                      <a:pt x="206" y="215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76" y="140"/>
                      <a:pt x="75" y="140"/>
                      <a:pt x="75" y="13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138" y="179"/>
                      <a:pt x="138" y="179"/>
                      <a:pt x="138" y="179"/>
                    </a:cubicBezTo>
                    <a:cubicBezTo>
                      <a:pt x="139" y="180"/>
                      <a:pt x="139" y="180"/>
                      <a:pt x="139" y="181"/>
                    </a:cubicBezTo>
                    <a:cubicBezTo>
                      <a:pt x="139" y="182"/>
                      <a:pt x="139" y="182"/>
                      <a:pt x="138" y="183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3"/>
                      <a:pt x="69" y="223"/>
                      <a:pt x="69" y="223"/>
                    </a:cubicBezTo>
                    <a:cubicBezTo>
                      <a:pt x="69" y="230"/>
                      <a:pt x="69" y="230"/>
                      <a:pt x="69" y="230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196"/>
                      <a:pt x="129" y="196"/>
                      <a:pt x="130" y="19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2" name="Freeform 999">
                <a:extLst>
                  <a:ext uri="{FF2B5EF4-FFF2-40B4-BE49-F238E27FC236}">
                    <a16:creationId xmlns:a16="http://schemas.microsoft.com/office/drawing/2014/main" id="{E140DE20-B0EC-435C-87AF-B08A6C5C57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58768" y="5908467"/>
                <a:ext cx="403604" cy="198170"/>
              </a:xfrm>
              <a:custGeom>
                <a:avLst/>
                <a:gdLst>
                  <a:gd name="T0" fmla="*/ 84 w 165"/>
                  <a:gd name="T1" fmla="*/ 81 h 81"/>
                  <a:gd name="T2" fmla="*/ 83 w 165"/>
                  <a:gd name="T3" fmla="*/ 80 h 81"/>
                  <a:gd name="T4" fmla="*/ 82 w 165"/>
                  <a:gd name="T5" fmla="*/ 79 h 81"/>
                  <a:gd name="T6" fmla="*/ 1 w 165"/>
                  <a:gd name="T7" fmla="*/ 32 h 81"/>
                  <a:gd name="T8" fmla="*/ 0 w 165"/>
                  <a:gd name="T9" fmla="*/ 30 h 81"/>
                  <a:gd name="T10" fmla="*/ 1 w 165"/>
                  <a:gd name="T11" fmla="*/ 29 h 81"/>
                  <a:gd name="T12" fmla="*/ 48 w 165"/>
                  <a:gd name="T13" fmla="*/ 1 h 81"/>
                  <a:gd name="T14" fmla="*/ 50 w 165"/>
                  <a:gd name="T15" fmla="*/ 1 h 81"/>
                  <a:gd name="T16" fmla="*/ 78 w 165"/>
                  <a:gd name="T17" fmla="*/ 18 h 81"/>
                  <a:gd name="T18" fmla="*/ 109 w 165"/>
                  <a:gd name="T19" fmla="*/ 0 h 81"/>
                  <a:gd name="T20" fmla="*/ 111 w 165"/>
                  <a:gd name="T21" fmla="*/ 0 h 81"/>
                  <a:gd name="T22" fmla="*/ 164 w 165"/>
                  <a:gd name="T23" fmla="*/ 31 h 81"/>
                  <a:gd name="T24" fmla="*/ 165 w 165"/>
                  <a:gd name="T25" fmla="*/ 33 h 81"/>
                  <a:gd name="T26" fmla="*/ 164 w 165"/>
                  <a:gd name="T27" fmla="*/ 34 h 81"/>
                  <a:gd name="T28" fmla="*/ 85 w 165"/>
                  <a:gd name="T29" fmla="*/ 80 h 81"/>
                  <a:gd name="T30" fmla="*/ 84 w 165"/>
                  <a:gd name="T31" fmla="*/ 81 h 81"/>
                  <a:gd name="T32" fmla="*/ 6 w 165"/>
                  <a:gd name="T33" fmla="*/ 30 h 81"/>
                  <a:gd name="T34" fmla="*/ 84 w 165"/>
                  <a:gd name="T35" fmla="*/ 76 h 81"/>
                  <a:gd name="T36" fmla="*/ 159 w 165"/>
                  <a:gd name="T37" fmla="*/ 33 h 81"/>
                  <a:gd name="T38" fmla="*/ 110 w 165"/>
                  <a:gd name="T39" fmla="*/ 4 h 81"/>
                  <a:gd name="T40" fmla="*/ 79 w 165"/>
                  <a:gd name="T41" fmla="*/ 22 h 81"/>
                  <a:gd name="T42" fmla="*/ 77 w 165"/>
                  <a:gd name="T43" fmla="*/ 22 h 81"/>
                  <a:gd name="T44" fmla="*/ 49 w 165"/>
                  <a:gd name="T45" fmla="*/ 5 h 81"/>
                  <a:gd name="T46" fmla="*/ 6 w 165"/>
                  <a:gd name="T47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5" h="81">
                    <a:moveTo>
                      <a:pt x="84" y="81"/>
                    </a:moveTo>
                    <a:cubicBezTo>
                      <a:pt x="83" y="81"/>
                      <a:pt x="83" y="81"/>
                      <a:pt x="83" y="80"/>
                    </a:cubicBezTo>
                    <a:cubicBezTo>
                      <a:pt x="82" y="80"/>
                      <a:pt x="82" y="79"/>
                      <a:pt x="82" y="79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9" y="1"/>
                      <a:pt x="49" y="1"/>
                      <a:pt x="50" y="1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110" y="0"/>
                      <a:pt x="111" y="0"/>
                    </a:cubicBezTo>
                    <a:cubicBezTo>
                      <a:pt x="164" y="31"/>
                      <a:pt x="164" y="31"/>
                      <a:pt x="164" y="31"/>
                    </a:cubicBezTo>
                    <a:cubicBezTo>
                      <a:pt x="165" y="31"/>
                      <a:pt x="165" y="32"/>
                      <a:pt x="165" y="33"/>
                    </a:cubicBezTo>
                    <a:cubicBezTo>
                      <a:pt x="165" y="33"/>
                      <a:pt x="165" y="34"/>
                      <a:pt x="164" y="34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81"/>
                      <a:pt x="84" y="81"/>
                      <a:pt x="84" y="81"/>
                    </a:cubicBezTo>
                    <a:close/>
                    <a:moveTo>
                      <a:pt x="6" y="30"/>
                    </a:moveTo>
                    <a:cubicBezTo>
                      <a:pt x="84" y="76"/>
                      <a:pt x="84" y="76"/>
                      <a:pt x="84" y="76"/>
                    </a:cubicBezTo>
                    <a:cubicBezTo>
                      <a:pt x="159" y="33"/>
                      <a:pt x="159" y="33"/>
                      <a:pt x="159" y="33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78" y="22"/>
                      <a:pt x="78" y="22"/>
                      <a:pt x="77" y="22"/>
                    </a:cubicBezTo>
                    <a:cubicBezTo>
                      <a:pt x="49" y="5"/>
                      <a:pt x="49" y="5"/>
                      <a:pt x="49" y="5"/>
                    </a:cubicBez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3" name="Freeform 1000">
                <a:extLst>
                  <a:ext uri="{FF2B5EF4-FFF2-40B4-BE49-F238E27FC236}">
                    <a16:creationId xmlns:a16="http://schemas.microsoft.com/office/drawing/2014/main" id="{C5BC694E-18EE-4D33-9B22-78938B9A7A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28133" y="6050610"/>
                <a:ext cx="184682" cy="330975"/>
              </a:xfrm>
              <a:custGeom>
                <a:avLst/>
                <a:gdLst>
                  <a:gd name="T0" fmla="*/ 72 w 75"/>
                  <a:gd name="T1" fmla="*/ 135 h 135"/>
                  <a:gd name="T2" fmla="*/ 71 w 75"/>
                  <a:gd name="T3" fmla="*/ 135 h 135"/>
                  <a:gd name="T4" fmla="*/ 7 w 75"/>
                  <a:gd name="T5" fmla="*/ 98 h 135"/>
                  <a:gd name="T6" fmla="*/ 3 w 75"/>
                  <a:gd name="T7" fmla="*/ 101 h 135"/>
                  <a:gd name="T8" fmla="*/ 1 w 75"/>
                  <a:gd name="T9" fmla="*/ 101 h 135"/>
                  <a:gd name="T10" fmla="*/ 0 w 75"/>
                  <a:gd name="T11" fmla="*/ 99 h 135"/>
                  <a:gd name="T12" fmla="*/ 0 w 75"/>
                  <a:gd name="T13" fmla="*/ 24 h 135"/>
                  <a:gd name="T14" fmla="*/ 1 w 75"/>
                  <a:gd name="T15" fmla="*/ 22 h 135"/>
                  <a:gd name="T16" fmla="*/ 5 w 75"/>
                  <a:gd name="T17" fmla="*/ 20 h 135"/>
                  <a:gd name="T18" fmla="*/ 1 w 75"/>
                  <a:gd name="T19" fmla="*/ 18 h 135"/>
                  <a:gd name="T20" fmla="*/ 0 w 75"/>
                  <a:gd name="T21" fmla="*/ 16 h 135"/>
                  <a:gd name="T22" fmla="*/ 0 w 75"/>
                  <a:gd name="T23" fmla="*/ 7 h 135"/>
                  <a:gd name="T24" fmla="*/ 1 w 75"/>
                  <a:gd name="T25" fmla="*/ 6 h 135"/>
                  <a:gd name="T26" fmla="*/ 10 w 75"/>
                  <a:gd name="T27" fmla="*/ 0 h 135"/>
                  <a:gd name="T28" fmla="*/ 12 w 75"/>
                  <a:gd name="T29" fmla="*/ 0 h 135"/>
                  <a:gd name="T30" fmla="*/ 13 w 75"/>
                  <a:gd name="T31" fmla="*/ 2 h 135"/>
                  <a:gd name="T32" fmla="*/ 13 w 75"/>
                  <a:gd name="T33" fmla="*/ 95 h 135"/>
                  <a:gd name="T34" fmla="*/ 74 w 75"/>
                  <a:gd name="T35" fmla="*/ 131 h 135"/>
                  <a:gd name="T36" fmla="*/ 75 w 75"/>
                  <a:gd name="T37" fmla="*/ 132 h 135"/>
                  <a:gd name="T38" fmla="*/ 74 w 75"/>
                  <a:gd name="T39" fmla="*/ 134 h 135"/>
                  <a:gd name="T40" fmla="*/ 73 w 75"/>
                  <a:gd name="T41" fmla="*/ 135 h 135"/>
                  <a:gd name="T42" fmla="*/ 72 w 75"/>
                  <a:gd name="T43" fmla="*/ 135 h 135"/>
                  <a:gd name="T44" fmla="*/ 4 w 75"/>
                  <a:gd name="T45" fmla="*/ 25 h 135"/>
                  <a:gd name="T46" fmla="*/ 4 w 75"/>
                  <a:gd name="T47" fmla="*/ 96 h 135"/>
                  <a:gd name="T48" fmla="*/ 6 w 75"/>
                  <a:gd name="T49" fmla="*/ 94 h 135"/>
                  <a:gd name="T50" fmla="*/ 8 w 75"/>
                  <a:gd name="T51" fmla="*/ 94 h 135"/>
                  <a:gd name="T52" fmla="*/ 9 w 75"/>
                  <a:gd name="T53" fmla="*/ 95 h 135"/>
                  <a:gd name="T54" fmla="*/ 9 w 75"/>
                  <a:gd name="T55" fmla="*/ 22 h 135"/>
                  <a:gd name="T56" fmla="*/ 4 w 75"/>
                  <a:gd name="T57" fmla="*/ 25 h 135"/>
                  <a:gd name="T58" fmla="*/ 4 w 75"/>
                  <a:gd name="T59" fmla="*/ 15 h 135"/>
                  <a:gd name="T60" fmla="*/ 9 w 75"/>
                  <a:gd name="T61" fmla="*/ 18 h 135"/>
                  <a:gd name="T62" fmla="*/ 9 w 75"/>
                  <a:gd name="T63" fmla="*/ 6 h 135"/>
                  <a:gd name="T64" fmla="*/ 4 w 75"/>
                  <a:gd name="T65" fmla="*/ 9 h 135"/>
                  <a:gd name="T66" fmla="*/ 4 w 75"/>
                  <a:gd name="T67" fmla="*/ 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35">
                    <a:moveTo>
                      <a:pt x="72" y="135"/>
                    </a:moveTo>
                    <a:cubicBezTo>
                      <a:pt x="71" y="135"/>
                      <a:pt x="71" y="135"/>
                      <a:pt x="71" y="13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2" y="101"/>
                      <a:pt x="2" y="101"/>
                      <a:pt x="1" y="101"/>
                    </a:cubicBezTo>
                    <a:cubicBezTo>
                      <a:pt x="0" y="100"/>
                      <a:pt x="0" y="100"/>
                      <a:pt x="0" y="9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3" y="1"/>
                      <a:pt x="13" y="1"/>
                      <a:pt x="13" y="2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74" y="131"/>
                      <a:pt x="74" y="131"/>
                      <a:pt x="74" y="131"/>
                    </a:cubicBezTo>
                    <a:cubicBezTo>
                      <a:pt x="75" y="131"/>
                      <a:pt x="75" y="132"/>
                      <a:pt x="75" y="132"/>
                    </a:cubicBezTo>
                    <a:cubicBezTo>
                      <a:pt x="75" y="133"/>
                      <a:pt x="75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2" y="135"/>
                      <a:pt x="72" y="135"/>
                      <a:pt x="72" y="135"/>
                    </a:cubicBezTo>
                    <a:close/>
                    <a:moveTo>
                      <a:pt x="4" y="25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7" y="94"/>
                      <a:pt x="8" y="94"/>
                      <a:pt x="8" y="94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9" y="22"/>
                      <a:pt x="9" y="22"/>
                      <a:pt x="9" y="22"/>
                    </a:cubicBezTo>
                    <a:lnTo>
                      <a:pt x="4" y="25"/>
                    </a:lnTo>
                    <a:close/>
                    <a:moveTo>
                      <a:pt x="4" y="15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4" name="Freeform 1001">
                <a:extLst>
                  <a:ext uri="{FF2B5EF4-FFF2-40B4-BE49-F238E27FC236}">
                    <a16:creationId xmlns:a16="http://schemas.microsoft.com/office/drawing/2014/main" id="{370BEF66-1F3A-4F45-800E-E8DEAC4447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43054" y="5759061"/>
                <a:ext cx="269761" cy="311262"/>
              </a:xfrm>
              <a:custGeom>
                <a:avLst/>
                <a:gdLst>
                  <a:gd name="T0" fmla="*/ 2 w 110"/>
                  <a:gd name="T1" fmla="*/ 127 h 127"/>
                  <a:gd name="T2" fmla="*/ 1 w 110"/>
                  <a:gd name="T3" fmla="*/ 126 h 127"/>
                  <a:gd name="T4" fmla="*/ 0 w 110"/>
                  <a:gd name="T5" fmla="*/ 125 h 127"/>
                  <a:gd name="T6" fmla="*/ 0 w 110"/>
                  <a:gd name="T7" fmla="*/ 2 h 127"/>
                  <a:gd name="T8" fmla="*/ 1 w 110"/>
                  <a:gd name="T9" fmla="*/ 0 h 127"/>
                  <a:gd name="T10" fmla="*/ 3 w 110"/>
                  <a:gd name="T11" fmla="*/ 0 h 127"/>
                  <a:gd name="T12" fmla="*/ 109 w 110"/>
                  <a:gd name="T13" fmla="*/ 61 h 127"/>
                  <a:gd name="T14" fmla="*/ 110 w 110"/>
                  <a:gd name="T15" fmla="*/ 63 h 127"/>
                  <a:gd name="T16" fmla="*/ 109 w 110"/>
                  <a:gd name="T17" fmla="*/ 65 h 127"/>
                  <a:gd name="T18" fmla="*/ 62 w 110"/>
                  <a:gd name="T19" fmla="*/ 92 h 127"/>
                  <a:gd name="T20" fmla="*/ 60 w 110"/>
                  <a:gd name="T21" fmla="*/ 92 h 127"/>
                  <a:gd name="T22" fmla="*/ 13 w 110"/>
                  <a:gd name="T23" fmla="*/ 65 h 127"/>
                  <a:gd name="T24" fmla="*/ 13 w 110"/>
                  <a:gd name="T25" fmla="*/ 119 h 127"/>
                  <a:gd name="T26" fmla="*/ 12 w 110"/>
                  <a:gd name="T27" fmla="*/ 121 h 127"/>
                  <a:gd name="T28" fmla="*/ 3 w 110"/>
                  <a:gd name="T29" fmla="*/ 126 h 127"/>
                  <a:gd name="T30" fmla="*/ 2 w 110"/>
                  <a:gd name="T31" fmla="*/ 127 h 127"/>
                  <a:gd name="T32" fmla="*/ 4 w 110"/>
                  <a:gd name="T33" fmla="*/ 5 h 127"/>
                  <a:gd name="T34" fmla="*/ 4 w 110"/>
                  <a:gd name="T35" fmla="*/ 121 h 127"/>
                  <a:gd name="T36" fmla="*/ 9 w 110"/>
                  <a:gd name="T37" fmla="*/ 118 h 127"/>
                  <a:gd name="T38" fmla="*/ 9 w 110"/>
                  <a:gd name="T39" fmla="*/ 61 h 127"/>
                  <a:gd name="T40" fmla="*/ 10 w 110"/>
                  <a:gd name="T41" fmla="*/ 60 h 127"/>
                  <a:gd name="T42" fmla="*/ 12 w 110"/>
                  <a:gd name="T43" fmla="*/ 60 h 127"/>
                  <a:gd name="T44" fmla="*/ 61 w 110"/>
                  <a:gd name="T45" fmla="*/ 88 h 127"/>
                  <a:gd name="T46" fmla="*/ 104 w 110"/>
                  <a:gd name="T47" fmla="*/ 63 h 127"/>
                  <a:gd name="T48" fmla="*/ 4 w 110"/>
                  <a:gd name="T49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0" h="127">
                    <a:moveTo>
                      <a:pt x="2" y="127"/>
                    </a:moveTo>
                    <a:cubicBezTo>
                      <a:pt x="2" y="127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9" y="61"/>
                      <a:pt x="109" y="61"/>
                      <a:pt x="109" y="61"/>
                    </a:cubicBezTo>
                    <a:cubicBezTo>
                      <a:pt x="110" y="62"/>
                      <a:pt x="110" y="62"/>
                      <a:pt x="110" y="63"/>
                    </a:cubicBezTo>
                    <a:cubicBezTo>
                      <a:pt x="110" y="64"/>
                      <a:pt x="110" y="65"/>
                      <a:pt x="109" y="65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61" y="92"/>
                      <a:pt x="61" y="92"/>
                      <a:pt x="60" y="92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119"/>
                      <a:pt x="13" y="119"/>
                      <a:pt x="13" y="119"/>
                    </a:cubicBezTo>
                    <a:cubicBezTo>
                      <a:pt x="13" y="120"/>
                      <a:pt x="13" y="121"/>
                      <a:pt x="12" y="121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3" y="126"/>
                      <a:pt x="2" y="127"/>
                      <a:pt x="2" y="127"/>
                    </a:cubicBezTo>
                    <a:close/>
                    <a:moveTo>
                      <a:pt x="4" y="5"/>
                    </a:moveTo>
                    <a:cubicBezTo>
                      <a:pt x="4" y="121"/>
                      <a:pt x="4" y="121"/>
                      <a:pt x="4" y="121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1"/>
                      <a:pt x="9" y="60"/>
                      <a:pt x="10" y="60"/>
                    </a:cubicBezTo>
                    <a:cubicBezTo>
                      <a:pt x="11" y="59"/>
                      <a:pt x="11" y="59"/>
                      <a:pt x="12" y="60"/>
                    </a:cubicBezTo>
                    <a:cubicBezTo>
                      <a:pt x="61" y="88"/>
                      <a:pt x="61" y="88"/>
                      <a:pt x="61" y="88"/>
                    </a:cubicBezTo>
                    <a:cubicBezTo>
                      <a:pt x="104" y="63"/>
                      <a:pt x="104" y="63"/>
                      <a:pt x="104" y="63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5" name="Freeform 1002">
                <a:extLst>
                  <a:ext uri="{FF2B5EF4-FFF2-40B4-BE49-F238E27FC236}">
                    <a16:creationId xmlns:a16="http://schemas.microsoft.com/office/drawing/2014/main" id="{978F45FE-4D38-46BF-96C0-B8242B81EF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5969682"/>
                <a:ext cx="34239" cy="36314"/>
              </a:xfrm>
              <a:custGeom>
                <a:avLst/>
                <a:gdLst>
                  <a:gd name="T0" fmla="*/ 12 w 14"/>
                  <a:gd name="T1" fmla="*/ 15 h 15"/>
                  <a:gd name="T2" fmla="*/ 11 w 14"/>
                  <a:gd name="T3" fmla="*/ 15 h 15"/>
                  <a:gd name="T4" fmla="*/ 1 w 14"/>
                  <a:gd name="T5" fmla="*/ 9 h 15"/>
                  <a:gd name="T6" fmla="*/ 0 w 14"/>
                  <a:gd name="T7" fmla="*/ 8 h 15"/>
                  <a:gd name="T8" fmla="*/ 1 w 14"/>
                  <a:gd name="T9" fmla="*/ 6 h 15"/>
                  <a:gd name="T10" fmla="*/ 11 w 14"/>
                  <a:gd name="T11" fmla="*/ 0 h 15"/>
                  <a:gd name="T12" fmla="*/ 13 w 14"/>
                  <a:gd name="T13" fmla="*/ 0 h 15"/>
                  <a:gd name="T14" fmla="*/ 14 w 14"/>
                  <a:gd name="T15" fmla="*/ 2 h 15"/>
                  <a:gd name="T16" fmla="*/ 14 w 14"/>
                  <a:gd name="T17" fmla="*/ 13 h 15"/>
                  <a:gd name="T18" fmla="*/ 13 w 14"/>
                  <a:gd name="T19" fmla="*/ 15 h 15"/>
                  <a:gd name="T20" fmla="*/ 12 w 14"/>
                  <a:gd name="T21" fmla="*/ 15 h 15"/>
                  <a:gd name="T22" fmla="*/ 6 w 14"/>
                  <a:gd name="T23" fmla="*/ 8 h 15"/>
                  <a:gd name="T24" fmla="*/ 10 w 14"/>
                  <a:gd name="T25" fmla="*/ 10 h 15"/>
                  <a:gd name="T26" fmla="*/ 10 w 14"/>
                  <a:gd name="T27" fmla="*/ 5 h 15"/>
                  <a:gd name="T28" fmla="*/ 6 w 14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12" y="15"/>
                    </a:moveTo>
                    <a:cubicBezTo>
                      <a:pt x="11" y="15"/>
                      <a:pt x="11" y="15"/>
                      <a:pt x="11" y="15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4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2" y="15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5"/>
                      <a:pt x="10" y="5"/>
                      <a:pt x="10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6" name="Freeform 1003">
                <a:extLst>
                  <a:ext uri="{FF2B5EF4-FFF2-40B4-BE49-F238E27FC236}">
                    <a16:creationId xmlns:a16="http://schemas.microsoft.com/office/drawing/2014/main" id="{B75D44EA-7142-488A-AC4B-F3E9A91569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293648" y="5839989"/>
                <a:ext cx="149406" cy="117242"/>
              </a:xfrm>
              <a:custGeom>
                <a:avLst/>
                <a:gdLst>
                  <a:gd name="T0" fmla="*/ 29 w 61"/>
                  <a:gd name="T1" fmla="*/ 48 h 48"/>
                  <a:gd name="T2" fmla="*/ 28 w 61"/>
                  <a:gd name="T3" fmla="*/ 48 h 48"/>
                  <a:gd name="T4" fmla="*/ 1 w 61"/>
                  <a:gd name="T5" fmla="*/ 32 h 48"/>
                  <a:gd name="T6" fmla="*/ 0 w 61"/>
                  <a:gd name="T7" fmla="*/ 30 h 48"/>
                  <a:gd name="T8" fmla="*/ 1 w 61"/>
                  <a:gd name="T9" fmla="*/ 28 h 48"/>
                  <a:gd name="T10" fmla="*/ 11 w 61"/>
                  <a:gd name="T11" fmla="*/ 22 h 48"/>
                  <a:gd name="T12" fmla="*/ 11 w 61"/>
                  <a:gd name="T13" fmla="*/ 2 h 48"/>
                  <a:gd name="T14" fmla="*/ 12 w 61"/>
                  <a:gd name="T15" fmla="*/ 0 h 48"/>
                  <a:gd name="T16" fmla="*/ 14 w 61"/>
                  <a:gd name="T17" fmla="*/ 0 h 48"/>
                  <a:gd name="T18" fmla="*/ 60 w 61"/>
                  <a:gd name="T19" fmla="*/ 27 h 48"/>
                  <a:gd name="T20" fmla="*/ 61 w 61"/>
                  <a:gd name="T21" fmla="*/ 29 h 48"/>
                  <a:gd name="T22" fmla="*/ 60 w 61"/>
                  <a:gd name="T23" fmla="*/ 30 h 48"/>
                  <a:gd name="T24" fmla="*/ 30 w 61"/>
                  <a:gd name="T25" fmla="*/ 48 h 48"/>
                  <a:gd name="T26" fmla="*/ 29 w 61"/>
                  <a:gd name="T27" fmla="*/ 48 h 48"/>
                  <a:gd name="T28" fmla="*/ 6 w 61"/>
                  <a:gd name="T29" fmla="*/ 30 h 48"/>
                  <a:gd name="T30" fmla="*/ 29 w 61"/>
                  <a:gd name="T31" fmla="*/ 44 h 48"/>
                  <a:gd name="T32" fmla="*/ 55 w 61"/>
                  <a:gd name="T33" fmla="*/ 29 h 48"/>
                  <a:gd name="T34" fmla="*/ 15 w 61"/>
                  <a:gd name="T35" fmla="*/ 6 h 48"/>
                  <a:gd name="T36" fmla="*/ 15 w 61"/>
                  <a:gd name="T37" fmla="*/ 23 h 48"/>
                  <a:gd name="T38" fmla="*/ 14 w 61"/>
                  <a:gd name="T39" fmla="*/ 25 h 48"/>
                  <a:gd name="T40" fmla="*/ 6 w 61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8">
                    <a:moveTo>
                      <a:pt x="29" y="48"/>
                    </a:moveTo>
                    <a:cubicBezTo>
                      <a:pt x="29" y="48"/>
                      <a:pt x="28" y="48"/>
                      <a:pt x="28" y="48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9"/>
                      <a:pt x="0" y="29"/>
                      <a:pt x="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1"/>
                      <a:pt x="12" y="1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1" y="27"/>
                      <a:pt x="61" y="28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29" y="48"/>
                      <a:pt x="29" y="48"/>
                    </a:cubicBezTo>
                    <a:close/>
                    <a:moveTo>
                      <a:pt x="6" y="30"/>
                    </a:moveTo>
                    <a:cubicBezTo>
                      <a:pt x="29" y="44"/>
                      <a:pt x="29" y="44"/>
                      <a:pt x="29" y="44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4"/>
                      <a:pt x="15" y="25"/>
                      <a:pt x="14" y="25"/>
                    </a:cubicBez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7" name="Freeform 1004">
                <a:extLst>
                  <a:ext uri="{FF2B5EF4-FFF2-40B4-BE49-F238E27FC236}">
                    <a16:creationId xmlns:a16="http://schemas.microsoft.com/office/drawing/2014/main" id="{99A64BE7-BC92-41F8-97E7-57D5F42449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5813013"/>
                <a:ext cx="171194" cy="178457"/>
              </a:xfrm>
              <a:custGeom>
                <a:avLst/>
                <a:gdLst>
                  <a:gd name="T0" fmla="*/ 56 w 70"/>
                  <a:gd name="T1" fmla="*/ 73 h 73"/>
                  <a:gd name="T2" fmla="*/ 55 w 70"/>
                  <a:gd name="T3" fmla="*/ 72 h 73"/>
                  <a:gd name="T4" fmla="*/ 1 w 70"/>
                  <a:gd name="T5" fmla="*/ 41 h 73"/>
                  <a:gd name="T6" fmla="*/ 0 w 70"/>
                  <a:gd name="T7" fmla="*/ 40 h 73"/>
                  <a:gd name="T8" fmla="*/ 1 w 70"/>
                  <a:gd name="T9" fmla="*/ 38 h 73"/>
                  <a:gd name="T10" fmla="*/ 67 w 70"/>
                  <a:gd name="T11" fmla="*/ 0 h 73"/>
                  <a:gd name="T12" fmla="*/ 69 w 70"/>
                  <a:gd name="T13" fmla="*/ 0 h 73"/>
                  <a:gd name="T14" fmla="*/ 70 w 70"/>
                  <a:gd name="T15" fmla="*/ 2 h 73"/>
                  <a:gd name="T16" fmla="*/ 70 w 70"/>
                  <a:gd name="T17" fmla="*/ 64 h 73"/>
                  <a:gd name="T18" fmla="*/ 69 w 70"/>
                  <a:gd name="T19" fmla="*/ 66 h 73"/>
                  <a:gd name="T20" fmla="*/ 57 w 70"/>
                  <a:gd name="T21" fmla="*/ 72 h 73"/>
                  <a:gd name="T22" fmla="*/ 56 w 70"/>
                  <a:gd name="T23" fmla="*/ 73 h 73"/>
                  <a:gd name="T24" fmla="*/ 6 w 70"/>
                  <a:gd name="T25" fmla="*/ 40 h 73"/>
                  <a:gd name="T26" fmla="*/ 56 w 70"/>
                  <a:gd name="T27" fmla="*/ 68 h 73"/>
                  <a:gd name="T28" fmla="*/ 66 w 70"/>
                  <a:gd name="T29" fmla="*/ 63 h 73"/>
                  <a:gd name="T30" fmla="*/ 66 w 70"/>
                  <a:gd name="T31" fmla="*/ 5 h 73"/>
                  <a:gd name="T32" fmla="*/ 6 w 70"/>
                  <a:gd name="T33" fmla="*/ 4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" h="73">
                    <a:moveTo>
                      <a:pt x="56" y="73"/>
                    </a:moveTo>
                    <a:cubicBezTo>
                      <a:pt x="56" y="73"/>
                      <a:pt x="55" y="72"/>
                      <a:pt x="55" y="7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8" y="0"/>
                      <a:pt x="69" y="0"/>
                    </a:cubicBezTo>
                    <a:cubicBezTo>
                      <a:pt x="69" y="1"/>
                      <a:pt x="70" y="1"/>
                      <a:pt x="70" y="2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5"/>
                      <a:pt x="69" y="65"/>
                      <a:pt x="69" y="6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7" y="72"/>
                      <a:pt x="56" y="73"/>
                      <a:pt x="56" y="73"/>
                    </a:cubicBezTo>
                    <a:close/>
                    <a:moveTo>
                      <a:pt x="6" y="40"/>
                    </a:moveTo>
                    <a:cubicBezTo>
                      <a:pt x="56" y="68"/>
                      <a:pt x="56" y="68"/>
                      <a:pt x="56" y="68"/>
                    </a:cubicBez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5"/>
                      <a:pt x="66" y="5"/>
                      <a:pt x="66" y="5"/>
                    </a:cubicBezTo>
                    <a:lnTo>
                      <a:pt x="6" y="4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8" name="Freeform 1005">
                <a:extLst>
                  <a:ext uri="{FF2B5EF4-FFF2-40B4-BE49-F238E27FC236}">
                    <a16:creationId xmlns:a16="http://schemas.microsoft.com/office/drawing/2014/main" id="{2DCAA05C-D1E8-418A-8907-A0B02E865A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6224916"/>
                <a:ext cx="237597" cy="252122"/>
              </a:xfrm>
              <a:custGeom>
                <a:avLst/>
                <a:gdLst>
                  <a:gd name="T0" fmla="*/ 2 w 97"/>
                  <a:gd name="T1" fmla="*/ 103 h 103"/>
                  <a:gd name="T2" fmla="*/ 1 w 97"/>
                  <a:gd name="T3" fmla="*/ 103 h 103"/>
                  <a:gd name="T4" fmla="*/ 0 w 97"/>
                  <a:gd name="T5" fmla="*/ 101 h 103"/>
                  <a:gd name="T6" fmla="*/ 0 w 97"/>
                  <a:gd name="T7" fmla="*/ 22 h 103"/>
                  <a:gd name="T8" fmla="*/ 1 w 97"/>
                  <a:gd name="T9" fmla="*/ 20 h 103"/>
                  <a:gd name="T10" fmla="*/ 35 w 97"/>
                  <a:gd name="T11" fmla="*/ 0 h 103"/>
                  <a:gd name="T12" fmla="*/ 37 w 97"/>
                  <a:gd name="T13" fmla="*/ 0 h 103"/>
                  <a:gd name="T14" fmla="*/ 96 w 97"/>
                  <a:gd name="T15" fmla="*/ 34 h 103"/>
                  <a:gd name="T16" fmla="*/ 97 w 97"/>
                  <a:gd name="T17" fmla="*/ 36 h 103"/>
                  <a:gd name="T18" fmla="*/ 97 w 97"/>
                  <a:gd name="T19" fmla="*/ 48 h 103"/>
                  <a:gd name="T20" fmla="*/ 96 w 97"/>
                  <a:gd name="T21" fmla="*/ 49 h 103"/>
                  <a:gd name="T22" fmla="*/ 3 w 97"/>
                  <a:gd name="T23" fmla="*/ 103 h 103"/>
                  <a:gd name="T24" fmla="*/ 2 w 97"/>
                  <a:gd name="T25" fmla="*/ 103 h 103"/>
                  <a:gd name="T26" fmla="*/ 4 w 97"/>
                  <a:gd name="T27" fmla="*/ 23 h 103"/>
                  <a:gd name="T28" fmla="*/ 4 w 97"/>
                  <a:gd name="T29" fmla="*/ 98 h 103"/>
                  <a:gd name="T30" fmla="*/ 93 w 97"/>
                  <a:gd name="T31" fmla="*/ 46 h 103"/>
                  <a:gd name="T32" fmla="*/ 93 w 97"/>
                  <a:gd name="T33" fmla="*/ 37 h 103"/>
                  <a:gd name="T34" fmla="*/ 36 w 97"/>
                  <a:gd name="T35" fmla="*/ 4 h 103"/>
                  <a:gd name="T36" fmla="*/ 4 w 97"/>
                  <a:gd name="T37" fmla="*/ 2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103">
                    <a:moveTo>
                      <a:pt x="2" y="103"/>
                    </a:move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1"/>
                      <a:pt x="0" y="21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7" y="0"/>
                      <a:pt x="37" y="0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6" y="35"/>
                      <a:pt x="97" y="35"/>
                      <a:pt x="97" y="36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48"/>
                      <a:pt x="96" y="49"/>
                      <a:pt x="96" y="49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2" y="103"/>
                      <a:pt x="2" y="103"/>
                      <a:pt x="2" y="103"/>
                    </a:cubicBezTo>
                    <a:close/>
                    <a:moveTo>
                      <a:pt x="4" y="23"/>
                    </a:moveTo>
                    <a:cubicBezTo>
                      <a:pt x="4" y="98"/>
                      <a:pt x="4" y="98"/>
                      <a:pt x="4" y="98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93" y="37"/>
                      <a:pt x="93" y="37"/>
                      <a:pt x="93" y="37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9" name="Freeform 1006">
                <a:extLst>
                  <a:ext uri="{FF2B5EF4-FFF2-40B4-BE49-F238E27FC236}">
                    <a16:creationId xmlns:a16="http://schemas.microsoft.com/office/drawing/2014/main" id="{CD710DF5-DF6D-4906-9D38-54F880E52F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5984207"/>
                <a:ext cx="237597" cy="328900"/>
              </a:xfrm>
              <a:custGeom>
                <a:avLst/>
                <a:gdLst>
                  <a:gd name="T0" fmla="*/ 95 w 97"/>
                  <a:gd name="T1" fmla="*/ 134 h 134"/>
                  <a:gd name="T2" fmla="*/ 94 w 97"/>
                  <a:gd name="T3" fmla="*/ 134 h 134"/>
                  <a:gd name="T4" fmla="*/ 36 w 97"/>
                  <a:gd name="T5" fmla="*/ 100 h 134"/>
                  <a:gd name="T6" fmla="*/ 3 w 97"/>
                  <a:gd name="T7" fmla="*/ 120 h 134"/>
                  <a:gd name="T8" fmla="*/ 1 w 97"/>
                  <a:gd name="T9" fmla="*/ 120 h 134"/>
                  <a:gd name="T10" fmla="*/ 0 w 97"/>
                  <a:gd name="T11" fmla="*/ 118 h 134"/>
                  <a:gd name="T12" fmla="*/ 0 w 97"/>
                  <a:gd name="T13" fmla="*/ 50 h 134"/>
                  <a:gd name="T14" fmla="*/ 1 w 97"/>
                  <a:gd name="T15" fmla="*/ 48 h 134"/>
                  <a:gd name="T16" fmla="*/ 82 w 97"/>
                  <a:gd name="T17" fmla="*/ 1 h 134"/>
                  <a:gd name="T18" fmla="*/ 84 w 97"/>
                  <a:gd name="T19" fmla="*/ 1 h 134"/>
                  <a:gd name="T20" fmla="*/ 96 w 97"/>
                  <a:gd name="T21" fmla="*/ 8 h 134"/>
                  <a:gd name="T22" fmla="*/ 97 w 97"/>
                  <a:gd name="T23" fmla="*/ 9 h 134"/>
                  <a:gd name="T24" fmla="*/ 97 w 97"/>
                  <a:gd name="T25" fmla="*/ 132 h 134"/>
                  <a:gd name="T26" fmla="*/ 96 w 97"/>
                  <a:gd name="T27" fmla="*/ 134 h 134"/>
                  <a:gd name="T28" fmla="*/ 95 w 97"/>
                  <a:gd name="T29" fmla="*/ 134 h 134"/>
                  <a:gd name="T30" fmla="*/ 36 w 97"/>
                  <a:gd name="T31" fmla="*/ 96 h 134"/>
                  <a:gd name="T32" fmla="*/ 37 w 97"/>
                  <a:gd name="T33" fmla="*/ 96 h 134"/>
                  <a:gd name="T34" fmla="*/ 93 w 97"/>
                  <a:gd name="T35" fmla="*/ 129 h 134"/>
                  <a:gd name="T36" fmla="*/ 93 w 97"/>
                  <a:gd name="T37" fmla="*/ 10 h 134"/>
                  <a:gd name="T38" fmla="*/ 83 w 97"/>
                  <a:gd name="T39" fmla="*/ 5 h 134"/>
                  <a:gd name="T40" fmla="*/ 4 w 97"/>
                  <a:gd name="T41" fmla="*/ 51 h 134"/>
                  <a:gd name="T42" fmla="*/ 4 w 97"/>
                  <a:gd name="T43" fmla="*/ 115 h 134"/>
                  <a:gd name="T44" fmla="*/ 35 w 97"/>
                  <a:gd name="T45" fmla="*/ 96 h 134"/>
                  <a:gd name="T46" fmla="*/ 36 w 97"/>
                  <a:gd name="T47" fmla="*/ 9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7" h="134">
                    <a:moveTo>
                      <a:pt x="95" y="134"/>
                    </a:moveTo>
                    <a:cubicBezTo>
                      <a:pt x="94" y="134"/>
                      <a:pt x="94" y="134"/>
                      <a:pt x="94" y="134"/>
                    </a:cubicBezTo>
                    <a:cubicBezTo>
                      <a:pt x="36" y="100"/>
                      <a:pt x="36" y="100"/>
                      <a:pt x="36" y="10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2" y="120"/>
                      <a:pt x="1" y="120"/>
                      <a:pt x="1" y="120"/>
                    </a:cubicBezTo>
                    <a:cubicBezTo>
                      <a:pt x="0" y="119"/>
                      <a:pt x="0" y="119"/>
                      <a:pt x="0" y="118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49"/>
                      <a:pt x="0" y="48"/>
                      <a:pt x="1" y="48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3" y="0"/>
                      <a:pt x="83" y="0"/>
                      <a:pt x="84" y="1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97" y="9"/>
                      <a:pt x="97" y="9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7" y="133"/>
                      <a:pt x="96" y="133"/>
                      <a:pt x="96" y="134"/>
                    </a:cubicBezTo>
                    <a:cubicBezTo>
                      <a:pt x="95" y="134"/>
                      <a:pt x="95" y="134"/>
                      <a:pt x="95" y="134"/>
                    </a:cubicBezTo>
                    <a:close/>
                    <a:moveTo>
                      <a:pt x="36" y="96"/>
                    </a:moveTo>
                    <a:cubicBezTo>
                      <a:pt x="36" y="96"/>
                      <a:pt x="37" y="96"/>
                      <a:pt x="37" y="96"/>
                    </a:cubicBezTo>
                    <a:cubicBezTo>
                      <a:pt x="93" y="129"/>
                      <a:pt x="93" y="129"/>
                      <a:pt x="93" y="12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6"/>
                      <a:pt x="36" y="96"/>
                      <a:pt x="36" y="9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0" name="Freeform 1007">
                <a:extLst>
                  <a:ext uri="{FF2B5EF4-FFF2-40B4-BE49-F238E27FC236}">
                    <a16:creationId xmlns:a16="http://schemas.microsoft.com/office/drawing/2014/main" id="{2B576C0A-BA02-44BA-A52B-6358FEBA01F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693102" y="6090036"/>
                <a:ext cx="19713" cy="19713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2 h 8"/>
                  <a:gd name="T8" fmla="*/ 1 w 8"/>
                  <a:gd name="T9" fmla="*/ 0 h 8"/>
                  <a:gd name="T10" fmla="*/ 3 w 8"/>
                  <a:gd name="T11" fmla="*/ 0 h 8"/>
                  <a:gd name="T12" fmla="*/ 7 w 8"/>
                  <a:gd name="T13" fmla="*/ 2 h 8"/>
                  <a:gd name="T14" fmla="*/ 8 w 8"/>
                  <a:gd name="T15" fmla="*/ 4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5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1" name="Freeform 1008">
                <a:extLst>
                  <a:ext uri="{FF2B5EF4-FFF2-40B4-BE49-F238E27FC236}">
                    <a16:creationId xmlns:a16="http://schemas.microsoft.com/office/drawing/2014/main" id="{BC41532D-C2FC-4B63-88C6-32C5A4BDE8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747054" y="6574567"/>
                <a:ext cx="261460" cy="415016"/>
              </a:xfrm>
              <a:custGeom>
                <a:avLst/>
                <a:gdLst>
                  <a:gd name="T0" fmla="*/ 36 w 107"/>
                  <a:gd name="T1" fmla="*/ 169 h 169"/>
                  <a:gd name="T2" fmla="*/ 35 w 107"/>
                  <a:gd name="T3" fmla="*/ 169 h 169"/>
                  <a:gd name="T4" fmla="*/ 16 w 107"/>
                  <a:gd name="T5" fmla="*/ 158 h 169"/>
                  <a:gd name="T6" fmla="*/ 15 w 107"/>
                  <a:gd name="T7" fmla="*/ 156 h 169"/>
                  <a:gd name="T8" fmla="*/ 16 w 107"/>
                  <a:gd name="T9" fmla="*/ 154 h 169"/>
                  <a:gd name="T10" fmla="*/ 26 w 107"/>
                  <a:gd name="T11" fmla="*/ 149 h 169"/>
                  <a:gd name="T12" fmla="*/ 1 w 107"/>
                  <a:gd name="T13" fmla="*/ 135 h 169"/>
                  <a:gd name="T14" fmla="*/ 0 w 107"/>
                  <a:gd name="T15" fmla="*/ 133 h 169"/>
                  <a:gd name="T16" fmla="*/ 0 w 107"/>
                  <a:gd name="T17" fmla="*/ 2 h 169"/>
                  <a:gd name="T18" fmla="*/ 1 w 107"/>
                  <a:gd name="T19" fmla="*/ 0 h 169"/>
                  <a:gd name="T20" fmla="*/ 3 w 107"/>
                  <a:gd name="T21" fmla="*/ 0 h 169"/>
                  <a:gd name="T22" fmla="*/ 106 w 107"/>
                  <a:gd name="T23" fmla="*/ 60 h 169"/>
                  <a:gd name="T24" fmla="*/ 107 w 107"/>
                  <a:gd name="T25" fmla="*/ 62 h 169"/>
                  <a:gd name="T26" fmla="*/ 107 w 107"/>
                  <a:gd name="T27" fmla="*/ 119 h 169"/>
                  <a:gd name="T28" fmla="*/ 106 w 107"/>
                  <a:gd name="T29" fmla="*/ 120 h 169"/>
                  <a:gd name="T30" fmla="*/ 45 w 107"/>
                  <a:gd name="T31" fmla="*/ 156 h 169"/>
                  <a:gd name="T32" fmla="*/ 49 w 107"/>
                  <a:gd name="T33" fmla="*/ 158 h 169"/>
                  <a:gd name="T34" fmla="*/ 50 w 107"/>
                  <a:gd name="T35" fmla="*/ 160 h 169"/>
                  <a:gd name="T36" fmla="*/ 49 w 107"/>
                  <a:gd name="T37" fmla="*/ 162 h 169"/>
                  <a:gd name="T38" fmla="*/ 37 w 107"/>
                  <a:gd name="T39" fmla="*/ 169 h 169"/>
                  <a:gd name="T40" fmla="*/ 36 w 107"/>
                  <a:gd name="T41" fmla="*/ 169 h 169"/>
                  <a:gd name="T42" fmla="*/ 21 w 107"/>
                  <a:gd name="T43" fmla="*/ 156 h 169"/>
                  <a:gd name="T44" fmla="*/ 36 w 107"/>
                  <a:gd name="T45" fmla="*/ 164 h 169"/>
                  <a:gd name="T46" fmla="*/ 44 w 107"/>
                  <a:gd name="T47" fmla="*/ 160 h 169"/>
                  <a:gd name="T48" fmla="*/ 40 w 107"/>
                  <a:gd name="T49" fmla="*/ 157 h 169"/>
                  <a:gd name="T50" fmla="*/ 39 w 107"/>
                  <a:gd name="T51" fmla="*/ 156 h 169"/>
                  <a:gd name="T52" fmla="*/ 40 w 107"/>
                  <a:gd name="T53" fmla="*/ 154 h 169"/>
                  <a:gd name="T54" fmla="*/ 103 w 107"/>
                  <a:gd name="T55" fmla="*/ 118 h 169"/>
                  <a:gd name="T56" fmla="*/ 103 w 107"/>
                  <a:gd name="T57" fmla="*/ 63 h 169"/>
                  <a:gd name="T58" fmla="*/ 4 w 107"/>
                  <a:gd name="T59" fmla="*/ 6 h 169"/>
                  <a:gd name="T60" fmla="*/ 4 w 107"/>
                  <a:gd name="T61" fmla="*/ 132 h 169"/>
                  <a:gd name="T62" fmla="*/ 31 w 107"/>
                  <a:gd name="T63" fmla="*/ 147 h 169"/>
                  <a:gd name="T64" fmla="*/ 32 w 107"/>
                  <a:gd name="T65" fmla="*/ 149 h 169"/>
                  <a:gd name="T66" fmla="*/ 31 w 107"/>
                  <a:gd name="T67" fmla="*/ 151 h 169"/>
                  <a:gd name="T68" fmla="*/ 21 w 107"/>
                  <a:gd name="T69" fmla="*/ 156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169">
                    <a:moveTo>
                      <a:pt x="36" y="169"/>
                    </a:moveTo>
                    <a:cubicBezTo>
                      <a:pt x="36" y="169"/>
                      <a:pt x="35" y="169"/>
                      <a:pt x="35" y="16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16" y="157"/>
                      <a:pt x="15" y="157"/>
                      <a:pt x="15" y="156"/>
                    </a:cubicBezTo>
                    <a:cubicBezTo>
                      <a:pt x="15" y="155"/>
                      <a:pt x="16" y="155"/>
                      <a:pt x="16" y="154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4"/>
                      <a:pt x="0" y="133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06" y="60"/>
                      <a:pt x="106" y="60"/>
                      <a:pt x="106" y="60"/>
                    </a:cubicBezTo>
                    <a:cubicBezTo>
                      <a:pt x="106" y="60"/>
                      <a:pt x="107" y="61"/>
                      <a:pt x="107" y="62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19"/>
                      <a:pt x="106" y="120"/>
                      <a:pt x="106" y="120"/>
                    </a:cubicBezTo>
                    <a:cubicBezTo>
                      <a:pt x="45" y="156"/>
                      <a:pt x="45" y="156"/>
                      <a:pt x="45" y="156"/>
                    </a:cubicBezTo>
                    <a:cubicBezTo>
                      <a:pt x="49" y="158"/>
                      <a:pt x="49" y="158"/>
                      <a:pt x="49" y="158"/>
                    </a:cubicBezTo>
                    <a:cubicBezTo>
                      <a:pt x="50" y="158"/>
                      <a:pt x="50" y="159"/>
                      <a:pt x="50" y="160"/>
                    </a:cubicBezTo>
                    <a:cubicBezTo>
                      <a:pt x="50" y="161"/>
                      <a:pt x="50" y="161"/>
                      <a:pt x="49" y="162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7" y="169"/>
                      <a:pt x="36" y="169"/>
                      <a:pt x="36" y="169"/>
                    </a:cubicBezTo>
                    <a:close/>
                    <a:moveTo>
                      <a:pt x="21" y="156"/>
                    </a:moveTo>
                    <a:cubicBezTo>
                      <a:pt x="36" y="164"/>
                      <a:pt x="36" y="164"/>
                      <a:pt x="36" y="164"/>
                    </a:cubicBezTo>
                    <a:cubicBezTo>
                      <a:pt x="44" y="160"/>
                      <a:pt x="44" y="160"/>
                      <a:pt x="44" y="160"/>
                    </a:cubicBezTo>
                    <a:cubicBezTo>
                      <a:pt x="40" y="157"/>
                      <a:pt x="40" y="157"/>
                      <a:pt x="40" y="157"/>
                    </a:cubicBezTo>
                    <a:cubicBezTo>
                      <a:pt x="39" y="157"/>
                      <a:pt x="39" y="156"/>
                      <a:pt x="39" y="156"/>
                    </a:cubicBezTo>
                    <a:cubicBezTo>
                      <a:pt x="39" y="155"/>
                      <a:pt x="39" y="154"/>
                      <a:pt x="40" y="154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3" y="63"/>
                      <a:pt x="103" y="63"/>
                      <a:pt x="103" y="6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31" y="147"/>
                      <a:pt x="31" y="147"/>
                      <a:pt x="31" y="147"/>
                    </a:cubicBezTo>
                    <a:cubicBezTo>
                      <a:pt x="31" y="148"/>
                      <a:pt x="32" y="148"/>
                      <a:pt x="32" y="149"/>
                    </a:cubicBezTo>
                    <a:cubicBezTo>
                      <a:pt x="32" y="150"/>
                      <a:pt x="31" y="150"/>
                      <a:pt x="31" y="151"/>
                    </a:cubicBezTo>
                    <a:lnTo>
                      <a:pt x="21" y="15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2" name="Freeform 1009">
                <a:extLst>
                  <a:ext uri="{FF2B5EF4-FFF2-40B4-BE49-F238E27FC236}">
                    <a16:creationId xmlns:a16="http://schemas.microsoft.com/office/drawing/2014/main" id="{5E6B498D-4E19-4870-A1BE-676A19B494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680651" y="6844327"/>
                <a:ext cx="73665" cy="240709"/>
              </a:xfrm>
              <a:custGeom>
                <a:avLst/>
                <a:gdLst>
                  <a:gd name="T0" fmla="*/ 28 w 30"/>
                  <a:gd name="T1" fmla="*/ 98 h 98"/>
                  <a:gd name="T2" fmla="*/ 27 w 30"/>
                  <a:gd name="T3" fmla="*/ 98 h 98"/>
                  <a:gd name="T4" fmla="*/ 1 w 30"/>
                  <a:gd name="T5" fmla="*/ 83 h 98"/>
                  <a:gd name="T6" fmla="*/ 0 w 30"/>
                  <a:gd name="T7" fmla="*/ 82 h 98"/>
                  <a:gd name="T8" fmla="*/ 0 w 30"/>
                  <a:gd name="T9" fmla="*/ 10 h 98"/>
                  <a:gd name="T10" fmla="*/ 1 w 30"/>
                  <a:gd name="T11" fmla="*/ 8 h 98"/>
                  <a:gd name="T12" fmla="*/ 14 w 30"/>
                  <a:gd name="T13" fmla="*/ 1 h 98"/>
                  <a:gd name="T14" fmla="*/ 16 w 30"/>
                  <a:gd name="T15" fmla="*/ 1 h 98"/>
                  <a:gd name="T16" fmla="*/ 17 w 30"/>
                  <a:gd name="T17" fmla="*/ 3 h 98"/>
                  <a:gd name="T18" fmla="*/ 17 w 30"/>
                  <a:gd name="T19" fmla="*/ 83 h 98"/>
                  <a:gd name="T20" fmla="*/ 27 w 30"/>
                  <a:gd name="T21" fmla="*/ 77 h 98"/>
                  <a:gd name="T22" fmla="*/ 29 w 30"/>
                  <a:gd name="T23" fmla="*/ 77 h 98"/>
                  <a:gd name="T24" fmla="*/ 30 w 30"/>
                  <a:gd name="T25" fmla="*/ 79 h 98"/>
                  <a:gd name="T26" fmla="*/ 30 w 30"/>
                  <a:gd name="T27" fmla="*/ 96 h 98"/>
                  <a:gd name="T28" fmla="*/ 29 w 30"/>
                  <a:gd name="T29" fmla="*/ 98 h 98"/>
                  <a:gd name="T30" fmla="*/ 28 w 30"/>
                  <a:gd name="T31" fmla="*/ 98 h 98"/>
                  <a:gd name="T32" fmla="*/ 17 w 30"/>
                  <a:gd name="T33" fmla="*/ 88 h 98"/>
                  <a:gd name="T34" fmla="*/ 26 w 30"/>
                  <a:gd name="T35" fmla="*/ 93 h 98"/>
                  <a:gd name="T36" fmla="*/ 26 w 30"/>
                  <a:gd name="T37" fmla="*/ 83 h 98"/>
                  <a:gd name="T38" fmla="*/ 17 w 30"/>
                  <a:gd name="T39" fmla="*/ 88 h 98"/>
                  <a:gd name="T40" fmla="*/ 17 w 30"/>
                  <a:gd name="T41" fmla="*/ 88 h 98"/>
                  <a:gd name="T42" fmla="*/ 4 w 30"/>
                  <a:gd name="T43" fmla="*/ 80 h 98"/>
                  <a:gd name="T44" fmla="*/ 13 w 30"/>
                  <a:gd name="T45" fmla="*/ 85 h 98"/>
                  <a:gd name="T46" fmla="*/ 13 w 30"/>
                  <a:gd name="T47" fmla="*/ 6 h 98"/>
                  <a:gd name="T48" fmla="*/ 4 w 30"/>
                  <a:gd name="T49" fmla="*/ 11 h 98"/>
                  <a:gd name="T50" fmla="*/ 4 w 30"/>
                  <a:gd name="T51" fmla="*/ 8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98">
                    <a:moveTo>
                      <a:pt x="28" y="98"/>
                    </a:moveTo>
                    <a:cubicBezTo>
                      <a:pt x="28" y="98"/>
                      <a:pt x="27" y="98"/>
                      <a:pt x="27" y="98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2"/>
                      <a:pt x="0" y="8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7" y="3"/>
                    </a:cubicBezTo>
                    <a:cubicBezTo>
                      <a:pt x="17" y="83"/>
                      <a:pt x="17" y="83"/>
                      <a:pt x="17" y="83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8" y="77"/>
                      <a:pt x="28" y="77"/>
                      <a:pt x="29" y="77"/>
                    </a:cubicBezTo>
                    <a:cubicBezTo>
                      <a:pt x="30" y="78"/>
                      <a:pt x="30" y="78"/>
                      <a:pt x="30" y="79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7"/>
                      <a:pt x="30" y="98"/>
                      <a:pt x="29" y="98"/>
                    </a:cubicBezTo>
                    <a:cubicBezTo>
                      <a:pt x="29" y="98"/>
                      <a:pt x="28" y="98"/>
                      <a:pt x="28" y="98"/>
                    </a:cubicBezTo>
                    <a:close/>
                    <a:moveTo>
                      <a:pt x="17" y="88"/>
                    </a:moveTo>
                    <a:cubicBezTo>
                      <a:pt x="26" y="93"/>
                      <a:pt x="26" y="93"/>
                      <a:pt x="26" y="93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17" y="88"/>
                      <a:pt x="17" y="88"/>
                      <a:pt x="17" y="88"/>
                    </a:cubicBezTo>
                    <a:cubicBezTo>
                      <a:pt x="17" y="88"/>
                      <a:pt x="17" y="88"/>
                      <a:pt x="17" y="88"/>
                    </a:cubicBezTo>
                    <a:close/>
                    <a:moveTo>
                      <a:pt x="4" y="80"/>
                    </a:move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80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3" name="Freeform 1012">
                <a:extLst>
                  <a:ext uri="{FF2B5EF4-FFF2-40B4-BE49-F238E27FC236}">
                    <a16:creationId xmlns:a16="http://schemas.microsoft.com/office/drawing/2014/main" id="{AAE4F654-81C5-40E8-9D3E-10550E27F2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408815" y="6770662"/>
                <a:ext cx="311262" cy="284286"/>
              </a:xfrm>
              <a:custGeom>
                <a:avLst/>
                <a:gdLst>
                  <a:gd name="T0" fmla="*/ 2 w 127"/>
                  <a:gd name="T1" fmla="*/ 116 h 116"/>
                  <a:gd name="T2" fmla="*/ 1 w 127"/>
                  <a:gd name="T3" fmla="*/ 116 h 116"/>
                  <a:gd name="T4" fmla="*/ 0 w 127"/>
                  <a:gd name="T5" fmla="*/ 114 h 116"/>
                  <a:gd name="T6" fmla="*/ 0 w 127"/>
                  <a:gd name="T7" fmla="*/ 32 h 116"/>
                  <a:gd name="T8" fmla="*/ 1 w 127"/>
                  <a:gd name="T9" fmla="*/ 30 h 116"/>
                  <a:gd name="T10" fmla="*/ 52 w 127"/>
                  <a:gd name="T11" fmla="*/ 0 h 116"/>
                  <a:gd name="T12" fmla="*/ 54 w 127"/>
                  <a:gd name="T13" fmla="*/ 0 h 116"/>
                  <a:gd name="T14" fmla="*/ 126 w 127"/>
                  <a:gd name="T15" fmla="*/ 42 h 116"/>
                  <a:gd name="T16" fmla="*/ 127 w 127"/>
                  <a:gd name="T17" fmla="*/ 43 h 116"/>
                  <a:gd name="T18" fmla="*/ 126 w 127"/>
                  <a:gd name="T19" fmla="*/ 45 h 116"/>
                  <a:gd name="T20" fmla="*/ 17 w 127"/>
                  <a:gd name="T21" fmla="*/ 108 h 116"/>
                  <a:gd name="T22" fmla="*/ 16 w 127"/>
                  <a:gd name="T23" fmla="*/ 108 h 116"/>
                  <a:gd name="T24" fmla="*/ 15 w 127"/>
                  <a:gd name="T25" fmla="*/ 109 h 116"/>
                  <a:gd name="T26" fmla="*/ 3 w 127"/>
                  <a:gd name="T27" fmla="*/ 116 h 116"/>
                  <a:gd name="T28" fmla="*/ 2 w 127"/>
                  <a:gd name="T29" fmla="*/ 116 h 116"/>
                  <a:gd name="T30" fmla="*/ 4 w 127"/>
                  <a:gd name="T31" fmla="*/ 33 h 116"/>
                  <a:gd name="T32" fmla="*/ 4 w 127"/>
                  <a:gd name="T33" fmla="*/ 110 h 116"/>
                  <a:gd name="T34" fmla="*/ 12 w 127"/>
                  <a:gd name="T35" fmla="*/ 106 h 116"/>
                  <a:gd name="T36" fmla="*/ 12 w 127"/>
                  <a:gd name="T37" fmla="*/ 105 h 116"/>
                  <a:gd name="T38" fmla="*/ 13 w 127"/>
                  <a:gd name="T39" fmla="*/ 104 h 116"/>
                  <a:gd name="T40" fmla="*/ 15 w 127"/>
                  <a:gd name="T41" fmla="*/ 104 h 116"/>
                  <a:gd name="T42" fmla="*/ 16 w 127"/>
                  <a:gd name="T43" fmla="*/ 104 h 116"/>
                  <a:gd name="T44" fmla="*/ 121 w 127"/>
                  <a:gd name="T45" fmla="*/ 43 h 116"/>
                  <a:gd name="T46" fmla="*/ 53 w 127"/>
                  <a:gd name="T47" fmla="*/ 5 h 116"/>
                  <a:gd name="T48" fmla="*/ 4 w 127"/>
                  <a:gd name="T49" fmla="*/ 3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7" h="116">
                    <a:moveTo>
                      <a:pt x="2" y="116"/>
                    </a:moveTo>
                    <a:cubicBezTo>
                      <a:pt x="2" y="116"/>
                      <a:pt x="2" y="116"/>
                      <a:pt x="1" y="116"/>
                    </a:cubicBezTo>
                    <a:cubicBezTo>
                      <a:pt x="1" y="115"/>
                      <a:pt x="0" y="115"/>
                      <a:pt x="0" y="11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4" y="0"/>
                      <a:pt x="54" y="0"/>
                    </a:cubicBezTo>
                    <a:cubicBezTo>
                      <a:pt x="126" y="42"/>
                      <a:pt x="126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27" y="44"/>
                      <a:pt x="126" y="45"/>
                      <a:pt x="126" y="45"/>
                    </a:cubicBezTo>
                    <a:cubicBezTo>
                      <a:pt x="17" y="108"/>
                      <a:pt x="17" y="108"/>
                      <a:pt x="17" y="108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3" y="116"/>
                      <a:pt x="3" y="116"/>
                      <a:pt x="3" y="116"/>
                    </a:cubicBezTo>
                    <a:cubicBezTo>
                      <a:pt x="3" y="116"/>
                      <a:pt x="3" y="116"/>
                      <a:pt x="2" y="116"/>
                    </a:cubicBezTo>
                    <a:close/>
                    <a:moveTo>
                      <a:pt x="4" y="33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12" y="106"/>
                      <a:pt x="12" y="106"/>
                      <a:pt x="12" y="106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2" y="105"/>
                      <a:pt x="12" y="104"/>
                      <a:pt x="13" y="104"/>
                    </a:cubicBezTo>
                    <a:cubicBezTo>
                      <a:pt x="14" y="103"/>
                      <a:pt x="14" y="103"/>
                      <a:pt x="15" y="104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21" y="43"/>
                      <a:pt x="121" y="43"/>
                      <a:pt x="121" y="43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4" y="3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4" name="Freeform 1013">
                <a:extLst>
                  <a:ext uri="{FF2B5EF4-FFF2-40B4-BE49-F238E27FC236}">
                    <a16:creationId xmlns:a16="http://schemas.microsoft.com/office/drawing/2014/main" id="{A7F5E9FB-D2C4-4513-A34E-DAD8967054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91177" y="6376397"/>
                <a:ext cx="198170" cy="134880"/>
              </a:xfrm>
              <a:custGeom>
                <a:avLst/>
                <a:gdLst>
                  <a:gd name="T0" fmla="*/ 69 w 81"/>
                  <a:gd name="T1" fmla="*/ 55 h 55"/>
                  <a:gd name="T2" fmla="*/ 68 w 81"/>
                  <a:gd name="T3" fmla="*/ 54 h 55"/>
                  <a:gd name="T4" fmla="*/ 1 w 81"/>
                  <a:gd name="T5" fmla="*/ 15 h 55"/>
                  <a:gd name="T6" fmla="*/ 0 w 81"/>
                  <a:gd name="T7" fmla="*/ 13 h 55"/>
                  <a:gd name="T8" fmla="*/ 1 w 81"/>
                  <a:gd name="T9" fmla="*/ 12 h 55"/>
                  <a:gd name="T10" fmla="*/ 21 w 81"/>
                  <a:gd name="T11" fmla="*/ 0 h 55"/>
                  <a:gd name="T12" fmla="*/ 23 w 81"/>
                  <a:gd name="T13" fmla="*/ 0 h 55"/>
                  <a:gd name="T14" fmla="*/ 80 w 81"/>
                  <a:gd name="T15" fmla="*/ 34 h 55"/>
                  <a:gd name="T16" fmla="*/ 81 w 81"/>
                  <a:gd name="T17" fmla="*/ 35 h 55"/>
                  <a:gd name="T18" fmla="*/ 81 w 81"/>
                  <a:gd name="T19" fmla="*/ 47 h 55"/>
                  <a:gd name="T20" fmla="*/ 80 w 81"/>
                  <a:gd name="T21" fmla="*/ 49 h 55"/>
                  <a:gd name="T22" fmla="*/ 70 w 81"/>
                  <a:gd name="T23" fmla="*/ 54 h 55"/>
                  <a:gd name="T24" fmla="*/ 69 w 81"/>
                  <a:gd name="T25" fmla="*/ 55 h 55"/>
                  <a:gd name="T26" fmla="*/ 6 w 81"/>
                  <a:gd name="T27" fmla="*/ 13 h 55"/>
                  <a:gd name="T28" fmla="*/ 69 w 81"/>
                  <a:gd name="T29" fmla="*/ 50 h 55"/>
                  <a:gd name="T30" fmla="*/ 77 w 81"/>
                  <a:gd name="T31" fmla="*/ 46 h 55"/>
                  <a:gd name="T32" fmla="*/ 77 w 81"/>
                  <a:gd name="T33" fmla="*/ 36 h 55"/>
                  <a:gd name="T34" fmla="*/ 22 w 81"/>
                  <a:gd name="T35" fmla="*/ 4 h 55"/>
                  <a:gd name="T36" fmla="*/ 6 w 81"/>
                  <a:gd name="T3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1" h="55">
                    <a:moveTo>
                      <a:pt x="69" y="55"/>
                    </a:moveTo>
                    <a:cubicBezTo>
                      <a:pt x="69" y="55"/>
                      <a:pt x="69" y="54"/>
                      <a:pt x="68" y="5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80" y="34"/>
                      <a:pt x="80" y="34"/>
                      <a:pt x="80" y="34"/>
                    </a:cubicBezTo>
                    <a:cubicBezTo>
                      <a:pt x="81" y="34"/>
                      <a:pt x="81" y="35"/>
                      <a:pt x="81" y="35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48"/>
                      <a:pt x="81" y="48"/>
                      <a:pt x="80" y="49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70" y="54"/>
                      <a:pt x="70" y="55"/>
                      <a:pt x="69" y="55"/>
                    </a:cubicBezTo>
                    <a:close/>
                    <a:moveTo>
                      <a:pt x="6" y="13"/>
                    </a:moveTo>
                    <a:cubicBezTo>
                      <a:pt x="69" y="50"/>
                      <a:pt x="69" y="50"/>
                      <a:pt x="69" y="50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22" y="4"/>
                      <a:pt x="22" y="4"/>
                      <a:pt x="22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5" name="Freeform 1014">
                <a:extLst>
                  <a:ext uri="{FF2B5EF4-FFF2-40B4-BE49-F238E27FC236}">
                    <a16:creationId xmlns:a16="http://schemas.microsoft.com/office/drawing/2014/main" id="{58029DCC-2BAD-40AF-B389-A7108DB953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391177" y="6506089"/>
                <a:ext cx="328901" cy="370402"/>
              </a:xfrm>
              <a:custGeom>
                <a:avLst/>
                <a:gdLst>
                  <a:gd name="T0" fmla="*/ 125 w 134"/>
                  <a:gd name="T1" fmla="*/ 151 h 151"/>
                  <a:gd name="T2" fmla="*/ 124 w 134"/>
                  <a:gd name="T3" fmla="*/ 151 h 151"/>
                  <a:gd name="T4" fmla="*/ 53 w 134"/>
                  <a:gd name="T5" fmla="*/ 111 h 151"/>
                  <a:gd name="T6" fmla="*/ 3 w 134"/>
                  <a:gd name="T7" fmla="*/ 139 h 151"/>
                  <a:gd name="T8" fmla="*/ 1 w 134"/>
                  <a:gd name="T9" fmla="*/ 139 h 151"/>
                  <a:gd name="T10" fmla="*/ 0 w 134"/>
                  <a:gd name="T11" fmla="*/ 138 h 151"/>
                  <a:gd name="T12" fmla="*/ 0 w 134"/>
                  <a:gd name="T13" fmla="*/ 72 h 151"/>
                  <a:gd name="T14" fmla="*/ 1 w 134"/>
                  <a:gd name="T15" fmla="*/ 70 h 151"/>
                  <a:gd name="T16" fmla="*/ 123 w 134"/>
                  <a:gd name="T17" fmla="*/ 0 h 151"/>
                  <a:gd name="T18" fmla="*/ 125 w 134"/>
                  <a:gd name="T19" fmla="*/ 0 h 151"/>
                  <a:gd name="T20" fmla="*/ 133 w 134"/>
                  <a:gd name="T21" fmla="*/ 5 h 151"/>
                  <a:gd name="T22" fmla="*/ 134 w 134"/>
                  <a:gd name="T23" fmla="*/ 7 h 151"/>
                  <a:gd name="T24" fmla="*/ 134 w 134"/>
                  <a:gd name="T25" fmla="*/ 34 h 151"/>
                  <a:gd name="T26" fmla="*/ 133 w 134"/>
                  <a:gd name="T27" fmla="*/ 36 h 151"/>
                  <a:gd name="T28" fmla="*/ 131 w 134"/>
                  <a:gd name="T29" fmla="*/ 36 h 151"/>
                  <a:gd name="T30" fmla="*/ 127 w 134"/>
                  <a:gd name="T31" fmla="*/ 33 h 151"/>
                  <a:gd name="T32" fmla="*/ 127 w 134"/>
                  <a:gd name="T33" fmla="*/ 149 h 151"/>
                  <a:gd name="T34" fmla="*/ 126 w 134"/>
                  <a:gd name="T35" fmla="*/ 151 h 151"/>
                  <a:gd name="T36" fmla="*/ 125 w 134"/>
                  <a:gd name="T37" fmla="*/ 151 h 151"/>
                  <a:gd name="T38" fmla="*/ 53 w 134"/>
                  <a:gd name="T39" fmla="*/ 106 h 151"/>
                  <a:gd name="T40" fmla="*/ 54 w 134"/>
                  <a:gd name="T41" fmla="*/ 107 h 151"/>
                  <a:gd name="T42" fmla="*/ 123 w 134"/>
                  <a:gd name="T43" fmla="*/ 146 h 151"/>
                  <a:gd name="T44" fmla="*/ 123 w 134"/>
                  <a:gd name="T45" fmla="*/ 30 h 151"/>
                  <a:gd name="T46" fmla="*/ 124 w 134"/>
                  <a:gd name="T47" fmla="*/ 28 h 151"/>
                  <a:gd name="T48" fmla="*/ 126 w 134"/>
                  <a:gd name="T49" fmla="*/ 28 h 151"/>
                  <a:gd name="T50" fmla="*/ 130 w 134"/>
                  <a:gd name="T51" fmla="*/ 30 h 151"/>
                  <a:gd name="T52" fmla="*/ 130 w 134"/>
                  <a:gd name="T53" fmla="*/ 8 h 151"/>
                  <a:gd name="T54" fmla="*/ 124 w 134"/>
                  <a:gd name="T55" fmla="*/ 4 h 151"/>
                  <a:gd name="T56" fmla="*/ 4 w 134"/>
                  <a:gd name="T57" fmla="*/ 73 h 151"/>
                  <a:gd name="T58" fmla="*/ 4 w 134"/>
                  <a:gd name="T59" fmla="*/ 134 h 151"/>
                  <a:gd name="T60" fmla="*/ 52 w 134"/>
                  <a:gd name="T61" fmla="*/ 107 h 151"/>
                  <a:gd name="T62" fmla="*/ 53 w 134"/>
                  <a:gd name="T63" fmla="*/ 106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4" h="151">
                    <a:moveTo>
                      <a:pt x="125" y="151"/>
                    </a:moveTo>
                    <a:cubicBezTo>
                      <a:pt x="124" y="151"/>
                      <a:pt x="124" y="151"/>
                      <a:pt x="124" y="151"/>
                    </a:cubicBezTo>
                    <a:cubicBezTo>
                      <a:pt x="53" y="111"/>
                      <a:pt x="53" y="111"/>
                      <a:pt x="53" y="11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3" y="140"/>
                      <a:pt x="2" y="140"/>
                      <a:pt x="1" y="139"/>
                    </a:cubicBezTo>
                    <a:cubicBezTo>
                      <a:pt x="1" y="139"/>
                      <a:pt x="0" y="138"/>
                      <a:pt x="0" y="138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1"/>
                      <a:pt x="1" y="71"/>
                      <a:pt x="1" y="7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24" y="0"/>
                      <a:pt x="125" y="0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134" y="6"/>
                      <a:pt x="134" y="6"/>
                      <a:pt x="134" y="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5"/>
                      <a:pt x="134" y="35"/>
                      <a:pt x="133" y="36"/>
                    </a:cubicBezTo>
                    <a:cubicBezTo>
                      <a:pt x="133" y="36"/>
                      <a:pt x="132" y="36"/>
                      <a:pt x="131" y="36"/>
                    </a:cubicBezTo>
                    <a:cubicBezTo>
                      <a:pt x="127" y="33"/>
                      <a:pt x="127" y="33"/>
                      <a:pt x="127" y="33"/>
                    </a:cubicBezTo>
                    <a:cubicBezTo>
                      <a:pt x="127" y="149"/>
                      <a:pt x="127" y="149"/>
                      <a:pt x="127" y="149"/>
                    </a:cubicBezTo>
                    <a:cubicBezTo>
                      <a:pt x="127" y="150"/>
                      <a:pt x="126" y="151"/>
                      <a:pt x="126" y="151"/>
                    </a:cubicBezTo>
                    <a:cubicBezTo>
                      <a:pt x="125" y="151"/>
                      <a:pt x="125" y="151"/>
                      <a:pt x="125" y="151"/>
                    </a:cubicBezTo>
                    <a:close/>
                    <a:moveTo>
                      <a:pt x="53" y="106"/>
                    </a:moveTo>
                    <a:cubicBezTo>
                      <a:pt x="54" y="106"/>
                      <a:pt x="54" y="106"/>
                      <a:pt x="54" y="107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23" y="30"/>
                      <a:pt x="123" y="30"/>
                      <a:pt x="123" y="30"/>
                    </a:cubicBezTo>
                    <a:cubicBezTo>
                      <a:pt x="123" y="29"/>
                      <a:pt x="123" y="28"/>
                      <a:pt x="124" y="28"/>
                    </a:cubicBezTo>
                    <a:cubicBezTo>
                      <a:pt x="124" y="27"/>
                      <a:pt x="125" y="27"/>
                      <a:pt x="126" y="28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24" y="4"/>
                      <a:pt x="124" y="4"/>
                      <a:pt x="124" y="4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52" y="107"/>
                      <a:pt x="52" y="107"/>
                      <a:pt x="52" y="107"/>
                    </a:cubicBezTo>
                    <a:cubicBezTo>
                      <a:pt x="53" y="106"/>
                      <a:pt x="53" y="106"/>
                      <a:pt x="53" y="10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6" name="Freeform 1019">
                <a:extLst>
                  <a:ext uri="{FF2B5EF4-FFF2-40B4-BE49-F238E27FC236}">
                    <a16:creationId xmlns:a16="http://schemas.microsoft.com/office/drawing/2014/main" id="{36E88D6A-FB85-4680-B04C-2B02D30376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05441" y="6646157"/>
                <a:ext cx="188833" cy="232409"/>
              </a:xfrm>
              <a:custGeom>
                <a:avLst/>
                <a:gdLst>
                  <a:gd name="T0" fmla="*/ 75 w 77"/>
                  <a:gd name="T1" fmla="*/ 95 h 95"/>
                  <a:gd name="T2" fmla="*/ 74 w 77"/>
                  <a:gd name="T3" fmla="*/ 94 h 95"/>
                  <a:gd name="T4" fmla="*/ 4 w 77"/>
                  <a:gd name="T5" fmla="*/ 54 h 95"/>
                  <a:gd name="T6" fmla="*/ 3 w 77"/>
                  <a:gd name="T7" fmla="*/ 55 h 95"/>
                  <a:gd name="T8" fmla="*/ 1 w 77"/>
                  <a:gd name="T9" fmla="*/ 55 h 95"/>
                  <a:gd name="T10" fmla="*/ 0 w 77"/>
                  <a:gd name="T11" fmla="*/ 53 h 95"/>
                  <a:gd name="T12" fmla="*/ 0 w 77"/>
                  <a:gd name="T13" fmla="*/ 44 h 95"/>
                  <a:gd name="T14" fmla="*/ 1 w 77"/>
                  <a:gd name="T15" fmla="*/ 43 h 95"/>
                  <a:gd name="T16" fmla="*/ 74 w 77"/>
                  <a:gd name="T17" fmla="*/ 0 h 95"/>
                  <a:gd name="T18" fmla="*/ 76 w 77"/>
                  <a:gd name="T19" fmla="*/ 0 h 95"/>
                  <a:gd name="T20" fmla="*/ 77 w 77"/>
                  <a:gd name="T21" fmla="*/ 2 h 95"/>
                  <a:gd name="T22" fmla="*/ 77 w 77"/>
                  <a:gd name="T23" fmla="*/ 93 h 95"/>
                  <a:gd name="T24" fmla="*/ 76 w 77"/>
                  <a:gd name="T25" fmla="*/ 94 h 95"/>
                  <a:gd name="T26" fmla="*/ 75 w 77"/>
                  <a:gd name="T27" fmla="*/ 95 h 95"/>
                  <a:gd name="T28" fmla="*/ 4 w 77"/>
                  <a:gd name="T29" fmla="*/ 49 h 95"/>
                  <a:gd name="T30" fmla="*/ 5 w 77"/>
                  <a:gd name="T31" fmla="*/ 50 h 95"/>
                  <a:gd name="T32" fmla="*/ 73 w 77"/>
                  <a:gd name="T33" fmla="*/ 89 h 95"/>
                  <a:gd name="T34" fmla="*/ 73 w 77"/>
                  <a:gd name="T35" fmla="*/ 5 h 95"/>
                  <a:gd name="T36" fmla="*/ 4 w 77"/>
                  <a:gd name="T37" fmla="*/ 46 h 95"/>
                  <a:gd name="T38" fmla="*/ 4 w 77"/>
                  <a:gd name="T39" fmla="*/ 49 h 95"/>
                  <a:gd name="T40" fmla="*/ 4 w 77"/>
                  <a:gd name="T41" fmla="*/ 4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7" h="95">
                    <a:moveTo>
                      <a:pt x="75" y="95"/>
                    </a:moveTo>
                    <a:cubicBezTo>
                      <a:pt x="75" y="95"/>
                      <a:pt x="75" y="94"/>
                      <a:pt x="74" y="9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2" y="55"/>
                      <a:pt x="1" y="55"/>
                      <a:pt x="1" y="55"/>
                    </a:cubicBezTo>
                    <a:cubicBezTo>
                      <a:pt x="0" y="54"/>
                      <a:pt x="0" y="54"/>
                      <a:pt x="0" y="5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4"/>
                      <a:pt x="76" y="94"/>
                    </a:cubicBezTo>
                    <a:cubicBezTo>
                      <a:pt x="76" y="94"/>
                      <a:pt x="76" y="95"/>
                      <a:pt x="75" y="95"/>
                    </a:cubicBezTo>
                    <a:close/>
                    <a:moveTo>
                      <a:pt x="4" y="49"/>
                    </a:moveTo>
                    <a:cubicBezTo>
                      <a:pt x="4" y="49"/>
                      <a:pt x="5" y="49"/>
                      <a:pt x="5" y="50"/>
                    </a:cubicBezTo>
                    <a:cubicBezTo>
                      <a:pt x="73" y="89"/>
                      <a:pt x="73" y="89"/>
                      <a:pt x="73" y="8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7" name="Freeform 1020">
                <a:extLst>
                  <a:ext uri="{FF2B5EF4-FFF2-40B4-BE49-F238E27FC236}">
                    <a16:creationId xmlns:a16="http://schemas.microsoft.com/office/drawing/2014/main" id="{C8A2121C-2D13-4877-B3DC-7C067061AE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30342" y="6396110"/>
                <a:ext cx="153556" cy="93379"/>
              </a:xfrm>
              <a:custGeom>
                <a:avLst/>
                <a:gdLst>
                  <a:gd name="T0" fmla="*/ 55 w 63"/>
                  <a:gd name="T1" fmla="*/ 38 h 38"/>
                  <a:gd name="T2" fmla="*/ 54 w 63"/>
                  <a:gd name="T3" fmla="*/ 38 h 38"/>
                  <a:gd name="T4" fmla="*/ 1 w 63"/>
                  <a:gd name="T5" fmla="*/ 7 h 38"/>
                  <a:gd name="T6" fmla="*/ 0 w 63"/>
                  <a:gd name="T7" fmla="*/ 5 h 38"/>
                  <a:gd name="T8" fmla="*/ 1 w 63"/>
                  <a:gd name="T9" fmla="*/ 4 h 38"/>
                  <a:gd name="T10" fmla="*/ 6 w 63"/>
                  <a:gd name="T11" fmla="*/ 1 h 38"/>
                  <a:gd name="T12" fmla="*/ 8 w 63"/>
                  <a:gd name="T13" fmla="*/ 1 h 38"/>
                  <a:gd name="T14" fmla="*/ 62 w 63"/>
                  <a:gd name="T15" fmla="*/ 31 h 38"/>
                  <a:gd name="T16" fmla="*/ 63 w 63"/>
                  <a:gd name="T17" fmla="*/ 33 h 38"/>
                  <a:gd name="T18" fmla="*/ 62 w 63"/>
                  <a:gd name="T19" fmla="*/ 35 h 38"/>
                  <a:gd name="T20" fmla="*/ 56 w 63"/>
                  <a:gd name="T21" fmla="*/ 38 h 38"/>
                  <a:gd name="T22" fmla="*/ 55 w 63"/>
                  <a:gd name="T23" fmla="*/ 38 h 38"/>
                  <a:gd name="T24" fmla="*/ 6 w 63"/>
                  <a:gd name="T25" fmla="*/ 5 h 38"/>
                  <a:gd name="T26" fmla="*/ 55 w 63"/>
                  <a:gd name="T27" fmla="*/ 34 h 38"/>
                  <a:gd name="T28" fmla="*/ 57 w 63"/>
                  <a:gd name="T29" fmla="*/ 33 h 38"/>
                  <a:gd name="T30" fmla="*/ 7 w 63"/>
                  <a:gd name="T31" fmla="*/ 5 h 38"/>
                  <a:gd name="T32" fmla="*/ 6 w 63"/>
                  <a:gd name="T33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8">
                    <a:moveTo>
                      <a:pt x="55" y="38"/>
                    </a:moveTo>
                    <a:cubicBezTo>
                      <a:pt x="55" y="38"/>
                      <a:pt x="54" y="38"/>
                      <a:pt x="54" y="3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32"/>
                      <a:pt x="63" y="32"/>
                      <a:pt x="63" y="33"/>
                    </a:cubicBezTo>
                    <a:cubicBezTo>
                      <a:pt x="63" y="34"/>
                      <a:pt x="62" y="34"/>
                      <a:pt x="62" y="35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6" y="38"/>
                      <a:pt x="55" y="38"/>
                      <a:pt x="55" y="38"/>
                    </a:cubicBezTo>
                    <a:close/>
                    <a:moveTo>
                      <a:pt x="6" y="5"/>
                    </a:moveTo>
                    <a:cubicBezTo>
                      <a:pt x="55" y="34"/>
                      <a:pt x="55" y="34"/>
                      <a:pt x="55" y="34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8" name="Freeform 1021">
                <a:extLst>
                  <a:ext uri="{FF2B5EF4-FFF2-40B4-BE49-F238E27FC236}">
                    <a16:creationId xmlns:a16="http://schemas.microsoft.com/office/drawing/2014/main" id="{3B2EC77D-2795-403A-B88A-38B820BF19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05441" y="6484301"/>
                <a:ext cx="73665" cy="61215"/>
              </a:xfrm>
              <a:custGeom>
                <a:avLst/>
                <a:gdLst>
                  <a:gd name="T0" fmla="*/ 28 w 30"/>
                  <a:gd name="T1" fmla="*/ 25 h 25"/>
                  <a:gd name="T2" fmla="*/ 27 w 30"/>
                  <a:gd name="T3" fmla="*/ 25 h 25"/>
                  <a:gd name="T4" fmla="*/ 1 w 30"/>
                  <a:gd name="T5" fmla="*/ 10 h 25"/>
                  <a:gd name="T6" fmla="*/ 0 w 30"/>
                  <a:gd name="T7" fmla="*/ 8 h 25"/>
                  <a:gd name="T8" fmla="*/ 1 w 30"/>
                  <a:gd name="T9" fmla="*/ 6 h 25"/>
                  <a:gd name="T10" fmla="*/ 11 w 30"/>
                  <a:gd name="T11" fmla="*/ 0 h 25"/>
                  <a:gd name="T12" fmla="*/ 13 w 30"/>
                  <a:gd name="T13" fmla="*/ 0 h 25"/>
                  <a:gd name="T14" fmla="*/ 29 w 30"/>
                  <a:gd name="T15" fmla="*/ 10 h 25"/>
                  <a:gd name="T16" fmla="*/ 30 w 30"/>
                  <a:gd name="T17" fmla="*/ 12 h 25"/>
                  <a:gd name="T18" fmla="*/ 30 w 30"/>
                  <a:gd name="T19" fmla="*/ 23 h 25"/>
                  <a:gd name="T20" fmla="*/ 29 w 30"/>
                  <a:gd name="T21" fmla="*/ 25 h 25"/>
                  <a:gd name="T22" fmla="*/ 28 w 30"/>
                  <a:gd name="T23" fmla="*/ 25 h 25"/>
                  <a:gd name="T24" fmla="*/ 6 w 30"/>
                  <a:gd name="T25" fmla="*/ 8 h 25"/>
                  <a:gd name="T26" fmla="*/ 26 w 30"/>
                  <a:gd name="T27" fmla="*/ 20 h 25"/>
                  <a:gd name="T28" fmla="*/ 26 w 30"/>
                  <a:gd name="T29" fmla="*/ 13 h 25"/>
                  <a:gd name="T30" fmla="*/ 12 w 30"/>
                  <a:gd name="T31" fmla="*/ 5 h 25"/>
                  <a:gd name="T32" fmla="*/ 6 w 30"/>
                  <a:gd name="T3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5">
                    <a:moveTo>
                      <a:pt x="28" y="25"/>
                    </a:moveTo>
                    <a:cubicBezTo>
                      <a:pt x="28" y="25"/>
                      <a:pt x="28" y="25"/>
                      <a:pt x="27" y="25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0"/>
                      <a:pt x="30" y="11"/>
                      <a:pt x="30" y="12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4"/>
                      <a:pt x="30" y="25"/>
                      <a:pt x="29" y="25"/>
                    </a:cubicBezTo>
                    <a:cubicBezTo>
                      <a:pt x="29" y="25"/>
                      <a:pt x="29" y="25"/>
                      <a:pt x="28" y="25"/>
                    </a:cubicBezTo>
                    <a:close/>
                    <a:moveTo>
                      <a:pt x="6" y="8"/>
                    </a:move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2" y="5"/>
                      <a:pt x="12" y="5"/>
                      <a:pt x="12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9" name="Freeform 1022">
                <a:extLst>
                  <a:ext uri="{FF2B5EF4-FFF2-40B4-BE49-F238E27FC236}">
                    <a16:creationId xmlns:a16="http://schemas.microsoft.com/office/drawing/2014/main" id="{074B424F-5110-46DB-BBBA-DAFD9D3234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05441" y="6305844"/>
                <a:ext cx="161856" cy="207508"/>
              </a:xfrm>
              <a:custGeom>
                <a:avLst/>
                <a:gdLst>
                  <a:gd name="T0" fmla="*/ 64 w 66"/>
                  <a:gd name="T1" fmla="*/ 85 h 85"/>
                  <a:gd name="T2" fmla="*/ 63 w 66"/>
                  <a:gd name="T3" fmla="*/ 84 h 85"/>
                  <a:gd name="T4" fmla="*/ 49 w 66"/>
                  <a:gd name="T5" fmla="*/ 76 h 85"/>
                  <a:gd name="T6" fmla="*/ 48 w 66"/>
                  <a:gd name="T7" fmla="*/ 74 h 85"/>
                  <a:gd name="T8" fmla="*/ 49 w 66"/>
                  <a:gd name="T9" fmla="*/ 73 h 85"/>
                  <a:gd name="T10" fmla="*/ 53 w 66"/>
                  <a:gd name="T11" fmla="*/ 70 h 85"/>
                  <a:gd name="T12" fmla="*/ 1 w 66"/>
                  <a:gd name="T13" fmla="*/ 40 h 85"/>
                  <a:gd name="T14" fmla="*/ 0 w 66"/>
                  <a:gd name="T15" fmla="*/ 38 h 85"/>
                  <a:gd name="T16" fmla="*/ 1 w 66"/>
                  <a:gd name="T17" fmla="*/ 37 h 85"/>
                  <a:gd name="T18" fmla="*/ 63 w 66"/>
                  <a:gd name="T19" fmla="*/ 0 h 85"/>
                  <a:gd name="T20" fmla="*/ 65 w 66"/>
                  <a:gd name="T21" fmla="*/ 0 h 85"/>
                  <a:gd name="T22" fmla="*/ 66 w 66"/>
                  <a:gd name="T23" fmla="*/ 2 h 85"/>
                  <a:gd name="T24" fmla="*/ 66 w 66"/>
                  <a:gd name="T25" fmla="*/ 83 h 85"/>
                  <a:gd name="T26" fmla="*/ 65 w 66"/>
                  <a:gd name="T27" fmla="*/ 84 h 85"/>
                  <a:gd name="T28" fmla="*/ 64 w 66"/>
                  <a:gd name="T29" fmla="*/ 85 h 85"/>
                  <a:gd name="T30" fmla="*/ 54 w 66"/>
                  <a:gd name="T31" fmla="*/ 74 h 85"/>
                  <a:gd name="T32" fmla="*/ 62 w 66"/>
                  <a:gd name="T33" fmla="*/ 79 h 85"/>
                  <a:gd name="T34" fmla="*/ 62 w 66"/>
                  <a:gd name="T35" fmla="*/ 6 h 85"/>
                  <a:gd name="T36" fmla="*/ 6 w 66"/>
                  <a:gd name="T37" fmla="*/ 38 h 85"/>
                  <a:gd name="T38" fmla="*/ 58 w 66"/>
                  <a:gd name="T39" fmla="*/ 68 h 85"/>
                  <a:gd name="T40" fmla="*/ 59 w 66"/>
                  <a:gd name="T41" fmla="*/ 70 h 85"/>
                  <a:gd name="T42" fmla="*/ 58 w 66"/>
                  <a:gd name="T43" fmla="*/ 72 h 85"/>
                  <a:gd name="T44" fmla="*/ 54 w 66"/>
                  <a:gd name="T45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" h="85">
                    <a:moveTo>
                      <a:pt x="64" y="85"/>
                    </a:moveTo>
                    <a:cubicBezTo>
                      <a:pt x="64" y="85"/>
                      <a:pt x="64" y="85"/>
                      <a:pt x="63" y="84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6"/>
                      <a:pt x="48" y="75"/>
                      <a:pt x="48" y="74"/>
                    </a:cubicBezTo>
                    <a:cubicBezTo>
                      <a:pt x="48" y="74"/>
                      <a:pt x="48" y="73"/>
                      <a:pt x="49" y="73"/>
                    </a:cubicBezTo>
                    <a:cubicBezTo>
                      <a:pt x="53" y="70"/>
                      <a:pt x="53" y="70"/>
                      <a:pt x="53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8"/>
                      <a:pt x="0" y="37"/>
                      <a:pt x="1" y="37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4" y="0"/>
                      <a:pt x="65" y="0"/>
                      <a:pt x="65" y="0"/>
                    </a:cubicBezTo>
                    <a:cubicBezTo>
                      <a:pt x="66" y="1"/>
                      <a:pt x="66" y="1"/>
                      <a:pt x="66" y="2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83"/>
                      <a:pt x="66" y="84"/>
                      <a:pt x="65" y="84"/>
                    </a:cubicBezTo>
                    <a:cubicBezTo>
                      <a:pt x="65" y="85"/>
                      <a:pt x="65" y="85"/>
                      <a:pt x="64" y="85"/>
                    </a:cubicBezTo>
                    <a:close/>
                    <a:moveTo>
                      <a:pt x="54" y="74"/>
                    </a:moveTo>
                    <a:cubicBezTo>
                      <a:pt x="62" y="79"/>
                      <a:pt x="62" y="79"/>
                      <a:pt x="62" y="7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9" y="69"/>
                      <a:pt x="59" y="69"/>
                      <a:pt x="59" y="70"/>
                    </a:cubicBezTo>
                    <a:cubicBezTo>
                      <a:pt x="59" y="71"/>
                      <a:pt x="59" y="71"/>
                      <a:pt x="58" y="72"/>
                    </a:cubicBezTo>
                    <a:lnTo>
                      <a:pt x="54" y="7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0" name="Freeform 1027">
                <a:extLst>
                  <a:ext uri="{FF2B5EF4-FFF2-40B4-BE49-F238E27FC236}">
                    <a16:creationId xmlns:a16="http://schemas.microsoft.com/office/drawing/2014/main" id="{BE2843A7-D11B-4126-95AD-6128BAB254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75994" y="6286131"/>
                <a:ext cx="611112" cy="381815"/>
              </a:xfrm>
              <a:custGeom>
                <a:avLst/>
                <a:gdLst>
                  <a:gd name="T0" fmla="*/ 134 w 249"/>
                  <a:gd name="T1" fmla="*/ 156 h 156"/>
                  <a:gd name="T2" fmla="*/ 133 w 249"/>
                  <a:gd name="T3" fmla="*/ 156 h 156"/>
                  <a:gd name="T4" fmla="*/ 1 w 249"/>
                  <a:gd name="T5" fmla="*/ 80 h 156"/>
                  <a:gd name="T6" fmla="*/ 0 w 249"/>
                  <a:gd name="T7" fmla="*/ 78 h 156"/>
                  <a:gd name="T8" fmla="*/ 1 w 249"/>
                  <a:gd name="T9" fmla="*/ 76 h 156"/>
                  <a:gd name="T10" fmla="*/ 133 w 249"/>
                  <a:gd name="T11" fmla="*/ 0 h 156"/>
                  <a:gd name="T12" fmla="*/ 135 w 249"/>
                  <a:gd name="T13" fmla="*/ 0 h 156"/>
                  <a:gd name="T14" fmla="*/ 150 w 249"/>
                  <a:gd name="T15" fmla="*/ 9 h 156"/>
                  <a:gd name="T16" fmla="*/ 151 w 249"/>
                  <a:gd name="T17" fmla="*/ 11 h 156"/>
                  <a:gd name="T18" fmla="*/ 151 w 249"/>
                  <a:gd name="T19" fmla="*/ 32 h 156"/>
                  <a:gd name="T20" fmla="*/ 248 w 249"/>
                  <a:gd name="T21" fmla="*/ 87 h 156"/>
                  <a:gd name="T22" fmla="*/ 249 w 249"/>
                  <a:gd name="T23" fmla="*/ 89 h 156"/>
                  <a:gd name="T24" fmla="*/ 248 w 249"/>
                  <a:gd name="T25" fmla="*/ 91 h 156"/>
                  <a:gd name="T26" fmla="*/ 135 w 249"/>
                  <a:gd name="T27" fmla="*/ 156 h 156"/>
                  <a:gd name="T28" fmla="*/ 134 w 249"/>
                  <a:gd name="T29" fmla="*/ 156 h 156"/>
                  <a:gd name="T30" fmla="*/ 6 w 249"/>
                  <a:gd name="T31" fmla="*/ 78 h 156"/>
                  <a:gd name="T32" fmla="*/ 134 w 249"/>
                  <a:gd name="T33" fmla="*/ 152 h 156"/>
                  <a:gd name="T34" fmla="*/ 243 w 249"/>
                  <a:gd name="T35" fmla="*/ 89 h 156"/>
                  <a:gd name="T36" fmla="*/ 148 w 249"/>
                  <a:gd name="T37" fmla="*/ 35 h 156"/>
                  <a:gd name="T38" fmla="*/ 147 w 249"/>
                  <a:gd name="T39" fmla="*/ 33 h 156"/>
                  <a:gd name="T40" fmla="*/ 147 w 249"/>
                  <a:gd name="T41" fmla="*/ 12 h 156"/>
                  <a:gd name="T42" fmla="*/ 134 w 249"/>
                  <a:gd name="T43" fmla="*/ 4 h 156"/>
                  <a:gd name="T44" fmla="*/ 6 w 249"/>
                  <a:gd name="T45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9" h="156">
                    <a:moveTo>
                      <a:pt x="134" y="156"/>
                    </a:moveTo>
                    <a:cubicBezTo>
                      <a:pt x="133" y="156"/>
                      <a:pt x="133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77"/>
                      <a:pt x="0" y="77"/>
                      <a:pt x="1" y="76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134" y="0"/>
                      <a:pt x="135" y="0"/>
                    </a:cubicBezTo>
                    <a:cubicBezTo>
                      <a:pt x="150" y="9"/>
                      <a:pt x="150" y="9"/>
                      <a:pt x="150" y="9"/>
                    </a:cubicBezTo>
                    <a:cubicBezTo>
                      <a:pt x="151" y="10"/>
                      <a:pt x="151" y="10"/>
                      <a:pt x="151" y="11"/>
                    </a:cubicBezTo>
                    <a:cubicBezTo>
                      <a:pt x="151" y="32"/>
                      <a:pt x="151" y="32"/>
                      <a:pt x="151" y="32"/>
                    </a:cubicBezTo>
                    <a:cubicBezTo>
                      <a:pt x="248" y="87"/>
                      <a:pt x="248" y="87"/>
                      <a:pt x="248" y="87"/>
                    </a:cubicBezTo>
                    <a:cubicBezTo>
                      <a:pt x="248" y="88"/>
                      <a:pt x="249" y="88"/>
                      <a:pt x="249" y="89"/>
                    </a:cubicBezTo>
                    <a:cubicBezTo>
                      <a:pt x="249" y="90"/>
                      <a:pt x="248" y="90"/>
                      <a:pt x="248" y="91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4" y="156"/>
                      <a:pt x="134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3" y="89"/>
                      <a:pt x="243" y="89"/>
                      <a:pt x="243" y="89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8" y="34"/>
                      <a:pt x="147" y="34"/>
                      <a:pt x="147" y="33"/>
                    </a:cubicBezTo>
                    <a:cubicBezTo>
                      <a:pt x="147" y="12"/>
                      <a:pt x="147" y="12"/>
                      <a:pt x="147" y="12"/>
                    </a:cubicBezTo>
                    <a:cubicBezTo>
                      <a:pt x="134" y="4"/>
                      <a:pt x="134" y="4"/>
                      <a:pt x="134" y="4"/>
                    </a:cubicBezTo>
                    <a:lnTo>
                      <a:pt x="6" y="78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1" name="Freeform 1032">
                <a:extLst>
                  <a:ext uri="{FF2B5EF4-FFF2-40B4-BE49-F238E27FC236}">
                    <a16:creationId xmlns:a16="http://schemas.microsoft.com/office/drawing/2014/main" id="{A76923D6-1A4B-41E2-AF64-02EB3DD7F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49866" y="5763211"/>
                <a:ext cx="254198" cy="215808"/>
              </a:xfrm>
              <a:custGeom>
                <a:avLst/>
                <a:gdLst>
                  <a:gd name="T0" fmla="*/ 58 w 104"/>
                  <a:gd name="T1" fmla="*/ 88 h 88"/>
                  <a:gd name="T2" fmla="*/ 57 w 104"/>
                  <a:gd name="T3" fmla="*/ 87 h 88"/>
                  <a:gd name="T4" fmla="*/ 1 w 104"/>
                  <a:gd name="T5" fmla="*/ 55 h 88"/>
                  <a:gd name="T6" fmla="*/ 0 w 104"/>
                  <a:gd name="T7" fmla="*/ 53 h 88"/>
                  <a:gd name="T8" fmla="*/ 0 w 104"/>
                  <a:gd name="T9" fmla="*/ 2 h 88"/>
                  <a:gd name="T10" fmla="*/ 1 w 104"/>
                  <a:gd name="T11" fmla="*/ 0 h 88"/>
                  <a:gd name="T12" fmla="*/ 3 w 104"/>
                  <a:gd name="T13" fmla="*/ 0 h 88"/>
                  <a:gd name="T14" fmla="*/ 103 w 104"/>
                  <a:gd name="T15" fmla="*/ 58 h 88"/>
                  <a:gd name="T16" fmla="*/ 104 w 104"/>
                  <a:gd name="T17" fmla="*/ 60 h 88"/>
                  <a:gd name="T18" fmla="*/ 103 w 104"/>
                  <a:gd name="T19" fmla="*/ 61 h 88"/>
                  <a:gd name="T20" fmla="*/ 59 w 104"/>
                  <a:gd name="T21" fmla="*/ 87 h 88"/>
                  <a:gd name="T22" fmla="*/ 58 w 104"/>
                  <a:gd name="T23" fmla="*/ 88 h 88"/>
                  <a:gd name="T24" fmla="*/ 4 w 104"/>
                  <a:gd name="T25" fmla="*/ 52 h 88"/>
                  <a:gd name="T26" fmla="*/ 58 w 104"/>
                  <a:gd name="T27" fmla="*/ 83 h 88"/>
                  <a:gd name="T28" fmla="*/ 98 w 104"/>
                  <a:gd name="T29" fmla="*/ 60 h 88"/>
                  <a:gd name="T30" fmla="*/ 4 w 104"/>
                  <a:gd name="T31" fmla="*/ 5 h 88"/>
                  <a:gd name="T32" fmla="*/ 4 w 104"/>
                  <a:gd name="T33" fmla="*/ 5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88">
                    <a:moveTo>
                      <a:pt x="58" y="88"/>
                    </a:moveTo>
                    <a:cubicBezTo>
                      <a:pt x="57" y="88"/>
                      <a:pt x="57" y="87"/>
                      <a:pt x="57" y="87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4" y="58"/>
                      <a:pt x="104" y="59"/>
                      <a:pt x="104" y="60"/>
                    </a:cubicBezTo>
                    <a:cubicBezTo>
                      <a:pt x="104" y="60"/>
                      <a:pt x="104" y="61"/>
                      <a:pt x="103" y="61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58" y="87"/>
                      <a:pt x="58" y="88"/>
                      <a:pt x="58" y="88"/>
                    </a:cubicBezTo>
                    <a:close/>
                    <a:moveTo>
                      <a:pt x="4" y="52"/>
                    </a:moveTo>
                    <a:cubicBezTo>
                      <a:pt x="58" y="83"/>
                      <a:pt x="58" y="83"/>
                      <a:pt x="58" y="83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2" name="Freeform 1033">
                <a:extLst>
                  <a:ext uri="{FF2B5EF4-FFF2-40B4-BE49-F238E27FC236}">
                    <a16:creationId xmlns:a16="http://schemas.microsoft.com/office/drawing/2014/main" id="{DA0A8905-3953-4273-8D97-B1B9CE73AB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461920" y="5717559"/>
                <a:ext cx="541597" cy="376627"/>
              </a:xfrm>
              <a:custGeom>
                <a:avLst/>
                <a:gdLst>
                  <a:gd name="T0" fmla="*/ 138 w 221"/>
                  <a:gd name="T1" fmla="*/ 154 h 154"/>
                  <a:gd name="T2" fmla="*/ 137 w 221"/>
                  <a:gd name="T3" fmla="*/ 154 h 154"/>
                  <a:gd name="T4" fmla="*/ 12 w 221"/>
                  <a:gd name="T5" fmla="*/ 82 h 154"/>
                  <a:gd name="T6" fmla="*/ 12 w 221"/>
                  <a:gd name="T7" fmla="*/ 84 h 154"/>
                  <a:gd name="T8" fmla="*/ 11 w 221"/>
                  <a:gd name="T9" fmla="*/ 86 h 154"/>
                  <a:gd name="T10" fmla="*/ 9 w 221"/>
                  <a:gd name="T11" fmla="*/ 86 h 154"/>
                  <a:gd name="T12" fmla="*/ 1 w 221"/>
                  <a:gd name="T13" fmla="*/ 80 h 154"/>
                  <a:gd name="T14" fmla="*/ 0 w 221"/>
                  <a:gd name="T15" fmla="*/ 79 h 154"/>
                  <a:gd name="T16" fmla="*/ 1 w 221"/>
                  <a:gd name="T17" fmla="*/ 77 h 154"/>
                  <a:gd name="T18" fmla="*/ 132 w 221"/>
                  <a:gd name="T19" fmla="*/ 1 h 154"/>
                  <a:gd name="T20" fmla="*/ 134 w 221"/>
                  <a:gd name="T21" fmla="*/ 1 h 154"/>
                  <a:gd name="T22" fmla="*/ 165 w 221"/>
                  <a:gd name="T23" fmla="*/ 18 h 154"/>
                  <a:gd name="T24" fmla="*/ 166 w 221"/>
                  <a:gd name="T25" fmla="*/ 20 h 154"/>
                  <a:gd name="T26" fmla="*/ 166 w 221"/>
                  <a:gd name="T27" fmla="*/ 72 h 154"/>
                  <a:gd name="T28" fmla="*/ 220 w 221"/>
                  <a:gd name="T29" fmla="*/ 104 h 154"/>
                  <a:gd name="T30" fmla="*/ 221 w 221"/>
                  <a:gd name="T31" fmla="*/ 105 h 154"/>
                  <a:gd name="T32" fmla="*/ 220 w 221"/>
                  <a:gd name="T33" fmla="*/ 107 h 154"/>
                  <a:gd name="T34" fmla="*/ 139 w 221"/>
                  <a:gd name="T35" fmla="*/ 154 h 154"/>
                  <a:gd name="T36" fmla="*/ 138 w 221"/>
                  <a:gd name="T37" fmla="*/ 154 h 154"/>
                  <a:gd name="T38" fmla="*/ 10 w 221"/>
                  <a:gd name="T39" fmla="*/ 76 h 154"/>
                  <a:gd name="T40" fmla="*/ 11 w 221"/>
                  <a:gd name="T41" fmla="*/ 77 h 154"/>
                  <a:gd name="T42" fmla="*/ 138 w 221"/>
                  <a:gd name="T43" fmla="*/ 150 h 154"/>
                  <a:gd name="T44" fmla="*/ 215 w 221"/>
                  <a:gd name="T45" fmla="*/ 105 h 154"/>
                  <a:gd name="T46" fmla="*/ 163 w 221"/>
                  <a:gd name="T47" fmla="*/ 75 h 154"/>
                  <a:gd name="T48" fmla="*/ 162 w 221"/>
                  <a:gd name="T49" fmla="*/ 73 h 154"/>
                  <a:gd name="T50" fmla="*/ 162 w 221"/>
                  <a:gd name="T51" fmla="*/ 21 h 154"/>
                  <a:gd name="T52" fmla="*/ 133 w 221"/>
                  <a:gd name="T53" fmla="*/ 5 h 154"/>
                  <a:gd name="T54" fmla="*/ 6 w 221"/>
                  <a:gd name="T55" fmla="*/ 79 h 154"/>
                  <a:gd name="T56" fmla="*/ 8 w 221"/>
                  <a:gd name="T57" fmla="*/ 80 h 154"/>
                  <a:gd name="T58" fmla="*/ 8 w 221"/>
                  <a:gd name="T59" fmla="*/ 78 h 154"/>
                  <a:gd name="T60" fmla="*/ 9 w 221"/>
                  <a:gd name="T61" fmla="*/ 77 h 154"/>
                  <a:gd name="T62" fmla="*/ 10 w 221"/>
                  <a:gd name="T63" fmla="*/ 7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54">
                    <a:moveTo>
                      <a:pt x="138" y="154"/>
                    </a:moveTo>
                    <a:cubicBezTo>
                      <a:pt x="138" y="154"/>
                      <a:pt x="137" y="154"/>
                      <a:pt x="137" y="154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5"/>
                      <a:pt x="12" y="85"/>
                      <a:pt x="11" y="86"/>
                    </a:cubicBezTo>
                    <a:cubicBezTo>
                      <a:pt x="11" y="86"/>
                      <a:pt x="10" y="86"/>
                      <a:pt x="9" y="8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80"/>
                      <a:pt x="0" y="79"/>
                      <a:pt x="0" y="79"/>
                    </a:cubicBezTo>
                    <a:cubicBezTo>
                      <a:pt x="0" y="78"/>
                      <a:pt x="0" y="77"/>
                      <a:pt x="1" y="77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3" y="0"/>
                      <a:pt x="134" y="0"/>
                      <a:pt x="134" y="1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5" y="19"/>
                      <a:pt x="166" y="19"/>
                      <a:pt x="166" y="20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1" y="104"/>
                      <a:pt x="221" y="105"/>
                      <a:pt x="221" y="105"/>
                    </a:cubicBezTo>
                    <a:cubicBezTo>
                      <a:pt x="221" y="106"/>
                      <a:pt x="221" y="107"/>
                      <a:pt x="220" y="107"/>
                    </a:cubicBezTo>
                    <a:cubicBezTo>
                      <a:pt x="139" y="154"/>
                      <a:pt x="139" y="154"/>
                      <a:pt x="139" y="154"/>
                    </a:cubicBezTo>
                    <a:cubicBezTo>
                      <a:pt x="139" y="154"/>
                      <a:pt x="139" y="154"/>
                      <a:pt x="138" y="154"/>
                    </a:cubicBezTo>
                    <a:close/>
                    <a:moveTo>
                      <a:pt x="10" y="76"/>
                    </a:moveTo>
                    <a:cubicBezTo>
                      <a:pt x="11" y="76"/>
                      <a:pt x="11" y="76"/>
                      <a:pt x="11" y="77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215" y="105"/>
                      <a:pt x="215" y="105"/>
                      <a:pt x="215" y="105"/>
                    </a:cubicBezTo>
                    <a:cubicBezTo>
                      <a:pt x="163" y="75"/>
                      <a:pt x="163" y="75"/>
                      <a:pt x="163" y="75"/>
                    </a:cubicBezTo>
                    <a:cubicBezTo>
                      <a:pt x="162" y="75"/>
                      <a:pt x="162" y="74"/>
                      <a:pt x="162" y="7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9" y="77"/>
                      <a:pt x="9" y="77"/>
                    </a:cubicBezTo>
                    <a:cubicBezTo>
                      <a:pt x="10" y="76"/>
                      <a:pt x="10" y="76"/>
                      <a:pt x="10" y="76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3" name="Freeform 1034">
                <a:extLst>
                  <a:ext uri="{FF2B5EF4-FFF2-40B4-BE49-F238E27FC236}">
                    <a16:creationId xmlns:a16="http://schemas.microsoft.com/office/drawing/2014/main" id="{FF091A9B-1D12-4E5D-8411-63AA7D030F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95612" y="6111824"/>
                <a:ext cx="277024" cy="271835"/>
              </a:xfrm>
              <a:custGeom>
                <a:avLst/>
                <a:gdLst>
                  <a:gd name="T0" fmla="*/ 111 w 113"/>
                  <a:gd name="T1" fmla="*/ 111 h 111"/>
                  <a:gd name="T2" fmla="*/ 110 w 113"/>
                  <a:gd name="T3" fmla="*/ 111 h 111"/>
                  <a:gd name="T4" fmla="*/ 1 w 113"/>
                  <a:gd name="T5" fmla="*/ 48 h 111"/>
                  <a:gd name="T6" fmla="*/ 0 w 113"/>
                  <a:gd name="T7" fmla="*/ 46 h 111"/>
                  <a:gd name="T8" fmla="*/ 1 w 113"/>
                  <a:gd name="T9" fmla="*/ 45 h 111"/>
                  <a:gd name="T10" fmla="*/ 78 w 113"/>
                  <a:gd name="T11" fmla="*/ 0 h 111"/>
                  <a:gd name="T12" fmla="*/ 80 w 113"/>
                  <a:gd name="T13" fmla="*/ 0 h 111"/>
                  <a:gd name="T14" fmla="*/ 81 w 113"/>
                  <a:gd name="T15" fmla="*/ 2 h 111"/>
                  <a:gd name="T16" fmla="*/ 81 w 113"/>
                  <a:gd name="T17" fmla="*/ 70 h 111"/>
                  <a:gd name="T18" fmla="*/ 112 w 113"/>
                  <a:gd name="T19" fmla="*/ 88 h 111"/>
                  <a:gd name="T20" fmla="*/ 113 w 113"/>
                  <a:gd name="T21" fmla="*/ 90 h 111"/>
                  <a:gd name="T22" fmla="*/ 113 w 113"/>
                  <a:gd name="T23" fmla="*/ 109 h 111"/>
                  <a:gd name="T24" fmla="*/ 112 w 113"/>
                  <a:gd name="T25" fmla="*/ 111 h 111"/>
                  <a:gd name="T26" fmla="*/ 111 w 113"/>
                  <a:gd name="T27" fmla="*/ 111 h 111"/>
                  <a:gd name="T28" fmla="*/ 6 w 113"/>
                  <a:gd name="T29" fmla="*/ 46 h 111"/>
                  <a:gd name="T30" fmla="*/ 109 w 113"/>
                  <a:gd name="T31" fmla="*/ 106 h 111"/>
                  <a:gd name="T32" fmla="*/ 109 w 113"/>
                  <a:gd name="T33" fmla="*/ 91 h 111"/>
                  <a:gd name="T34" fmla="*/ 78 w 113"/>
                  <a:gd name="T35" fmla="*/ 73 h 111"/>
                  <a:gd name="T36" fmla="*/ 77 w 113"/>
                  <a:gd name="T37" fmla="*/ 72 h 111"/>
                  <a:gd name="T38" fmla="*/ 77 w 113"/>
                  <a:gd name="T39" fmla="*/ 5 h 111"/>
                  <a:gd name="T40" fmla="*/ 6 w 113"/>
                  <a:gd name="T41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1">
                    <a:moveTo>
                      <a:pt x="111" y="111"/>
                    </a:moveTo>
                    <a:cubicBezTo>
                      <a:pt x="111" y="111"/>
                      <a:pt x="111" y="111"/>
                      <a:pt x="110" y="11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0" y="47"/>
                      <a:pt x="0" y="46"/>
                    </a:cubicBezTo>
                    <a:cubicBezTo>
                      <a:pt x="0" y="46"/>
                      <a:pt x="1" y="45"/>
                      <a:pt x="1" y="45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ubicBezTo>
                      <a:pt x="81" y="0"/>
                      <a:pt x="81" y="1"/>
                      <a:pt x="81" y="2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3" y="89"/>
                      <a:pt x="113" y="89"/>
                      <a:pt x="113" y="90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113" y="110"/>
                      <a:pt x="113" y="111"/>
                      <a:pt x="112" y="111"/>
                    </a:cubicBezTo>
                    <a:cubicBezTo>
                      <a:pt x="112" y="111"/>
                      <a:pt x="112" y="111"/>
                      <a:pt x="111" y="111"/>
                    </a:cubicBezTo>
                    <a:close/>
                    <a:moveTo>
                      <a:pt x="6" y="46"/>
                    </a:moveTo>
                    <a:cubicBezTo>
                      <a:pt x="109" y="106"/>
                      <a:pt x="109" y="106"/>
                      <a:pt x="109" y="106"/>
                    </a:cubicBezTo>
                    <a:cubicBezTo>
                      <a:pt x="109" y="91"/>
                      <a:pt x="109" y="91"/>
                      <a:pt x="109" y="9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78" y="73"/>
                      <a:pt x="77" y="72"/>
                      <a:pt x="77" y="72"/>
                    </a:cubicBezTo>
                    <a:cubicBezTo>
                      <a:pt x="77" y="5"/>
                      <a:pt x="77" y="5"/>
                      <a:pt x="77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4" name="Freeform 1035">
                <a:extLst>
                  <a:ext uri="{FF2B5EF4-FFF2-40B4-BE49-F238E27FC236}">
                    <a16:creationId xmlns:a16="http://schemas.microsoft.com/office/drawing/2014/main" id="{6EA4DAA3-E95F-4E73-96B9-E439B7AC9B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300064" y="5550516"/>
                <a:ext cx="304000" cy="440954"/>
              </a:xfrm>
              <a:custGeom>
                <a:avLst/>
                <a:gdLst>
                  <a:gd name="T0" fmla="*/ 67 w 124"/>
                  <a:gd name="T1" fmla="*/ 180 h 180"/>
                  <a:gd name="T2" fmla="*/ 66 w 124"/>
                  <a:gd name="T3" fmla="*/ 180 h 180"/>
                  <a:gd name="T4" fmla="*/ 58 w 124"/>
                  <a:gd name="T5" fmla="*/ 175 h 180"/>
                  <a:gd name="T6" fmla="*/ 57 w 124"/>
                  <a:gd name="T7" fmla="*/ 173 h 180"/>
                  <a:gd name="T8" fmla="*/ 58 w 124"/>
                  <a:gd name="T9" fmla="*/ 172 h 180"/>
                  <a:gd name="T10" fmla="*/ 102 w 124"/>
                  <a:gd name="T11" fmla="*/ 147 h 180"/>
                  <a:gd name="T12" fmla="*/ 1 w 124"/>
                  <a:gd name="T13" fmla="*/ 89 h 180"/>
                  <a:gd name="T14" fmla="*/ 0 w 124"/>
                  <a:gd name="T15" fmla="*/ 87 h 180"/>
                  <a:gd name="T16" fmla="*/ 0 w 124"/>
                  <a:gd name="T17" fmla="*/ 2 h 180"/>
                  <a:gd name="T18" fmla="*/ 1 w 124"/>
                  <a:gd name="T19" fmla="*/ 1 h 180"/>
                  <a:gd name="T20" fmla="*/ 3 w 124"/>
                  <a:gd name="T21" fmla="*/ 1 h 180"/>
                  <a:gd name="T22" fmla="*/ 123 w 124"/>
                  <a:gd name="T23" fmla="*/ 70 h 180"/>
                  <a:gd name="T24" fmla="*/ 124 w 124"/>
                  <a:gd name="T25" fmla="*/ 71 h 180"/>
                  <a:gd name="T26" fmla="*/ 124 w 124"/>
                  <a:gd name="T27" fmla="*/ 144 h 180"/>
                  <a:gd name="T28" fmla="*/ 123 w 124"/>
                  <a:gd name="T29" fmla="*/ 146 h 180"/>
                  <a:gd name="T30" fmla="*/ 101 w 124"/>
                  <a:gd name="T31" fmla="*/ 159 h 180"/>
                  <a:gd name="T32" fmla="*/ 101 w 124"/>
                  <a:gd name="T33" fmla="*/ 167 h 180"/>
                  <a:gd name="T34" fmla="*/ 100 w 124"/>
                  <a:gd name="T35" fmla="*/ 169 h 180"/>
                  <a:gd name="T36" fmla="*/ 98 w 124"/>
                  <a:gd name="T37" fmla="*/ 169 h 180"/>
                  <a:gd name="T38" fmla="*/ 92 w 124"/>
                  <a:gd name="T39" fmla="*/ 166 h 180"/>
                  <a:gd name="T40" fmla="*/ 68 w 124"/>
                  <a:gd name="T41" fmla="*/ 180 h 180"/>
                  <a:gd name="T42" fmla="*/ 67 w 124"/>
                  <a:gd name="T43" fmla="*/ 180 h 180"/>
                  <a:gd name="T44" fmla="*/ 63 w 124"/>
                  <a:gd name="T45" fmla="*/ 173 h 180"/>
                  <a:gd name="T46" fmla="*/ 67 w 124"/>
                  <a:gd name="T47" fmla="*/ 176 h 180"/>
                  <a:gd name="T48" fmla="*/ 91 w 124"/>
                  <a:gd name="T49" fmla="*/ 162 h 180"/>
                  <a:gd name="T50" fmla="*/ 93 w 124"/>
                  <a:gd name="T51" fmla="*/ 162 h 180"/>
                  <a:gd name="T52" fmla="*/ 97 w 124"/>
                  <a:gd name="T53" fmla="*/ 164 h 180"/>
                  <a:gd name="T54" fmla="*/ 97 w 124"/>
                  <a:gd name="T55" fmla="*/ 158 h 180"/>
                  <a:gd name="T56" fmla="*/ 98 w 124"/>
                  <a:gd name="T57" fmla="*/ 156 h 180"/>
                  <a:gd name="T58" fmla="*/ 120 w 124"/>
                  <a:gd name="T59" fmla="*/ 143 h 180"/>
                  <a:gd name="T60" fmla="*/ 120 w 124"/>
                  <a:gd name="T61" fmla="*/ 73 h 180"/>
                  <a:gd name="T62" fmla="*/ 4 w 124"/>
                  <a:gd name="T63" fmla="*/ 6 h 180"/>
                  <a:gd name="T64" fmla="*/ 4 w 124"/>
                  <a:gd name="T65" fmla="*/ 86 h 180"/>
                  <a:gd name="T66" fmla="*/ 107 w 124"/>
                  <a:gd name="T67" fmla="*/ 145 h 180"/>
                  <a:gd name="T68" fmla="*/ 108 w 124"/>
                  <a:gd name="T69" fmla="*/ 147 h 180"/>
                  <a:gd name="T70" fmla="*/ 107 w 124"/>
                  <a:gd name="T71" fmla="*/ 148 h 180"/>
                  <a:gd name="T72" fmla="*/ 63 w 124"/>
                  <a:gd name="T73" fmla="*/ 17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180">
                    <a:moveTo>
                      <a:pt x="67" y="180"/>
                    </a:moveTo>
                    <a:cubicBezTo>
                      <a:pt x="67" y="180"/>
                      <a:pt x="66" y="180"/>
                      <a:pt x="66" y="180"/>
                    </a:cubicBezTo>
                    <a:cubicBezTo>
                      <a:pt x="58" y="175"/>
                      <a:pt x="58" y="175"/>
                      <a:pt x="58" y="175"/>
                    </a:cubicBezTo>
                    <a:cubicBezTo>
                      <a:pt x="58" y="175"/>
                      <a:pt x="57" y="174"/>
                      <a:pt x="57" y="173"/>
                    </a:cubicBezTo>
                    <a:cubicBezTo>
                      <a:pt x="57" y="173"/>
                      <a:pt x="58" y="172"/>
                      <a:pt x="58" y="17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1" y="88"/>
                      <a:pt x="0" y="88"/>
                      <a:pt x="0" y="8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23" y="70"/>
                      <a:pt x="123" y="70"/>
                      <a:pt x="123" y="70"/>
                    </a:cubicBezTo>
                    <a:cubicBezTo>
                      <a:pt x="123" y="70"/>
                      <a:pt x="124" y="71"/>
                      <a:pt x="124" y="71"/>
                    </a:cubicBezTo>
                    <a:cubicBezTo>
                      <a:pt x="124" y="144"/>
                      <a:pt x="124" y="144"/>
                      <a:pt x="124" y="144"/>
                    </a:cubicBezTo>
                    <a:cubicBezTo>
                      <a:pt x="124" y="145"/>
                      <a:pt x="123" y="146"/>
                      <a:pt x="123" y="146"/>
                    </a:cubicBezTo>
                    <a:cubicBezTo>
                      <a:pt x="101" y="159"/>
                      <a:pt x="101" y="159"/>
                      <a:pt x="101" y="159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1" y="168"/>
                      <a:pt x="101" y="169"/>
                      <a:pt x="100" y="169"/>
                    </a:cubicBezTo>
                    <a:cubicBezTo>
                      <a:pt x="99" y="170"/>
                      <a:pt x="99" y="170"/>
                      <a:pt x="98" y="169"/>
                    </a:cubicBezTo>
                    <a:cubicBezTo>
                      <a:pt x="92" y="166"/>
                      <a:pt x="92" y="166"/>
                      <a:pt x="92" y="166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7" y="180"/>
                      <a:pt x="67" y="180"/>
                    </a:cubicBezTo>
                    <a:close/>
                    <a:moveTo>
                      <a:pt x="63" y="173"/>
                    </a:moveTo>
                    <a:cubicBezTo>
                      <a:pt x="67" y="176"/>
                      <a:pt x="67" y="176"/>
                      <a:pt x="67" y="176"/>
                    </a:cubicBezTo>
                    <a:cubicBezTo>
                      <a:pt x="91" y="162"/>
                      <a:pt x="91" y="162"/>
                      <a:pt x="91" y="162"/>
                    </a:cubicBezTo>
                    <a:cubicBezTo>
                      <a:pt x="92" y="161"/>
                      <a:pt x="92" y="161"/>
                      <a:pt x="93" y="162"/>
                    </a:cubicBezTo>
                    <a:cubicBezTo>
                      <a:pt x="97" y="164"/>
                      <a:pt x="97" y="164"/>
                      <a:pt x="97" y="164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57"/>
                      <a:pt x="97" y="156"/>
                      <a:pt x="98" y="156"/>
                    </a:cubicBezTo>
                    <a:cubicBezTo>
                      <a:pt x="120" y="143"/>
                      <a:pt x="120" y="143"/>
                      <a:pt x="120" y="143"/>
                    </a:cubicBezTo>
                    <a:cubicBezTo>
                      <a:pt x="120" y="73"/>
                      <a:pt x="120" y="73"/>
                      <a:pt x="120" y="7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107" y="145"/>
                      <a:pt x="107" y="145"/>
                      <a:pt x="107" y="145"/>
                    </a:cubicBezTo>
                    <a:cubicBezTo>
                      <a:pt x="107" y="145"/>
                      <a:pt x="108" y="146"/>
                      <a:pt x="108" y="147"/>
                    </a:cubicBezTo>
                    <a:cubicBezTo>
                      <a:pt x="108" y="147"/>
                      <a:pt x="107" y="148"/>
                      <a:pt x="107" y="148"/>
                    </a:cubicBezTo>
                    <a:lnTo>
                      <a:pt x="63" y="17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5" name="Freeform 1036">
                <a:extLst>
                  <a:ext uri="{FF2B5EF4-FFF2-40B4-BE49-F238E27FC236}">
                    <a16:creationId xmlns:a16="http://schemas.microsoft.com/office/drawing/2014/main" id="{E2ABEB88-2EB7-41BA-A672-BAA323C2A8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14985" y="6224916"/>
                <a:ext cx="93379" cy="188832"/>
              </a:xfrm>
              <a:custGeom>
                <a:avLst/>
                <a:gdLst>
                  <a:gd name="T0" fmla="*/ 36 w 38"/>
                  <a:gd name="T1" fmla="*/ 77 h 77"/>
                  <a:gd name="T2" fmla="*/ 35 w 38"/>
                  <a:gd name="T3" fmla="*/ 77 h 77"/>
                  <a:gd name="T4" fmla="*/ 1 w 38"/>
                  <a:gd name="T5" fmla="*/ 57 h 77"/>
                  <a:gd name="T6" fmla="*/ 0 w 38"/>
                  <a:gd name="T7" fmla="*/ 55 h 77"/>
                  <a:gd name="T8" fmla="*/ 0 w 38"/>
                  <a:gd name="T9" fmla="*/ 2 h 77"/>
                  <a:gd name="T10" fmla="*/ 1 w 38"/>
                  <a:gd name="T11" fmla="*/ 0 h 77"/>
                  <a:gd name="T12" fmla="*/ 3 w 38"/>
                  <a:gd name="T13" fmla="*/ 0 h 77"/>
                  <a:gd name="T14" fmla="*/ 37 w 38"/>
                  <a:gd name="T15" fmla="*/ 20 h 77"/>
                  <a:gd name="T16" fmla="*/ 38 w 38"/>
                  <a:gd name="T17" fmla="*/ 21 h 77"/>
                  <a:gd name="T18" fmla="*/ 38 w 38"/>
                  <a:gd name="T19" fmla="*/ 75 h 77"/>
                  <a:gd name="T20" fmla="*/ 37 w 38"/>
                  <a:gd name="T21" fmla="*/ 77 h 77"/>
                  <a:gd name="T22" fmla="*/ 36 w 38"/>
                  <a:gd name="T23" fmla="*/ 77 h 77"/>
                  <a:gd name="T24" fmla="*/ 4 w 38"/>
                  <a:gd name="T25" fmla="*/ 54 h 77"/>
                  <a:gd name="T26" fmla="*/ 34 w 38"/>
                  <a:gd name="T27" fmla="*/ 71 h 77"/>
                  <a:gd name="T28" fmla="*/ 34 w 38"/>
                  <a:gd name="T29" fmla="*/ 22 h 77"/>
                  <a:gd name="T30" fmla="*/ 4 w 38"/>
                  <a:gd name="T31" fmla="*/ 5 h 77"/>
                  <a:gd name="T32" fmla="*/ 4 w 38"/>
                  <a:gd name="T33" fmla="*/ 5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77">
                    <a:moveTo>
                      <a:pt x="36" y="77"/>
                    </a:moveTo>
                    <a:cubicBezTo>
                      <a:pt x="36" y="77"/>
                      <a:pt x="35" y="77"/>
                      <a:pt x="35" y="77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7"/>
                      <a:pt x="0" y="56"/>
                      <a:pt x="0" y="5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0"/>
                      <a:pt x="38" y="21"/>
                      <a:pt x="38" y="21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8" y="76"/>
                      <a:pt x="38" y="76"/>
                      <a:pt x="37" y="77"/>
                    </a:cubicBezTo>
                    <a:cubicBezTo>
                      <a:pt x="37" y="77"/>
                      <a:pt x="36" y="77"/>
                      <a:pt x="36" y="77"/>
                    </a:cubicBezTo>
                    <a:close/>
                    <a:moveTo>
                      <a:pt x="4" y="54"/>
                    </a:move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6" name="Freeform 1037">
                <a:extLst>
                  <a:ext uri="{FF2B5EF4-FFF2-40B4-BE49-F238E27FC236}">
                    <a16:creationId xmlns:a16="http://schemas.microsoft.com/office/drawing/2014/main" id="{A87AF49D-6925-479F-85EE-CD8A22912F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58562" y="6403373"/>
                <a:ext cx="274949" cy="163931"/>
              </a:xfrm>
              <a:custGeom>
                <a:avLst/>
                <a:gdLst>
                  <a:gd name="T0" fmla="*/ 17 w 112"/>
                  <a:gd name="T1" fmla="*/ 67 h 67"/>
                  <a:gd name="T2" fmla="*/ 16 w 112"/>
                  <a:gd name="T3" fmla="*/ 67 h 67"/>
                  <a:gd name="T4" fmla="*/ 1 w 112"/>
                  <a:gd name="T5" fmla="*/ 58 h 67"/>
                  <a:gd name="T6" fmla="*/ 0 w 112"/>
                  <a:gd name="T7" fmla="*/ 57 h 67"/>
                  <a:gd name="T8" fmla="*/ 1 w 112"/>
                  <a:gd name="T9" fmla="*/ 55 h 67"/>
                  <a:gd name="T10" fmla="*/ 92 w 112"/>
                  <a:gd name="T11" fmla="*/ 2 h 67"/>
                  <a:gd name="T12" fmla="*/ 93 w 112"/>
                  <a:gd name="T13" fmla="*/ 0 h 67"/>
                  <a:gd name="T14" fmla="*/ 95 w 112"/>
                  <a:gd name="T15" fmla="*/ 0 h 67"/>
                  <a:gd name="T16" fmla="*/ 111 w 112"/>
                  <a:gd name="T17" fmla="*/ 10 h 67"/>
                  <a:gd name="T18" fmla="*/ 112 w 112"/>
                  <a:gd name="T19" fmla="*/ 11 h 67"/>
                  <a:gd name="T20" fmla="*/ 111 w 112"/>
                  <a:gd name="T21" fmla="*/ 13 h 67"/>
                  <a:gd name="T22" fmla="*/ 18 w 112"/>
                  <a:gd name="T23" fmla="*/ 67 h 67"/>
                  <a:gd name="T24" fmla="*/ 17 w 112"/>
                  <a:gd name="T25" fmla="*/ 67 h 67"/>
                  <a:gd name="T26" fmla="*/ 6 w 112"/>
                  <a:gd name="T27" fmla="*/ 57 h 67"/>
                  <a:gd name="T28" fmla="*/ 17 w 112"/>
                  <a:gd name="T29" fmla="*/ 63 h 67"/>
                  <a:gd name="T30" fmla="*/ 106 w 112"/>
                  <a:gd name="T31" fmla="*/ 11 h 67"/>
                  <a:gd name="T32" fmla="*/ 95 w 112"/>
                  <a:gd name="T33" fmla="*/ 5 h 67"/>
                  <a:gd name="T34" fmla="*/ 95 w 112"/>
                  <a:gd name="T35" fmla="*/ 5 h 67"/>
                  <a:gd name="T36" fmla="*/ 6 w 112"/>
                  <a:gd name="T37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" h="67">
                    <a:moveTo>
                      <a:pt x="17" y="67"/>
                    </a:moveTo>
                    <a:cubicBezTo>
                      <a:pt x="17" y="67"/>
                      <a:pt x="16" y="67"/>
                      <a:pt x="16" y="67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1" y="55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3" y="1"/>
                      <a:pt x="93" y="0"/>
                    </a:cubicBezTo>
                    <a:cubicBezTo>
                      <a:pt x="94" y="0"/>
                      <a:pt x="95" y="0"/>
                      <a:pt x="95" y="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2" y="10"/>
                      <a:pt x="112" y="11"/>
                      <a:pt x="112" y="11"/>
                    </a:cubicBezTo>
                    <a:cubicBezTo>
                      <a:pt x="112" y="12"/>
                      <a:pt x="112" y="13"/>
                      <a:pt x="111" y="13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7"/>
                      <a:pt x="17" y="67"/>
                      <a:pt x="17" y="67"/>
                    </a:cubicBezTo>
                    <a:close/>
                    <a:moveTo>
                      <a:pt x="6" y="57"/>
                    </a:moveTo>
                    <a:cubicBezTo>
                      <a:pt x="17" y="63"/>
                      <a:pt x="17" y="63"/>
                      <a:pt x="17" y="63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5" y="5"/>
                      <a:pt x="95" y="5"/>
                      <a:pt x="95" y="5"/>
                    </a:cubicBezTo>
                    <a:lnTo>
                      <a:pt x="6" y="5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7" name="Freeform 1038">
                <a:extLst>
                  <a:ext uri="{FF2B5EF4-FFF2-40B4-BE49-F238E27FC236}">
                    <a16:creationId xmlns:a16="http://schemas.microsoft.com/office/drawing/2014/main" id="{58EFA0ED-6D9D-43EA-BA94-B62BAA6F89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220173" y="6359796"/>
                <a:ext cx="88191" cy="72628"/>
              </a:xfrm>
              <a:custGeom>
                <a:avLst/>
                <a:gdLst>
                  <a:gd name="T0" fmla="*/ 20 w 36"/>
                  <a:gd name="T1" fmla="*/ 30 h 30"/>
                  <a:gd name="T2" fmla="*/ 19 w 36"/>
                  <a:gd name="T3" fmla="*/ 30 h 30"/>
                  <a:gd name="T4" fmla="*/ 1 w 36"/>
                  <a:gd name="T5" fmla="*/ 20 h 30"/>
                  <a:gd name="T6" fmla="*/ 0 w 36"/>
                  <a:gd name="T7" fmla="*/ 18 h 30"/>
                  <a:gd name="T8" fmla="*/ 0 w 36"/>
                  <a:gd name="T9" fmla="*/ 2 h 30"/>
                  <a:gd name="T10" fmla="*/ 1 w 36"/>
                  <a:gd name="T11" fmla="*/ 1 h 30"/>
                  <a:gd name="T12" fmla="*/ 3 w 36"/>
                  <a:gd name="T13" fmla="*/ 1 h 30"/>
                  <a:gd name="T14" fmla="*/ 35 w 36"/>
                  <a:gd name="T15" fmla="*/ 19 h 30"/>
                  <a:gd name="T16" fmla="*/ 36 w 36"/>
                  <a:gd name="T17" fmla="*/ 20 h 30"/>
                  <a:gd name="T18" fmla="*/ 35 w 36"/>
                  <a:gd name="T19" fmla="*/ 22 h 30"/>
                  <a:gd name="T20" fmla="*/ 21 w 36"/>
                  <a:gd name="T21" fmla="*/ 30 h 30"/>
                  <a:gd name="T22" fmla="*/ 20 w 36"/>
                  <a:gd name="T23" fmla="*/ 30 h 30"/>
                  <a:gd name="T24" fmla="*/ 4 w 36"/>
                  <a:gd name="T25" fmla="*/ 17 h 30"/>
                  <a:gd name="T26" fmla="*/ 20 w 36"/>
                  <a:gd name="T27" fmla="*/ 26 h 30"/>
                  <a:gd name="T28" fmla="*/ 30 w 36"/>
                  <a:gd name="T29" fmla="*/ 20 h 30"/>
                  <a:gd name="T30" fmla="*/ 4 w 36"/>
                  <a:gd name="T31" fmla="*/ 6 h 30"/>
                  <a:gd name="T32" fmla="*/ 4 w 36"/>
                  <a:gd name="T33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30">
                    <a:moveTo>
                      <a:pt x="20" y="30"/>
                    </a:moveTo>
                    <a:cubicBezTo>
                      <a:pt x="20" y="30"/>
                      <a:pt x="19" y="30"/>
                      <a:pt x="1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6" y="20"/>
                      <a:pt x="36" y="20"/>
                    </a:cubicBezTo>
                    <a:cubicBezTo>
                      <a:pt x="36" y="21"/>
                      <a:pt x="35" y="22"/>
                      <a:pt x="35" y="22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0" y="30"/>
                      <a:pt x="20" y="30"/>
                    </a:cubicBezTo>
                    <a:close/>
                    <a:moveTo>
                      <a:pt x="4" y="17"/>
                    </a:moveTo>
                    <a:cubicBezTo>
                      <a:pt x="20" y="26"/>
                      <a:pt x="20" y="26"/>
                      <a:pt x="20" y="26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8" name="Freeform 1039">
                <a:extLst>
                  <a:ext uri="{FF2B5EF4-FFF2-40B4-BE49-F238E27FC236}">
                    <a16:creationId xmlns:a16="http://schemas.microsoft.com/office/drawing/2014/main" id="{F57E55F6-997F-4FC3-9D5E-06CE8F5FEE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001442" y="6609843"/>
                <a:ext cx="208546" cy="455480"/>
              </a:xfrm>
              <a:custGeom>
                <a:avLst/>
                <a:gdLst>
                  <a:gd name="T0" fmla="*/ 71 w 85"/>
                  <a:gd name="T1" fmla="*/ 186 h 186"/>
                  <a:gd name="T2" fmla="*/ 70 w 85"/>
                  <a:gd name="T3" fmla="*/ 185 h 186"/>
                  <a:gd name="T4" fmla="*/ 8 w 85"/>
                  <a:gd name="T5" fmla="*/ 149 h 186"/>
                  <a:gd name="T6" fmla="*/ 7 w 85"/>
                  <a:gd name="T7" fmla="*/ 147 h 186"/>
                  <a:gd name="T8" fmla="*/ 8 w 85"/>
                  <a:gd name="T9" fmla="*/ 146 h 186"/>
                  <a:gd name="T10" fmla="*/ 15 w 85"/>
                  <a:gd name="T11" fmla="*/ 142 h 186"/>
                  <a:gd name="T12" fmla="*/ 1 w 85"/>
                  <a:gd name="T13" fmla="*/ 134 h 186"/>
                  <a:gd name="T14" fmla="*/ 0 w 85"/>
                  <a:gd name="T15" fmla="*/ 132 h 186"/>
                  <a:gd name="T16" fmla="*/ 1 w 85"/>
                  <a:gd name="T17" fmla="*/ 130 h 186"/>
                  <a:gd name="T18" fmla="*/ 5 w 85"/>
                  <a:gd name="T19" fmla="*/ 128 h 186"/>
                  <a:gd name="T20" fmla="*/ 5 w 85"/>
                  <a:gd name="T21" fmla="*/ 2 h 186"/>
                  <a:gd name="T22" fmla="*/ 6 w 85"/>
                  <a:gd name="T23" fmla="*/ 0 h 186"/>
                  <a:gd name="T24" fmla="*/ 8 w 85"/>
                  <a:gd name="T25" fmla="*/ 0 h 186"/>
                  <a:gd name="T26" fmla="*/ 84 w 85"/>
                  <a:gd name="T27" fmla="*/ 44 h 186"/>
                  <a:gd name="T28" fmla="*/ 85 w 85"/>
                  <a:gd name="T29" fmla="*/ 46 h 186"/>
                  <a:gd name="T30" fmla="*/ 85 w 85"/>
                  <a:gd name="T31" fmla="*/ 179 h 186"/>
                  <a:gd name="T32" fmla="*/ 84 w 85"/>
                  <a:gd name="T33" fmla="*/ 181 h 186"/>
                  <a:gd name="T34" fmla="*/ 82 w 85"/>
                  <a:gd name="T35" fmla="*/ 181 h 186"/>
                  <a:gd name="T36" fmla="*/ 81 w 85"/>
                  <a:gd name="T37" fmla="*/ 180 h 186"/>
                  <a:gd name="T38" fmla="*/ 72 w 85"/>
                  <a:gd name="T39" fmla="*/ 185 h 186"/>
                  <a:gd name="T40" fmla="*/ 71 w 85"/>
                  <a:gd name="T41" fmla="*/ 186 h 186"/>
                  <a:gd name="T42" fmla="*/ 13 w 85"/>
                  <a:gd name="T43" fmla="*/ 147 h 186"/>
                  <a:gd name="T44" fmla="*/ 71 w 85"/>
                  <a:gd name="T45" fmla="*/ 181 h 186"/>
                  <a:gd name="T46" fmla="*/ 80 w 85"/>
                  <a:gd name="T47" fmla="*/ 176 h 186"/>
                  <a:gd name="T48" fmla="*/ 81 w 85"/>
                  <a:gd name="T49" fmla="*/ 176 h 186"/>
                  <a:gd name="T50" fmla="*/ 81 w 85"/>
                  <a:gd name="T51" fmla="*/ 47 h 186"/>
                  <a:gd name="T52" fmla="*/ 9 w 85"/>
                  <a:gd name="T53" fmla="*/ 5 h 186"/>
                  <a:gd name="T54" fmla="*/ 9 w 85"/>
                  <a:gd name="T55" fmla="*/ 129 h 186"/>
                  <a:gd name="T56" fmla="*/ 8 w 85"/>
                  <a:gd name="T57" fmla="*/ 131 h 186"/>
                  <a:gd name="T58" fmla="*/ 6 w 85"/>
                  <a:gd name="T59" fmla="*/ 132 h 186"/>
                  <a:gd name="T60" fmla="*/ 20 w 85"/>
                  <a:gd name="T61" fmla="*/ 140 h 186"/>
                  <a:gd name="T62" fmla="*/ 21 w 85"/>
                  <a:gd name="T63" fmla="*/ 142 h 186"/>
                  <a:gd name="T64" fmla="*/ 20 w 85"/>
                  <a:gd name="T65" fmla="*/ 143 h 186"/>
                  <a:gd name="T66" fmla="*/ 13 w 85"/>
                  <a:gd name="T67" fmla="*/ 147 h 186"/>
                  <a:gd name="T68" fmla="*/ 7 w 85"/>
                  <a:gd name="T69" fmla="*/ 129 h 186"/>
                  <a:gd name="T70" fmla="*/ 7 w 85"/>
                  <a:gd name="T7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86">
                    <a:moveTo>
                      <a:pt x="71" y="186"/>
                    </a:moveTo>
                    <a:cubicBezTo>
                      <a:pt x="71" y="186"/>
                      <a:pt x="71" y="186"/>
                      <a:pt x="70" y="185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7" y="149"/>
                      <a:pt x="7" y="148"/>
                      <a:pt x="7" y="147"/>
                    </a:cubicBezTo>
                    <a:cubicBezTo>
                      <a:pt x="7" y="147"/>
                      <a:pt x="7" y="146"/>
                      <a:pt x="8" y="146"/>
                    </a:cubicBezTo>
                    <a:cubicBezTo>
                      <a:pt x="15" y="142"/>
                      <a:pt x="15" y="142"/>
                      <a:pt x="15" y="14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0" y="133"/>
                      <a:pt x="0" y="133"/>
                      <a:pt x="0" y="132"/>
                    </a:cubicBezTo>
                    <a:cubicBezTo>
                      <a:pt x="0" y="131"/>
                      <a:pt x="0" y="131"/>
                      <a:pt x="1" y="130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85" y="44"/>
                      <a:pt x="85" y="45"/>
                      <a:pt x="85" y="46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5" y="180"/>
                      <a:pt x="85" y="180"/>
                      <a:pt x="84" y="181"/>
                    </a:cubicBezTo>
                    <a:cubicBezTo>
                      <a:pt x="84" y="181"/>
                      <a:pt x="83" y="181"/>
                      <a:pt x="82" y="181"/>
                    </a:cubicBezTo>
                    <a:cubicBezTo>
                      <a:pt x="81" y="180"/>
                      <a:pt x="81" y="180"/>
                      <a:pt x="81" y="180"/>
                    </a:cubicBezTo>
                    <a:cubicBezTo>
                      <a:pt x="72" y="185"/>
                      <a:pt x="72" y="185"/>
                      <a:pt x="72" y="185"/>
                    </a:cubicBezTo>
                    <a:cubicBezTo>
                      <a:pt x="72" y="186"/>
                      <a:pt x="72" y="186"/>
                      <a:pt x="71" y="186"/>
                    </a:cubicBezTo>
                    <a:close/>
                    <a:moveTo>
                      <a:pt x="13" y="147"/>
                    </a:moveTo>
                    <a:cubicBezTo>
                      <a:pt x="71" y="181"/>
                      <a:pt x="71" y="181"/>
                      <a:pt x="71" y="181"/>
                    </a:cubicBezTo>
                    <a:cubicBezTo>
                      <a:pt x="80" y="176"/>
                      <a:pt x="80" y="176"/>
                      <a:pt x="80" y="176"/>
                    </a:cubicBezTo>
                    <a:cubicBezTo>
                      <a:pt x="81" y="176"/>
                      <a:pt x="81" y="176"/>
                      <a:pt x="81" y="176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129"/>
                      <a:pt x="9" y="129"/>
                      <a:pt x="9" y="129"/>
                    </a:cubicBezTo>
                    <a:cubicBezTo>
                      <a:pt x="9" y="130"/>
                      <a:pt x="8" y="131"/>
                      <a:pt x="8" y="131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0" y="140"/>
                      <a:pt x="21" y="141"/>
                      <a:pt x="21" y="142"/>
                    </a:cubicBezTo>
                    <a:cubicBezTo>
                      <a:pt x="21" y="142"/>
                      <a:pt x="20" y="143"/>
                      <a:pt x="20" y="143"/>
                    </a:cubicBezTo>
                    <a:lnTo>
                      <a:pt x="13" y="147"/>
                    </a:lnTo>
                    <a:close/>
                    <a:moveTo>
                      <a:pt x="7" y="129"/>
                    </a:moveTo>
                    <a:cubicBezTo>
                      <a:pt x="7" y="129"/>
                      <a:pt x="7" y="129"/>
                      <a:pt x="7" y="129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9" name="Freeform 1040">
                <a:extLst>
                  <a:ext uri="{FF2B5EF4-FFF2-40B4-BE49-F238E27FC236}">
                    <a16:creationId xmlns:a16="http://schemas.microsoft.com/office/drawing/2014/main" id="{A26F1244-1C08-47CF-B125-4B515B4FF7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895612" y="6224916"/>
                <a:ext cx="301925" cy="357951"/>
              </a:xfrm>
              <a:custGeom>
                <a:avLst/>
                <a:gdLst>
                  <a:gd name="T0" fmla="*/ 3 w 123"/>
                  <a:gd name="T1" fmla="*/ 146 h 146"/>
                  <a:gd name="T2" fmla="*/ 2 w 123"/>
                  <a:gd name="T3" fmla="*/ 146 h 146"/>
                  <a:gd name="T4" fmla="*/ 1 w 123"/>
                  <a:gd name="T5" fmla="*/ 145 h 146"/>
                  <a:gd name="T6" fmla="*/ 0 w 123"/>
                  <a:gd name="T7" fmla="*/ 143 h 146"/>
                  <a:gd name="T8" fmla="*/ 0 w 123"/>
                  <a:gd name="T9" fmla="*/ 8 h 146"/>
                  <a:gd name="T10" fmla="*/ 1 w 123"/>
                  <a:gd name="T11" fmla="*/ 6 h 146"/>
                  <a:gd name="T12" fmla="*/ 11 w 123"/>
                  <a:gd name="T13" fmla="*/ 0 h 146"/>
                  <a:gd name="T14" fmla="*/ 13 w 123"/>
                  <a:gd name="T15" fmla="*/ 0 h 146"/>
                  <a:gd name="T16" fmla="*/ 122 w 123"/>
                  <a:gd name="T17" fmla="*/ 63 h 146"/>
                  <a:gd name="T18" fmla="*/ 123 w 123"/>
                  <a:gd name="T19" fmla="*/ 65 h 146"/>
                  <a:gd name="T20" fmla="*/ 123 w 123"/>
                  <a:gd name="T21" fmla="*/ 75 h 146"/>
                  <a:gd name="T22" fmla="*/ 122 w 123"/>
                  <a:gd name="T23" fmla="*/ 77 h 146"/>
                  <a:gd name="T24" fmla="*/ 4 w 123"/>
                  <a:gd name="T25" fmla="*/ 146 h 146"/>
                  <a:gd name="T26" fmla="*/ 3 w 123"/>
                  <a:gd name="T27" fmla="*/ 146 h 146"/>
                  <a:gd name="T28" fmla="*/ 4 w 123"/>
                  <a:gd name="T29" fmla="*/ 9 h 146"/>
                  <a:gd name="T30" fmla="*/ 4 w 123"/>
                  <a:gd name="T31" fmla="*/ 141 h 146"/>
                  <a:gd name="T32" fmla="*/ 119 w 123"/>
                  <a:gd name="T33" fmla="*/ 74 h 146"/>
                  <a:gd name="T34" fmla="*/ 119 w 123"/>
                  <a:gd name="T35" fmla="*/ 66 h 146"/>
                  <a:gd name="T36" fmla="*/ 12 w 123"/>
                  <a:gd name="T37" fmla="*/ 4 h 146"/>
                  <a:gd name="T38" fmla="*/ 4 w 123"/>
                  <a:gd name="T39" fmla="*/ 9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3" h="146">
                    <a:moveTo>
                      <a:pt x="3" y="146"/>
                    </a:moveTo>
                    <a:cubicBezTo>
                      <a:pt x="3" y="146"/>
                      <a:pt x="2" y="146"/>
                      <a:pt x="2" y="146"/>
                    </a:cubicBezTo>
                    <a:cubicBezTo>
                      <a:pt x="1" y="145"/>
                      <a:pt x="1" y="145"/>
                      <a:pt x="1" y="145"/>
                    </a:cubicBezTo>
                    <a:cubicBezTo>
                      <a:pt x="0" y="144"/>
                      <a:pt x="0" y="144"/>
                      <a:pt x="0" y="14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4"/>
                      <a:pt x="123" y="64"/>
                      <a:pt x="123" y="65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23" y="76"/>
                      <a:pt x="123" y="77"/>
                      <a:pt x="122" y="77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4" y="146"/>
                      <a:pt x="3" y="146"/>
                      <a:pt x="3" y="146"/>
                    </a:cubicBezTo>
                    <a:close/>
                    <a:moveTo>
                      <a:pt x="4" y="9"/>
                    </a:moveTo>
                    <a:cubicBezTo>
                      <a:pt x="4" y="141"/>
                      <a:pt x="4" y="141"/>
                      <a:pt x="4" y="141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2" y="4"/>
                      <a:pt x="12" y="4"/>
                      <a:pt x="12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0" name="Freeform 1041">
                <a:extLst>
                  <a:ext uri="{FF2B5EF4-FFF2-40B4-BE49-F238E27FC236}">
                    <a16:creationId xmlns:a16="http://schemas.microsoft.com/office/drawing/2014/main" id="{63329511-DFF9-4921-ACE5-8FB2E9F9ED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92349" y="6509202"/>
                <a:ext cx="118280" cy="90266"/>
              </a:xfrm>
              <a:custGeom>
                <a:avLst/>
                <a:gdLst>
                  <a:gd name="T0" fmla="*/ 37 w 48"/>
                  <a:gd name="T1" fmla="*/ 37 h 37"/>
                  <a:gd name="T2" fmla="*/ 36 w 48"/>
                  <a:gd name="T3" fmla="*/ 36 h 37"/>
                  <a:gd name="T4" fmla="*/ 1 w 48"/>
                  <a:gd name="T5" fmla="*/ 16 h 37"/>
                  <a:gd name="T6" fmla="*/ 0 w 48"/>
                  <a:gd name="T7" fmla="*/ 14 h 37"/>
                  <a:gd name="T8" fmla="*/ 0 w 48"/>
                  <a:gd name="T9" fmla="*/ 3 h 37"/>
                  <a:gd name="T10" fmla="*/ 1 w 48"/>
                  <a:gd name="T11" fmla="*/ 1 h 37"/>
                  <a:gd name="T12" fmla="*/ 3 w 48"/>
                  <a:gd name="T13" fmla="*/ 1 h 37"/>
                  <a:gd name="T14" fmla="*/ 47 w 48"/>
                  <a:gd name="T15" fmla="*/ 26 h 37"/>
                  <a:gd name="T16" fmla="*/ 48 w 48"/>
                  <a:gd name="T17" fmla="*/ 28 h 37"/>
                  <a:gd name="T18" fmla="*/ 48 w 48"/>
                  <a:gd name="T19" fmla="*/ 29 h 37"/>
                  <a:gd name="T20" fmla="*/ 47 w 48"/>
                  <a:gd name="T21" fmla="*/ 31 h 37"/>
                  <a:gd name="T22" fmla="*/ 38 w 48"/>
                  <a:gd name="T23" fmla="*/ 36 h 37"/>
                  <a:gd name="T24" fmla="*/ 37 w 48"/>
                  <a:gd name="T25" fmla="*/ 37 h 37"/>
                  <a:gd name="T26" fmla="*/ 4 w 48"/>
                  <a:gd name="T27" fmla="*/ 13 h 37"/>
                  <a:gd name="T28" fmla="*/ 37 w 48"/>
                  <a:gd name="T29" fmla="*/ 32 h 37"/>
                  <a:gd name="T30" fmla="*/ 43 w 48"/>
                  <a:gd name="T31" fmla="*/ 29 h 37"/>
                  <a:gd name="T32" fmla="*/ 4 w 48"/>
                  <a:gd name="T33" fmla="*/ 6 h 37"/>
                  <a:gd name="T34" fmla="*/ 4 w 48"/>
                  <a:gd name="T35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7">
                    <a:moveTo>
                      <a:pt x="37" y="37"/>
                    </a:moveTo>
                    <a:cubicBezTo>
                      <a:pt x="37" y="37"/>
                      <a:pt x="36" y="37"/>
                      <a:pt x="36" y="3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7"/>
                      <a:pt x="48" y="27"/>
                      <a:pt x="48" y="28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30"/>
                      <a:pt x="48" y="31"/>
                      <a:pt x="47" y="31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7" y="37"/>
                      <a:pt x="37" y="37"/>
                    </a:cubicBezTo>
                    <a:close/>
                    <a:moveTo>
                      <a:pt x="4" y="13"/>
                    </a:moveTo>
                    <a:cubicBezTo>
                      <a:pt x="37" y="32"/>
                      <a:pt x="37" y="32"/>
                      <a:pt x="37" y="32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1" name="Freeform 1042">
                <a:extLst>
                  <a:ext uri="{FF2B5EF4-FFF2-40B4-BE49-F238E27FC236}">
                    <a16:creationId xmlns:a16="http://schemas.microsoft.com/office/drawing/2014/main" id="{2DCC7ACA-7A61-4F8E-8F50-93ECDFBAAF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05441" y="6003920"/>
                <a:ext cx="316450" cy="397378"/>
              </a:xfrm>
              <a:custGeom>
                <a:avLst/>
                <a:gdLst>
                  <a:gd name="T0" fmla="*/ 63 w 129"/>
                  <a:gd name="T1" fmla="*/ 162 h 162"/>
                  <a:gd name="T2" fmla="*/ 62 w 129"/>
                  <a:gd name="T3" fmla="*/ 162 h 162"/>
                  <a:gd name="T4" fmla="*/ 1 w 129"/>
                  <a:gd name="T5" fmla="*/ 127 h 162"/>
                  <a:gd name="T6" fmla="*/ 0 w 129"/>
                  <a:gd name="T7" fmla="*/ 125 h 162"/>
                  <a:gd name="T8" fmla="*/ 0 w 129"/>
                  <a:gd name="T9" fmla="*/ 2 h 162"/>
                  <a:gd name="T10" fmla="*/ 1 w 129"/>
                  <a:gd name="T11" fmla="*/ 0 h 162"/>
                  <a:gd name="T12" fmla="*/ 3 w 129"/>
                  <a:gd name="T13" fmla="*/ 0 h 162"/>
                  <a:gd name="T14" fmla="*/ 128 w 129"/>
                  <a:gd name="T15" fmla="*/ 73 h 162"/>
                  <a:gd name="T16" fmla="*/ 129 w 129"/>
                  <a:gd name="T17" fmla="*/ 75 h 162"/>
                  <a:gd name="T18" fmla="*/ 129 w 129"/>
                  <a:gd name="T19" fmla="*/ 123 h 162"/>
                  <a:gd name="T20" fmla="*/ 128 w 129"/>
                  <a:gd name="T21" fmla="*/ 125 h 162"/>
                  <a:gd name="T22" fmla="*/ 64 w 129"/>
                  <a:gd name="T23" fmla="*/ 162 h 162"/>
                  <a:gd name="T24" fmla="*/ 63 w 129"/>
                  <a:gd name="T25" fmla="*/ 162 h 162"/>
                  <a:gd name="T26" fmla="*/ 4 w 129"/>
                  <a:gd name="T27" fmla="*/ 124 h 162"/>
                  <a:gd name="T28" fmla="*/ 63 w 129"/>
                  <a:gd name="T29" fmla="*/ 158 h 162"/>
                  <a:gd name="T30" fmla="*/ 125 w 129"/>
                  <a:gd name="T31" fmla="*/ 122 h 162"/>
                  <a:gd name="T32" fmla="*/ 125 w 129"/>
                  <a:gd name="T33" fmla="*/ 76 h 162"/>
                  <a:gd name="T34" fmla="*/ 4 w 129"/>
                  <a:gd name="T35" fmla="*/ 6 h 162"/>
                  <a:gd name="T36" fmla="*/ 4 w 129"/>
                  <a:gd name="T37" fmla="*/ 12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9" h="162">
                    <a:moveTo>
                      <a:pt x="63" y="162"/>
                    </a:moveTo>
                    <a:cubicBezTo>
                      <a:pt x="63" y="162"/>
                      <a:pt x="63" y="162"/>
                      <a:pt x="62" y="16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0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4"/>
                      <a:pt x="129" y="125"/>
                      <a:pt x="128" y="125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4" y="162"/>
                      <a:pt x="64" y="162"/>
                      <a:pt x="63" y="162"/>
                    </a:cubicBezTo>
                    <a:close/>
                    <a:moveTo>
                      <a:pt x="4" y="124"/>
                    </a:moveTo>
                    <a:cubicBezTo>
                      <a:pt x="63" y="158"/>
                      <a:pt x="63" y="158"/>
                      <a:pt x="63" y="158"/>
                    </a:cubicBezTo>
                    <a:cubicBezTo>
                      <a:pt x="125" y="122"/>
                      <a:pt x="125" y="122"/>
                      <a:pt x="125" y="122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2" name="Freeform 1043">
                <a:extLst>
                  <a:ext uri="{FF2B5EF4-FFF2-40B4-BE49-F238E27FC236}">
                    <a16:creationId xmlns:a16="http://schemas.microsoft.com/office/drawing/2014/main" id="{515456E1-361E-460C-9784-2ED2222E45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231776" y="6770662"/>
                <a:ext cx="262498" cy="328900"/>
              </a:xfrm>
              <a:custGeom>
                <a:avLst/>
                <a:gdLst>
                  <a:gd name="T0" fmla="*/ 2 w 107"/>
                  <a:gd name="T1" fmla="*/ 134 h 134"/>
                  <a:gd name="T2" fmla="*/ 1 w 107"/>
                  <a:gd name="T3" fmla="*/ 133 h 134"/>
                  <a:gd name="T4" fmla="*/ 0 w 107"/>
                  <a:gd name="T5" fmla="*/ 132 h 134"/>
                  <a:gd name="T6" fmla="*/ 0 w 107"/>
                  <a:gd name="T7" fmla="*/ 4 h 134"/>
                  <a:gd name="T8" fmla="*/ 1 w 107"/>
                  <a:gd name="T9" fmla="*/ 2 h 134"/>
                  <a:gd name="T10" fmla="*/ 3 w 107"/>
                  <a:gd name="T11" fmla="*/ 0 h 134"/>
                  <a:gd name="T12" fmla="*/ 5 w 107"/>
                  <a:gd name="T13" fmla="*/ 0 h 134"/>
                  <a:gd name="T14" fmla="*/ 76 w 107"/>
                  <a:gd name="T15" fmla="*/ 42 h 134"/>
                  <a:gd name="T16" fmla="*/ 77 w 107"/>
                  <a:gd name="T17" fmla="*/ 43 h 134"/>
                  <a:gd name="T18" fmla="*/ 77 w 107"/>
                  <a:gd name="T19" fmla="*/ 54 h 134"/>
                  <a:gd name="T20" fmla="*/ 106 w 107"/>
                  <a:gd name="T21" fmla="*/ 70 h 134"/>
                  <a:gd name="T22" fmla="*/ 107 w 107"/>
                  <a:gd name="T23" fmla="*/ 72 h 134"/>
                  <a:gd name="T24" fmla="*/ 106 w 107"/>
                  <a:gd name="T25" fmla="*/ 74 h 134"/>
                  <a:gd name="T26" fmla="*/ 3 w 107"/>
                  <a:gd name="T27" fmla="*/ 133 h 134"/>
                  <a:gd name="T28" fmla="*/ 2 w 107"/>
                  <a:gd name="T29" fmla="*/ 134 h 134"/>
                  <a:gd name="T30" fmla="*/ 4 w 107"/>
                  <a:gd name="T31" fmla="*/ 5 h 134"/>
                  <a:gd name="T32" fmla="*/ 4 w 107"/>
                  <a:gd name="T33" fmla="*/ 128 h 134"/>
                  <a:gd name="T34" fmla="*/ 101 w 107"/>
                  <a:gd name="T35" fmla="*/ 72 h 134"/>
                  <a:gd name="T36" fmla="*/ 74 w 107"/>
                  <a:gd name="T37" fmla="*/ 57 h 134"/>
                  <a:gd name="T38" fmla="*/ 73 w 107"/>
                  <a:gd name="T39" fmla="*/ 55 h 134"/>
                  <a:gd name="T40" fmla="*/ 73 w 107"/>
                  <a:gd name="T41" fmla="*/ 45 h 134"/>
                  <a:gd name="T42" fmla="*/ 4 w 107"/>
                  <a:gd name="T43" fmla="*/ 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34">
                    <a:moveTo>
                      <a:pt x="2" y="134"/>
                    </a:moveTo>
                    <a:cubicBezTo>
                      <a:pt x="1" y="134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7" y="42"/>
                      <a:pt x="77" y="43"/>
                      <a:pt x="77" y="43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1"/>
                      <a:pt x="107" y="71"/>
                      <a:pt x="107" y="72"/>
                    </a:cubicBezTo>
                    <a:cubicBezTo>
                      <a:pt x="107" y="73"/>
                      <a:pt x="106" y="73"/>
                      <a:pt x="106" y="74"/>
                    </a:cubicBezTo>
                    <a:cubicBezTo>
                      <a:pt x="3" y="133"/>
                      <a:pt x="3" y="133"/>
                      <a:pt x="3" y="133"/>
                    </a:cubicBezTo>
                    <a:cubicBezTo>
                      <a:pt x="2" y="133"/>
                      <a:pt x="2" y="134"/>
                      <a:pt x="2" y="134"/>
                    </a:cubicBezTo>
                    <a:close/>
                    <a:moveTo>
                      <a:pt x="4" y="5"/>
                    </a:moveTo>
                    <a:cubicBezTo>
                      <a:pt x="4" y="128"/>
                      <a:pt x="4" y="128"/>
                      <a:pt x="4" y="128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74" y="57"/>
                      <a:pt x="74" y="57"/>
                      <a:pt x="74" y="57"/>
                    </a:cubicBezTo>
                    <a:cubicBezTo>
                      <a:pt x="74" y="56"/>
                      <a:pt x="73" y="56"/>
                      <a:pt x="73" y="55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3" name="Freeform 1044">
                <a:extLst>
                  <a:ext uri="{FF2B5EF4-FFF2-40B4-BE49-F238E27FC236}">
                    <a16:creationId xmlns:a16="http://schemas.microsoft.com/office/drawing/2014/main" id="{C311E11E-4900-4C3D-9158-245D5314AA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192349" y="6241517"/>
                <a:ext cx="118280" cy="336163"/>
              </a:xfrm>
              <a:custGeom>
                <a:avLst/>
                <a:gdLst>
                  <a:gd name="T0" fmla="*/ 46 w 48"/>
                  <a:gd name="T1" fmla="*/ 137 h 137"/>
                  <a:gd name="T2" fmla="*/ 45 w 48"/>
                  <a:gd name="T3" fmla="*/ 137 h 137"/>
                  <a:gd name="T4" fmla="*/ 1 w 48"/>
                  <a:gd name="T5" fmla="*/ 111 h 137"/>
                  <a:gd name="T6" fmla="*/ 0 w 48"/>
                  <a:gd name="T7" fmla="*/ 110 h 137"/>
                  <a:gd name="T8" fmla="*/ 0 w 48"/>
                  <a:gd name="T9" fmla="*/ 27 h 137"/>
                  <a:gd name="T10" fmla="*/ 1 w 48"/>
                  <a:gd name="T11" fmla="*/ 26 h 137"/>
                  <a:gd name="T12" fmla="*/ 45 w 48"/>
                  <a:gd name="T13" fmla="*/ 0 h 137"/>
                  <a:gd name="T14" fmla="*/ 47 w 48"/>
                  <a:gd name="T15" fmla="*/ 0 h 137"/>
                  <a:gd name="T16" fmla="*/ 48 w 48"/>
                  <a:gd name="T17" fmla="*/ 2 h 137"/>
                  <a:gd name="T18" fmla="*/ 48 w 48"/>
                  <a:gd name="T19" fmla="*/ 135 h 137"/>
                  <a:gd name="T20" fmla="*/ 47 w 48"/>
                  <a:gd name="T21" fmla="*/ 137 h 137"/>
                  <a:gd name="T22" fmla="*/ 46 w 48"/>
                  <a:gd name="T23" fmla="*/ 137 h 137"/>
                  <a:gd name="T24" fmla="*/ 4 w 48"/>
                  <a:gd name="T25" fmla="*/ 109 h 137"/>
                  <a:gd name="T26" fmla="*/ 44 w 48"/>
                  <a:gd name="T27" fmla="*/ 132 h 137"/>
                  <a:gd name="T28" fmla="*/ 44 w 48"/>
                  <a:gd name="T29" fmla="*/ 5 h 137"/>
                  <a:gd name="T30" fmla="*/ 4 w 48"/>
                  <a:gd name="T31" fmla="*/ 28 h 137"/>
                  <a:gd name="T32" fmla="*/ 4 w 48"/>
                  <a:gd name="T33" fmla="*/ 10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137">
                    <a:moveTo>
                      <a:pt x="46" y="137"/>
                    </a:moveTo>
                    <a:cubicBezTo>
                      <a:pt x="46" y="137"/>
                      <a:pt x="45" y="137"/>
                      <a:pt x="45" y="137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6"/>
                      <a:pt x="1" y="2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6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6"/>
                      <a:pt x="47" y="137"/>
                    </a:cubicBezTo>
                    <a:cubicBezTo>
                      <a:pt x="47" y="137"/>
                      <a:pt x="46" y="137"/>
                      <a:pt x="46" y="137"/>
                    </a:cubicBezTo>
                    <a:close/>
                    <a:moveTo>
                      <a:pt x="4" y="109"/>
                    </a:moveTo>
                    <a:cubicBezTo>
                      <a:pt x="44" y="132"/>
                      <a:pt x="44" y="132"/>
                      <a:pt x="44" y="132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109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4" name="Freeform 1045">
                <a:extLst>
                  <a:ext uri="{FF2B5EF4-FFF2-40B4-BE49-F238E27FC236}">
                    <a16:creationId xmlns:a16="http://schemas.microsoft.com/office/drawing/2014/main" id="{670CFF2C-9604-469B-9B05-04E47534A1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2692254" y="6405448"/>
                <a:ext cx="505283" cy="316450"/>
              </a:xfrm>
              <a:custGeom>
                <a:avLst/>
                <a:gdLst>
                  <a:gd name="T0" fmla="*/ 78 w 206"/>
                  <a:gd name="T1" fmla="*/ 129 h 129"/>
                  <a:gd name="T2" fmla="*/ 77 w 206"/>
                  <a:gd name="T3" fmla="*/ 129 h 129"/>
                  <a:gd name="T4" fmla="*/ 1 w 206"/>
                  <a:gd name="T5" fmla="*/ 84 h 129"/>
                  <a:gd name="T6" fmla="*/ 0 w 206"/>
                  <a:gd name="T7" fmla="*/ 83 h 129"/>
                  <a:gd name="T8" fmla="*/ 0 w 206"/>
                  <a:gd name="T9" fmla="*/ 72 h 129"/>
                  <a:gd name="T10" fmla="*/ 1 w 206"/>
                  <a:gd name="T11" fmla="*/ 71 h 129"/>
                  <a:gd name="T12" fmla="*/ 2 w 206"/>
                  <a:gd name="T13" fmla="*/ 70 h 129"/>
                  <a:gd name="T14" fmla="*/ 4 w 206"/>
                  <a:gd name="T15" fmla="*/ 70 h 129"/>
                  <a:gd name="T16" fmla="*/ 12 w 206"/>
                  <a:gd name="T17" fmla="*/ 75 h 129"/>
                  <a:gd name="T18" fmla="*/ 140 w 206"/>
                  <a:gd name="T19" fmla="*/ 1 h 129"/>
                  <a:gd name="T20" fmla="*/ 142 w 206"/>
                  <a:gd name="T21" fmla="*/ 1 h 129"/>
                  <a:gd name="T22" fmla="*/ 205 w 206"/>
                  <a:gd name="T23" fmla="*/ 37 h 129"/>
                  <a:gd name="T24" fmla="*/ 206 w 206"/>
                  <a:gd name="T25" fmla="*/ 39 h 129"/>
                  <a:gd name="T26" fmla="*/ 205 w 206"/>
                  <a:gd name="T27" fmla="*/ 41 h 129"/>
                  <a:gd name="T28" fmla="*/ 80 w 206"/>
                  <a:gd name="T29" fmla="*/ 113 h 129"/>
                  <a:gd name="T30" fmla="*/ 80 w 206"/>
                  <a:gd name="T31" fmla="*/ 127 h 129"/>
                  <a:gd name="T32" fmla="*/ 79 w 206"/>
                  <a:gd name="T33" fmla="*/ 129 h 129"/>
                  <a:gd name="T34" fmla="*/ 78 w 206"/>
                  <a:gd name="T35" fmla="*/ 129 h 129"/>
                  <a:gd name="T36" fmla="*/ 4 w 206"/>
                  <a:gd name="T37" fmla="*/ 82 h 129"/>
                  <a:gd name="T38" fmla="*/ 76 w 206"/>
                  <a:gd name="T39" fmla="*/ 123 h 129"/>
                  <a:gd name="T40" fmla="*/ 76 w 206"/>
                  <a:gd name="T41" fmla="*/ 112 h 129"/>
                  <a:gd name="T42" fmla="*/ 77 w 206"/>
                  <a:gd name="T43" fmla="*/ 110 h 129"/>
                  <a:gd name="T44" fmla="*/ 200 w 206"/>
                  <a:gd name="T45" fmla="*/ 39 h 129"/>
                  <a:gd name="T46" fmla="*/ 141 w 206"/>
                  <a:gd name="T47" fmla="*/ 5 h 129"/>
                  <a:gd name="T48" fmla="*/ 13 w 206"/>
                  <a:gd name="T49" fmla="*/ 79 h 129"/>
                  <a:gd name="T50" fmla="*/ 11 w 206"/>
                  <a:gd name="T51" fmla="*/ 79 h 129"/>
                  <a:gd name="T52" fmla="*/ 4 w 206"/>
                  <a:gd name="T53" fmla="*/ 74 h 129"/>
                  <a:gd name="T54" fmla="*/ 4 w 206"/>
                  <a:gd name="T55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6" h="129">
                    <a:moveTo>
                      <a:pt x="78" y="129"/>
                    </a:moveTo>
                    <a:cubicBezTo>
                      <a:pt x="78" y="129"/>
                      <a:pt x="77" y="129"/>
                      <a:pt x="77" y="129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0" y="84"/>
                      <a:pt x="0" y="83"/>
                      <a:pt x="0" y="83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3" y="70"/>
                      <a:pt x="3" y="70"/>
                      <a:pt x="4" y="70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40" y="0"/>
                      <a:pt x="141" y="0"/>
                      <a:pt x="142" y="1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6" y="38"/>
                      <a:pt x="206" y="38"/>
                      <a:pt x="206" y="39"/>
                    </a:cubicBezTo>
                    <a:cubicBezTo>
                      <a:pt x="206" y="40"/>
                      <a:pt x="206" y="41"/>
                      <a:pt x="205" y="41"/>
                    </a:cubicBezTo>
                    <a:cubicBezTo>
                      <a:pt x="80" y="113"/>
                      <a:pt x="80" y="113"/>
                      <a:pt x="80" y="113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8"/>
                      <a:pt x="80" y="128"/>
                      <a:pt x="79" y="129"/>
                    </a:cubicBezTo>
                    <a:cubicBezTo>
                      <a:pt x="79" y="129"/>
                      <a:pt x="78" y="129"/>
                      <a:pt x="78" y="129"/>
                    </a:cubicBezTo>
                    <a:close/>
                    <a:moveTo>
                      <a:pt x="4" y="82"/>
                    </a:moveTo>
                    <a:cubicBezTo>
                      <a:pt x="76" y="123"/>
                      <a:pt x="76" y="123"/>
                      <a:pt x="76" y="123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1"/>
                      <a:pt x="77" y="111"/>
                      <a:pt x="77" y="110"/>
                    </a:cubicBezTo>
                    <a:cubicBezTo>
                      <a:pt x="200" y="39"/>
                      <a:pt x="200" y="39"/>
                      <a:pt x="200" y="39"/>
                    </a:cubicBezTo>
                    <a:cubicBezTo>
                      <a:pt x="141" y="5"/>
                      <a:pt x="141" y="5"/>
                      <a:pt x="141" y="5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12" y="79"/>
                      <a:pt x="12" y="79"/>
                      <a:pt x="11" y="79"/>
                    </a:cubicBezTo>
                    <a:cubicBezTo>
                      <a:pt x="4" y="74"/>
                      <a:pt x="4" y="74"/>
                      <a:pt x="4" y="74"/>
                    </a:cubicBezTo>
                    <a:lnTo>
                      <a:pt x="4" y="82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5" name="Freeform 1046">
                <a:extLst>
                  <a:ext uri="{FF2B5EF4-FFF2-40B4-BE49-F238E27FC236}">
                    <a16:creationId xmlns:a16="http://schemas.microsoft.com/office/drawing/2014/main" id="{F3137DA8-43AB-463A-A404-487C9B19DA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3349018" y="6309994"/>
                <a:ext cx="272873" cy="196095"/>
              </a:xfrm>
              <a:custGeom>
                <a:avLst/>
                <a:gdLst>
                  <a:gd name="T0" fmla="*/ 99 w 111"/>
                  <a:gd name="T1" fmla="*/ 80 h 80"/>
                  <a:gd name="T2" fmla="*/ 98 w 111"/>
                  <a:gd name="T3" fmla="*/ 80 h 80"/>
                  <a:gd name="T4" fmla="*/ 1 w 111"/>
                  <a:gd name="T5" fmla="*/ 24 h 80"/>
                  <a:gd name="T6" fmla="*/ 0 w 111"/>
                  <a:gd name="T7" fmla="*/ 22 h 80"/>
                  <a:gd name="T8" fmla="*/ 0 w 111"/>
                  <a:gd name="T9" fmla="*/ 2 h 80"/>
                  <a:gd name="T10" fmla="*/ 1 w 111"/>
                  <a:gd name="T11" fmla="*/ 0 h 80"/>
                  <a:gd name="T12" fmla="*/ 3 w 111"/>
                  <a:gd name="T13" fmla="*/ 0 h 80"/>
                  <a:gd name="T14" fmla="*/ 63 w 111"/>
                  <a:gd name="T15" fmla="*/ 35 h 80"/>
                  <a:gd name="T16" fmla="*/ 64 w 111"/>
                  <a:gd name="T17" fmla="*/ 36 h 80"/>
                  <a:gd name="T18" fmla="*/ 63 w 111"/>
                  <a:gd name="T19" fmla="*/ 38 h 80"/>
                  <a:gd name="T20" fmla="*/ 58 w 111"/>
                  <a:gd name="T21" fmla="*/ 40 h 80"/>
                  <a:gd name="T22" fmla="*/ 110 w 111"/>
                  <a:gd name="T23" fmla="*/ 71 h 80"/>
                  <a:gd name="T24" fmla="*/ 111 w 111"/>
                  <a:gd name="T25" fmla="*/ 72 h 80"/>
                  <a:gd name="T26" fmla="*/ 110 w 111"/>
                  <a:gd name="T27" fmla="*/ 74 h 80"/>
                  <a:gd name="T28" fmla="*/ 100 w 111"/>
                  <a:gd name="T29" fmla="*/ 80 h 80"/>
                  <a:gd name="T30" fmla="*/ 99 w 111"/>
                  <a:gd name="T31" fmla="*/ 80 h 80"/>
                  <a:gd name="T32" fmla="*/ 4 w 111"/>
                  <a:gd name="T33" fmla="*/ 21 h 80"/>
                  <a:gd name="T34" fmla="*/ 99 w 111"/>
                  <a:gd name="T35" fmla="*/ 76 h 80"/>
                  <a:gd name="T36" fmla="*/ 105 w 111"/>
                  <a:gd name="T37" fmla="*/ 72 h 80"/>
                  <a:gd name="T38" fmla="*/ 53 w 111"/>
                  <a:gd name="T39" fmla="*/ 42 h 80"/>
                  <a:gd name="T40" fmla="*/ 52 w 111"/>
                  <a:gd name="T41" fmla="*/ 40 h 80"/>
                  <a:gd name="T42" fmla="*/ 53 w 111"/>
                  <a:gd name="T43" fmla="*/ 39 h 80"/>
                  <a:gd name="T44" fmla="*/ 58 w 111"/>
                  <a:gd name="T45" fmla="*/ 36 h 80"/>
                  <a:gd name="T46" fmla="*/ 4 w 111"/>
                  <a:gd name="T47" fmla="*/ 5 h 80"/>
                  <a:gd name="T48" fmla="*/ 4 w 111"/>
                  <a:gd name="T49" fmla="*/ 2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1" h="80">
                    <a:moveTo>
                      <a:pt x="99" y="80"/>
                    </a:moveTo>
                    <a:cubicBezTo>
                      <a:pt x="99" y="80"/>
                      <a:pt x="99" y="80"/>
                      <a:pt x="98" y="80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4" y="36"/>
                      <a:pt x="64" y="36"/>
                    </a:cubicBezTo>
                    <a:cubicBezTo>
                      <a:pt x="64" y="37"/>
                      <a:pt x="63" y="38"/>
                      <a:pt x="63" y="38"/>
                    </a:cubicBezTo>
                    <a:cubicBezTo>
                      <a:pt x="58" y="40"/>
                      <a:pt x="58" y="40"/>
                      <a:pt x="58" y="40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1" y="71"/>
                      <a:pt x="111" y="72"/>
                      <a:pt x="111" y="72"/>
                    </a:cubicBezTo>
                    <a:cubicBezTo>
                      <a:pt x="111" y="73"/>
                      <a:pt x="111" y="74"/>
                      <a:pt x="110" y="74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80"/>
                      <a:pt x="100" y="80"/>
                      <a:pt x="99" y="80"/>
                    </a:cubicBezTo>
                    <a:close/>
                    <a:moveTo>
                      <a:pt x="4" y="21"/>
                    </a:moveTo>
                    <a:cubicBezTo>
                      <a:pt x="99" y="76"/>
                      <a:pt x="99" y="76"/>
                      <a:pt x="99" y="76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3" y="42"/>
                      <a:pt x="52" y="41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6" name="Freeform 1053">
                <a:extLst>
                  <a:ext uri="{FF2B5EF4-FFF2-40B4-BE49-F238E27FC236}">
                    <a16:creationId xmlns:a16="http://schemas.microsoft.com/office/drawing/2014/main" id="{25DCC2BC-FF72-4A5A-8E19-6BB532751F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12079" y="6592205"/>
                <a:ext cx="298812" cy="500094"/>
              </a:xfrm>
              <a:custGeom>
                <a:avLst/>
                <a:gdLst>
                  <a:gd name="T0" fmla="*/ 120 w 122"/>
                  <a:gd name="T1" fmla="*/ 204 h 204"/>
                  <a:gd name="T2" fmla="*/ 119 w 122"/>
                  <a:gd name="T3" fmla="*/ 204 h 204"/>
                  <a:gd name="T4" fmla="*/ 116 w 122"/>
                  <a:gd name="T5" fmla="*/ 203 h 204"/>
                  <a:gd name="T6" fmla="*/ 116 w 122"/>
                  <a:gd name="T7" fmla="*/ 203 h 204"/>
                  <a:gd name="T8" fmla="*/ 114 w 122"/>
                  <a:gd name="T9" fmla="*/ 203 h 204"/>
                  <a:gd name="T10" fmla="*/ 39 w 122"/>
                  <a:gd name="T11" fmla="*/ 160 h 204"/>
                  <a:gd name="T12" fmla="*/ 38 w 122"/>
                  <a:gd name="T13" fmla="*/ 159 h 204"/>
                  <a:gd name="T14" fmla="*/ 39 w 122"/>
                  <a:gd name="T15" fmla="*/ 157 h 204"/>
                  <a:gd name="T16" fmla="*/ 54 w 122"/>
                  <a:gd name="T17" fmla="*/ 149 h 204"/>
                  <a:gd name="T18" fmla="*/ 1 w 122"/>
                  <a:gd name="T19" fmla="*/ 118 h 204"/>
                  <a:gd name="T20" fmla="*/ 0 w 122"/>
                  <a:gd name="T21" fmla="*/ 116 h 204"/>
                  <a:gd name="T22" fmla="*/ 1 w 122"/>
                  <a:gd name="T23" fmla="*/ 115 h 204"/>
                  <a:gd name="T24" fmla="*/ 6 w 122"/>
                  <a:gd name="T25" fmla="*/ 112 h 204"/>
                  <a:gd name="T26" fmla="*/ 6 w 122"/>
                  <a:gd name="T27" fmla="*/ 2 h 204"/>
                  <a:gd name="T28" fmla="*/ 7 w 122"/>
                  <a:gd name="T29" fmla="*/ 0 h 204"/>
                  <a:gd name="T30" fmla="*/ 9 w 122"/>
                  <a:gd name="T31" fmla="*/ 0 h 204"/>
                  <a:gd name="T32" fmla="*/ 121 w 122"/>
                  <a:gd name="T33" fmla="*/ 65 h 204"/>
                  <a:gd name="T34" fmla="*/ 122 w 122"/>
                  <a:gd name="T35" fmla="*/ 66 h 204"/>
                  <a:gd name="T36" fmla="*/ 122 w 122"/>
                  <a:gd name="T37" fmla="*/ 202 h 204"/>
                  <a:gd name="T38" fmla="*/ 121 w 122"/>
                  <a:gd name="T39" fmla="*/ 204 h 204"/>
                  <a:gd name="T40" fmla="*/ 120 w 122"/>
                  <a:gd name="T41" fmla="*/ 204 h 204"/>
                  <a:gd name="T42" fmla="*/ 115 w 122"/>
                  <a:gd name="T43" fmla="*/ 197 h 204"/>
                  <a:gd name="T44" fmla="*/ 116 w 122"/>
                  <a:gd name="T45" fmla="*/ 198 h 204"/>
                  <a:gd name="T46" fmla="*/ 118 w 122"/>
                  <a:gd name="T47" fmla="*/ 199 h 204"/>
                  <a:gd name="T48" fmla="*/ 118 w 122"/>
                  <a:gd name="T49" fmla="*/ 68 h 204"/>
                  <a:gd name="T50" fmla="*/ 10 w 122"/>
                  <a:gd name="T51" fmla="*/ 5 h 204"/>
                  <a:gd name="T52" fmla="*/ 10 w 122"/>
                  <a:gd name="T53" fmla="*/ 113 h 204"/>
                  <a:gd name="T54" fmla="*/ 9 w 122"/>
                  <a:gd name="T55" fmla="*/ 115 h 204"/>
                  <a:gd name="T56" fmla="*/ 6 w 122"/>
                  <a:gd name="T57" fmla="*/ 116 h 204"/>
                  <a:gd name="T58" fmla="*/ 59 w 122"/>
                  <a:gd name="T59" fmla="*/ 147 h 204"/>
                  <a:gd name="T60" fmla="*/ 60 w 122"/>
                  <a:gd name="T61" fmla="*/ 149 h 204"/>
                  <a:gd name="T62" fmla="*/ 59 w 122"/>
                  <a:gd name="T63" fmla="*/ 150 h 204"/>
                  <a:gd name="T64" fmla="*/ 44 w 122"/>
                  <a:gd name="T65" fmla="*/ 159 h 204"/>
                  <a:gd name="T66" fmla="*/ 113 w 122"/>
                  <a:gd name="T67" fmla="*/ 198 h 204"/>
                  <a:gd name="T68" fmla="*/ 114 w 122"/>
                  <a:gd name="T69" fmla="*/ 198 h 204"/>
                  <a:gd name="T70" fmla="*/ 115 w 122"/>
                  <a:gd name="T71" fmla="*/ 19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2" h="204">
                    <a:moveTo>
                      <a:pt x="120" y="204"/>
                    </a:moveTo>
                    <a:cubicBezTo>
                      <a:pt x="119" y="204"/>
                      <a:pt x="119" y="204"/>
                      <a:pt x="119" y="204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5" y="204"/>
                      <a:pt x="114" y="204"/>
                      <a:pt x="114" y="203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60"/>
                      <a:pt x="38" y="159"/>
                      <a:pt x="38" y="159"/>
                    </a:cubicBezTo>
                    <a:cubicBezTo>
                      <a:pt x="38" y="158"/>
                      <a:pt x="39" y="157"/>
                      <a:pt x="39" y="157"/>
                    </a:cubicBezTo>
                    <a:cubicBezTo>
                      <a:pt x="54" y="149"/>
                      <a:pt x="54" y="149"/>
                      <a:pt x="54" y="149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8"/>
                      <a:pt x="0" y="117"/>
                      <a:pt x="0" y="116"/>
                    </a:cubicBezTo>
                    <a:cubicBezTo>
                      <a:pt x="0" y="116"/>
                      <a:pt x="0" y="115"/>
                      <a:pt x="1" y="115"/>
                    </a:cubicBezTo>
                    <a:cubicBezTo>
                      <a:pt x="6" y="112"/>
                      <a:pt x="6" y="112"/>
                      <a:pt x="6" y="11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6" y="0"/>
                      <a:pt x="7" y="0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121" y="65"/>
                      <a:pt x="121" y="65"/>
                      <a:pt x="121" y="65"/>
                    </a:cubicBezTo>
                    <a:cubicBezTo>
                      <a:pt x="121" y="65"/>
                      <a:pt x="122" y="66"/>
                      <a:pt x="122" y="66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2" y="203"/>
                      <a:pt x="121" y="204"/>
                      <a:pt x="121" y="204"/>
                    </a:cubicBezTo>
                    <a:cubicBezTo>
                      <a:pt x="120" y="204"/>
                      <a:pt x="120" y="204"/>
                      <a:pt x="120" y="204"/>
                    </a:cubicBezTo>
                    <a:close/>
                    <a:moveTo>
                      <a:pt x="115" y="197"/>
                    </a:moveTo>
                    <a:cubicBezTo>
                      <a:pt x="115" y="197"/>
                      <a:pt x="115" y="198"/>
                      <a:pt x="116" y="198"/>
                    </a:cubicBezTo>
                    <a:cubicBezTo>
                      <a:pt x="118" y="199"/>
                      <a:pt x="118" y="199"/>
                      <a:pt x="118" y="199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4"/>
                      <a:pt x="9" y="114"/>
                      <a:pt x="9" y="11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59" y="147"/>
                      <a:pt x="60" y="148"/>
                      <a:pt x="60" y="149"/>
                    </a:cubicBezTo>
                    <a:cubicBezTo>
                      <a:pt x="60" y="149"/>
                      <a:pt x="59" y="150"/>
                      <a:pt x="59" y="150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113" y="198"/>
                      <a:pt x="113" y="198"/>
                      <a:pt x="113" y="198"/>
                    </a:cubicBezTo>
                    <a:cubicBezTo>
                      <a:pt x="113" y="198"/>
                      <a:pt x="114" y="198"/>
                      <a:pt x="114" y="198"/>
                    </a:cubicBezTo>
                    <a:cubicBezTo>
                      <a:pt x="114" y="198"/>
                      <a:pt x="114" y="197"/>
                      <a:pt x="115" y="197"/>
                    </a:cubicBez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7" name="Freeform 1057">
                <a:extLst>
                  <a:ext uri="{FF2B5EF4-FFF2-40B4-BE49-F238E27FC236}">
                    <a16:creationId xmlns:a16="http://schemas.microsoft.com/office/drawing/2014/main" id="{55F6F431-2AF7-4D83-8CEA-141409E412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124529" y="6979207"/>
                <a:ext cx="421242" cy="260422"/>
              </a:xfrm>
              <a:custGeom>
                <a:avLst/>
                <a:gdLst>
                  <a:gd name="T0" fmla="*/ 77 w 172"/>
                  <a:gd name="T1" fmla="*/ 106 h 106"/>
                  <a:gd name="T2" fmla="*/ 76 w 172"/>
                  <a:gd name="T3" fmla="*/ 106 h 106"/>
                  <a:gd name="T4" fmla="*/ 75 w 172"/>
                  <a:gd name="T5" fmla="*/ 104 h 106"/>
                  <a:gd name="T6" fmla="*/ 75 w 172"/>
                  <a:gd name="T7" fmla="*/ 99 h 106"/>
                  <a:gd name="T8" fmla="*/ 1 w 172"/>
                  <a:gd name="T9" fmla="*/ 56 h 106"/>
                  <a:gd name="T10" fmla="*/ 0 w 172"/>
                  <a:gd name="T11" fmla="*/ 55 h 106"/>
                  <a:gd name="T12" fmla="*/ 1 w 172"/>
                  <a:gd name="T13" fmla="*/ 53 h 106"/>
                  <a:gd name="T14" fmla="*/ 93 w 172"/>
                  <a:gd name="T15" fmla="*/ 0 h 106"/>
                  <a:gd name="T16" fmla="*/ 95 w 172"/>
                  <a:gd name="T17" fmla="*/ 0 h 106"/>
                  <a:gd name="T18" fmla="*/ 171 w 172"/>
                  <a:gd name="T19" fmla="*/ 44 h 106"/>
                  <a:gd name="T20" fmla="*/ 172 w 172"/>
                  <a:gd name="T21" fmla="*/ 45 h 106"/>
                  <a:gd name="T22" fmla="*/ 172 w 172"/>
                  <a:gd name="T23" fmla="*/ 50 h 106"/>
                  <a:gd name="T24" fmla="*/ 171 w 172"/>
                  <a:gd name="T25" fmla="*/ 52 h 106"/>
                  <a:gd name="T26" fmla="*/ 78 w 172"/>
                  <a:gd name="T27" fmla="*/ 106 h 106"/>
                  <a:gd name="T28" fmla="*/ 77 w 172"/>
                  <a:gd name="T29" fmla="*/ 106 h 106"/>
                  <a:gd name="T30" fmla="*/ 6 w 172"/>
                  <a:gd name="T31" fmla="*/ 55 h 106"/>
                  <a:gd name="T32" fmla="*/ 78 w 172"/>
                  <a:gd name="T33" fmla="*/ 96 h 106"/>
                  <a:gd name="T34" fmla="*/ 79 w 172"/>
                  <a:gd name="T35" fmla="*/ 97 h 106"/>
                  <a:gd name="T36" fmla="*/ 79 w 172"/>
                  <a:gd name="T37" fmla="*/ 101 h 106"/>
                  <a:gd name="T38" fmla="*/ 168 w 172"/>
                  <a:gd name="T39" fmla="*/ 49 h 106"/>
                  <a:gd name="T40" fmla="*/ 168 w 172"/>
                  <a:gd name="T41" fmla="*/ 47 h 106"/>
                  <a:gd name="T42" fmla="*/ 94 w 172"/>
                  <a:gd name="T43" fmla="*/ 4 h 106"/>
                  <a:gd name="T44" fmla="*/ 6 w 172"/>
                  <a:gd name="T45" fmla="*/ 5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2" h="106">
                    <a:moveTo>
                      <a:pt x="77" y="106"/>
                    </a:moveTo>
                    <a:cubicBezTo>
                      <a:pt x="76" y="106"/>
                      <a:pt x="76" y="106"/>
                      <a:pt x="76" y="106"/>
                    </a:cubicBezTo>
                    <a:cubicBezTo>
                      <a:pt x="75" y="106"/>
                      <a:pt x="75" y="105"/>
                      <a:pt x="75" y="104"/>
                    </a:cubicBezTo>
                    <a:cubicBezTo>
                      <a:pt x="75" y="99"/>
                      <a:pt x="75" y="99"/>
                      <a:pt x="75" y="99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" y="56"/>
                      <a:pt x="0" y="55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4" y="0"/>
                      <a:pt x="95" y="0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1" y="44"/>
                      <a:pt x="172" y="45"/>
                      <a:pt x="172" y="45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1"/>
                      <a:pt x="171" y="52"/>
                      <a:pt x="171" y="52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7" y="106"/>
                      <a:pt x="77" y="106"/>
                      <a:pt x="77" y="106"/>
                    </a:cubicBezTo>
                    <a:close/>
                    <a:moveTo>
                      <a:pt x="6" y="55"/>
                    </a:move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6"/>
                      <a:pt x="79" y="97"/>
                      <a:pt x="79" y="97"/>
                    </a:cubicBezTo>
                    <a:cubicBezTo>
                      <a:pt x="79" y="101"/>
                      <a:pt x="79" y="101"/>
                      <a:pt x="79" y="101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94" y="4"/>
                      <a:pt x="94" y="4"/>
                      <a:pt x="94" y="4"/>
                    </a:cubicBezTo>
                    <a:lnTo>
                      <a:pt x="6" y="55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8" name="Freeform 1065">
                <a:extLst>
                  <a:ext uri="{FF2B5EF4-FFF2-40B4-BE49-F238E27FC236}">
                    <a16:creationId xmlns:a16="http://schemas.microsoft.com/office/drawing/2014/main" id="{91421B3A-9861-492D-B169-C903A574BF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689989" y="5986282"/>
                <a:ext cx="802020" cy="1052065"/>
              </a:xfrm>
              <a:custGeom>
                <a:avLst/>
                <a:gdLst>
                  <a:gd name="T0" fmla="*/ 66 w 327"/>
                  <a:gd name="T1" fmla="*/ 429 h 429"/>
                  <a:gd name="T2" fmla="*/ 65 w 327"/>
                  <a:gd name="T3" fmla="*/ 275 h 429"/>
                  <a:gd name="T4" fmla="*/ 0 w 327"/>
                  <a:gd name="T5" fmla="*/ 236 h 429"/>
                  <a:gd name="T6" fmla="*/ 94 w 327"/>
                  <a:gd name="T7" fmla="*/ 181 h 429"/>
                  <a:gd name="T8" fmla="*/ 111 w 327"/>
                  <a:gd name="T9" fmla="*/ 189 h 429"/>
                  <a:gd name="T10" fmla="*/ 76 w 327"/>
                  <a:gd name="T11" fmla="*/ 99 h 429"/>
                  <a:gd name="T12" fmla="*/ 75 w 327"/>
                  <a:gd name="T13" fmla="*/ 44 h 429"/>
                  <a:gd name="T14" fmla="*/ 110 w 327"/>
                  <a:gd name="T15" fmla="*/ 23 h 429"/>
                  <a:gd name="T16" fmla="*/ 118 w 327"/>
                  <a:gd name="T17" fmla="*/ 17 h 429"/>
                  <a:gd name="T18" fmla="*/ 119 w 327"/>
                  <a:gd name="T19" fmla="*/ 7 h 429"/>
                  <a:gd name="T20" fmla="*/ 132 w 327"/>
                  <a:gd name="T21" fmla="*/ 1 h 429"/>
                  <a:gd name="T22" fmla="*/ 133 w 327"/>
                  <a:gd name="T23" fmla="*/ 7 h 429"/>
                  <a:gd name="T24" fmla="*/ 186 w 327"/>
                  <a:gd name="T25" fmla="*/ 39 h 429"/>
                  <a:gd name="T26" fmla="*/ 185 w 327"/>
                  <a:gd name="T27" fmla="*/ 57 h 429"/>
                  <a:gd name="T28" fmla="*/ 121 w 327"/>
                  <a:gd name="T29" fmla="*/ 168 h 429"/>
                  <a:gd name="T30" fmla="*/ 130 w 327"/>
                  <a:gd name="T31" fmla="*/ 163 h 429"/>
                  <a:gd name="T32" fmla="*/ 327 w 327"/>
                  <a:gd name="T33" fmla="*/ 278 h 429"/>
                  <a:gd name="T34" fmla="*/ 318 w 327"/>
                  <a:gd name="T35" fmla="*/ 284 h 429"/>
                  <a:gd name="T36" fmla="*/ 317 w 327"/>
                  <a:gd name="T37" fmla="*/ 352 h 429"/>
                  <a:gd name="T38" fmla="*/ 302 w 327"/>
                  <a:gd name="T39" fmla="*/ 360 h 429"/>
                  <a:gd name="T40" fmla="*/ 301 w 327"/>
                  <a:gd name="T41" fmla="*/ 302 h 429"/>
                  <a:gd name="T42" fmla="*/ 177 w 327"/>
                  <a:gd name="T43" fmla="*/ 255 h 429"/>
                  <a:gd name="T44" fmla="*/ 78 w 327"/>
                  <a:gd name="T45" fmla="*/ 314 h 429"/>
                  <a:gd name="T46" fmla="*/ 77 w 327"/>
                  <a:gd name="T47" fmla="*/ 387 h 429"/>
                  <a:gd name="T48" fmla="*/ 77 w 327"/>
                  <a:gd name="T49" fmla="*/ 391 h 429"/>
                  <a:gd name="T50" fmla="*/ 78 w 327"/>
                  <a:gd name="T51" fmla="*/ 422 h 429"/>
                  <a:gd name="T52" fmla="*/ 68 w 327"/>
                  <a:gd name="T53" fmla="*/ 429 h 429"/>
                  <a:gd name="T54" fmla="*/ 69 w 327"/>
                  <a:gd name="T55" fmla="*/ 391 h 429"/>
                  <a:gd name="T56" fmla="*/ 74 w 327"/>
                  <a:gd name="T57" fmla="*/ 420 h 429"/>
                  <a:gd name="T58" fmla="*/ 69 w 327"/>
                  <a:gd name="T59" fmla="*/ 391 h 429"/>
                  <a:gd name="T60" fmla="*/ 68 w 327"/>
                  <a:gd name="T61" fmla="*/ 272 h 429"/>
                  <a:gd name="T62" fmla="*/ 69 w 327"/>
                  <a:gd name="T63" fmla="*/ 387 h 429"/>
                  <a:gd name="T64" fmla="*/ 74 w 327"/>
                  <a:gd name="T65" fmla="*/ 312 h 429"/>
                  <a:gd name="T66" fmla="*/ 173 w 327"/>
                  <a:gd name="T67" fmla="*/ 254 h 429"/>
                  <a:gd name="T68" fmla="*/ 174 w 327"/>
                  <a:gd name="T69" fmla="*/ 225 h 429"/>
                  <a:gd name="T70" fmla="*/ 304 w 327"/>
                  <a:gd name="T71" fmla="*/ 299 h 429"/>
                  <a:gd name="T72" fmla="*/ 305 w 327"/>
                  <a:gd name="T73" fmla="*/ 354 h 429"/>
                  <a:gd name="T74" fmla="*/ 314 w 327"/>
                  <a:gd name="T75" fmla="*/ 283 h 429"/>
                  <a:gd name="T76" fmla="*/ 321 w 327"/>
                  <a:gd name="T77" fmla="*/ 278 h 429"/>
                  <a:gd name="T78" fmla="*/ 120 w 327"/>
                  <a:gd name="T79" fmla="*/ 173 h 429"/>
                  <a:gd name="T80" fmla="*/ 117 w 327"/>
                  <a:gd name="T81" fmla="*/ 171 h 429"/>
                  <a:gd name="T82" fmla="*/ 118 w 327"/>
                  <a:gd name="T83" fmla="*/ 92 h 429"/>
                  <a:gd name="T84" fmla="*/ 182 w 327"/>
                  <a:gd name="T85" fmla="*/ 40 h 429"/>
                  <a:gd name="T86" fmla="*/ 129 w 327"/>
                  <a:gd name="T87" fmla="*/ 8 h 429"/>
                  <a:gd name="T88" fmla="*/ 122 w 327"/>
                  <a:gd name="T89" fmla="*/ 10 h 429"/>
                  <a:gd name="T90" fmla="*/ 121 w 327"/>
                  <a:gd name="T91" fmla="*/ 20 h 429"/>
                  <a:gd name="T92" fmla="*/ 113 w 327"/>
                  <a:gd name="T93" fmla="*/ 25 h 429"/>
                  <a:gd name="T94" fmla="*/ 79 w 327"/>
                  <a:gd name="T95" fmla="*/ 96 h 429"/>
                  <a:gd name="T96" fmla="*/ 115 w 327"/>
                  <a:gd name="T97" fmla="*/ 117 h 429"/>
                  <a:gd name="T98" fmla="*/ 114 w 327"/>
                  <a:gd name="T99" fmla="*/ 194 h 429"/>
                  <a:gd name="T100" fmla="*/ 95 w 327"/>
                  <a:gd name="T101" fmla="*/ 185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7" h="429">
                    <a:moveTo>
                      <a:pt x="67" y="429"/>
                    </a:move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8"/>
                      <a:pt x="65" y="428"/>
                      <a:pt x="65" y="427"/>
                    </a:cubicBezTo>
                    <a:cubicBezTo>
                      <a:pt x="65" y="275"/>
                      <a:pt x="65" y="275"/>
                      <a:pt x="65" y="275"/>
                    </a:cubicBezTo>
                    <a:cubicBezTo>
                      <a:pt x="1" y="238"/>
                      <a:pt x="1" y="238"/>
                      <a:pt x="1" y="238"/>
                    </a:cubicBezTo>
                    <a:cubicBezTo>
                      <a:pt x="0" y="238"/>
                      <a:pt x="0" y="237"/>
                      <a:pt x="0" y="236"/>
                    </a:cubicBezTo>
                    <a:cubicBezTo>
                      <a:pt x="0" y="236"/>
                      <a:pt x="0" y="235"/>
                      <a:pt x="1" y="235"/>
                    </a:cubicBezTo>
                    <a:cubicBezTo>
                      <a:pt x="94" y="181"/>
                      <a:pt x="94" y="181"/>
                      <a:pt x="94" y="181"/>
                    </a:cubicBezTo>
                    <a:cubicBezTo>
                      <a:pt x="95" y="180"/>
                      <a:pt x="95" y="180"/>
                      <a:pt x="96" y="181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118"/>
                      <a:pt x="111" y="118"/>
                      <a:pt x="111" y="118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98"/>
                      <a:pt x="75" y="98"/>
                      <a:pt x="75" y="97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5" y="43"/>
                      <a:pt x="76" y="42"/>
                      <a:pt x="76" y="42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0" y="22"/>
                      <a:pt x="110" y="22"/>
                      <a:pt x="111" y="22"/>
                    </a:cubicBezTo>
                    <a:cubicBezTo>
                      <a:pt x="118" y="17"/>
                      <a:pt x="118" y="17"/>
                      <a:pt x="118" y="17"/>
                    </a:cubicBezTo>
                    <a:cubicBezTo>
                      <a:pt x="118" y="9"/>
                      <a:pt x="118" y="9"/>
                      <a:pt x="118" y="9"/>
                    </a:cubicBezTo>
                    <a:cubicBezTo>
                      <a:pt x="118" y="8"/>
                      <a:pt x="119" y="7"/>
                      <a:pt x="119" y="7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1" y="0"/>
                      <a:pt x="132" y="1"/>
                    </a:cubicBezTo>
                    <a:cubicBezTo>
                      <a:pt x="133" y="1"/>
                      <a:pt x="133" y="2"/>
                      <a:pt x="133" y="2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6" y="38"/>
                      <a:pt x="186" y="38"/>
                      <a:pt x="186" y="39"/>
                    </a:cubicBezTo>
                    <a:cubicBezTo>
                      <a:pt x="186" y="55"/>
                      <a:pt x="186" y="55"/>
                      <a:pt x="186" y="55"/>
                    </a:cubicBezTo>
                    <a:cubicBezTo>
                      <a:pt x="186" y="56"/>
                      <a:pt x="186" y="57"/>
                      <a:pt x="185" y="57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68"/>
                      <a:pt x="121" y="168"/>
                      <a:pt x="121" y="168"/>
                    </a:cubicBezTo>
                    <a:cubicBezTo>
                      <a:pt x="128" y="163"/>
                      <a:pt x="128" y="163"/>
                      <a:pt x="128" y="163"/>
                    </a:cubicBezTo>
                    <a:cubicBezTo>
                      <a:pt x="129" y="163"/>
                      <a:pt x="130" y="163"/>
                      <a:pt x="130" y="163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7"/>
                      <a:pt x="327" y="277"/>
                      <a:pt x="327" y="278"/>
                    </a:cubicBezTo>
                    <a:cubicBezTo>
                      <a:pt x="327" y="279"/>
                      <a:pt x="326" y="279"/>
                      <a:pt x="326" y="280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8" y="351"/>
                      <a:pt x="318" y="351"/>
                      <a:pt x="318" y="351"/>
                    </a:cubicBezTo>
                    <a:cubicBezTo>
                      <a:pt x="318" y="351"/>
                      <a:pt x="317" y="352"/>
                      <a:pt x="317" y="352"/>
                    </a:cubicBezTo>
                    <a:cubicBezTo>
                      <a:pt x="304" y="360"/>
                      <a:pt x="304" y="360"/>
                      <a:pt x="304" y="360"/>
                    </a:cubicBezTo>
                    <a:cubicBezTo>
                      <a:pt x="304" y="360"/>
                      <a:pt x="303" y="360"/>
                      <a:pt x="302" y="360"/>
                    </a:cubicBezTo>
                    <a:cubicBezTo>
                      <a:pt x="302" y="359"/>
                      <a:pt x="301" y="359"/>
                      <a:pt x="301" y="358"/>
                    </a:cubicBezTo>
                    <a:cubicBezTo>
                      <a:pt x="301" y="302"/>
                      <a:pt x="301" y="302"/>
                      <a:pt x="301" y="302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177" y="255"/>
                      <a:pt x="177" y="255"/>
                      <a:pt x="177" y="255"/>
                    </a:cubicBezTo>
                    <a:cubicBezTo>
                      <a:pt x="177" y="256"/>
                      <a:pt x="176" y="257"/>
                      <a:pt x="176" y="257"/>
                    </a:cubicBezTo>
                    <a:cubicBezTo>
                      <a:pt x="78" y="314"/>
                      <a:pt x="78" y="314"/>
                      <a:pt x="78" y="314"/>
                    </a:cubicBezTo>
                    <a:cubicBezTo>
                      <a:pt x="78" y="385"/>
                      <a:pt x="78" y="385"/>
                      <a:pt x="78" y="385"/>
                    </a:cubicBezTo>
                    <a:cubicBezTo>
                      <a:pt x="78" y="386"/>
                      <a:pt x="77" y="386"/>
                      <a:pt x="77" y="387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7" y="391"/>
                      <a:pt x="77" y="391"/>
                      <a:pt x="77" y="391"/>
                    </a:cubicBezTo>
                    <a:cubicBezTo>
                      <a:pt x="77" y="392"/>
                      <a:pt x="78" y="392"/>
                      <a:pt x="78" y="393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8" y="422"/>
                      <a:pt x="77" y="423"/>
                      <a:pt x="77" y="423"/>
                    </a:cubicBezTo>
                    <a:cubicBezTo>
                      <a:pt x="68" y="429"/>
                      <a:pt x="68" y="429"/>
                      <a:pt x="68" y="429"/>
                    </a:cubicBezTo>
                    <a:cubicBezTo>
                      <a:pt x="67" y="429"/>
                      <a:pt x="67" y="429"/>
                      <a:pt x="67" y="429"/>
                    </a:cubicBezTo>
                    <a:close/>
                    <a:moveTo>
                      <a:pt x="69" y="391"/>
                    </a:moveTo>
                    <a:cubicBezTo>
                      <a:pt x="69" y="423"/>
                      <a:pt x="69" y="423"/>
                      <a:pt x="69" y="423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4" y="394"/>
                      <a:pt x="74" y="394"/>
                      <a:pt x="74" y="394"/>
                    </a:cubicBezTo>
                    <a:lnTo>
                      <a:pt x="69" y="391"/>
                    </a:lnTo>
                    <a:close/>
                    <a:moveTo>
                      <a:pt x="6" y="236"/>
                    </a:moveTo>
                    <a:cubicBezTo>
                      <a:pt x="68" y="272"/>
                      <a:pt x="68" y="272"/>
                      <a:pt x="68" y="272"/>
                    </a:cubicBezTo>
                    <a:cubicBezTo>
                      <a:pt x="68" y="273"/>
                      <a:pt x="69" y="273"/>
                      <a:pt x="69" y="274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4" y="312"/>
                      <a:pt x="74" y="311"/>
                      <a:pt x="75" y="311"/>
                    </a:cubicBezTo>
                    <a:cubicBezTo>
                      <a:pt x="173" y="254"/>
                      <a:pt x="173" y="254"/>
                      <a:pt x="173" y="254"/>
                    </a:cubicBezTo>
                    <a:cubicBezTo>
                      <a:pt x="173" y="226"/>
                      <a:pt x="173" y="226"/>
                      <a:pt x="173" y="226"/>
                    </a:cubicBezTo>
                    <a:cubicBezTo>
                      <a:pt x="173" y="226"/>
                      <a:pt x="173" y="225"/>
                      <a:pt x="174" y="225"/>
                    </a:cubicBezTo>
                    <a:cubicBezTo>
                      <a:pt x="174" y="224"/>
                      <a:pt x="175" y="224"/>
                      <a:pt x="176" y="225"/>
                    </a:cubicBezTo>
                    <a:cubicBezTo>
                      <a:pt x="304" y="299"/>
                      <a:pt x="304" y="299"/>
                      <a:pt x="304" y="299"/>
                    </a:cubicBezTo>
                    <a:cubicBezTo>
                      <a:pt x="305" y="299"/>
                      <a:pt x="305" y="300"/>
                      <a:pt x="305" y="301"/>
                    </a:cubicBezTo>
                    <a:cubicBezTo>
                      <a:pt x="305" y="354"/>
                      <a:pt x="305" y="354"/>
                      <a:pt x="305" y="354"/>
                    </a:cubicBezTo>
                    <a:cubicBezTo>
                      <a:pt x="314" y="349"/>
                      <a:pt x="314" y="349"/>
                      <a:pt x="314" y="349"/>
                    </a:cubicBezTo>
                    <a:cubicBezTo>
                      <a:pt x="314" y="283"/>
                      <a:pt x="314" y="283"/>
                      <a:pt x="314" y="283"/>
                    </a:cubicBezTo>
                    <a:cubicBezTo>
                      <a:pt x="314" y="282"/>
                      <a:pt x="314" y="282"/>
                      <a:pt x="315" y="281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129" y="167"/>
                      <a:pt x="129" y="167"/>
                      <a:pt x="129" y="167"/>
                    </a:cubicBezTo>
                    <a:cubicBezTo>
                      <a:pt x="120" y="173"/>
                      <a:pt x="120" y="173"/>
                      <a:pt x="120" y="173"/>
                    </a:cubicBezTo>
                    <a:cubicBezTo>
                      <a:pt x="119" y="173"/>
                      <a:pt x="118" y="173"/>
                      <a:pt x="118" y="173"/>
                    </a:cubicBezTo>
                    <a:cubicBezTo>
                      <a:pt x="117" y="173"/>
                      <a:pt x="117" y="172"/>
                      <a:pt x="117" y="171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7" y="93"/>
                      <a:pt x="117" y="92"/>
                      <a:pt x="118" y="92"/>
                    </a:cubicBezTo>
                    <a:cubicBezTo>
                      <a:pt x="182" y="54"/>
                      <a:pt x="182" y="54"/>
                      <a:pt x="182" y="54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9"/>
                      <a:pt x="129" y="8"/>
                    </a:cubicBezTo>
                    <a:cubicBezTo>
                      <a:pt x="129" y="6"/>
                      <a:pt x="129" y="6"/>
                      <a:pt x="129" y="6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2" y="19"/>
                      <a:pt x="122" y="20"/>
                      <a:pt x="121" y="20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4" y="25"/>
                      <a:pt x="114" y="25"/>
                      <a:pt x="113" y="25"/>
                    </a:cubicBezTo>
                    <a:cubicBezTo>
                      <a:pt x="79" y="45"/>
                      <a:pt x="79" y="45"/>
                      <a:pt x="79" y="45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114" y="116"/>
                      <a:pt x="114" y="116"/>
                      <a:pt x="114" y="116"/>
                    </a:cubicBezTo>
                    <a:cubicBezTo>
                      <a:pt x="114" y="116"/>
                      <a:pt x="115" y="117"/>
                      <a:pt x="115" y="117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4" y="194"/>
                      <a:pt x="114" y="194"/>
                    </a:cubicBezTo>
                    <a:cubicBezTo>
                      <a:pt x="113" y="195"/>
                      <a:pt x="112" y="195"/>
                      <a:pt x="112" y="194"/>
                    </a:cubicBezTo>
                    <a:cubicBezTo>
                      <a:pt x="95" y="185"/>
                      <a:pt x="95" y="185"/>
                      <a:pt x="95" y="185"/>
                    </a:cubicBezTo>
                    <a:lnTo>
                      <a:pt x="6" y="236"/>
                    </a:lnTo>
                    <a:close/>
                  </a:path>
                </a:pathLst>
              </a:custGeom>
              <a:solidFill>
                <a:srgbClr val="FFFFFF">
                  <a:alpha val="1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5" name="Group 566">
              <a:extLst>
                <a:ext uri="{FF2B5EF4-FFF2-40B4-BE49-F238E27FC236}">
                  <a16:creationId xmlns:a16="http://schemas.microsoft.com/office/drawing/2014/main" id="{A07A4603-5242-411D-8E2F-F3F605EC8E4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0800000" flipV="1">
              <a:off x="9025613" y="1427235"/>
              <a:ext cx="3455013" cy="3302046"/>
              <a:chOff x="8480" y="-116"/>
              <a:chExt cx="4766" cy="4555"/>
            </a:xfrm>
            <a:solidFill>
              <a:srgbClr val="FFFFFF">
                <a:alpha val="16000"/>
              </a:srgbClr>
            </a:solidFill>
          </p:grpSpPr>
          <p:grpSp>
            <p:nvGrpSpPr>
              <p:cNvPr id="76" name="Group 767">
                <a:extLst>
                  <a:ext uri="{FF2B5EF4-FFF2-40B4-BE49-F238E27FC236}">
                    <a16:creationId xmlns:a16="http://schemas.microsoft.com/office/drawing/2014/main" id="{B4E2FE0C-C260-4615-B1CD-5C829B22101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560" y="-116"/>
                <a:ext cx="4686" cy="4548"/>
                <a:chOff x="8560" y="-116"/>
                <a:chExt cx="4686" cy="4548"/>
              </a:xfrm>
              <a:grpFill/>
            </p:grpSpPr>
            <p:sp>
              <p:nvSpPr>
                <p:cNvPr id="455" name="Freeform 567">
                  <a:extLst>
                    <a:ext uri="{FF2B5EF4-FFF2-40B4-BE49-F238E27FC236}">
                      <a16:creationId xmlns:a16="http://schemas.microsoft.com/office/drawing/2014/main" id="{1DA4CD36-43F1-4145-B891-4D7090D352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27" y="-116"/>
                  <a:ext cx="626" cy="364"/>
                </a:xfrm>
                <a:custGeom>
                  <a:avLst/>
                  <a:gdLst>
                    <a:gd name="T0" fmla="*/ 132 w 265"/>
                    <a:gd name="T1" fmla="*/ 154 h 154"/>
                    <a:gd name="T2" fmla="*/ 131 w 265"/>
                    <a:gd name="T3" fmla="*/ 154 h 154"/>
                    <a:gd name="T4" fmla="*/ 1 w 265"/>
                    <a:gd name="T5" fmla="*/ 79 h 154"/>
                    <a:gd name="T6" fmla="*/ 0 w 265"/>
                    <a:gd name="T7" fmla="*/ 77 h 154"/>
                    <a:gd name="T8" fmla="*/ 1 w 265"/>
                    <a:gd name="T9" fmla="*/ 75 h 154"/>
                    <a:gd name="T10" fmla="*/ 131 w 265"/>
                    <a:gd name="T11" fmla="*/ 0 h 154"/>
                    <a:gd name="T12" fmla="*/ 133 w 265"/>
                    <a:gd name="T13" fmla="*/ 0 h 154"/>
                    <a:gd name="T14" fmla="*/ 264 w 265"/>
                    <a:gd name="T15" fmla="*/ 75 h 154"/>
                    <a:gd name="T16" fmla="*/ 265 w 265"/>
                    <a:gd name="T17" fmla="*/ 77 h 154"/>
                    <a:gd name="T18" fmla="*/ 264 w 265"/>
                    <a:gd name="T19" fmla="*/ 79 h 154"/>
                    <a:gd name="T20" fmla="*/ 133 w 265"/>
                    <a:gd name="T21" fmla="*/ 154 h 154"/>
                    <a:gd name="T22" fmla="*/ 132 w 265"/>
                    <a:gd name="T23" fmla="*/ 154 h 154"/>
                    <a:gd name="T24" fmla="*/ 6 w 265"/>
                    <a:gd name="T25" fmla="*/ 77 h 154"/>
                    <a:gd name="T26" fmla="*/ 132 w 265"/>
                    <a:gd name="T27" fmla="*/ 150 h 154"/>
                    <a:gd name="T28" fmla="*/ 259 w 265"/>
                    <a:gd name="T29" fmla="*/ 77 h 154"/>
                    <a:gd name="T30" fmla="*/ 132 w 265"/>
                    <a:gd name="T31" fmla="*/ 4 h 154"/>
                    <a:gd name="T32" fmla="*/ 6 w 265"/>
                    <a:gd name="T33" fmla="*/ 7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5" h="154">
                      <a:moveTo>
                        <a:pt x="132" y="154"/>
                      </a:moveTo>
                      <a:cubicBezTo>
                        <a:pt x="132" y="154"/>
                        <a:pt x="131" y="154"/>
                        <a:pt x="131" y="154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0" y="78"/>
                        <a:pt x="0" y="78"/>
                        <a:pt x="0" y="77"/>
                      </a:cubicBezTo>
                      <a:cubicBezTo>
                        <a:pt x="0" y="76"/>
                        <a:pt x="0" y="76"/>
                        <a:pt x="1" y="75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3" y="0"/>
                        <a:pt x="133" y="0"/>
                      </a:cubicBezTo>
                      <a:cubicBezTo>
                        <a:pt x="264" y="75"/>
                        <a:pt x="264" y="75"/>
                        <a:pt x="264" y="75"/>
                      </a:cubicBezTo>
                      <a:cubicBezTo>
                        <a:pt x="264" y="76"/>
                        <a:pt x="265" y="76"/>
                        <a:pt x="265" y="77"/>
                      </a:cubicBezTo>
                      <a:cubicBezTo>
                        <a:pt x="265" y="78"/>
                        <a:pt x="264" y="78"/>
                        <a:pt x="264" y="79"/>
                      </a:cubicBezTo>
                      <a:cubicBezTo>
                        <a:pt x="133" y="154"/>
                        <a:pt x="133" y="154"/>
                        <a:pt x="133" y="154"/>
                      </a:cubicBezTo>
                      <a:cubicBezTo>
                        <a:pt x="133" y="154"/>
                        <a:pt x="132" y="154"/>
                        <a:pt x="132" y="154"/>
                      </a:cubicBezTo>
                      <a:close/>
                      <a:moveTo>
                        <a:pt x="6" y="77"/>
                      </a:moveTo>
                      <a:cubicBezTo>
                        <a:pt x="132" y="150"/>
                        <a:pt x="132" y="150"/>
                        <a:pt x="132" y="150"/>
                      </a:cubicBezTo>
                      <a:cubicBezTo>
                        <a:pt x="259" y="77"/>
                        <a:pt x="259" y="77"/>
                        <a:pt x="259" y="77"/>
                      </a:cubicBezTo>
                      <a:cubicBezTo>
                        <a:pt x="132" y="4"/>
                        <a:pt x="132" y="4"/>
                        <a:pt x="132" y="4"/>
                      </a:cubicBezTo>
                      <a:lnTo>
                        <a:pt x="6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6" name="Freeform 568">
                  <a:extLst>
                    <a:ext uri="{FF2B5EF4-FFF2-40B4-BE49-F238E27FC236}">
                      <a16:creationId xmlns:a16="http://schemas.microsoft.com/office/drawing/2014/main" id="{B9A42E69-51E1-42CD-9784-87CF1E2617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35" y="-111"/>
                  <a:ext cx="609" cy="357"/>
                </a:xfrm>
                <a:custGeom>
                  <a:avLst/>
                  <a:gdLst>
                    <a:gd name="T0" fmla="*/ 129 w 258"/>
                    <a:gd name="T1" fmla="*/ 151 h 151"/>
                    <a:gd name="T2" fmla="*/ 128 w 258"/>
                    <a:gd name="T3" fmla="*/ 150 h 151"/>
                    <a:gd name="T4" fmla="*/ 1 w 258"/>
                    <a:gd name="T5" fmla="*/ 77 h 151"/>
                    <a:gd name="T6" fmla="*/ 0 w 258"/>
                    <a:gd name="T7" fmla="*/ 75 h 151"/>
                    <a:gd name="T8" fmla="*/ 1 w 258"/>
                    <a:gd name="T9" fmla="*/ 73 h 151"/>
                    <a:gd name="T10" fmla="*/ 128 w 258"/>
                    <a:gd name="T11" fmla="*/ 0 h 151"/>
                    <a:gd name="T12" fmla="*/ 130 w 258"/>
                    <a:gd name="T13" fmla="*/ 0 h 151"/>
                    <a:gd name="T14" fmla="*/ 257 w 258"/>
                    <a:gd name="T15" fmla="*/ 73 h 151"/>
                    <a:gd name="T16" fmla="*/ 258 w 258"/>
                    <a:gd name="T17" fmla="*/ 75 h 151"/>
                    <a:gd name="T18" fmla="*/ 257 w 258"/>
                    <a:gd name="T19" fmla="*/ 77 h 151"/>
                    <a:gd name="T20" fmla="*/ 130 w 258"/>
                    <a:gd name="T21" fmla="*/ 150 h 151"/>
                    <a:gd name="T22" fmla="*/ 129 w 258"/>
                    <a:gd name="T23" fmla="*/ 151 h 151"/>
                    <a:gd name="T24" fmla="*/ 6 w 258"/>
                    <a:gd name="T25" fmla="*/ 75 h 151"/>
                    <a:gd name="T26" fmla="*/ 129 w 258"/>
                    <a:gd name="T27" fmla="*/ 146 h 151"/>
                    <a:gd name="T28" fmla="*/ 252 w 258"/>
                    <a:gd name="T29" fmla="*/ 75 h 151"/>
                    <a:gd name="T30" fmla="*/ 129 w 258"/>
                    <a:gd name="T31" fmla="*/ 4 h 151"/>
                    <a:gd name="T32" fmla="*/ 6 w 258"/>
                    <a:gd name="T33" fmla="*/ 75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8" h="151">
                      <a:moveTo>
                        <a:pt x="129" y="151"/>
                      </a:moveTo>
                      <a:cubicBezTo>
                        <a:pt x="129" y="151"/>
                        <a:pt x="128" y="150"/>
                        <a:pt x="128" y="150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0" y="76"/>
                        <a:pt x="0" y="76"/>
                        <a:pt x="0" y="75"/>
                      </a:cubicBezTo>
                      <a:cubicBezTo>
                        <a:pt x="0" y="74"/>
                        <a:pt x="0" y="74"/>
                        <a:pt x="1" y="73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30" y="0"/>
                        <a:pt x="130" y="0"/>
                      </a:cubicBezTo>
                      <a:cubicBezTo>
                        <a:pt x="257" y="73"/>
                        <a:pt x="257" y="73"/>
                        <a:pt x="257" y="73"/>
                      </a:cubicBezTo>
                      <a:cubicBezTo>
                        <a:pt x="258" y="74"/>
                        <a:pt x="258" y="74"/>
                        <a:pt x="258" y="75"/>
                      </a:cubicBezTo>
                      <a:cubicBezTo>
                        <a:pt x="258" y="76"/>
                        <a:pt x="258" y="76"/>
                        <a:pt x="257" y="77"/>
                      </a:cubicBezTo>
                      <a:cubicBezTo>
                        <a:pt x="130" y="150"/>
                        <a:pt x="130" y="150"/>
                        <a:pt x="130" y="150"/>
                      </a:cubicBezTo>
                      <a:cubicBezTo>
                        <a:pt x="130" y="150"/>
                        <a:pt x="129" y="151"/>
                        <a:pt x="129" y="151"/>
                      </a:cubicBezTo>
                      <a:close/>
                      <a:moveTo>
                        <a:pt x="6" y="75"/>
                      </a:moveTo>
                      <a:cubicBezTo>
                        <a:pt x="129" y="146"/>
                        <a:pt x="129" y="146"/>
                        <a:pt x="129" y="146"/>
                      </a:cubicBezTo>
                      <a:cubicBezTo>
                        <a:pt x="252" y="75"/>
                        <a:pt x="252" y="75"/>
                        <a:pt x="252" y="75"/>
                      </a:cubicBezTo>
                      <a:cubicBezTo>
                        <a:pt x="129" y="4"/>
                        <a:pt x="129" y="4"/>
                        <a:pt x="129" y="4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7" name="Freeform 569">
                  <a:extLst>
                    <a:ext uri="{FF2B5EF4-FFF2-40B4-BE49-F238E27FC236}">
                      <a16:creationId xmlns:a16="http://schemas.microsoft.com/office/drawing/2014/main" id="{CCB31963-15E3-4695-98F9-B1254BC6473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09" y="-116"/>
                  <a:ext cx="626" cy="364"/>
                </a:xfrm>
                <a:custGeom>
                  <a:avLst/>
                  <a:gdLst>
                    <a:gd name="T0" fmla="*/ 133 w 265"/>
                    <a:gd name="T1" fmla="*/ 154 h 154"/>
                    <a:gd name="T2" fmla="*/ 132 w 265"/>
                    <a:gd name="T3" fmla="*/ 154 h 154"/>
                    <a:gd name="T4" fmla="*/ 1 w 265"/>
                    <a:gd name="T5" fmla="*/ 79 h 154"/>
                    <a:gd name="T6" fmla="*/ 0 w 265"/>
                    <a:gd name="T7" fmla="*/ 77 h 154"/>
                    <a:gd name="T8" fmla="*/ 1 w 265"/>
                    <a:gd name="T9" fmla="*/ 75 h 154"/>
                    <a:gd name="T10" fmla="*/ 132 w 265"/>
                    <a:gd name="T11" fmla="*/ 0 h 154"/>
                    <a:gd name="T12" fmla="*/ 134 w 265"/>
                    <a:gd name="T13" fmla="*/ 0 h 154"/>
                    <a:gd name="T14" fmla="*/ 264 w 265"/>
                    <a:gd name="T15" fmla="*/ 75 h 154"/>
                    <a:gd name="T16" fmla="*/ 265 w 265"/>
                    <a:gd name="T17" fmla="*/ 77 h 154"/>
                    <a:gd name="T18" fmla="*/ 264 w 265"/>
                    <a:gd name="T19" fmla="*/ 79 h 154"/>
                    <a:gd name="T20" fmla="*/ 134 w 265"/>
                    <a:gd name="T21" fmla="*/ 154 h 154"/>
                    <a:gd name="T22" fmla="*/ 133 w 265"/>
                    <a:gd name="T23" fmla="*/ 154 h 154"/>
                    <a:gd name="T24" fmla="*/ 6 w 265"/>
                    <a:gd name="T25" fmla="*/ 77 h 154"/>
                    <a:gd name="T26" fmla="*/ 133 w 265"/>
                    <a:gd name="T27" fmla="*/ 150 h 154"/>
                    <a:gd name="T28" fmla="*/ 259 w 265"/>
                    <a:gd name="T29" fmla="*/ 77 h 154"/>
                    <a:gd name="T30" fmla="*/ 133 w 265"/>
                    <a:gd name="T31" fmla="*/ 4 h 154"/>
                    <a:gd name="T32" fmla="*/ 6 w 265"/>
                    <a:gd name="T33" fmla="*/ 7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5" h="154">
                      <a:moveTo>
                        <a:pt x="133" y="154"/>
                      </a:moveTo>
                      <a:cubicBezTo>
                        <a:pt x="132" y="154"/>
                        <a:pt x="132" y="154"/>
                        <a:pt x="132" y="154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1" y="78"/>
                        <a:pt x="0" y="78"/>
                        <a:pt x="0" y="77"/>
                      </a:cubicBezTo>
                      <a:cubicBezTo>
                        <a:pt x="0" y="76"/>
                        <a:pt x="1" y="76"/>
                        <a:pt x="1" y="75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32" y="0"/>
                        <a:pt x="133" y="0"/>
                        <a:pt x="134" y="0"/>
                      </a:cubicBezTo>
                      <a:cubicBezTo>
                        <a:pt x="264" y="75"/>
                        <a:pt x="264" y="75"/>
                        <a:pt x="264" y="75"/>
                      </a:cubicBezTo>
                      <a:cubicBezTo>
                        <a:pt x="265" y="76"/>
                        <a:pt x="265" y="76"/>
                        <a:pt x="265" y="77"/>
                      </a:cubicBezTo>
                      <a:cubicBezTo>
                        <a:pt x="265" y="78"/>
                        <a:pt x="265" y="78"/>
                        <a:pt x="264" y="79"/>
                      </a:cubicBezTo>
                      <a:cubicBezTo>
                        <a:pt x="134" y="154"/>
                        <a:pt x="134" y="154"/>
                        <a:pt x="134" y="154"/>
                      </a:cubicBezTo>
                      <a:cubicBezTo>
                        <a:pt x="133" y="154"/>
                        <a:pt x="133" y="154"/>
                        <a:pt x="133" y="154"/>
                      </a:cubicBezTo>
                      <a:close/>
                      <a:moveTo>
                        <a:pt x="6" y="77"/>
                      </a:moveTo>
                      <a:cubicBezTo>
                        <a:pt x="133" y="150"/>
                        <a:pt x="133" y="150"/>
                        <a:pt x="133" y="150"/>
                      </a:cubicBezTo>
                      <a:cubicBezTo>
                        <a:pt x="259" y="77"/>
                        <a:pt x="259" y="77"/>
                        <a:pt x="259" y="77"/>
                      </a:cubicBezTo>
                      <a:cubicBezTo>
                        <a:pt x="133" y="4"/>
                        <a:pt x="133" y="4"/>
                        <a:pt x="133" y="4"/>
                      </a:cubicBezTo>
                      <a:lnTo>
                        <a:pt x="6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8" name="Freeform 570">
                  <a:extLst>
                    <a:ext uri="{FF2B5EF4-FFF2-40B4-BE49-F238E27FC236}">
                      <a16:creationId xmlns:a16="http://schemas.microsoft.com/office/drawing/2014/main" id="{1ECC2929-F154-4DCF-B417-6109A09567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16" y="-111"/>
                  <a:ext cx="611" cy="357"/>
                </a:xfrm>
                <a:custGeom>
                  <a:avLst/>
                  <a:gdLst>
                    <a:gd name="T0" fmla="*/ 130 w 259"/>
                    <a:gd name="T1" fmla="*/ 151 h 151"/>
                    <a:gd name="T2" fmla="*/ 129 w 259"/>
                    <a:gd name="T3" fmla="*/ 150 h 151"/>
                    <a:gd name="T4" fmla="*/ 1 w 259"/>
                    <a:gd name="T5" fmla="*/ 77 h 151"/>
                    <a:gd name="T6" fmla="*/ 0 w 259"/>
                    <a:gd name="T7" fmla="*/ 75 h 151"/>
                    <a:gd name="T8" fmla="*/ 1 w 259"/>
                    <a:gd name="T9" fmla="*/ 73 h 151"/>
                    <a:gd name="T10" fmla="*/ 129 w 259"/>
                    <a:gd name="T11" fmla="*/ 0 h 151"/>
                    <a:gd name="T12" fmla="*/ 131 w 259"/>
                    <a:gd name="T13" fmla="*/ 0 h 151"/>
                    <a:gd name="T14" fmla="*/ 258 w 259"/>
                    <a:gd name="T15" fmla="*/ 73 h 151"/>
                    <a:gd name="T16" fmla="*/ 259 w 259"/>
                    <a:gd name="T17" fmla="*/ 75 h 151"/>
                    <a:gd name="T18" fmla="*/ 258 w 259"/>
                    <a:gd name="T19" fmla="*/ 77 h 151"/>
                    <a:gd name="T20" fmla="*/ 131 w 259"/>
                    <a:gd name="T21" fmla="*/ 150 h 151"/>
                    <a:gd name="T22" fmla="*/ 130 w 259"/>
                    <a:gd name="T23" fmla="*/ 151 h 151"/>
                    <a:gd name="T24" fmla="*/ 6 w 259"/>
                    <a:gd name="T25" fmla="*/ 75 h 151"/>
                    <a:gd name="T26" fmla="*/ 130 w 259"/>
                    <a:gd name="T27" fmla="*/ 146 h 151"/>
                    <a:gd name="T28" fmla="*/ 253 w 259"/>
                    <a:gd name="T29" fmla="*/ 75 h 151"/>
                    <a:gd name="T30" fmla="*/ 130 w 259"/>
                    <a:gd name="T31" fmla="*/ 4 h 151"/>
                    <a:gd name="T32" fmla="*/ 6 w 259"/>
                    <a:gd name="T33" fmla="*/ 75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" h="151">
                      <a:moveTo>
                        <a:pt x="130" y="151"/>
                      </a:moveTo>
                      <a:cubicBezTo>
                        <a:pt x="129" y="151"/>
                        <a:pt x="129" y="150"/>
                        <a:pt x="129" y="150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1" y="76"/>
                        <a:pt x="0" y="76"/>
                        <a:pt x="0" y="75"/>
                      </a:cubicBezTo>
                      <a:cubicBezTo>
                        <a:pt x="0" y="74"/>
                        <a:pt x="1" y="74"/>
                        <a:pt x="1" y="73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30" y="0"/>
                        <a:pt x="131" y="0"/>
                      </a:cubicBezTo>
                      <a:cubicBezTo>
                        <a:pt x="258" y="73"/>
                        <a:pt x="258" y="73"/>
                        <a:pt x="258" y="73"/>
                      </a:cubicBezTo>
                      <a:cubicBezTo>
                        <a:pt x="258" y="74"/>
                        <a:pt x="259" y="74"/>
                        <a:pt x="259" y="75"/>
                      </a:cubicBezTo>
                      <a:cubicBezTo>
                        <a:pt x="259" y="76"/>
                        <a:pt x="258" y="76"/>
                        <a:pt x="258" y="77"/>
                      </a:cubicBezTo>
                      <a:cubicBezTo>
                        <a:pt x="131" y="150"/>
                        <a:pt x="131" y="150"/>
                        <a:pt x="131" y="150"/>
                      </a:cubicBezTo>
                      <a:cubicBezTo>
                        <a:pt x="130" y="150"/>
                        <a:pt x="130" y="151"/>
                        <a:pt x="130" y="151"/>
                      </a:cubicBezTo>
                      <a:close/>
                      <a:moveTo>
                        <a:pt x="6" y="75"/>
                      </a:moveTo>
                      <a:cubicBezTo>
                        <a:pt x="130" y="146"/>
                        <a:pt x="130" y="146"/>
                        <a:pt x="130" y="146"/>
                      </a:cubicBezTo>
                      <a:cubicBezTo>
                        <a:pt x="253" y="75"/>
                        <a:pt x="253" y="75"/>
                        <a:pt x="253" y="75"/>
                      </a:cubicBezTo>
                      <a:cubicBezTo>
                        <a:pt x="130" y="4"/>
                        <a:pt x="130" y="4"/>
                        <a:pt x="130" y="4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9" name="Freeform 571">
                  <a:extLst>
                    <a:ext uri="{FF2B5EF4-FFF2-40B4-BE49-F238E27FC236}">
                      <a16:creationId xmlns:a16="http://schemas.microsoft.com/office/drawing/2014/main" id="{163DCEE8-C6F2-405C-AB96-7EB4C9271A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97" y="411"/>
                  <a:ext cx="626" cy="366"/>
                </a:xfrm>
                <a:custGeom>
                  <a:avLst/>
                  <a:gdLst>
                    <a:gd name="T0" fmla="*/ 132 w 265"/>
                    <a:gd name="T1" fmla="*/ 155 h 155"/>
                    <a:gd name="T2" fmla="*/ 131 w 265"/>
                    <a:gd name="T3" fmla="*/ 154 h 155"/>
                    <a:gd name="T4" fmla="*/ 1 w 265"/>
                    <a:gd name="T5" fmla="*/ 79 h 155"/>
                    <a:gd name="T6" fmla="*/ 0 w 265"/>
                    <a:gd name="T7" fmla="*/ 77 h 155"/>
                    <a:gd name="T8" fmla="*/ 1 w 265"/>
                    <a:gd name="T9" fmla="*/ 76 h 155"/>
                    <a:gd name="T10" fmla="*/ 131 w 265"/>
                    <a:gd name="T11" fmla="*/ 0 h 155"/>
                    <a:gd name="T12" fmla="*/ 133 w 265"/>
                    <a:gd name="T13" fmla="*/ 0 h 155"/>
                    <a:gd name="T14" fmla="*/ 264 w 265"/>
                    <a:gd name="T15" fmla="*/ 76 h 155"/>
                    <a:gd name="T16" fmla="*/ 265 w 265"/>
                    <a:gd name="T17" fmla="*/ 77 h 155"/>
                    <a:gd name="T18" fmla="*/ 264 w 265"/>
                    <a:gd name="T19" fmla="*/ 79 h 155"/>
                    <a:gd name="T20" fmla="*/ 133 w 265"/>
                    <a:gd name="T21" fmla="*/ 154 h 155"/>
                    <a:gd name="T22" fmla="*/ 132 w 265"/>
                    <a:gd name="T23" fmla="*/ 155 h 155"/>
                    <a:gd name="T24" fmla="*/ 6 w 265"/>
                    <a:gd name="T25" fmla="*/ 77 h 155"/>
                    <a:gd name="T26" fmla="*/ 132 w 265"/>
                    <a:gd name="T27" fmla="*/ 150 h 155"/>
                    <a:gd name="T28" fmla="*/ 259 w 265"/>
                    <a:gd name="T29" fmla="*/ 77 h 155"/>
                    <a:gd name="T30" fmla="*/ 132 w 265"/>
                    <a:gd name="T31" fmla="*/ 4 h 155"/>
                    <a:gd name="T32" fmla="*/ 6 w 265"/>
                    <a:gd name="T33" fmla="*/ 77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5" h="155">
                      <a:moveTo>
                        <a:pt x="132" y="155"/>
                      </a:moveTo>
                      <a:cubicBezTo>
                        <a:pt x="132" y="155"/>
                        <a:pt x="131" y="155"/>
                        <a:pt x="131" y="154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0" y="79"/>
                        <a:pt x="0" y="78"/>
                        <a:pt x="0" y="77"/>
                      </a:cubicBezTo>
                      <a:cubicBezTo>
                        <a:pt x="0" y="77"/>
                        <a:pt x="0" y="76"/>
                        <a:pt x="1" y="76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2" y="0"/>
                        <a:pt x="133" y="0"/>
                      </a:cubicBezTo>
                      <a:cubicBezTo>
                        <a:pt x="264" y="76"/>
                        <a:pt x="264" y="76"/>
                        <a:pt x="264" y="76"/>
                      </a:cubicBezTo>
                      <a:cubicBezTo>
                        <a:pt x="264" y="76"/>
                        <a:pt x="265" y="77"/>
                        <a:pt x="265" y="77"/>
                      </a:cubicBezTo>
                      <a:cubicBezTo>
                        <a:pt x="265" y="78"/>
                        <a:pt x="264" y="79"/>
                        <a:pt x="264" y="79"/>
                      </a:cubicBezTo>
                      <a:cubicBezTo>
                        <a:pt x="133" y="154"/>
                        <a:pt x="133" y="154"/>
                        <a:pt x="133" y="154"/>
                      </a:cubicBezTo>
                      <a:cubicBezTo>
                        <a:pt x="133" y="155"/>
                        <a:pt x="132" y="155"/>
                        <a:pt x="132" y="155"/>
                      </a:cubicBezTo>
                      <a:close/>
                      <a:moveTo>
                        <a:pt x="6" y="77"/>
                      </a:moveTo>
                      <a:cubicBezTo>
                        <a:pt x="132" y="150"/>
                        <a:pt x="132" y="150"/>
                        <a:pt x="132" y="150"/>
                      </a:cubicBezTo>
                      <a:cubicBezTo>
                        <a:pt x="259" y="77"/>
                        <a:pt x="259" y="77"/>
                        <a:pt x="259" y="77"/>
                      </a:cubicBezTo>
                      <a:cubicBezTo>
                        <a:pt x="132" y="4"/>
                        <a:pt x="132" y="4"/>
                        <a:pt x="132" y="4"/>
                      </a:cubicBezTo>
                      <a:lnTo>
                        <a:pt x="6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0" name="Freeform 572">
                  <a:extLst>
                    <a:ext uri="{FF2B5EF4-FFF2-40B4-BE49-F238E27FC236}">
                      <a16:creationId xmlns:a16="http://schemas.microsoft.com/office/drawing/2014/main" id="{5A606200-F8D2-4E1B-9AB1-F841CED837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04" y="416"/>
                  <a:ext cx="609" cy="357"/>
                </a:xfrm>
                <a:custGeom>
                  <a:avLst/>
                  <a:gdLst>
                    <a:gd name="T0" fmla="*/ 129 w 258"/>
                    <a:gd name="T1" fmla="*/ 151 h 151"/>
                    <a:gd name="T2" fmla="*/ 128 w 258"/>
                    <a:gd name="T3" fmla="*/ 150 h 151"/>
                    <a:gd name="T4" fmla="*/ 1 w 258"/>
                    <a:gd name="T5" fmla="*/ 77 h 151"/>
                    <a:gd name="T6" fmla="*/ 0 w 258"/>
                    <a:gd name="T7" fmla="*/ 75 h 151"/>
                    <a:gd name="T8" fmla="*/ 1 w 258"/>
                    <a:gd name="T9" fmla="*/ 74 h 151"/>
                    <a:gd name="T10" fmla="*/ 128 w 258"/>
                    <a:gd name="T11" fmla="*/ 0 h 151"/>
                    <a:gd name="T12" fmla="*/ 130 w 258"/>
                    <a:gd name="T13" fmla="*/ 0 h 151"/>
                    <a:gd name="T14" fmla="*/ 257 w 258"/>
                    <a:gd name="T15" fmla="*/ 74 h 151"/>
                    <a:gd name="T16" fmla="*/ 258 w 258"/>
                    <a:gd name="T17" fmla="*/ 75 h 151"/>
                    <a:gd name="T18" fmla="*/ 257 w 258"/>
                    <a:gd name="T19" fmla="*/ 77 h 151"/>
                    <a:gd name="T20" fmla="*/ 130 w 258"/>
                    <a:gd name="T21" fmla="*/ 150 h 151"/>
                    <a:gd name="T22" fmla="*/ 129 w 258"/>
                    <a:gd name="T23" fmla="*/ 151 h 151"/>
                    <a:gd name="T24" fmla="*/ 6 w 258"/>
                    <a:gd name="T25" fmla="*/ 75 h 151"/>
                    <a:gd name="T26" fmla="*/ 129 w 258"/>
                    <a:gd name="T27" fmla="*/ 146 h 151"/>
                    <a:gd name="T28" fmla="*/ 252 w 258"/>
                    <a:gd name="T29" fmla="*/ 75 h 151"/>
                    <a:gd name="T30" fmla="*/ 129 w 258"/>
                    <a:gd name="T31" fmla="*/ 4 h 151"/>
                    <a:gd name="T32" fmla="*/ 6 w 258"/>
                    <a:gd name="T33" fmla="*/ 75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8" h="151">
                      <a:moveTo>
                        <a:pt x="129" y="151"/>
                      </a:moveTo>
                      <a:cubicBezTo>
                        <a:pt x="129" y="151"/>
                        <a:pt x="128" y="151"/>
                        <a:pt x="128" y="150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0" y="77"/>
                        <a:pt x="0" y="76"/>
                        <a:pt x="0" y="75"/>
                      </a:cubicBezTo>
                      <a:cubicBezTo>
                        <a:pt x="0" y="75"/>
                        <a:pt x="0" y="74"/>
                        <a:pt x="1" y="74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30" y="0"/>
                      </a:cubicBezTo>
                      <a:cubicBezTo>
                        <a:pt x="257" y="74"/>
                        <a:pt x="257" y="74"/>
                        <a:pt x="257" y="74"/>
                      </a:cubicBezTo>
                      <a:cubicBezTo>
                        <a:pt x="258" y="74"/>
                        <a:pt x="258" y="75"/>
                        <a:pt x="258" y="75"/>
                      </a:cubicBezTo>
                      <a:cubicBezTo>
                        <a:pt x="258" y="76"/>
                        <a:pt x="258" y="77"/>
                        <a:pt x="257" y="77"/>
                      </a:cubicBezTo>
                      <a:cubicBezTo>
                        <a:pt x="130" y="150"/>
                        <a:pt x="130" y="150"/>
                        <a:pt x="130" y="150"/>
                      </a:cubicBezTo>
                      <a:cubicBezTo>
                        <a:pt x="130" y="151"/>
                        <a:pt x="129" y="151"/>
                        <a:pt x="129" y="151"/>
                      </a:cubicBezTo>
                      <a:close/>
                      <a:moveTo>
                        <a:pt x="6" y="75"/>
                      </a:moveTo>
                      <a:cubicBezTo>
                        <a:pt x="129" y="146"/>
                        <a:pt x="129" y="146"/>
                        <a:pt x="129" y="146"/>
                      </a:cubicBezTo>
                      <a:cubicBezTo>
                        <a:pt x="252" y="75"/>
                        <a:pt x="252" y="75"/>
                        <a:pt x="252" y="75"/>
                      </a:cubicBezTo>
                      <a:cubicBezTo>
                        <a:pt x="129" y="4"/>
                        <a:pt x="129" y="4"/>
                        <a:pt x="129" y="4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1" name="Freeform 573">
                  <a:extLst>
                    <a:ext uri="{FF2B5EF4-FFF2-40B4-BE49-F238E27FC236}">
                      <a16:creationId xmlns:a16="http://schemas.microsoft.com/office/drawing/2014/main" id="{5A01A7F5-57C7-425F-8CD3-A92916FF93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497" y="2152"/>
                  <a:ext cx="749" cy="437"/>
                </a:xfrm>
                <a:custGeom>
                  <a:avLst/>
                  <a:gdLst>
                    <a:gd name="T0" fmla="*/ 159 w 317"/>
                    <a:gd name="T1" fmla="*/ 185 h 185"/>
                    <a:gd name="T2" fmla="*/ 158 w 317"/>
                    <a:gd name="T3" fmla="*/ 185 h 185"/>
                    <a:gd name="T4" fmla="*/ 1 w 317"/>
                    <a:gd name="T5" fmla="*/ 94 h 185"/>
                    <a:gd name="T6" fmla="*/ 0 w 317"/>
                    <a:gd name="T7" fmla="*/ 93 h 185"/>
                    <a:gd name="T8" fmla="*/ 1 w 317"/>
                    <a:gd name="T9" fmla="*/ 91 h 185"/>
                    <a:gd name="T10" fmla="*/ 158 w 317"/>
                    <a:gd name="T11" fmla="*/ 1 h 185"/>
                    <a:gd name="T12" fmla="*/ 160 w 317"/>
                    <a:gd name="T13" fmla="*/ 1 h 185"/>
                    <a:gd name="T14" fmla="*/ 316 w 317"/>
                    <a:gd name="T15" fmla="*/ 91 h 185"/>
                    <a:gd name="T16" fmla="*/ 317 w 317"/>
                    <a:gd name="T17" fmla="*/ 93 h 185"/>
                    <a:gd name="T18" fmla="*/ 316 w 317"/>
                    <a:gd name="T19" fmla="*/ 94 h 185"/>
                    <a:gd name="T20" fmla="*/ 160 w 317"/>
                    <a:gd name="T21" fmla="*/ 185 h 185"/>
                    <a:gd name="T22" fmla="*/ 159 w 317"/>
                    <a:gd name="T23" fmla="*/ 185 h 185"/>
                    <a:gd name="T24" fmla="*/ 6 w 317"/>
                    <a:gd name="T25" fmla="*/ 93 h 185"/>
                    <a:gd name="T26" fmla="*/ 159 w 317"/>
                    <a:gd name="T27" fmla="*/ 181 h 185"/>
                    <a:gd name="T28" fmla="*/ 311 w 317"/>
                    <a:gd name="T29" fmla="*/ 93 h 185"/>
                    <a:gd name="T30" fmla="*/ 159 w 317"/>
                    <a:gd name="T31" fmla="*/ 5 h 185"/>
                    <a:gd name="T32" fmla="*/ 6 w 317"/>
                    <a:gd name="T33" fmla="*/ 9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7" h="185">
                      <a:moveTo>
                        <a:pt x="159" y="185"/>
                      </a:moveTo>
                      <a:cubicBezTo>
                        <a:pt x="158" y="185"/>
                        <a:pt x="158" y="185"/>
                        <a:pt x="158" y="185"/>
                      </a:cubicBezTo>
                      <a:cubicBezTo>
                        <a:pt x="1" y="94"/>
                        <a:pt x="1" y="94"/>
                        <a:pt x="1" y="94"/>
                      </a:cubicBezTo>
                      <a:cubicBezTo>
                        <a:pt x="1" y="94"/>
                        <a:pt x="0" y="93"/>
                        <a:pt x="0" y="93"/>
                      </a:cubicBezTo>
                      <a:cubicBezTo>
                        <a:pt x="0" y="92"/>
                        <a:pt x="1" y="91"/>
                        <a:pt x="1" y="91"/>
                      </a:cubicBezTo>
                      <a:cubicBezTo>
                        <a:pt x="158" y="1"/>
                        <a:pt x="158" y="1"/>
                        <a:pt x="158" y="1"/>
                      </a:cubicBezTo>
                      <a:cubicBezTo>
                        <a:pt x="158" y="0"/>
                        <a:pt x="159" y="0"/>
                        <a:pt x="160" y="1"/>
                      </a:cubicBezTo>
                      <a:cubicBezTo>
                        <a:pt x="316" y="91"/>
                        <a:pt x="316" y="91"/>
                        <a:pt x="316" y="91"/>
                      </a:cubicBezTo>
                      <a:cubicBezTo>
                        <a:pt x="317" y="91"/>
                        <a:pt x="317" y="92"/>
                        <a:pt x="317" y="93"/>
                      </a:cubicBezTo>
                      <a:cubicBezTo>
                        <a:pt x="317" y="93"/>
                        <a:pt x="317" y="94"/>
                        <a:pt x="316" y="94"/>
                      </a:cubicBezTo>
                      <a:cubicBezTo>
                        <a:pt x="160" y="185"/>
                        <a:pt x="160" y="185"/>
                        <a:pt x="160" y="185"/>
                      </a:cubicBezTo>
                      <a:cubicBezTo>
                        <a:pt x="159" y="185"/>
                        <a:pt x="159" y="185"/>
                        <a:pt x="159" y="185"/>
                      </a:cubicBezTo>
                      <a:close/>
                      <a:moveTo>
                        <a:pt x="6" y="93"/>
                      </a:moveTo>
                      <a:cubicBezTo>
                        <a:pt x="159" y="181"/>
                        <a:pt x="159" y="181"/>
                        <a:pt x="159" y="181"/>
                      </a:cubicBezTo>
                      <a:cubicBezTo>
                        <a:pt x="311" y="93"/>
                        <a:pt x="311" y="93"/>
                        <a:pt x="311" y="93"/>
                      </a:cubicBezTo>
                      <a:cubicBezTo>
                        <a:pt x="159" y="5"/>
                        <a:pt x="159" y="5"/>
                        <a:pt x="159" y="5"/>
                      </a:cubicBezTo>
                      <a:lnTo>
                        <a:pt x="6" y="9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2" name="Freeform 574">
                  <a:extLst>
                    <a:ext uri="{FF2B5EF4-FFF2-40B4-BE49-F238E27FC236}">
                      <a16:creationId xmlns:a16="http://schemas.microsoft.com/office/drawing/2014/main" id="{EEA1214C-8868-4E79-8BDC-0B177D954E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507" y="2157"/>
                  <a:ext cx="732" cy="428"/>
                </a:xfrm>
                <a:custGeom>
                  <a:avLst/>
                  <a:gdLst>
                    <a:gd name="T0" fmla="*/ 155 w 310"/>
                    <a:gd name="T1" fmla="*/ 181 h 181"/>
                    <a:gd name="T2" fmla="*/ 154 w 310"/>
                    <a:gd name="T3" fmla="*/ 181 h 181"/>
                    <a:gd name="T4" fmla="*/ 1 w 310"/>
                    <a:gd name="T5" fmla="*/ 92 h 181"/>
                    <a:gd name="T6" fmla="*/ 0 w 310"/>
                    <a:gd name="T7" fmla="*/ 91 h 181"/>
                    <a:gd name="T8" fmla="*/ 1 w 310"/>
                    <a:gd name="T9" fmla="*/ 89 h 181"/>
                    <a:gd name="T10" fmla="*/ 154 w 310"/>
                    <a:gd name="T11" fmla="*/ 0 h 181"/>
                    <a:gd name="T12" fmla="*/ 156 w 310"/>
                    <a:gd name="T13" fmla="*/ 0 h 181"/>
                    <a:gd name="T14" fmla="*/ 309 w 310"/>
                    <a:gd name="T15" fmla="*/ 89 h 181"/>
                    <a:gd name="T16" fmla="*/ 310 w 310"/>
                    <a:gd name="T17" fmla="*/ 91 h 181"/>
                    <a:gd name="T18" fmla="*/ 309 w 310"/>
                    <a:gd name="T19" fmla="*/ 92 h 181"/>
                    <a:gd name="T20" fmla="*/ 156 w 310"/>
                    <a:gd name="T21" fmla="*/ 181 h 181"/>
                    <a:gd name="T22" fmla="*/ 155 w 310"/>
                    <a:gd name="T23" fmla="*/ 181 h 181"/>
                    <a:gd name="T24" fmla="*/ 6 w 310"/>
                    <a:gd name="T25" fmla="*/ 91 h 181"/>
                    <a:gd name="T26" fmla="*/ 155 w 310"/>
                    <a:gd name="T27" fmla="*/ 177 h 181"/>
                    <a:gd name="T28" fmla="*/ 304 w 310"/>
                    <a:gd name="T29" fmla="*/ 91 h 181"/>
                    <a:gd name="T30" fmla="*/ 155 w 310"/>
                    <a:gd name="T31" fmla="*/ 4 h 181"/>
                    <a:gd name="T32" fmla="*/ 6 w 310"/>
                    <a:gd name="T33" fmla="*/ 9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0" h="181">
                      <a:moveTo>
                        <a:pt x="155" y="181"/>
                      </a:moveTo>
                      <a:cubicBezTo>
                        <a:pt x="154" y="181"/>
                        <a:pt x="154" y="181"/>
                        <a:pt x="154" y="181"/>
                      </a:cubicBez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2"/>
                        <a:pt x="0" y="91"/>
                        <a:pt x="0" y="91"/>
                      </a:cubicBezTo>
                      <a:cubicBezTo>
                        <a:pt x="0" y="90"/>
                        <a:pt x="0" y="89"/>
                        <a:pt x="1" y="89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54" y="0"/>
                        <a:pt x="155" y="0"/>
                        <a:pt x="156" y="0"/>
                      </a:cubicBezTo>
                      <a:cubicBezTo>
                        <a:pt x="309" y="89"/>
                        <a:pt x="309" y="89"/>
                        <a:pt x="309" y="89"/>
                      </a:cubicBezTo>
                      <a:cubicBezTo>
                        <a:pt x="309" y="89"/>
                        <a:pt x="310" y="90"/>
                        <a:pt x="310" y="91"/>
                      </a:cubicBezTo>
                      <a:cubicBezTo>
                        <a:pt x="310" y="91"/>
                        <a:pt x="309" y="92"/>
                        <a:pt x="309" y="92"/>
                      </a:cubicBezTo>
                      <a:cubicBezTo>
                        <a:pt x="156" y="181"/>
                        <a:pt x="156" y="181"/>
                        <a:pt x="156" y="181"/>
                      </a:cubicBezTo>
                      <a:cubicBezTo>
                        <a:pt x="155" y="181"/>
                        <a:pt x="155" y="181"/>
                        <a:pt x="155" y="181"/>
                      </a:cubicBezTo>
                      <a:close/>
                      <a:moveTo>
                        <a:pt x="6" y="91"/>
                      </a:moveTo>
                      <a:cubicBezTo>
                        <a:pt x="155" y="177"/>
                        <a:pt x="155" y="177"/>
                        <a:pt x="155" y="177"/>
                      </a:cubicBezTo>
                      <a:cubicBezTo>
                        <a:pt x="304" y="91"/>
                        <a:pt x="304" y="91"/>
                        <a:pt x="304" y="91"/>
                      </a:cubicBezTo>
                      <a:cubicBezTo>
                        <a:pt x="155" y="4"/>
                        <a:pt x="155" y="4"/>
                        <a:pt x="155" y="4"/>
                      </a:cubicBezTo>
                      <a:lnTo>
                        <a:pt x="6" y="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3" name="Freeform 575">
                  <a:extLst>
                    <a:ext uri="{FF2B5EF4-FFF2-40B4-BE49-F238E27FC236}">
                      <a16:creationId xmlns:a16="http://schemas.microsoft.com/office/drawing/2014/main" id="{0BD30011-04BF-48E3-A5D8-9B84DA5F70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85" y="1996"/>
                  <a:ext cx="189" cy="213"/>
                </a:xfrm>
                <a:custGeom>
                  <a:avLst/>
                  <a:gdLst>
                    <a:gd name="T0" fmla="*/ 2 w 80"/>
                    <a:gd name="T1" fmla="*/ 90 h 90"/>
                    <a:gd name="T2" fmla="*/ 1 w 80"/>
                    <a:gd name="T3" fmla="*/ 89 h 90"/>
                    <a:gd name="T4" fmla="*/ 0 w 80"/>
                    <a:gd name="T5" fmla="*/ 88 h 90"/>
                    <a:gd name="T6" fmla="*/ 0 w 80"/>
                    <a:gd name="T7" fmla="*/ 8 h 90"/>
                    <a:gd name="T8" fmla="*/ 1 w 80"/>
                    <a:gd name="T9" fmla="*/ 7 h 90"/>
                    <a:gd name="T10" fmla="*/ 11 w 80"/>
                    <a:gd name="T11" fmla="*/ 1 h 90"/>
                    <a:gd name="T12" fmla="*/ 13 w 80"/>
                    <a:gd name="T13" fmla="*/ 1 h 90"/>
                    <a:gd name="T14" fmla="*/ 79 w 80"/>
                    <a:gd name="T15" fmla="*/ 39 h 90"/>
                    <a:gd name="T16" fmla="*/ 80 w 80"/>
                    <a:gd name="T17" fmla="*/ 41 h 90"/>
                    <a:gd name="T18" fmla="*/ 80 w 80"/>
                    <a:gd name="T19" fmla="*/ 44 h 90"/>
                    <a:gd name="T20" fmla="*/ 79 w 80"/>
                    <a:gd name="T21" fmla="*/ 45 h 90"/>
                    <a:gd name="T22" fmla="*/ 3 w 80"/>
                    <a:gd name="T23" fmla="*/ 89 h 90"/>
                    <a:gd name="T24" fmla="*/ 2 w 80"/>
                    <a:gd name="T25" fmla="*/ 90 h 90"/>
                    <a:gd name="T26" fmla="*/ 4 w 80"/>
                    <a:gd name="T27" fmla="*/ 9 h 90"/>
                    <a:gd name="T28" fmla="*/ 4 w 80"/>
                    <a:gd name="T29" fmla="*/ 84 h 90"/>
                    <a:gd name="T30" fmla="*/ 76 w 80"/>
                    <a:gd name="T31" fmla="*/ 42 h 90"/>
                    <a:gd name="T32" fmla="*/ 76 w 80"/>
                    <a:gd name="T33" fmla="*/ 42 h 90"/>
                    <a:gd name="T34" fmla="*/ 12 w 80"/>
                    <a:gd name="T35" fmla="*/ 5 h 90"/>
                    <a:gd name="T36" fmla="*/ 4 w 80"/>
                    <a:gd name="T37" fmla="*/ 9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0" h="90">
                      <a:moveTo>
                        <a:pt x="2" y="90"/>
                      </a:moveTo>
                      <a:cubicBezTo>
                        <a:pt x="1" y="90"/>
                        <a:pt x="1" y="90"/>
                        <a:pt x="1" y="89"/>
                      </a:cubicBezTo>
                      <a:cubicBezTo>
                        <a:pt x="0" y="89"/>
                        <a:pt x="0" y="88"/>
                        <a:pt x="0" y="8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2" y="0"/>
                        <a:pt x="12" y="0"/>
                        <a:pt x="13" y="1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80" y="39"/>
                        <a:pt x="80" y="40"/>
                        <a:pt x="80" y="41"/>
                      </a:cubicBezTo>
                      <a:cubicBezTo>
                        <a:pt x="80" y="44"/>
                        <a:pt x="80" y="44"/>
                        <a:pt x="80" y="44"/>
                      </a:cubicBezTo>
                      <a:cubicBezTo>
                        <a:pt x="80" y="44"/>
                        <a:pt x="80" y="45"/>
                        <a:pt x="79" y="45"/>
                      </a:cubicBezTo>
                      <a:cubicBezTo>
                        <a:pt x="3" y="89"/>
                        <a:pt x="3" y="89"/>
                        <a:pt x="3" y="89"/>
                      </a:cubicBezTo>
                      <a:cubicBezTo>
                        <a:pt x="2" y="90"/>
                        <a:pt x="2" y="90"/>
                        <a:pt x="2" y="90"/>
                      </a:cubicBezTo>
                      <a:close/>
                      <a:moveTo>
                        <a:pt x="4" y="9"/>
                      </a:moveTo>
                      <a:cubicBezTo>
                        <a:pt x="4" y="84"/>
                        <a:pt x="4" y="84"/>
                        <a:pt x="4" y="84"/>
                      </a:cubicBezTo>
                      <a:cubicBezTo>
                        <a:pt x="76" y="42"/>
                        <a:pt x="76" y="42"/>
                        <a:pt x="76" y="42"/>
                      </a:cubicBezTo>
                      <a:cubicBezTo>
                        <a:pt x="76" y="42"/>
                        <a:pt x="76" y="42"/>
                        <a:pt x="76" y="42"/>
                      </a:cubicBezTo>
                      <a:cubicBezTo>
                        <a:pt x="12" y="5"/>
                        <a:pt x="12" y="5"/>
                        <a:pt x="12" y="5"/>
                      </a:cubicBez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4" name="Freeform 576">
                  <a:extLst>
                    <a:ext uri="{FF2B5EF4-FFF2-40B4-BE49-F238E27FC236}">
                      <a16:creationId xmlns:a16="http://schemas.microsoft.com/office/drawing/2014/main" id="{D29AFBE2-EB29-475F-8E6E-5DEE25287C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01" y="2159"/>
                  <a:ext cx="210" cy="125"/>
                </a:xfrm>
                <a:custGeom>
                  <a:avLst/>
                  <a:gdLst>
                    <a:gd name="T0" fmla="*/ 13 w 89"/>
                    <a:gd name="T1" fmla="*/ 53 h 53"/>
                    <a:gd name="T2" fmla="*/ 12 w 89"/>
                    <a:gd name="T3" fmla="*/ 53 h 53"/>
                    <a:gd name="T4" fmla="*/ 1 w 89"/>
                    <a:gd name="T5" fmla="*/ 47 h 53"/>
                    <a:gd name="T6" fmla="*/ 0 w 89"/>
                    <a:gd name="T7" fmla="*/ 45 h 53"/>
                    <a:gd name="T8" fmla="*/ 1 w 89"/>
                    <a:gd name="T9" fmla="*/ 43 h 53"/>
                    <a:gd name="T10" fmla="*/ 74 w 89"/>
                    <a:gd name="T11" fmla="*/ 1 h 53"/>
                    <a:gd name="T12" fmla="*/ 76 w 89"/>
                    <a:gd name="T13" fmla="*/ 1 h 53"/>
                    <a:gd name="T14" fmla="*/ 88 w 89"/>
                    <a:gd name="T15" fmla="*/ 7 h 53"/>
                    <a:gd name="T16" fmla="*/ 89 w 89"/>
                    <a:gd name="T17" fmla="*/ 9 h 53"/>
                    <a:gd name="T18" fmla="*/ 88 w 89"/>
                    <a:gd name="T19" fmla="*/ 11 h 53"/>
                    <a:gd name="T20" fmla="*/ 14 w 89"/>
                    <a:gd name="T21" fmla="*/ 53 h 53"/>
                    <a:gd name="T22" fmla="*/ 13 w 89"/>
                    <a:gd name="T23" fmla="*/ 53 h 53"/>
                    <a:gd name="T24" fmla="*/ 6 w 89"/>
                    <a:gd name="T25" fmla="*/ 45 h 53"/>
                    <a:gd name="T26" fmla="*/ 13 w 89"/>
                    <a:gd name="T27" fmla="*/ 49 h 53"/>
                    <a:gd name="T28" fmla="*/ 83 w 89"/>
                    <a:gd name="T29" fmla="*/ 9 h 53"/>
                    <a:gd name="T30" fmla="*/ 75 w 89"/>
                    <a:gd name="T31" fmla="*/ 5 h 53"/>
                    <a:gd name="T32" fmla="*/ 6 w 89"/>
                    <a:gd name="T33" fmla="*/ 4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9" h="53">
                      <a:moveTo>
                        <a:pt x="13" y="53"/>
                      </a:moveTo>
                      <a:cubicBezTo>
                        <a:pt x="13" y="53"/>
                        <a:pt x="12" y="53"/>
                        <a:pt x="12" y="53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0" y="46"/>
                        <a:pt x="0" y="46"/>
                        <a:pt x="0" y="45"/>
                      </a:cubicBezTo>
                      <a:cubicBezTo>
                        <a:pt x="0" y="44"/>
                        <a:pt x="0" y="44"/>
                        <a:pt x="1" y="43"/>
                      </a:cubicBez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5" y="0"/>
                        <a:pt x="76" y="0"/>
                        <a:pt x="76" y="1"/>
                      </a:cubicBezTo>
                      <a:cubicBezTo>
                        <a:pt x="88" y="7"/>
                        <a:pt x="88" y="7"/>
                        <a:pt x="88" y="7"/>
                      </a:cubicBezTo>
                      <a:cubicBezTo>
                        <a:pt x="88" y="7"/>
                        <a:pt x="89" y="8"/>
                        <a:pt x="89" y="9"/>
                      </a:cubicBezTo>
                      <a:cubicBezTo>
                        <a:pt x="89" y="10"/>
                        <a:pt x="88" y="10"/>
                        <a:pt x="88" y="11"/>
                      </a:cubicBez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3" y="53"/>
                        <a:pt x="13" y="53"/>
                      </a:cubicBezTo>
                      <a:close/>
                      <a:moveTo>
                        <a:pt x="6" y="45"/>
                      </a:moveTo>
                      <a:cubicBezTo>
                        <a:pt x="13" y="49"/>
                        <a:pt x="13" y="49"/>
                        <a:pt x="13" y="49"/>
                      </a:cubicBezTo>
                      <a:cubicBezTo>
                        <a:pt x="83" y="9"/>
                        <a:pt x="83" y="9"/>
                        <a:pt x="83" y="9"/>
                      </a:cubicBezTo>
                      <a:cubicBezTo>
                        <a:pt x="75" y="5"/>
                        <a:pt x="75" y="5"/>
                        <a:pt x="75" y="5"/>
                      </a:cubicBezTo>
                      <a:lnTo>
                        <a:pt x="6" y="4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5" name="Freeform 577">
                  <a:extLst>
                    <a:ext uri="{FF2B5EF4-FFF2-40B4-BE49-F238E27FC236}">
                      <a16:creationId xmlns:a16="http://schemas.microsoft.com/office/drawing/2014/main" id="{B08FE34E-93F7-459B-8FB2-C031DDCE5C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20" y="1751"/>
                  <a:ext cx="154" cy="163"/>
                </a:xfrm>
                <a:custGeom>
                  <a:avLst/>
                  <a:gdLst>
                    <a:gd name="T0" fmla="*/ 61 w 65"/>
                    <a:gd name="T1" fmla="*/ 69 h 69"/>
                    <a:gd name="T2" fmla="*/ 60 w 65"/>
                    <a:gd name="T3" fmla="*/ 69 h 69"/>
                    <a:gd name="T4" fmla="*/ 1 w 65"/>
                    <a:gd name="T5" fmla="*/ 35 h 69"/>
                    <a:gd name="T6" fmla="*/ 0 w 65"/>
                    <a:gd name="T7" fmla="*/ 33 h 69"/>
                    <a:gd name="T8" fmla="*/ 1 w 65"/>
                    <a:gd name="T9" fmla="*/ 31 h 69"/>
                    <a:gd name="T10" fmla="*/ 54 w 65"/>
                    <a:gd name="T11" fmla="*/ 1 h 69"/>
                    <a:gd name="T12" fmla="*/ 56 w 65"/>
                    <a:gd name="T13" fmla="*/ 1 h 69"/>
                    <a:gd name="T14" fmla="*/ 64 w 65"/>
                    <a:gd name="T15" fmla="*/ 6 h 69"/>
                    <a:gd name="T16" fmla="*/ 65 w 65"/>
                    <a:gd name="T17" fmla="*/ 7 h 69"/>
                    <a:gd name="T18" fmla="*/ 65 w 65"/>
                    <a:gd name="T19" fmla="*/ 66 h 69"/>
                    <a:gd name="T20" fmla="*/ 64 w 65"/>
                    <a:gd name="T21" fmla="*/ 68 h 69"/>
                    <a:gd name="T22" fmla="*/ 62 w 65"/>
                    <a:gd name="T23" fmla="*/ 69 h 69"/>
                    <a:gd name="T24" fmla="*/ 61 w 65"/>
                    <a:gd name="T25" fmla="*/ 69 h 69"/>
                    <a:gd name="T26" fmla="*/ 63 w 65"/>
                    <a:gd name="T27" fmla="*/ 66 h 69"/>
                    <a:gd name="T28" fmla="*/ 63 w 65"/>
                    <a:gd name="T29" fmla="*/ 66 h 69"/>
                    <a:gd name="T30" fmla="*/ 6 w 65"/>
                    <a:gd name="T31" fmla="*/ 33 h 69"/>
                    <a:gd name="T32" fmla="*/ 61 w 65"/>
                    <a:gd name="T33" fmla="*/ 65 h 69"/>
                    <a:gd name="T34" fmla="*/ 61 w 65"/>
                    <a:gd name="T35" fmla="*/ 9 h 69"/>
                    <a:gd name="T36" fmla="*/ 55 w 65"/>
                    <a:gd name="T37" fmla="*/ 5 h 69"/>
                    <a:gd name="T38" fmla="*/ 6 w 65"/>
                    <a:gd name="T39" fmla="*/ 33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5" h="69">
                      <a:moveTo>
                        <a:pt x="61" y="69"/>
                      </a:moveTo>
                      <a:cubicBezTo>
                        <a:pt x="61" y="69"/>
                        <a:pt x="61" y="69"/>
                        <a:pt x="60" y="69"/>
                      </a:cubicBezTo>
                      <a:cubicBezTo>
                        <a:pt x="1" y="35"/>
                        <a:pt x="1" y="35"/>
                        <a:pt x="1" y="35"/>
                      </a:cubicBezTo>
                      <a:cubicBezTo>
                        <a:pt x="0" y="34"/>
                        <a:pt x="0" y="34"/>
                        <a:pt x="0" y="33"/>
                      </a:cubicBezTo>
                      <a:cubicBezTo>
                        <a:pt x="0" y="32"/>
                        <a:pt x="0" y="32"/>
                        <a:pt x="1" y="31"/>
                      </a:cubicBezTo>
                      <a:cubicBezTo>
                        <a:pt x="54" y="1"/>
                        <a:pt x="54" y="1"/>
                        <a:pt x="54" y="1"/>
                      </a:cubicBezTo>
                      <a:cubicBezTo>
                        <a:pt x="54" y="0"/>
                        <a:pt x="55" y="0"/>
                        <a:pt x="56" y="1"/>
                      </a:cubicBezTo>
                      <a:cubicBezTo>
                        <a:pt x="64" y="6"/>
                        <a:pt x="64" y="6"/>
                        <a:pt x="64" y="6"/>
                      </a:cubicBezTo>
                      <a:cubicBezTo>
                        <a:pt x="65" y="6"/>
                        <a:pt x="65" y="7"/>
                        <a:pt x="65" y="7"/>
                      </a:cubicBezTo>
                      <a:cubicBezTo>
                        <a:pt x="65" y="66"/>
                        <a:pt x="65" y="66"/>
                        <a:pt x="65" y="66"/>
                      </a:cubicBezTo>
                      <a:cubicBezTo>
                        <a:pt x="65" y="67"/>
                        <a:pt x="65" y="68"/>
                        <a:pt x="64" y="68"/>
                      </a:cubicBezTo>
                      <a:cubicBezTo>
                        <a:pt x="62" y="69"/>
                        <a:pt x="62" y="69"/>
                        <a:pt x="62" y="69"/>
                      </a:cubicBezTo>
                      <a:cubicBezTo>
                        <a:pt x="62" y="69"/>
                        <a:pt x="62" y="69"/>
                        <a:pt x="61" y="69"/>
                      </a:cubicBezTo>
                      <a:close/>
                      <a:moveTo>
                        <a:pt x="63" y="66"/>
                      </a:moveTo>
                      <a:cubicBezTo>
                        <a:pt x="63" y="66"/>
                        <a:pt x="63" y="66"/>
                        <a:pt x="63" y="66"/>
                      </a:cubicBezTo>
                      <a:close/>
                      <a:moveTo>
                        <a:pt x="6" y="33"/>
                      </a:moveTo>
                      <a:cubicBezTo>
                        <a:pt x="61" y="65"/>
                        <a:pt x="61" y="65"/>
                        <a:pt x="61" y="65"/>
                      </a:cubicBezTo>
                      <a:cubicBezTo>
                        <a:pt x="61" y="9"/>
                        <a:pt x="61" y="9"/>
                        <a:pt x="61" y="9"/>
                      </a:cubicBezTo>
                      <a:cubicBezTo>
                        <a:pt x="55" y="5"/>
                        <a:pt x="55" y="5"/>
                        <a:pt x="55" y="5"/>
                      </a:cubicBezTo>
                      <a:lnTo>
                        <a:pt x="6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6" name="Freeform 578">
                  <a:extLst>
                    <a:ext uri="{FF2B5EF4-FFF2-40B4-BE49-F238E27FC236}">
                      <a16:creationId xmlns:a16="http://schemas.microsoft.com/office/drawing/2014/main" id="{391329C6-AD45-4DBC-BE22-33571824FF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6" y="1923"/>
                  <a:ext cx="22" cy="24"/>
                </a:xfrm>
                <a:custGeom>
                  <a:avLst/>
                  <a:gdLst>
                    <a:gd name="T0" fmla="*/ 2 w 9"/>
                    <a:gd name="T1" fmla="*/ 10 h 10"/>
                    <a:gd name="T2" fmla="*/ 1 w 9"/>
                    <a:gd name="T3" fmla="*/ 10 h 10"/>
                    <a:gd name="T4" fmla="*/ 0 w 9"/>
                    <a:gd name="T5" fmla="*/ 8 h 10"/>
                    <a:gd name="T6" fmla="*/ 0 w 9"/>
                    <a:gd name="T7" fmla="*/ 3 h 10"/>
                    <a:gd name="T8" fmla="*/ 1 w 9"/>
                    <a:gd name="T9" fmla="*/ 1 h 10"/>
                    <a:gd name="T10" fmla="*/ 3 w 9"/>
                    <a:gd name="T11" fmla="*/ 1 h 10"/>
                    <a:gd name="T12" fmla="*/ 8 w 9"/>
                    <a:gd name="T13" fmla="*/ 3 h 10"/>
                    <a:gd name="T14" fmla="*/ 9 w 9"/>
                    <a:gd name="T15" fmla="*/ 5 h 10"/>
                    <a:gd name="T16" fmla="*/ 8 w 9"/>
                    <a:gd name="T17" fmla="*/ 7 h 10"/>
                    <a:gd name="T18" fmla="*/ 3 w 9"/>
                    <a:gd name="T19" fmla="*/ 10 h 10"/>
                    <a:gd name="T20" fmla="*/ 2 w 9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2" y="10"/>
                        <a:pt x="1" y="10"/>
                        <a:pt x="1" y="10"/>
                      </a:cubicBezTo>
                      <a:cubicBezTo>
                        <a:pt x="0" y="9"/>
                        <a:pt x="0" y="9"/>
                        <a:pt x="0" y="8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4"/>
                        <a:pt x="9" y="4"/>
                        <a:pt x="9" y="5"/>
                      </a:cubicBezTo>
                      <a:cubicBezTo>
                        <a:pt x="9" y="6"/>
                        <a:pt x="8" y="7"/>
                        <a:pt x="8" y="7"/>
                      </a:cubicBez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3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7" name="Freeform 579">
                  <a:extLst>
                    <a:ext uri="{FF2B5EF4-FFF2-40B4-BE49-F238E27FC236}">
                      <a16:creationId xmlns:a16="http://schemas.microsoft.com/office/drawing/2014/main" id="{E25D8683-D81C-472B-BC27-F6FC0106C3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78" y="2157"/>
                  <a:ext cx="38" cy="26"/>
                </a:xfrm>
                <a:custGeom>
                  <a:avLst/>
                  <a:gdLst>
                    <a:gd name="T0" fmla="*/ 13 w 16"/>
                    <a:gd name="T1" fmla="*/ 11 h 11"/>
                    <a:gd name="T2" fmla="*/ 12 w 16"/>
                    <a:gd name="T3" fmla="*/ 11 h 11"/>
                    <a:gd name="T4" fmla="*/ 1 w 16"/>
                    <a:gd name="T5" fmla="*/ 4 h 11"/>
                    <a:gd name="T6" fmla="*/ 0 w 16"/>
                    <a:gd name="T7" fmla="*/ 2 h 11"/>
                    <a:gd name="T8" fmla="*/ 1 w 16"/>
                    <a:gd name="T9" fmla="*/ 1 h 11"/>
                    <a:gd name="T10" fmla="*/ 3 w 16"/>
                    <a:gd name="T11" fmla="*/ 0 h 11"/>
                    <a:gd name="T12" fmla="*/ 15 w 16"/>
                    <a:gd name="T13" fmla="*/ 7 h 11"/>
                    <a:gd name="T14" fmla="*/ 16 w 16"/>
                    <a:gd name="T15" fmla="*/ 9 h 11"/>
                    <a:gd name="T16" fmla="*/ 15 w 16"/>
                    <a:gd name="T17" fmla="*/ 10 h 11"/>
                    <a:gd name="T18" fmla="*/ 14 w 16"/>
                    <a:gd name="T19" fmla="*/ 11 h 11"/>
                    <a:gd name="T20" fmla="*/ 13 w 16"/>
                    <a:gd name="T2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11">
                      <a:moveTo>
                        <a:pt x="13" y="11"/>
                      </a:moveTo>
                      <a:cubicBezTo>
                        <a:pt x="13" y="11"/>
                        <a:pt x="13" y="11"/>
                        <a:pt x="12" y="11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5" y="7"/>
                        <a:pt x="16" y="8"/>
                        <a:pt x="16" y="9"/>
                      </a:cubicBezTo>
                      <a:cubicBezTo>
                        <a:pt x="16" y="9"/>
                        <a:pt x="15" y="10"/>
                        <a:pt x="15" y="10"/>
                      </a:cubicBezTo>
                      <a:cubicBezTo>
                        <a:pt x="14" y="11"/>
                        <a:pt x="14" y="11"/>
                        <a:pt x="14" y="11"/>
                      </a:cubicBezTo>
                      <a:cubicBezTo>
                        <a:pt x="14" y="11"/>
                        <a:pt x="14" y="11"/>
                        <a:pt x="13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8" name="Freeform 580">
                  <a:extLst>
                    <a:ext uri="{FF2B5EF4-FFF2-40B4-BE49-F238E27FC236}">
                      <a16:creationId xmlns:a16="http://schemas.microsoft.com/office/drawing/2014/main" id="{1423C870-92A6-40E6-984F-CD8A39F534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31" y="2178"/>
                  <a:ext cx="336" cy="196"/>
                </a:xfrm>
                <a:custGeom>
                  <a:avLst/>
                  <a:gdLst>
                    <a:gd name="T0" fmla="*/ 64 w 142"/>
                    <a:gd name="T1" fmla="*/ 83 h 83"/>
                    <a:gd name="T2" fmla="*/ 63 w 142"/>
                    <a:gd name="T3" fmla="*/ 82 h 83"/>
                    <a:gd name="T4" fmla="*/ 1 w 142"/>
                    <a:gd name="T5" fmla="*/ 46 h 83"/>
                    <a:gd name="T6" fmla="*/ 0 w 142"/>
                    <a:gd name="T7" fmla="*/ 44 h 83"/>
                    <a:gd name="T8" fmla="*/ 1 w 142"/>
                    <a:gd name="T9" fmla="*/ 43 h 83"/>
                    <a:gd name="T10" fmla="*/ 74 w 142"/>
                    <a:gd name="T11" fmla="*/ 0 h 83"/>
                    <a:gd name="T12" fmla="*/ 76 w 142"/>
                    <a:gd name="T13" fmla="*/ 0 h 83"/>
                    <a:gd name="T14" fmla="*/ 82 w 142"/>
                    <a:gd name="T15" fmla="*/ 3 h 83"/>
                    <a:gd name="T16" fmla="*/ 82 w 142"/>
                    <a:gd name="T17" fmla="*/ 3 h 83"/>
                    <a:gd name="T18" fmla="*/ 84 w 142"/>
                    <a:gd name="T19" fmla="*/ 3 h 83"/>
                    <a:gd name="T20" fmla="*/ 141 w 142"/>
                    <a:gd name="T21" fmla="*/ 35 h 83"/>
                    <a:gd name="T22" fmla="*/ 142 w 142"/>
                    <a:gd name="T23" fmla="*/ 37 h 83"/>
                    <a:gd name="T24" fmla="*/ 141 w 142"/>
                    <a:gd name="T25" fmla="*/ 39 h 83"/>
                    <a:gd name="T26" fmla="*/ 65 w 142"/>
                    <a:gd name="T27" fmla="*/ 82 h 83"/>
                    <a:gd name="T28" fmla="*/ 64 w 142"/>
                    <a:gd name="T29" fmla="*/ 83 h 83"/>
                    <a:gd name="T30" fmla="*/ 6 w 142"/>
                    <a:gd name="T31" fmla="*/ 44 h 83"/>
                    <a:gd name="T32" fmla="*/ 64 w 142"/>
                    <a:gd name="T33" fmla="*/ 78 h 83"/>
                    <a:gd name="T34" fmla="*/ 136 w 142"/>
                    <a:gd name="T35" fmla="*/ 37 h 83"/>
                    <a:gd name="T36" fmla="*/ 85 w 142"/>
                    <a:gd name="T37" fmla="*/ 8 h 83"/>
                    <a:gd name="T38" fmla="*/ 84 w 142"/>
                    <a:gd name="T39" fmla="*/ 8 h 83"/>
                    <a:gd name="T40" fmla="*/ 82 w 142"/>
                    <a:gd name="T41" fmla="*/ 8 h 83"/>
                    <a:gd name="T42" fmla="*/ 75 w 142"/>
                    <a:gd name="T43" fmla="*/ 4 h 83"/>
                    <a:gd name="T44" fmla="*/ 6 w 142"/>
                    <a:gd name="T45" fmla="*/ 44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2" h="83">
                      <a:moveTo>
                        <a:pt x="64" y="83"/>
                      </a:moveTo>
                      <a:cubicBezTo>
                        <a:pt x="64" y="83"/>
                        <a:pt x="64" y="83"/>
                        <a:pt x="63" y="82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6"/>
                        <a:pt x="0" y="45"/>
                        <a:pt x="0" y="44"/>
                      </a:cubicBezTo>
                      <a:cubicBezTo>
                        <a:pt x="0" y="44"/>
                        <a:pt x="0" y="43"/>
                        <a:pt x="1" y="43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5" y="0"/>
                        <a:pt x="76" y="0"/>
                        <a:pt x="76" y="0"/>
                      </a:cubicBezTo>
                      <a:cubicBezTo>
                        <a:pt x="82" y="3"/>
                        <a:pt x="82" y="3"/>
                        <a:pt x="82" y="3"/>
                      </a:cubicBezTo>
                      <a:cubicBezTo>
                        <a:pt x="82" y="3"/>
                        <a:pt x="82" y="3"/>
                        <a:pt x="82" y="3"/>
                      </a:cubicBezTo>
                      <a:cubicBezTo>
                        <a:pt x="83" y="2"/>
                        <a:pt x="84" y="2"/>
                        <a:pt x="84" y="3"/>
                      </a:cubicBezTo>
                      <a:cubicBezTo>
                        <a:pt x="141" y="35"/>
                        <a:pt x="141" y="35"/>
                        <a:pt x="141" y="35"/>
                      </a:cubicBezTo>
                      <a:cubicBezTo>
                        <a:pt x="142" y="36"/>
                        <a:pt x="142" y="36"/>
                        <a:pt x="142" y="37"/>
                      </a:cubicBezTo>
                      <a:cubicBezTo>
                        <a:pt x="142" y="38"/>
                        <a:pt x="142" y="38"/>
                        <a:pt x="141" y="39"/>
                      </a:cubicBezTo>
                      <a:cubicBezTo>
                        <a:pt x="65" y="82"/>
                        <a:pt x="65" y="82"/>
                        <a:pt x="65" y="82"/>
                      </a:cubicBezTo>
                      <a:cubicBezTo>
                        <a:pt x="65" y="83"/>
                        <a:pt x="65" y="83"/>
                        <a:pt x="64" y="83"/>
                      </a:cubicBezTo>
                      <a:close/>
                      <a:moveTo>
                        <a:pt x="6" y="44"/>
                      </a:moveTo>
                      <a:cubicBezTo>
                        <a:pt x="64" y="78"/>
                        <a:pt x="64" y="78"/>
                        <a:pt x="64" y="78"/>
                      </a:cubicBezTo>
                      <a:cubicBezTo>
                        <a:pt x="136" y="37"/>
                        <a:pt x="136" y="37"/>
                        <a:pt x="136" y="37"/>
                      </a:cubicBezTo>
                      <a:cubicBezTo>
                        <a:pt x="85" y="8"/>
                        <a:pt x="85" y="8"/>
                        <a:pt x="85" y="8"/>
                      </a:cubicBezTo>
                      <a:cubicBezTo>
                        <a:pt x="85" y="8"/>
                        <a:pt x="85" y="8"/>
                        <a:pt x="84" y="8"/>
                      </a:cubicBezTo>
                      <a:cubicBezTo>
                        <a:pt x="84" y="8"/>
                        <a:pt x="83" y="8"/>
                        <a:pt x="82" y="8"/>
                      </a:cubicBezTo>
                      <a:cubicBezTo>
                        <a:pt x="75" y="4"/>
                        <a:pt x="75" y="4"/>
                        <a:pt x="75" y="4"/>
                      </a:cubicBezTo>
                      <a:lnTo>
                        <a:pt x="6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9" name="Freeform 581">
                  <a:extLst>
                    <a:ext uri="{FF2B5EF4-FFF2-40B4-BE49-F238E27FC236}">
                      <a16:creationId xmlns:a16="http://schemas.microsoft.com/office/drawing/2014/main" id="{1B84DB24-66C4-4D96-91AE-C4902EF4A6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181"/>
                  <a:ext cx="57" cy="81"/>
                </a:xfrm>
                <a:custGeom>
                  <a:avLst/>
                  <a:gdLst>
                    <a:gd name="T0" fmla="*/ 22 w 24"/>
                    <a:gd name="T1" fmla="*/ 34 h 34"/>
                    <a:gd name="T2" fmla="*/ 21 w 24"/>
                    <a:gd name="T3" fmla="*/ 34 h 34"/>
                    <a:gd name="T4" fmla="*/ 1 w 24"/>
                    <a:gd name="T5" fmla="*/ 23 h 34"/>
                    <a:gd name="T6" fmla="*/ 0 w 24"/>
                    <a:gd name="T7" fmla="*/ 21 h 34"/>
                    <a:gd name="T8" fmla="*/ 0 w 24"/>
                    <a:gd name="T9" fmla="*/ 2 h 34"/>
                    <a:gd name="T10" fmla="*/ 1 w 24"/>
                    <a:gd name="T11" fmla="*/ 0 h 34"/>
                    <a:gd name="T12" fmla="*/ 3 w 24"/>
                    <a:gd name="T13" fmla="*/ 0 h 34"/>
                    <a:gd name="T14" fmla="*/ 23 w 24"/>
                    <a:gd name="T15" fmla="*/ 11 h 34"/>
                    <a:gd name="T16" fmla="*/ 24 w 24"/>
                    <a:gd name="T17" fmla="*/ 13 h 34"/>
                    <a:gd name="T18" fmla="*/ 24 w 24"/>
                    <a:gd name="T19" fmla="*/ 32 h 34"/>
                    <a:gd name="T20" fmla="*/ 23 w 24"/>
                    <a:gd name="T21" fmla="*/ 34 h 34"/>
                    <a:gd name="T22" fmla="*/ 22 w 24"/>
                    <a:gd name="T23" fmla="*/ 34 h 34"/>
                    <a:gd name="T24" fmla="*/ 4 w 24"/>
                    <a:gd name="T25" fmla="*/ 20 h 34"/>
                    <a:gd name="T26" fmla="*/ 20 w 24"/>
                    <a:gd name="T27" fmla="*/ 29 h 34"/>
                    <a:gd name="T28" fmla="*/ 20 w 24"/>
                    <a:gd name="T29" fmla="*/ 14 h 34"/>
                    <a:gd name="T30" fmla="*/ 4 w 24"/>
                    <a:gd name="T31" fmla="*/ 5 h 34"/>
                    <a:gd name="T32" fmla="*/ 4 w 24"/>
                    <a:gd name="T33" fmla="*/ 2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34">
                      <a:moveTo>
                        <a:pt x="22" y="34"/>
                      </a:moveTo>
                      <a:cubicBezTo>
                        <a:pt x="21" y="34"/>
                        <a:pt x="21" y="34"/>
                        <a:pt x="21" y="34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2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2"/>
                        <a:pt x="24" y="12"/>
                        <a:pt x="24" y="13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33"/>
                        <a:pt x="23" y="34"/>
                        <a:pt x="23" y="34"/>
                      </a:cubicBezTo>
                      <a:cubicBezTo>
                        <a:pt x="22" y="34"/>
                        <a:pt x="22" y="34"/>
                        <a:pt x="22" y="34"/>
                      </a:cubicBezTo>
                      <a:close/>
                      <a:moveTo>
                        <a:pt x="4" y="20"/>
                      </a:move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0" name="Freeform 582">
                  <a:extLst>
                    <a:ext uri="{FF2B5EF4-FFF2-40B4-BE49-F238E27FC236}">
                      <a16:creationId xmlns:a16="http://schemas.microsoft.com/office/drawing/2014/main" id="{118BB9C4-57B6-4ED8-93B6-F1124CA62A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09" y="2176"/>
                  <a:ext cx="21" cy="16"/>
                </a:xfrm>
                <a:custGeom>
                  <a:avLst/>
                  <a:gdLst>
                    <a:gd name="T0" fmla="*/ 7 w 9"/>
                    <a:gd name="T1" fmla="*/ 7 h 7"/>
                    <a:gd name="T2" fmla="*/ 6 w 9"/>
                    <a:gd name="T3" fmla="*/ 6 h 7"/>
                    <a:gd name="T4" fmla="*/ 1 w 9"/>
                    <a:gd name="T5" fmla="*/ 4 h 7"/>
                    <a:gd name="T6" fmla="*/ 0 w 9"/>
                    <a:gd name="T7" fmla="*/ 2 h 7"/>
                    <a:gd name="T8" fmla="*/ 1 w 9"/>
                    <a:gd name="T9" fmla="*/ 0 h 7"/>
                    <a:gd name="T10" fmla="*/ 3 w 9"/>
                    <a:gd name="T11" fmla="*/ 0 h 7"/>
                    <a:gd name="T12" fmla="*/ 8 w 9"/>
                    <a:gd name="T13" fmla="*/ 3 h 7"/>
                    <a:gd name="T14" fmla="*/ 9 w 9"/>
                    <a:gd name="T15" fmla="*/ 4 h 7"/>
                    <a:gd name="T16" fmla="*/ 9 w 9"/>
                    <a:gd name="T17" fmla="*/ 5 h 7"/>
                    <a:gd name="T18" fmla="*/ 8 w 9"/>
                    <a:gd name="T19" fmla="*/ 6 h 7"/>
                    <a:gd name="T20" fmla="*/ 7 w 9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7">
                      <a:moveTo>
                        <a:pt x="7" y="7"/>
                      </a:moveTo>
                      <a:cubicBezTo>
                        <a:pt x="6" y="7"/>
                        <a:pt x="6" y="6"/>
                        <a:pt x="6" y="6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3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3"/>
                        <a:pt x="9" y="4"/>
                        <a:pt x="9" y="4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5"/>
                        <a:pt x="8" y="6"/>
                        <a:pt x="8" y="6"/>
                      </a:cubicBezTo>
                      <a:cubicBezTo>
                        <a:pt x="8" y="6"/>
                        <a:pt x="7" y="7"/>
                        <a:pt x="7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1" name="Freeform 583">
                  <a:extLst>
                    <a:ext uri="{FF2B5EF4-FFF2-40B4-BE49-F238E27FC236}">
                      <a16:creationId xmlns:a16="http://schemas.microsoft.com/office/drawing/2014/main" id="{5032500F-B695-45E6-9367-F777A88F89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61" y="1009"/>
                  <a:ext cx="151" cy="175"/>
                </a:xfrm>
                <a:custGeom>
                  <a:avLst/>
                  <a:gdLst>
                    <a:gd name="T0" fmla="*/ 62 w 64"/>
                    <a:gd name="T1" fmla="*/ 74 h 74"/>
                    <a:gd name="T2" fmla="*/ 61 w 64"/>
                    <a:gd name="T3" fmla="*/ 74 h 74"/>
                    <a:gd name="T4" fmla="*/ 1 w 64"/>
                    <a:gd name="T5" fmla="*/ 39 h 74"/>
                    <a:gd name="T6" fmla="*/ 0 w 64"/>
                    <a:gd name="T7" fmla="*/ 37 h 74"/>
                    <a:gd name="T8" fmla="*/ 1 w 64"/>
                    <a:gd name="T9" fmla="*/ 35 h 74"/>
                    <a:gd name="T10" fmla="*/ 61 w 64"/>
                    <a:gd name="T11" fmla="*/ 0 h 74"/>
                    <a:gd name="T12" fmla="*/ 63 w 64"/>
                    <a:gd name="T13" fmla="*/ 0 h 74"/>
                    <a:gd name="T14" fmla="*/ 64 w 64"/>
                    <a:gd name="T15" fmla="*/ 2 h 74"/>
                    <a:gd name="T16" fmla="*/ 64 w 64"/>
                    <a:gd name="T17" fmla="*/ 72 h 74"/>
                    <a:gd name="T18" fmla="*/ 63 w 64"/>
                    <a:gd name="T19" fmla="*/ 74 h 74"/>
                    <a:gd name="T20" fmla="*/ 62 w 64"/>
                    <a:gd name="T21" fmla="*/ 74 h 74"/>
                    <a:gd name="T22" fmla="*/ 6 w 64"/>
                    <a:gd name="T23" fmla="*/ 37 h 74"/>
                    <a:gd name="T24" fmla="*/ 60 w 64"/>
                    <a:gd name="T25" fmla="*/ 68 h 74"/>
                    <a:gd name="T26" fmla="*/ 60 w 64"/>
                    <a:gd name="T27" fmla="*/ 5 h 74"/>
                    <a:gd name="T28" fmla="*/ 6 w 64"/>
                    <a:gd name="T29" fmla="*/ 37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4" h="74">
                      <a:moveTo>
                        <a:pt x="62" y="74"/>
                      </a:moveTo>
                      <a:cubicBezTo>
                        <a:pt x="62" y="74"/>
                        <a:pt x="62" y="74"/>
                        <a:pt x="61" y="74"/>
                      </a:cubicBezTo>
                      <a:cubicBezTo>
                        <a:pt x="1" y="39"/>
                        <a:pt x="1" y="39"/>
                        <a:pt x="1" y="39"/>
                      </a:cubicBezTo>
                      <a:cubicBezTo>
                        <a:pt x="0" y="38"/>
                        <a:pt x="0" y="38"/>
                        <a:pt x="0" y="37"/>
                      </a:cubicBezTo>
                      <a:cubicBezTo>
                        <a:pt x="0" y="36"/>
                        <a:pt x="0" y="36"/>
                        <a:pt x="1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2" y="0"/>
                        <a:pt x="63" y="0"/>
                        <a:pt x="63" y="0"/>
                      </a:cubicBezTo>
                      <a:cubicBezTo>
                        <a:pt x="64" y="1"/>
                        <a:pt x="64" y="1"/>
                        <a:pt x="64" y="2"/>
                      </a:cubicBezTo>
                      <a:cubicBezTo>
                        <a:pt x="64" y="72"/>
                        <a:pt x="64" y="72"/>
                        <a:pt x="64" y="72"/>
                      </a:cubicBezTo>
                      <a:cubicBezTo>
                        <a:pt x="64" y="73"/>
                        <a:pt x="64" y="73"/>
                        <a:pt x="63" y="74"/>
                      </a:cubicBezTo>
                      <a:cubicBezTo>
                        <a:pt x="63" y="74"/>
                        <a:pt x="63" y="74"/>
                        <a:pt x="62" y="74"/>
                      </a:cubicBezTo>
                      <a:close/>
                      <a:moveTo>
                        <a:pt x="6" y="37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60" y="5"/>
                        <a:pt x="60" y="5"/>
                        <a:pt x="60" y="5"/>
                      </a:cubicBezTo>
                      <a:lnTo>
                        <a:pt x="6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2" name="Freeform 584">
                  <a:extLst>
                    <a:ext uri="{FF2B5EF4-FFF2-40B4-BE49-F238E27FC236}">
                      <a16:creationId xmlns:a16="http://schemas.microsoft.com/office/drawing/2014/main" id="{7015042E-AC10-4A61-9022-545168A5320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980"/>
                  <a:ext cx="57" cy="232"/>
                </a:xfrm>
                <a:custGeom>
                  <a:avLst/>
                  <a:gdLst>
                    <a:gd name="T0" fmla="*/ 22 w 24"/>
                    <a:gd name="T1" fmla="*/ 98 h 98"/>
                    <a:gd name="T2" fmla="*/ 21 w 24"/>
                    <a:gd name="T3" fmla="*/ 98 h 98"/>
                    <a:gd name="T4" fmla="*/ 1 w 24"/>
                    <a:gd name="T5" fmla="*/ 87 h 98"/>
                    <a:gd name="T6" fmla="*/ 0 w 24"/>
                    <a:gd name="T7" fmla="*/ 85 h 98"/>
                    <a:gd name="T8" fmla="*/ 0 w 24"/>
                    <a:gd name="T9" fmla="*/ 13 h 98"/>
                    <a:gd name="T10" fmla="*/ 1 w 24"/>
                    <a:gd name="T11" fmla="*/ 11 h 98"/>
                    <a:gd name="T12" fmla="*/ 21 w 24"/>
                    <a:gd name="T13" fmla="*/ 0 h 98"/>
                    <a:gd name="T14" fmla="*/ 23 w 24"/>
                    <a:gd name="T15" fmla="*/ 0 h 98"/>
                    <a:gd name="T16" fmla="*/ 24 w 24"/>
                    <a:gd name="T17" fmla="*/ 2 h 98"/>
                    <a:gd name="T18" fmla="*/ 24 w 24"/>
                    <a:gd name="T19" fmla="*/ 96 h 98"/>
                    <a:gd name="T20" fmla="*/ 23 w 24"/>
                    <a:gd name="T21" fmla="*/ 98 h 98"/>
                    <a:gd name="T22" fmla="*/ 22 w 24"/>
                    <a:gd name="T23" fmla="*/ 98 h 98"/>
                    <a:gd name="T24" fmla="*/ 4 w 24"/>
                    <a:gd name="T25" fmla="*/ 84 h 98"/>
                    <a:gd name="T26" fmla="*/ 20 w 24"/>
                    <a:gd name="T27" fmla="*/ 93 h 98"/>
                    <a:gd name="T28" fmla="*/ 20 w 24"/>
                    <a:gd name="T29" fmla="*/ 5 h 98"/>
                    <a:gd name="T30" fmla="*/ 4 w 24"/>
                    <a:gd name="T31" fmla="*/ 14 h 98"/>
                    <a:gd name="T32" fmla="*/ 4 w 24"/>
                    <a:gd name="T33" fmla="*/ 8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98">
                      <a:moveTo>
                        <a:pt x="22" y="98"/>
                      </a:move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1" y="87"/>
                        <a:pt x="1" y="87"/>
                        <a:pt x="1" y="87"/>
                      </a:cubicBezTo>
                      <a:cubicBezTo>
                        <a:pt x="0" y="86"/>
                        <a:pt x="0" y="86"/>
                        <a:pt x="0" y="85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2"/>
                        <a:pt x="0" y="12"/>
                        <a:pt x="1" y="11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0"/>
                        <a:pt x="24" y="1"/>
                        <a:pt x="24" y="2"/>
                      </a:cubicBezTo>
                      <a:cubicBezTo>
                        <a:pt x="24" y="96"/>
                        <a:pt x="24" y="96"/>
                        <a:pt x="24" y="96"/>
                      </a:cubicBezTo>
                      <a:cubicBezTo>
                        <a:pt x="24" y="97"/>
                        <a:pt x="23" y="98"/>
                        <a:pt x="23" y="98"/>
                      </a:cubicBezTo>
                      <a:cubicBezTo>
                        <a:pt x="22" y="98"/>
                        <a:pt x="22" y="98"/>
                        <a:pt x="22" y="98"/>
                      </a:cubicBezTo>
                      <a:close/>
                      <a:moveTo>
                        <a:pt x="4" y="84"/>
                      </a:moveTo>
                      <a:cubicBezTo>
                        <a:pt x="20" y="93"/>
                        <a:pt x="20" y="93"/>
                        <a:pt x="20" y="93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4" y="14"/>
                        <a:pt x="4" y="14"/>
                        <a:pt x="4" y="14"/>
                      </a:cubicBezTo>
                      <a:lnTo>
                        <a:pt x="4" y="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3" name="Freeform 585">
                  <a:extLst>
                    <a:ext uri="{FF2B5EF4-FFF2-40B4-BE49-F238E27FC236}">
                      <a16:creationId xmlns:a16="http://schemas.microsoft.com/office/drawing/2014/main" id="{4AE30F66-3F30-473C-9A59-2E6D88E87C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2" y="1736"/>
                  <a:ext cx="9" cy="10"/>
                </a:xfrm>
                <a:custGeom>
                  <a:avLst/>
                  <a:gdLst>
                    <a:gd name="T0" fmla="*/ 2 w 4"/>
                    <a:gd name="T1" fmla="*/ 4 h 4"/>
                    <a:gd name="T2" fmla="*/ 1 w 4"/>
                    <a:gd name="T3" fmla="*/ 4 h 4"/>
                    <a:gd name="T4" fmla="*/ 0 w 4"/>
                    <a:gd name="T5" fmla="*/ 2 h 4"/>
                    <a:gd name="T6" fmla="*/ 1 w 4"/>
                    <a:gd name="T7" fmla="*/ 0 h 4"/>
                    <a:gd name="T8" fmla="*/ 3 w 4"/>
                    <a:gd name="T9" fmla="*/ 0 h 4"/>
                    <a:gd name="T10" fmla="*/ 4 w 4"/>
                    <a:gd name="T11" fmla="*/ 2 h 4"/>
                    <a:gd name="T12" fmla="*/ 4 w 4"/>
                    <a:gd name="T13" fmla="*/ 2 h 4"/>
                    <a:gd name="T14" fmla="*/ 3 w 4"/>
                    <a:gd name="T15" fmla="*/ 4 h 4"/>
                    <a:gd name="T16" fmla="*/ 2 w 4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2" y="4"/>
                      </a:moveTo>
                      <a:cubicBezTo>
                        <a:pt x="2" y="4"/>
                        <a:pt x="2" y="4"/>
                        <a:pt x="1" y="4"/>
                      </a:cubicBezTo>
                      <a:cubicBezTo>
                        <a:pt x="1" y="3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4" y="0"/>
                        <a:pt x="4" y="1"/>
                        <a:pt x="4" y="2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3" y="4"/>
                      </a:cubicBezTo>
                      <a:cubicBezTo>
                        <a:pt x="3" y="4"/>
                        <a:pt x="3" y="4"/>
                        <a:pt x="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4" name="Freeform 586">
                  <a:extLst>
                    <a:ext uri="{FF2B5EF4-FFF2-40B4-BE49-F238E27FC236}">
                      <a16:creationId xmlns:a16="http://schemas.microsoft.com/office/drawing/2014/main" id="{AD95D5FE-9C22-4204-9BB3-D7E46204DE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72" y="1202"/>
                  <a:ext cx="14" cy="15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1 h 6"/>
                    <a:gd name="T10" fmla="*/ 3 w 6"/>
                    <a:gd name="T11" fmla="*/ 0 h 6"/>
                    <a:gd name="T12" fmla="*/ 5 w 6"/>
                    <a:gd name="T13" fmla="*/ 0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2"/>
                        <a:pt x="0" y="2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5" y="1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5" y="6"/>
                        <a:pt x="5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5" name="Freeform 587">
                  <a:extLst>
                    <a:ext uri="{FF2B5EF4-FFF2-40B4-BE49-F238E27FC236}">
                      <a16:creationId xmlns:a16="http://schemas.microsoft.com/office/drawing/2014/main" id="{5141F394-AE36-400A-BDEE-3D67A7159D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37" y="1547"/>
                  <a:ext cx="309" cy="189"/>
                </a:xfrm>
                <a:custGeom>
                  <a:avLst/>
                  <a:gdLst>
                    <a:gd name="T0" fmla="*/ 63 w 131"/>
                    <a:gd name="T1" fmla="*/ 80 h 80"/>
                    <a:gd name="T2" fmla="*/ 62 w 131"/>
                    <a:gd name="T3" fmla="*/ 79 h 80"/>
                    <a:gd name="T4" fmla="*/ 1 w 131"/>
                    <a:gd name="T5" fmla="*/ 44 h 80"/>
                    <a:gd name="T6" fmla="*/ 0 w 131"/>
                    <a:gd name="T7" fmla="*/ 42 h 80"/>
                    <a:gd name="T8" fmla="*/ 1 w 131"/>
                    <a:gd name="T9" fmla="*/ 40 h 80"/>
                    <a:gd name="T10" fmla="*/ 60 w 131"/>
                    <a:gd name="T11" fmla="*/ 6 h 80"/>
                    <a:gd name="T12" fmla="*/ 60 w 131"/>
                    <a:gd name="T13" fmla="*/ 3 h 80"/>
                    <a:gd name="T14" fmla="*/ 61 w 131"/>
                    <a:gd name="T15" fmla="*/ 1 h 80"/>
                    <a:gd name="T16" fmla="*/ 62 w 131"/>
                    <a:gd name="T17" fmla="*/ 1 h 80"/>
                    <a:gd name="T18" fmla="*/ 64 w 131"/>
                    <a:gd name="T19" fmla="*/ 1 h 80"/>
                    <a:gd name="T20" fmla="*/ 130 w 131"/>
                    <a:gd name="T21" fmla="*/ 38 h 80"/>
                    <a:gd name="T22" fmla="*/ 131 w 131"/>
                    <a:gd name="T23" fmla="*/ 40 h 80"/>
                    <a:gd name="T24" fmla="*/ 130 w 131"/>
                    <a:gd name="T25" fmla="*/ 42 h 80"/>
                    <a:gd name="T26" fmla="*/ 64 w 131"/>
                    <a:gd name="T27" fmla="*/ 79 h 80"/>
                    <a:gd name="T28" fmla="*/ 63 w 131"/>
                    <a:gd name="T29" fmla="*/ 80 h 80"/>
                    <a:gd name="T30" fmla="*/ 6 w 131"/>
                    <a:gd name="T31" fmla="*/ 42 h 80"/>
                    <a:gd name="T32" fmla="*/ 63 w 131"/>
                    <a:gd name="T33" fmla="*/ 75 h 80"/>
                    <a:gd name="T34" fmla="*/ 125 w 131"/>
                    <a:gd name="T35" fmla="*/ 40 h 80"/>
                    <a:gd name="T36" fmla="*/ 64 w 131"/>
                    <a:gd name="T37" fmla="*/ 5 h 80"/>
                    <a:gd name="T38" fmla="*/ 64 w 131"/>
                    <a:gd name="T39" fmla="*/ 7 h 80"/>
                    <a:gd name="T40" fmla="*/ 63 w 131"/>
                    <a:gd name="T41" fmla="*/ 9 h 80"/>
                    <a:gd name="T42" fmla="*/ 6 w 131"/>
                    <a:gd name="T43" fmla="*/ 42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1" h="80">
                      <a:moveTo>
                        <a:pt x="63" y="80"/>
                      </a:moveTo>
                      <a:cubicBezTo>
                        <a:pt x="63" y="80"/>
                        <a:pt x="63" y="79"/>
                        <a:pt x="62" y="79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43"/>
                        <a:pt x="0" y="43"/>
                        <a:pt x="0" y="42"/>
                      </a:cubicBezTo>
                      <a:cubicBezTo>
                        <a:pt x="0" y="41"/>
                        <a:pt x="0" y="40"/>
                        <a:pt x="1" y="40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0" y="2"/>
                        <a:pt x="61" y="2"/>
                        <a:pt x="61" y="1"/>
                      </a:cubicBezTo>
                      <a:cubicBezTo>
                        <a:pt x="62" y="1"/>
                        <a:pt x="62" y="1"/>
                        <a:pt x="62" y="1"/>
                      </a:cubicBezTo>
                      <a:cubicBezTo>
                        <a:pt x="63" y="0"/>
                        <a:pt x="64" y="0"/>
                        <a:pt x="64" y="1"/>
                      </a:cubicBezTo>
                      <a:cubicBezTo>
                        <a:pt x="130" y="38"/>
                        <a:pt x="130" y="38"/>
                        <a:pt x="130" y="38"/>
                      </a:cubicBezTo>
                      <a:cubicBezTo>
                        <a:pt x="130" y="39"/>
                        <a:pt x="131" y="39"/>
                        <a:pt x="131" y="40"/>
                      </a:cubicBezTo>
                      <a:cubicBezTo>
                        <a:pt x="131" y="41"/>
                        <a:pt x="130" y="41"/>
                        <a:pt x="130" y="42"/>
                      </a:cubicBezTo>
                      <a:cubicBezTo>
                        <a:pt x="64" y="79"/>
                        <a:pt x="64" y="79"/>
                        <a:pt x="64" y="79"/>
                      </a:cubicBezTo>
                      <a:cubicBezTo>
                        <a:pt x="64" y="79"/>
                        <a:pt x="64" y="80"/>
                        <a:pt x="63" y="80"/>
                      </a:cubicBezTo>
                      <a:close/>
                      <a:moveTo>
                        <a:pt x="6" y="42"/>
                      </a:moveTo>
                      <a:cubicBezTo>
                        <a:pt x="63" y="75"/>
                        <a:pt x="63" y="75"/>
                        <a:pt x="63" y="75"/>
                      </a:cubicBezTo>
                      <a:cubicBezTo>
                        <a:pt x="125" y="40"/>
                        <a:pt x="125" y="40"/>
                        <a:pt x="125" y="40"/>
                      </a:cubicBezTo>
                      <a:cubicBezTo>
                        <a:pt x="64" y="5"/>
                        <a:pt x="64" y="5"/>
                        <a:pt x="64" y="5"/>
                      </a:cubicBezTo>
                      <a:cubicBezTo>
                        <a:pt x="64" y="7"/>
                        <a:pt x="64" y="7"/>
                        <a:pt x="64" y="7"/>
                      </a:cubicBezTo>
                      <a:cubicBezTo>
                        <a:pt x="64" y="8"/>
                        <a:pt x="64" y="8"/>
                        <a:pt x="63" y="9"/>
                      </a:cubicBezTo>
                      <a:lnTo>
                        <a:pt x="6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6" name="Freeform 588">
                  <a:extLst>
                    <a:ext uri="{FF2B5EF4-FFF2-40B4-BE49-F238E27FC236}">
                      <a16:creationId xmlns:a16="http://schemas.microsoft.com/office/drawing/2014/main" id="{50CE3FB7-3F5A-45FF-99E2-0E6E19B36D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27" y="1552"/>
                  <a:ext cx="159" cy="97"/>
                </a:xfrm>
                <a:custGeom>
                  <a:avLst/>
                  <a:gdLst>
                    <a:gd name="T0" fmla="*/ 4 w 67"/>
                    <a:gd name="T1" fmla="*/ 41 h 41"/>
                    <a:gd name="T2" fmla="*/ 3 w 67"/>
                    <a:gd name="T3" fmla="*/ 41 h 41"/>
                    <a:gd name="T4" fmla="*/ 1 w 67"/>
                    <a:gd name="T5" fmla="*/ 40 h 41"/>
                    <a:gd name="T6" fmla="*/ 0 w 67"/>
                    <a:gd name="T7" fmla="*/ 38 h 41"/>
                    <a:gd name="T8" fmla="*/ 1 w 67"/>
                    <a:gd name="T9" fmla="*/ 36 h 41"/>
                    <a:gd name="T10" fmla="*/ 64 w 67"/>
                    <a:gd name="T11" fmla="*/ 0 h 41"/>
                    <a:gd name="T12" fmla="*/ 66 w 67"/>
                    <a:gd name="T13" fmla="*/ 0 h 41"/>
                    <a:gd name="T14" fmla="*/ 67 w 67"/>
                    <a:gd name="T15" fmla="*/ 2 h 41"/>
                    <a:gd name="T16" fmla="*/ 67 w 67"/>
                    <a:gd name="T17" fmla="*/ 4 h 41"/>
                    <a:gd name="T18" fmla="*/ 66 w 67"/>
                    <a:gd name="T19" fmla="*/ 6 h 41"/>
                    <a:gd name="T20" fmla="*/ 5 w 67"/>
                    <a:gd name="T21" fmla="*/ 41 h 41"/>
                    <a:gd name="T22" fmla="*/ 4 w 67"/>
                    <a:gd name="T23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7" h="41">
                      <a:moveTo>
                        <a:pt x="4" y="41"/>
                      </a:moveTo>
                      <a:cubicBezTo>
                        <a:pt x="4" y="41"/>
                        <a:pt x="3" y="41"/>
                        <a:pt x="3" y="41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1" y="39"/>
                        <a:pt x="0" y="39"/>
                        <a:pt x="0" y="38"/>
                      </a:cubicBezTo>
                      <a:cubicBezTo>
                        <a:pt x="0" y="37"/>
                        <a:pt x="1" y="37"/>
                        <a:pt x="1" y="36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4" y="0"/>
                        <a:pt x="65" y="0"/>
                        <a:pt x="66" y="0"/>
                      </a:cubicBezTo>
                      <a:cubicBezTo>
                        <a:pt x="66" y="1"/>
                        <a:pt x="67" y="1"/>
                        <a:pt x="67" y="2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67" y="5"/>
                        <a:pt x="66" y="5"/>
                        <a:pt x="66" y="6"/>
                      </a:cubicBezTo>
                      <a:cubicBezTo>
                        <a:pt x="5" y="41"/>
                        <a:pt x="5" y="41"/>
                        <a:pt x="5" y="41"/>
                      </a:cubicBezTo>
                      <a:cubicBezTo>
                        <a:pt x="5" y="41"/>
                        <a:pt x="4" y="41"/>
                        <a:pt x="4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7" name="Freeform 589">
                  <a:extLst>
                    <a:ext uri="{FF2B5EF4-FFF2-40B4-BE49-F238E27FC236}">
                      <a16:creationId xmlns:a16="http://schemas.microsoft.com/office/drawing/2014/main" id="{CF676FBA-2968-400C-AB31-053FF76032B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48" y="1741"/>
                  <a:ext cx="26" cy="28"/>
                </a:xfrm>
                <a:custGeom>
                  <a:avLst/>
                  <a:gdLst>
                    <a:gd name="T0" fmla="*/ 9 w 11"/>
                    <a:gd name="T1" fmla="*/ 12 h 12"/>
                    <a:gd name="T2" fmla="*/ 8 w 11"/>
                    <a:gd name="T3" fmla="*/ 11 h 12"/>
                    <a:gd name="T4" fmla="*/ 1 w 11"/>
                    <a:gd name="T5" fmla="*/ 7 h 12"/>
                    <a:gd name="T6" fmla="*/ 0 w 11"/>
                    <a:gd name="T7" fmla="*/ 6 h 12"/>
                    <a:gd name="T8" fmla="*/ 1 w 11"/>
                    <a:gd name="T9" fmla="*/ 4 h 12"/>
                    <a:gd name="T10" fmla="*/ 8 w 11"/>
                    <a:gd name="T11" fmla="*/ 0 h 12"/>
                    <a:gd name="T12" fmla="*/ 10 w 11"/>
                    <a:gd name="T13" fmla="*/ 0 h 12"/>
                    <a:gd name="T14" fmla="*/ 11 w 11"/>
                    <a:gd name="T15" fmla="*/ 2 h 12"/>
                    <a:gd name="T16" fmla="*/ 11 w 11"/>
                    <a:gd name="T17" fmla="*/ 10 h 12"/>
                    <a:gd name="T18" fmla="*/ 10 w 11"/>
                    <a:gd name="T19" fmla="*/ 11 h 12"/>
                    <a:gd name="T20" fmla="*/ 9 w 11"/>
                    <a:gd name="T21" fmla="*/ 12 h 12"/>
                    <a:gd name="T22" fmla="*/ 6 w 11"/>
                    <a:gd name="T23" fmla="*/ 6 h 12"/>
                    <a:gd name="T24" fmla="*/ 7 w 11"/>
                    <a:gd name="T25" fmla="*/ 6 h 12"/>
                    <a:gd name="T26" fmla="*/ 7 w 11"/>
                    <a:gd name="T27" fmla="*/ 5 h 12"/>
                    <a:gd name="T28" fmla="*/ 6 w 11"/>
                    <a:gd name="T29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9" y="12"/>
                      </a:moveTo>
                      <a:cubicBezTo>
                        <a:pt x="9" y="12"/>
                        <a:pt x="8" y="11"/>
                        <a:pt x="8" y="11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9" y="0"/>
                        <a:pt x="10" y="0"/>
                        <a:pt x="10" y="0"/>
                      </a:cubicBezTo>
                      <a:cubicBezTo>
                        <a:pt x="11" y="0"/>
                        <a:pt x="11" y="1"/>
                        <a:pt x="11" y="2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11" y="10"/>
                        <a:pt x="11" y="11"/>
                        <a:pt x="10" y="11"/>
                      </a:cubicBezTo>
                      <a:cubicBezTo>
                        <a:pt x="10" y="11"/>
                        <a:pt x="9" y="12"/>
                        <a:pt x="9" y="12"/>
                      </a:cubicBezTo>
                      <a:close/>
                      <a:moveTo>
                        <a:pt x="6" y="6"/>
                      </a:move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5"/>
                        <a:pt x="7" y="5"/>
                        <a:pt x="7" y="5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8" name="Freeform 590">
                  <a:extLst>
                    <a:ext uri="{FF2B5EF4-FFF2-40B4-BE49-F238E27FC236}">
                      <a16:creationId xmlns:a16="http://schemas.microsoft.com/office/drawing/2014/main" id="{2424CEE9-85DE-4C01-80C7-D00C81754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00" y="1925"/>
                  <a:ext cx="12" cy="15"/>
                </a:xfrm>
                <a:custGeom>
                  <a:avLst/>
                  <a:gdLst>
                    <a:gd name="T0" fmla="*/ 3 w 5"/>
                    <a:gd name="T1" fmla="*/ 6 h 6"/>
                    <a:gd name="T2" fmla="*/ 2 w 5"/>
                    <a:gd name="T3" fmla="*/ 5 h 6"/>
                    <a:gd name="T4" fmla="*/ 1 w 5"/>
                    <a:gd name="T5" fmla="*/ 5 h 6"/>
                    <a:gd name="T6" fmla="*/ 0 w 5"/>
                    <a:gd name="T7" fmla="*/ 3 h 6"/>
                    <a:gd name="T8" fmla="*/ 1 w 5"/>
                    <a:gd name="T9" fmla="*/ 1 h 6"/>
                    <a:gd name="T10" fmla="*/ 2 w 5"/>
                    <a:gd name="T11" fmla="*/ 1 h 6"/>
                    <a:gd name="T12" fmla="*/ 4 w 5"/>
                    <a:gd name="T13" fmla="*/ 1 h 6"/>
                    <a:gd name="T14" fmla="*/ 5 w 5"/>
                    <a:gd name="T15" fmla="*/ 2 h 6"/>
                    <a:gd name="T16" fmla="*/ 5 w 5"/>
                    <a:gd name="T17" fmla="*/ 4 h 6"/>
                    <a:gd name="T18" fmla="*/ 4 w 5"/>
                    <a:gd name="T19" fmla="*/ 5 h 6"/>
                    <a:gd name="T20" fmla="*/ 3 w 5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6">
                      <a:moveTo>
                        <a:pt x="3" y="6"/>
                      </a:moveTo>
                      <a:cubicBezTo>
                        <a:pt x="3" y="6"/>
                        <a:pt x="3" y="5"/>
                        <a:pt x="2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4"/>
                        <a:pt x="5" y="5"/>
                        <a:pt x="4" y="5"/>
                      </a:cubicBezTo>
                      <a:cubicBezTo>
                        <a:pt x="4" y="5"/>
                        <a:pt x="4" y="6"/>
                        <a:pt x="3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9" name="Freeform 591">
                  <a:extLst>
                    <a:ext uri="{FF2B5EF4-FFF2-40B4-BE49-F238E27FC236}">
                      <a16:creationId xmlns:a16="http://schemas.microsoft.com/office/drawing/2014/main" id="{CC4DDBC1-B778-4B7C-B06E-16270FB37E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831"/>
                  <a:ext cx="125" cy="97"/>
                </a:xfrm>
                <a:custGeom>
                  <a:avLst/>
                  <a:gdLst>
                    <a:gd name="T0" fmla="*/ 2 w 53"/>
                    <a:gd name="T1" fmla="*/ 41 h 41"/>
                    <a:gd name="T2" fmla="*/ 1 w 53"/>
                    <a:gd name="T3" fmla="*/ 41 h 41"/>
                    <a:gd name="T4" fmla="*/ 0 w 53"/>
                    <a:gd name="T5" fmla="*/ 39 h 41"/>
                    <a:gd name="T6" fmla="*/ 0 w 53"/>
                    <a:gd name="T7" fmla="*/ 31 h 41"/>
                    <a:gd name="T8" fmla="*/ 1 w 53"/>
                    <a:gd name="T9" fmla="*/ 29 h 41"/>
                    <a:gd name="T10" fmla="*/ 50 w 53"/>
                    <a:gd name="T11" fmla="*/ 0 h 41"/>
                    <a:gd name="T12" fmla="*/ 52 w 53"/>
                    <a:gd name="T13" fmla="*/ 0 h 41"/>
                    <a:gd name="T14" fmla="*/ 53 w 53"/>
                    <a:gd name="T15" fmla="*/ 2 h 41"/>
                    <a:gd name="T16" fmla="*/ 53 w 53"/>
                    <a:gd name="T17" fmla="*/ 11 h 41"/>
                    <a:gd name="T18" fmla="*/ 52 w 53"/>
                    <a:gd name="T19" fmla="*/ 13 h 41"/>
                    <a:gd name="T20" fmla="*/ 3 w 53"/>
                    <a:gd name="T21" fmla="*/ 41 h 41"/>
                    <a:gd name="T22" fmla="*/ 2 w 53"/>
                    <a:gd name="T23" fmla="*/ 41 h 41"/>
                    <a:gd name="T24" fmla="*/ 4 w 53"/>
                    <a:gd name="T25" fmla="*/ 32 h 41"/>
                    <a:gd name="T26" fmla="*/ 4 w 53"/>
                    <a:gd name="T27" fmla="*/ 36 h 41"/>
                    <a:gd name="T28" fmla="*/ 49 w 53"/>
                    <a:gd name="T29" fmla="*/ 10 h 41"/>
                    <a:gd name="T30" fmla="*/ 49 w 53"/>
                    <a:gd name="T31" fmla="*/ 6 h 41"/>
                    <a:gd name="T32" fmla="*/ 4 w 53"/>
                    <a:gd name="T33" fmla="*/ 32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3" h="41">
                      <a:moveTo>
                        <a:pt x="2" y="41"/>
                      </a:moveTo>
                      <a:cubicBezTo>
                        <a:pt x="2" y="41"/>
                        <a:pt x="1" y="41"/>
                        <a:pt x="1" y="41"/>
                      </a:cubicBezTo>
                      <a:cubicBezTo>
                        <a:pt x="0" y="41"/>
                        <a:pt x="0" y="40"/>
                        <a:pt x="0" y="39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1" y="0"/>
                        <a:pt x="52" y="0"/>
                      </a:cubicBezTo>
                      <a:cubicBezTo>
                        <a:pt x="53" y="1"/>
                        <a:pt x="53" y="1"/>
                        <a:pt x="53" y="2"/>
                      </a:cubicBezTo>
                      <a:cubicBezTo>
                        <a:pt x="53" y="11"/>
                        <a:pt x="53" y="11"/>
                        <a:pt x="53" y="11"/>
                      </a:cubicBezTo>
                      <a:cubicBezTo>
                        <a:pt x="53" y="12"/>
                        <a:pt x="53" y="12"/>
                        <a:pt x="52" y="13"/>
                      </a:cubicBezTo>
                      <a:cubicBezTo>
                        <a:pt x="3" y="41"/>
                        <a:pt x="3" y="41"/>
                        <a:pt x="3" y="41"/>
                      </a:cubicBezTo>
                      <a:cubicBezTo>
                        <a:pt x="3" y="41"/>
                        <a:pt x="2" y="41"/>
                        <a:pt x="2" y="41"/>
                      </a:cubicBezTo>
                      <a:close/>
                      <a:moveTo>
                        <a:pt x="4" y="32"/>
                      </a:move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49" y="10"/>
                        <a:pt x="49" y="10"/>
                        <a:pt x="49" y="10"/>
                      </a:cubicBezTo>
                      <a:cubicBezTo>
                        <a:pt x="49" y="6"/>
                        <a:pt x="49" y="6"/>
                        <a:pt x="49" y="6"/>
                      </a:cubicBezTo>
                      <a:lnTo>
                        <a:pt x="4" y="3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0" name="Freeform 592">
                  <a:extLst>
                    <a:ext uri="{FF2B5EF4-FFF2-40B4-BE49-F238E27FC236}">
                      <a16:creationId xmlns:a16="http://schemas.microsoft.com/office/drawing/2014/main" id="{19C8B0FC-3DC5-4C64-8418-4766902EE8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79" y="1911"/>
                  <a:ext cx="30" cy="24"/>
                </a:xfrm>
                <a:custGeom>
                  <a:avLst/>
                  <a:gdLst>
                    <a:gd name="T0" fmla="*/ 10 w 13"/>
                    <a:gd name="T1" fmla="*/ 10 h 10"/>
                    <a:gd name="T2" fmla="*/ 9 w 13"/>
                    <a:gd name="T3" fmla="*/ 10 h 10"/>
                    <a:gd name="T4" fmla="*/ 1 w 13"/>
                    <a:gd name="T5" fmla="*/ 5 h 10"/>
                    <a:gd name="T6" fmla="*/ 0 w 13"/>
                    <a:gd name="T7" fmla="*/ 4 h 10"/>
                    <a:gd name="T8" fmla="*/ 0 w 13"/>
                    <a:gd name="T9" fmla="*/ 3 h 10"/>
                    <a:gd name="T10" fmla="*/ 1 w 13"/>
                    <a:gd name="T11" fmla="*/ 1 h 10"/>
                    <a:gd name="T12" fmla="*/ 2 w 13"/>
                    <a:gd name="T13" fmla="*/ 1 h 10"/>
                    <a:gd name="T14" fmla="*/ 4 w 13"/>
                    <a:gd name="T15" fmla="*/ 1 h 10"/>
                    <a:gd name="T16" fmla="*/ 12 w 13"/>
                    <a:gd name="T17" fmla="*/ 5 h 10"/>
                    <a:gd name="T18" fmla="*/ 13 w 13"/>
                    <a:gd name="T19" fmla="*/ 7 h 10"/>
                    <a:gd name="T20" fmla="*/ 12 w 13"/>
                    <a:gd name="T21" fmla="*/ 9 h 10"/>
                    <a:gd name="T22" fmla="*/ 11 w 13"/>
                    <a:gd name="T23" fmla="*/ 10 h 10"/>
                    <a:gd name="T24" fmla="*/ 10 w 13"/>
                    <a:gd name="T2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3" h="10">
                      <a:moveTo>
                        <a:pt x="10" y="10"/>
                      </a:moveTo>
                      <a:cubicBezTo>
                        <a:pt x="9" y="10"/>
                        <a:pt x="9" y="10"/>
                        <a:pt x="9" y="10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3" y="6"/>
                        <a:pt x="13" y="6"/>
                        <a:pt x="13" y="7"/>
                      </a:cubicBezTo>
                      <a:cubicBezTo>
                        <a:pt x="13" y="8"/>
                        <a:pt x="13" y="8"/>
                        <a:pt x="12" y="9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10" y="10"/>
                        <a:pt x="10" y="10"/>
                        <a:pt x="10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1" name="Freeform 593">
                  <a:extLst>
                    <a:ext uri="{FF2B5EF4-FFF2-40B4-BE49-F238E27FC236}">
                      <a16:creationId xmlns:a16="http://schemas.microsoft.com/office/drawing/2014/main" id="{14226AEC-D06E-4CEA-BD9C-D529248136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79" y="1918"/>
                  <a:ext cx="23" cy="26"/>
                </a:xfrm>
                <a:custGeom>
                  <a:avLst/>
                  <a:gdLst>
                    <a:gd name="T0" fmla="*/ 2 w 10"/>
                    <a:gd name="T1" fmla="*/ 11 h 11"/>
                    <a:gd name="T2" fmla="*/ 1 w 10"/>
                    <a:gd name="T3" fmla="*/ 11 h 11"/>
                    <a:gd name="T4" fmla="*/ 0 w 10"/>
                    <a:gd name="T5" fmla="*/ 9 h 11"/>
                    <a:gd name="T6" fmla="*/ 0 w 10"/>
                    <a:gd name="T7" fmla="*/ 3 h 11"/>
                    <a:gd name="T8" fmla="*/ 1 w 10"/>
                    <a:gd name="T9" fmla="*/ 1 h 11"/>
                    <a:gd name="T10" fmla="*/ 3 w 10"/>
                    <a:gd name="T11" fmla="*/ 1 h 11"/>
                    <a:gd name="T12" fmla="*/ 9 w 10"/>
                    <a:gd name="T13" fmla="*/ 4 h 11"/>
                    <a:gd name="T14" fmla="*/ 10 w 10"/>
                    <a:gd name="T15" fmla="*/ 6 h 11"/>
                    <a:gd name="T16" fmla="*/ 9 w 10"/>
                    <a:gd name="T17" fmla="*/ 8 h 11"/>
                    <a:gd name="T18" fmla="*/ 3 w 10"/>
                    <a:gd name="T19" fmla="*/ 11 h 11"/>
                    <a:gd name="T20" fmla="*/ 2 w 10"/>
                    <a:gd name="T2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11">
                      <a:moveTo>
                        <a:pt x="2" y="11"/>
                      </a:moveTo>
                      <a:cubicBezTo>
                        <a:pt x="2" y="11"/>
                        <a:pt x="1" y="11"/>
                        <a:pt x="1" y="11"/>
                      </a:cubicBezTo>
                      <a:cubicBezTo>
                        <a:pt x="1" y="11"/>
                        <a:pt x="0" y="10"/>
                        <a:pt x="0" y="9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5"/>
                        <a:pt x="10" y="5"/>
                        <a:pt x="10" y="6"/>
                      </a:cubicBezTo>
                      <a:cubicBezTo>
                        <a:pt x="10" y="7"/>
                        <a:pt x="10" y="7"/>
                        <a:pt x="9" y="8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3" y="11"/>
                        <a:pt x="2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2" name="Freeform 594">
                  <a:extLst>
                    <a:ext uri="{FF2B5EF4-FFF2-40B4-BE49-F238E27FC236}">
                      <a16:creationId xmlns:a16="http://schemas.microsoft.com/office/drawing/2014/main" id="{60BFC29C-C973-4BFF-A42B-9F6AE8510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20" y="1819"/>
                  <a:ext cx="12" cy="12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4 h 5"/>
                    <a:gd name="T4" fmla="*/ 1 w 5"/>
                    <a:gd name="T5" fmla="*/ 4 h 5"/>
                    <a:gd name="T6" fmla="*/ 0 w 5"/>
                    <a:gd name="T7" fmla="*/ 2 h 5"/>
                    <a:gd name="T8" fmla="*/ 1 w 5"/>
                    <a:gd name="T9" fmla="*/ 0 h 5"/>
                    <a:gd name="T10" fmla="*/ 2 w 5"/>
                    <a:gd name="T11" fmla="*/ 0 h 5"/>
                    <a:gd name="T12" fmla="*/ 4 w 5"/>
                    <a:gd name="T13" fmla="*/ 0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4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3" y="5"/>
                        <a:pt x="2" y="4"/>
                        <a:pt x="2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3"/>
                        <a:pt x="0" y="3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3" y="0"/>
                        <a:pt x="3" y="0"/>
                        <a:pt x="4" y="0"/>
                      </a:cubicBezTo>
                      <a:cubicBezTo>
                        <a:pt x="5" y="0"/>
                        <a:pt x="5" y="1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5" y="4"/>
                        <a:pt x="4" y="4"/>
                      </a:cubicBezTo>
                      <a:cubicBezTo>
                        <a:pt x="4" y="4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3" name="Freeform 595">
                  <a:extLst>
                    <a:ext uri="{FF2B5EF4-FFF2-40B4-BE49-F238E27FC236}">
                      <a16:creationId xmlns:a16="http://schemas.microsoft.com/office/drawing/2014/main" id="{46996A92-7B25-483D-A6D9-5E24939E91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1935"/>
                  <a:ext cx="160" cy="257"/>
                </a:xfrm>
                <a:custGeom>
                  <a:avLst/>
                  <a:gdLst>
                    <a:gd name="T0" fmla="*/ 66 w 68"/>
                    <a:gd name="T1" fmla="*/ 109 h 109"/>
                    <a:gd name="T2" fmla="*/ 65 w 68"/>
                    <a:gd name="T3" fmla="*/ 108 h 109"/>
                    <a:gd name="T4" fmla="*/ 1 w 68"/>
                    <a:gd name="T5" fmla="*/ 71 h 109"/>
                    <a:gd name="T6" fmla="*/ 0 w 68"/>
                    <a:gd name="T7" fmla="*/ 70 h 109"/>
                    <a:gd name="T8" fmla="*/ 1 w 68"/>
                    <a:gd name="T9" fmla="*/ 68 h 109"/>
                    <a:gd name="T10" fmla="*/ 12 w 68"/>
                    <a:gd name="T11" fmla="*/ 61 h 109"/>
                    <a:gd name="T12" fmla="*/ 12 w 68"/>
                    <a:gd name="T13" fmla="*/ 2 h 109"/>
                    <a:gd name="T14" fmla="*/ 13 w 68"/>
                    <a:gd name="T15" fmla="*/ 1 h 109"/>
                    <a:gd name="T16" fmla="*/ 15 w 68"/>
                    <a:gd name="T17" fmla="*/ 1 h 109"/>
                    <a:gd name="T18" fmla="*/ 67 w 68"/>
                    <a:gd name="T19" fmla="*/ 31 h 109"/>
                    <a:gd name="T20" fmla="*/ 68 w 68"/>
                    <a:gd name="T21" fmla="*/ 33 h 109"/>
                    <a:gd name="T22" fmla="*/ 68 w 68"/>
                    <a:gd name="T23" fmla="*/ 107 h 109"/>
                    <a:gd name="T24" fmla="*/ 67 w 68"/>
                    <a:gd name="T25" fmla="*/ 108 h 109"/>
                    <a:gd name="T26" fmla="*/ 66 w 68"/>
                    <a:gd name="T27" fmla="*/ 109 h 109"/>
                    <a:gd name="T28" fmla="*/ 6 w 68"/>
                    <a:gd name="T29" fmla="*/ 69 h 109"/>
                    <a:gd name="T30" fmla="*/ 64 w 68"/>
                    <a:gd name="T31" fmla="*/ 103 h 109"/>
                    <a:gd name="T32" fmla="*/ 64 w 68"/>
                    <a:gd name="T33" fmla="*/ 34 h 109"/>
                    <a:gd name="T34" fmla="*/ 16 w 68"/>
                    <a:gd name="T35" fmla="*/ 6 h 109"/>
                    <a:gd name="T36" fmla="*/ 16 w 68"/>
                    <a:gd name="T37" fmla="*/ 63 h 109"/>
                    <a:gd name="T38" fmla="*/ 15 w 68"/>
                    <a:gd name="T39" fmla="*/ 64 h 109"/>
                    <a:gd name="T40" fmla="*/ 6 w 68"/>
                    <a:gd name="T41" fmla="*/ 6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8" h="109">
                      <a:moveTo>
                        <a:pt x="66" y="109"/>
                      </a:moveTo>
                      <a:cubicBezTo>
                        <a:pt x="66" y="109"/>
                        <a:pt x="66" y="108"/>
                        <a:pt x="65" y="108"/>
                      </a:cubicBezTo>
                      <a:cubicBezTo>
                        <a:pt x="1" y="71"/>
                        <a:pt x="1" y="71"/>
                        <a:pt x="1" y="71"/>
                      </a:cubicBezTo>
                      <a:cubicBezTo>
                        <a:pt x="1" y="71"/>
                        <a:pt x="0" y="70"/>
                        <a:pt x="0" y="70"/>
                      </a:cubicBezTo>
                      <a:cubicBezTo>
                        <a:pt x="0" y="69"/>
                        <a:pt x="1" y="68"/>
                        <a:pt x="1" y="68"/>
                      </a:cubicBezTo>
                      <a:cubicBezTo>
                        <a:pt x="12" y="61"/>
                        <a:pt x="12" y="61"/>
                        <a:pt x="12" y="61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2" y="2"/>
                        <a:pt x="12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67" y="31"/>
                        <a:pt x="67" y="31"/>
                        <a:pt x="67" y="31"/>
                      </a:cubicBezTo>
                      <a:cubicBezTo>
                        <a:pt x="68" y="31"/>
                        <a:pt x="68" y="32"/>
                        <a:pt x="68" y="33"/>
                      </a:cubicBezTo>
                      <a:cubicBezTo>
                        <a:pt x="68" y="107"/>
                        <a:pt x="68" y="107"/>
                        <a:pt x="68" y="107"/>
                      </a:cubicBezTo>
                      <a:cubicBezTo>
                        <a:pt x="68" y="107"/>
                        <a:pt x="68" y="108"/>
                        <a:pt x="67" y="108"/>
                      </a:cubicBezTo>
                      <a:cubicBezTo>
                        <a:pt x="67" y="108"/>
                        <a:pt x="67" y="109"/>
                        <a:pt x="66" y="109"/>
                      </a:cubicBezTo>
                      <a:close/>
                      <a:moveTo>
                        <a:pt x="6" y="69"/>
                      </a:moveTo>
                      <a:cubicBezTo>
                        <a:pt x="64" y="103"/>
                        <a:pt x="64" y="103"/>
                        <a:pt x="64" y="103"/>
                      </a:cubicBezTo>
                      <a:cubicBezTo>
                        <a:pt x="64" y="34"/>
                        <a:pt x="64" y="34"/>
                        <a:pt x="64" y="34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6" y="63"/>
                        <a:pt x="16" y="63"/>
                        <a:pt x="16" y="63"/>
                      </a:cubicBezTo>
                      <a:cubicBezTo>
                        <a:pt x="16" y="63"/>
                        <a:pt x="16" y="64"/>
                        <a:pt x="15" y="64"/>
                      </a:cubicBezTo>
                      <a:lnTo>
                        <a:pt x="6" y="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4" name="Freeform 596">
                  <a:extLst>
                    <a:ext uri="{FF2B5EF4-FFF2-40B4-BE49-F238E27FC236}">
                      <a16:creationId xmlns:a16="http://schemas.microsoft.com/office/drawing/2014/main" id="{24486778-A1AB-4D12-8913-202280D0D5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755"/>
                  <a:ext cx="142" cy="149"/>
                </a:xfrm>
                <a:custGeom>
                  <a:avLst/>
                  <a:gdLst>
                    <a:gd name="T0" fmla="*/ 2 w 60"/>
                    <a:gd name="T1" fmla="*/ 63 h 63"/>
                    <a:gd name="T2" fmla="*/ 1 w 60"/>
                    <a:gd name="T3" fmla="*/ 63 h 63"/>
                    <a:gd name="T4" fmla="*/ 0 w 60"/>
                    <a:gd name="T5" fmla="*/ 61 h 63"/>
                    <a:gd name="T6" fmla="*/ 0 w 60"/>
                    <a:gd name="T7" fmla="*/ 7 h 63"/>
                    <a:gd name="T8" fmla="*/ 1 w 60"/>
                    <a:gd name="T9" fmla="*/ 6 h 63"/>
                    <a:gd name="T10" fmla="*/ 10 w 60"/>
                    <a:gd name="T11" fmla="*/ 0 h 63"/>
                    <a:gd name="T12" fmla="*/ 12 w 60"/>
                    <a:gd name="T13" fmla="*/ 0 h 63"/>
                    <a:gd name="T14" fmla="*/ 59 w 60"/>
                    <a:gd name="T15" fmla="*/ 27 h 63"/>
                    <a:gd name="T16" fmla="*/ 60 w 60"/>
                    <a:gd name="T17" fmla="*/ 29 h 63"/>
                    <a:gd name="T18" fmla="*/ 59 w 60"/>
                    <a:gd name="T19" fmla="*/ 31 h 63"/>
                    <a:gd name="T20" fmla="*/ 3 w 60"/>
                    <a:gd name="T21" fmla="*/ 63 h 63"/>
                    <a:gd name="T22" fmla="*/ 2 w 60"/>
                    <a:gd name="T23" fmla="*/ 63 h 63"/>
                    <a:gd name="T24" fmla="*/ 4 w 60"/>
                    <a:gd name="T25" fmla="*/ 9 h 63"/>
                    <a:gd name="T26" fmla="*/ 4 w 60"/>
                    <a:gd name="T27" fmla="*/ 58 h 63"/>
                    <a:gd name="T28" fmla="*/ 54 w 60"/>
                    <a:gd name="T29" fmla="*/ 29 h 63"/>
                    <a:gd name="T30" fmla="*/ 11 w 60"/>
                    <a:gd name="T31" fmla="*/ 4 h 63"/>
                    <a:gd name="T32" fmla="*/ 4 w 60"/>
                    <a:gd name="T33" fmla="*/ 9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63">
                      <a:moveTo>
                        <a:pt x="2" y="63"/>
                      </a:moveTo>
                      <a:cubicBezTo>
                        <a:pt x="2" y="63"/>
                        <a:pt x="1" y="63"/>
                        <a:pt x="1" y="63"/>
                      </a:cubicBezTo>
                      <a:cubicBezTo>
                        <a:pt x="0" y="63"/>
                        <a:pt x="0" y="62"/>
                        <a:pt x="0" y="6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0" y="6"/>
                        <a:pt x="1" y="6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1" y="0"/>
                        <a:pt x="12" y="0"/>
                        <a:pt x="12" y="0"/>
                      </a:cubicBezTo>
                      <a:cubicBezTo>
                        <a:pt x="59" y="27"/>
                        <a:pt x="59" y="27"/>
                        <a:pt x="59" y="27"/>
                      </a:cubicBezTo>
                      <a:cubicBezTo>
                        <a:pt x="60" y="28"/>
                        <a:pt x="60" y="28"/>
                        <a:pt x="60" y="29"/>
                      </a:cubicBezTo>
                      <a:cubicBezTo>
                        <a:pt x="60" y="30"/>
                        <a:pt x="60" y="30"/>
                        <a:pt x="59" y="31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2" y="63"/>
                        <a:pt x="2" y="63"/>
                      </a:cubicBezTo>
                      <a:close/>
                      <a:moveTo>
                        <a:pt x="4" y="9"/>
                      </a:move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11" y="4"/>
                        <a:pt x="11" y="4"/>
                        <a:pt x="11" y="4"/>
                      </a:cubicBez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5" name="Freeform 597">
                  <a:extLst>
                    <a:ext uri="{FF2B5EF4-FFF2-40B4-BE49-F238E27FC236}">
                      <a16:creationId xmlns:a16="http://schemas.microsoft.com/office/drawing/2014/main" id="{AFCDCDDC-5CE3-4AC9-A70E-D0EE4C197C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1930"/>
                  <a:ext cx="33" cy="168"/>
                </a:xfrm>
                <a:custGeom>
                  <a:avLst/>
                  <a:gdLst>
                    <a:gd name="T0" fmla="*/ 2 w 14"/>
                    <a:gd name="T1" fmla="*/ 71 h 71"/>
                    <a:gd name="T2" fmla="*/ 1 w 14"/>
                    <a:gd name="T3" fmla="*/ 71 h 71"/>
                    <a:gd name="T4" fmla="*/ 0 w 14"/>
                    <a:gd name="T5" fmla="*/ 69 h 71"/>
                    <a:gd name="T6" fmla="*/ 0 w 14"/>
                    <a:gd name="T7" fmla="*/ 6 h 71"/>
                    <a:gd name="T8" fmla="*/ 1 w 14"/>
                    <a:gd name="T9" fmla="*/ 4 h 71"/>
                    <a:gd name="T10" fmla="*/ 9 w 14"/>
                    <a:gd name="T11" fmla="*/ 0 h 71"/>
                    <a:gd name="T12" fmla="*/ 11 w 14"/>
                    <a:gd name="T13" fmla="*/ 0 h 71"/>
                    <a:gd name="T14" fmla="*/ 13 w 14"/>
                    <a:gd name="T15" fmla="*/ 2 h 71"/>
                    <a:gd name="T16" fmla="*/ 14 w 14"/>
                    <a:gd name="T17" fmla="*/ 3 h 71"/>
                    <a:gd name="T18" fmla="*/ 14 w 14"/>
                    <a:gd name="T19" fmla="*/ 64 h 71"/>
                    <a:gd name="T20" fmla="*/ 13 w 14"/>
                    <a:gd name="T21" fmla="*/ 65 h 71"/>
                    <a:gd name="T22" fmla="*/ 3 w 14"/>
                    <a:gd name="T23" fmla="*/ 71 h 71"/>
                    <a:gd name="T24" fmla="*/ 2 w 14"/>
                    <a:gd name="T25" fmla="*/ 71 h 71"/>
                    <a:gd name="T26" fmla="*/ 4 w 14"/>
                    <a:gd name="T27" fmla="*/ 7 h 71"/>
                    <a:gd name="T28" fmla="*/ 4 w 14"/>
                    <a:gd name="T29" fmla="*/ 66 h 71"/>
                    <a:gd name="T30" fmla="*/ 10 w 14"/>
                    <a:gd name="T31" fmla="*/ 62 h 71"/>
                    <a:gd name="T32" fmla="*/ 10 w 14"/>
                    <a:gd name="T33" fmla="*/ 5 h 71"/>
                    <a:gd name="T34" fmla="*/ 10 w 14"/>
                    <a:gd name="T35" fmla="*/ 4 h 71"/>
                    <a:gd name="T36" fmla="*/ 4 w 14"/>
                    <a:gd name="T37" fmla="*/ 7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71">
                      <a:moveTo>
                        <a:pt x="2" y="71"/>
                      </a:moveTo>
                      <a:cubicBezTo>
                        <a:pt x="2" y="71"/>
                        <a:pt x="1" y="71"/>
                        <a:pt x="1" y="71"/>
                      </a:cubicBezTo>
                      <a:cubicBezTo>
                        <a:pt x="1" y="71"/>
                        <a:pt x="0" y="70"/>
                        <a:pt x="0" y="69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5"/>
                        <a:pt x="1" y="5"/>
                        <a:pt x="1" y="4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9" y="0"/>
                        <a:pt x="10" y="0"/>
                        <a:pt x="11" y="0"/>
                      </a:cubicBez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4" y="2"/>
                        <a:pt x="14" y="3"/>
                        <a:pt x="14" y="3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14" y="64"/>
                        <a:pt x="14" y="65"/>
                        <a:pt x="13" y="65"/>
                      </a:cubicBezTo>
                      <a:cubicBezTo>
                        <a:pt x="3" y="71"/>
                        <a:pt x="3" y="71"/>
                        <a:pt x="3" y="71"/>
                      </a:cubicBezTo>
                      <a:cubicBezTo>
                        <a:pt x="3" y="71"/>
                        <a:pt x="3" y="71"/>
                        <a:pt x="2" y="71"/>
                      </a:cubicBezTo>
                      <a:close/>
                      <a:moveTo>
                        <a:pt x="4" y="7"/>
                      </a:moveTo>
                      <a:cubicBezTo>
                        <a:pt x="4" y="66"/>
                        <a:pt x="4" y="66"/>
                        <a:pt x="4" y="66"/>
                      </a:cubicBezTo>
                      <a:cubicBezTo>
                        <a:pt x="10" y="62"/>
                        <a:pt x="10" y="62"/>
                        <a:pt x="10" y="62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4"/>
                        <a:pt x="10" y="4"/>
                        <a:pt x="10" y="4"/>
                      </a:cubicBez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6" name="Freeform 598">
                  <a:extLst>
                    <a:ext uri="{FF2B5EF4-FFF2-40B4-BE49-F238E27FC236}">
                      <a16:creationId xmlns:a16="http://schemas.microsoft.com/office/drawing/2014/main" id="{9239167E-19F8-4B8C-9D1B-5ACC812A43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651"/>
                  <a:ext cx="154" cy="109"/>
                </a:xfrm>
                <a:custGeom>
                  <a:avLst/>
                  <a:gdLst>
                    <a:gd name="T0" fmla="*/ 11 w 65"/>
                    <a:gd name="T1" fmla="*/ 46 h 46"/>
                    <a:gd name="T2" fmla="*/ 10 w 65"/>
                    <a:gd name="T3" fmla="*/ 46 h 46"/>
                    <a:gd name="T4" fmla="*/ 1 w 65"/>
                    <a:gd name="T5" fmla="*/ 41 h 46"/>
                    <a:gd name="T6" fmla="*/ 0 w 65"/>
                    <a:gd name="T7" fmla="*/ 39 h 46"/>
                    <a:gd name="T8" fmla="*/ 0 w 65"/>
                    <a:gd name="T9" fmla="*/ 37 h 46"/>
                    <a:gd name="T10" fmla="*/ 1 w 65"/>
                    <a:gd name="T11" fmla="*/ 35 h 46"/>
                    <a:gd name="T12" fmla="*/ 62 w 65"/>
                    <a:gd name="T13" fmla="*/ 0 h 46"/>
                    <a:gd name="T14" fmla="*/ 64 w 65"/>
                    <a:gd name="T15" fmla="*/ 0 h 46"/>
                    <a:gd name="T16" fmla="*/ 65 w 65"/>
                    <a:gd name="T17" fmla="*/ 2 h 46"/>
                    <a:gd name="T18" fmla="*/ 65 w 65"/>
                    <a:gd name="T19" fmla="*/ 14 h 46"/>
                    <a:gd name="T20" fmla="*/ 64 w 65"/>
                    <a:gd name="T21" fmla="*/ 16 h 46"/>
                    <a:gd name="T22" fmla="*/ 12 w 65"/>
                    <a:gd name="T23" fmla="*/ 46 h 46"/>
                    <a:gd name="T24" fmla="*/ 11 w 65"/>
                    <a:gd name="T25" fmla="*/ 46 h 46"/>
                    <a:gd name="T26" fmla="*/ 4 w 65"/>
                    <a:gd name="T27" fmla="*/ 38 h 46"/>
                    <a:gd name="T28" fmla="*/ 11 w 65"/>
                    <a:gd name="T29" fmla="*/ 42 h 46"/>
                    <a:gd name="T30" fmla="*/ 61 w 65"/>
                    <a:gd name="T31" fmla="*/ 13 h 46"/>
                    <a:gd name="T32" fmla="*/ 61 w 65"/>
                    <a:gd name="T33" fmla="*/ 5 h 46"/>
                    <a:gd name="T34" fmla="*/ 4 w 65"/>
                    <a:gd name="T35" fmla="*/ 38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5" h="46">
                      <a:moveTo>
                        <a:pt x="11" y="46"/>
                      </a:moveTo>
                      <a:cubicBezTo>
                        <a:pt x="11" y="46"/>
                        <a:pt x="11" y="46"/>
                        <a:pt x="10" y="46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0" y="40"/>
                        <a:pt x="0" y="40"/>
                        <a:pt x="0" y="39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3" y="0"/>
                        <a:pt x="64" y="0"/>
                      </a:cubicBezTo>
                      <a:cubicBezTo>
                        <a:pt x="64" y="0"/>
                        <a:pt x="65" y="1"/>
                        <a:pt x="65" y="2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5"/>
                        <a:pt x="64" y="16"/>
                        <a:pt x="64" y="16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2" y="46"/>
                        <a:pt x="12" y="46"/>
                        <a:pt x="11" y="46"/>
                      </a:cubicBezTo>
                      <a:close/>
                      <a:moveTo>
                        <a:pt x="4" y="38"/>
                      </a:move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61" y="13"/>
                        <a:pt x="61" y="13"/>
                        <a:pt x="61" y="13"/>
                      </a:cubicBezTo>
                      <a:cubicBezTo>
                        <a:pt x="61" y="5"/>
                        <a:pt x="61" y="5"/>
                        <a:pt x="61" y="5"/>
                      </a:cubicBezTo>
                      <a:lnTo>
                        <a:pt x="4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7" name="Freeform 599">
                  <a:extLst>
                    <a:ext uri="{FF2B5EF4-FFF2-40B4-BE49-F238E27FC236}">
                      <a16:creationId xmlns:a16="http://schemas.microsoft.com/office/drawing/2014/main" id="{344D3E6E-ED40-4EB2-8493-0C09724831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684"/>
                  <a:ext cx="156" cy="253"/>
                </a:xfrm>
                <a:custGeom>
                  <a:avLst/>
                  <a:gdLst>
                    <a:gd name="T0" fmla="*/ 8 w 66"/>
                    <a:gd name="T1" fmla="*/ 107 h 107"/>
                    <a:gd name="T2" fmla="*/ 7 w 66"/>
                    <a:gd name="T3" fmla="*/ 107 h 107"/>
                    <a:gd name="T4" fmla="*/ 1 w 66"/>
                    <a:gd name="T5" fmla="*/ 103 h 107"/>
                    <a:gd name="T6" fmla="*/ 0 w 66"/>
                    <a:gd name="T7" fmla="*/ 102 h 107"/>
                    <a:gd name="T8" fmla="*/ 0 w 66"/>
                    <a:gd name="T9" fmla="*/ 93 h 107"/>
                    <a:gd name="T10" fmla="*/ 1 w 66"/>
                    <a:gd name="T11" fmla="*/ 92 h 107"/>
                    <a:gd name="T12" fmla="*/ 57 w 66"/>
                    <a:gd name="T13" fmla="*/ 59 h 107"/>
                    <a:gd name="T14" fmla="*/ 12 w 66"/>
                    <a:gd name="T15" fmla="*/ 33 h 107"/>
                    <a:gd name="T16" fmla="*/ 11 w 66"/>
                    <a:gd name="T17" fmla="*/ 31 h 107"/>
                    <a:gd name="T18" fmla="*/ 12 w 66"/>
                    <a:gd name="T19" fmla="*/ 29 h 107"/>
                    <a:gd name="T20" fmla="*/ 62 w 66"/>
                    <a:gd name="T21" fmla="*/ 1 h 107"/>
                    <a:gd name="T22" fmla="*/ 64 w 66"/>
                    <a:gd name="T23" fmla="*/ 1 h 107"/>
                    <a:gd name="T24" fmla="*/ 65 w 66"/>
                    <a:gd name="T25" fmla="*/ 2 h 107"/>
                    <a:gd name="T26" fmla="*/ 65 w 66"/>
                    <a:gd name="T27" fmla="*/ 62 h 107"/>
                    <a:gd name="T28" fmla="*/ 66 w 66"/>
                    <a:gd name="T29" fmla="*/ 63 h 107"/>
                    <a:gd name="T30" fmla="*/ 66 w 66"/>
                    <a:gd name="T31" fmla="*/ 73 h 107"/>
                    <a:gd name="T32" fmla="*/ 65 w 66"/>
                    <a:gd name="T33" fmla="*/ 75 h 107"/>
                    <a:gd name="T34" fmla="*/ 9 w 66"/>
                    <a:gd name="T35" fmla="*/ 107 h 107"/>
                    <a:gd name="T36" fmla="*/ 8 w 66"/>
                    <a:gd name="T37" fmla="*/ 107 h 107"/>
                    <a:gd name="T38" fmla="*/ 4 w 66"/>
                    <a:gd name="T39" fmla="*/ 100 h 107"/>
                    <a:gd name="T40" fmla="*/ 8 w 66"/>
                    <a:gd name="T41" fmla="*/ 103 h 107"/>
                    <a:gd name="T42" fmla="*/ 62 w 66"/>
                    <a:gd name="T43" fmla="*/ 72 h 107"/>
                    <a:gd name="T44" fmla="*/ 62 w 66"/>
                    <a:gd name="T45" fmla="*/ 64 h 107"/>
                    <a:gd name="T46" fmla="*/ 61 w 66"/>
                    <a:gd name="T47" fmla="*/ 63 h 107"/>
                    <a:gd name="T48" fmla="*/ 61 w 66"/>
                    <a:gd name="T49" fmla="*/ 62 h 107"/>
                    <a:gd name="T50" fmla="*/ 4 w 66"/>
                    <a:gd name="T51" fmla="*/ 94 h 107"/>
                    <a:gd name="T52" fmla="*/ 4 w 66"/>
                    <a:gd name="T53" fmla="*/ 100 h 107"/>
                    <a:gd name="T54" fmla="*/ 17 w 66"/>
                    <a:gd name="T55" fmla="*/ 31 h 107"/>
                    <a:gd name="T56" fmla="*/ 61 w 66"/>
                    <a:gd name="T57" fmla="*/ 56 h 107"/>
                    <a:gd name="T58" fmla="*/ 61 w 66"/>
                    <a:gd name="T59" fmla="*/ 6 h 107"/>
                    <a:gd name="T60" fmla="*/ 17 w 66"/>
                    <a:gd name="T61" fmla="*/ 31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6" h="107">
                      <a:moveTo>
                        <a:pt x="8" y="107"/>
                      </a:moveTo>
                      <a:cubicBezTo>
                        <a:pt x="8" y="107"/>
                        <a:pt x="8" y="107"/>
                        <a:pt x="7" y="107"/>
                      </a:cubicBezTo>
                      <a:cubicBezTo>
                        <a:pt x="1" y="103"/>
                        <a:pt x="1" y="103"/>
                        <a:pt x="1" y="103"/>
                      </a:cubicBezTo>
                      <a:cubicBezTo>
                        <a:pt x="0" y="103"/>
                        <a:pt x="0" y="102"/>
                        <a:pt x="0" y="102"/>
                      </a:cubicBezTo>
                      <a:cubicBezTo>
                        <a:pt x="0" y="93"/>
                        <a:pt x="0" y="93"/>
                        <a:pt x="0" y="93"/>
                      </a:cubicBezTo>
                      <a:cubicBezTo>
                        <a:pt x="0" y="93"/>
                        <a:pt x="0" y="92"/>
                        <a:pt x="1" y="92"/>
                      </a:cubicBezTo>
                      <a:cubicBezTo>
                        <a:pt x="57" y="59"/>
                        <a:pt x="57" y="59"/>
                        <a:pt x="57" y="59"/>
                      </a:cubicBezTo>
                      <a:cubicBezTo>
                        <a:pt x="12" y="33"/>
                        <a:pt x="12" y="33"/>
                        <a:pt x="12" y="33"/>
                      </a:cubicBezTo>
                      <a:cubicBezTo>
                        <a:pt x="11" y="32"/>
                        <a:pt x="11" y="32"/>
                        <a:pt x="11" y="31"/>
                      </a:cubicBezTo>
                      <a:cubicBezTo>
                        <a:pt x="11" y="30"/>
                        <a:pt x="11" y="30"/>
                        <a:pt x="12" y="29"/>
                      </a:cubicBezTo>
                      <a:cubicBezTo>
                        <a:pt x="62" y="1"/>
                        <a:pt x="62" y="1"/>
                        <a:pt x="62" y="1"/>
                      </a:cubicBezTo>
                      <a:cubicBezTo>
                        <a:pt x="62" y="0"/>
                        <a:pt x="63" y="0"/>
                        <a:pt x="64" y="1"/>
                      </a:cubicBezTo>
                      <a:cubicBezTo>
                        <a:pt x="64" y="1"/>
                        <a:pt x="65" y="2"/>
                        <a:pt x="65" y="2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6" y="62"/>
                        <a:pt x="66" y="63"/>
                        <a:pt x="66" y="63"/>
                      </a:cubicBezTo>
                      <a:cubicBezTo>
                        <a:pt x="66" y="73"/>
                        <a:pt x="66" y="73"/>
                        <a:pt x="66" y="73"/>
                      </a:cubicBezTo>
                      <a:cubicBezTo>
                        <a:pt x="66" y="74"/>
                        <a:pt x="66" y="74"/>
                        <a:pt x="65" y="75"/>
                      </a:cubicBezTo>
                      <a:cubicBezTo>
                        <a:pt x="9" y="107"/>
                        <a:pt x="9" y="107"/>
                        <a:pt x="9" y="107"/>
                      </a:cubicBezTo>
                      <a:cubicBezTo>
                        <a:pt x="9" y="107"/>
                        <a:pt x="9" y="107"/>
                        <a:pt x="8" y="107"/>
                      </a:cubicBezTo>
                      <a:close/>
                      <a:moveTo>
                        <a:pt x="4" y="100"/>
                      </a:moveTo>
                      <a:cubicBezTo>
                        <a:pt x="8" y="103"/>
                        <a:pt x="8" y="103"/>
                        <a:pt x="8" y="103"/>
                      </a:cubicBezTo>
                      <a:cubicBezTo>
                        <a:pt x="62" y="72"/>
                        <a:pt x="62" y="72"/>
                        <a:pt x="62" y="72"/>
                      </a:cubicBez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1" y="64"/>
                        <a:pt x="61" y="63"/>
                        <a:pt x="61" y="63"/>
                      </a:cubicBezTo>
                      <a:cubicBezTo>
                        <a:pt x="61" y="62"/>
                        <a:pt x="61" y="62"/>
                        <a:pt x="61" y="62"/>
                      </a:cubicBezTo>
                      <a:cubicBezTo>
                        <a:pt x="4" y="94"/>
                        <a:pt x="4" y="94"/>
                        <a:pt x="4" y="94"/>
                      </a:cubicBezTo>
                      <a:lnTo>
                        <a:pt x="4" y="100"/>
                      </a:lnTo>
                      <a:close/>
                      <a:moveTo>
                        <a:pt x="17" y="31"/>
                      </a:move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6"/>
                        <a:pt x="61" y="6"/>
                        <a:pt x="61" y="6"/>
                      </a:cubicBezTo>
                      <a:lnTo>
                        <a:pt x="17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8" name="Freeform 600">
                  <a:extLst>
                    <a:ext uri="{FF2B5EF4-FFF2-40B4-BE49-F238E27FC236}">
                      <a16:creationId xmlns:a16="http://schemas.microsoft.com/office/drawing/2014/main" id="{3CA6EE50-9430-4129-A982-6810AF87E4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1743"/>
                  <a:ext cx="29" cy="29"/>
                </a:xfrm>
                <a:custGeom>
                  <a:avLst/>
                  <a:gdLst>
                    <a:gd name="T0" fmla="*/ 2 w 12"/>
                    <a:gd name="T1" fmla="*/ 12 h 12"/>
                    <a:gd name="T2" fmla="*/ 1 w 12"/>
                    <a:gd name="T3" fmla="*/ 12 h 12"/>
                    <a:gd name="T4" fmla="*/ 0 w 12"/>
                    <a:gd name="T5" fmla="*/ 10 h 12"/>
                    <a:gd name="T6" fmla="*/ 0 w 12"/>
                    <a:gd name="T7" fmla="*/ 2 h 12"/>
                    <a:gd name="T8" fmla="*/ 1 w 12"/>
                    <a:gd name="T9" fmla="*/ 0 h 12"/>
                    <a:gd name="T10" fmla="*/ 3 w 12"/>
                    <a:gd name="T11" fmla="*/ 0 h 12"/>
                    <a:gd name="T12" fmla="*/ 11 w 12"/>
                    <a:gd name="T13" fmla="*/ 4 h 12"/>
                    <a:gd name="T14" fmla="*/ 12 w 12"/>
                    <a:gd name="T15" fmla="*/ 6 h 12"/>
                    <a:gd name="T16" fmla="*/ 11 w 12"/>
                    <a:gd name="T17" fmla="*/ 8 h 12"/>
                    <a:gd name="T18" fmla="*/ 3 w 12"/>
                    <a:gd name="T19" fmla="*/ 12 h 12"/>
                    <a:gd name="T20" fmla="*/ 2 w 12"/>
                    <a:gd name="T21" fmla="*/ 12 h 12"/>
                    <a:gd name="T22" fmla="*/ 4 w 12"/>
                    <a:gd name="T23" fmla="*/ 5 h 12"/>
                    <a:gd name="T24" fmla="*/ 4 w 12"/>
                    <a:gd name="T25" fmla="*/ 7 h 12"/>
                    <a:gd name="T26" fmla="*/ 6 w 12"/>
                    <a:gd name="T27" fmla="*/ 6 h 12"/>
                    <a:gd name="T28" fmla="*/ 4 w 12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2">
                      <a:moveTo>
                        <a:pt x="2" y="12"/>
                      </a:moveTo>
                      <a:cubicBezTo>
                        <a:pt x="2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1" y="4"/>
                        <a:pt x="11" y="4"/>
                        <a:pt x="11" y="4"/>
                      </a:cubicBezTo>
                      <a:cubicBezTo>
                        <a:pt x="11" y="5"/>
                        <a:pt x="12" y="5"/>
                        <a:pt x="12" y="6"/>
                      </a:cubicBezTo>
                      <a:cubicBezTo>
                        <a:pt x="12" y="7"/>
                        <a:pt x="11" y="7"/>
                        <a:pt x="11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2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6" y="6"/>
                        <a:pt x="6" y="6"/>
                        <a:pt x="6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9" name="Freeform 601">
                  <a:extLst>
                    <a:ext uri="{FF2B5EF4-FFF2-40B4-BE49-F238E27FC236}">
                      <a16:creationId xmlns:a16="http://schemas.microsoft.com/office/drawing/2014/main" id="{43D5DAA6-260D-46B6-90CD-5C03E866F5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51" y="1918"/>
                  <a:ext cx="135" cy="255"/>
                </a:xfrm>
                <a:custGeom>
                  <a:avLst/>
                  <a:gdLst>
                    <a:gd name="T0" fmla="*/ 2 w 57"/>
                    <a:gd name="T1" fmla="*/ 108 h 108"/>
                    <a:gd name="T2" fmla="*/ 1 w 57"/>
                    <a:gd name="T3" fmla="*/ 107 h 108"/>
                    <a:gd name="T4" fmla="*/ 0 w 57"/>
                    <a:gd name="T5" fmla="*/ 106 h 108"/>
                    <a:gd name="T6" fmla="*/ 0 w 57"/>
                    <a:gd name="T7" fmla="*/ 31 h 108"/>
                    <a:gd name="T8" fmla="*/ 1 w 57"/>
                    <a:gd name="T9" fmla="*/ 30 h 108"/>
                    <a:gd name="T10" fmla="*/ 53 w 57"/>
                    <a:gd name="T11" fmla="*/ 0 h 108"/>
                    <a:gd name="T12" fmla="*/ 55 w 57"/>
                    <a:gd name="T13" fmla="*/ 0 h 108"/>
                    <a:gd name="T14" fmla="*/ 56 w 57"/>
                    <a:gd name="T15" fmla="*/ 2 h 108"/>
                    <a:gd name="T16" fmla="*/ 56 w 57"/>
                    <a:gd name="T17" fmla="*/ 10 h 108"/>
                    <a:gd name="T18" fmla="*/ 56 w 57"/>
                    <a:gd name="T19" fmla="*/ 10 h 108"/>
                    <a:gd name="T20" fmla="*/ 57 w 57"/>
                    <a:gd name="T21" fmla="*/ 12 h 108"/>
                    <a:gd name="T22" fmla="*/ 57 w 57"/>
                    <a:gd name="T23" fmla="*/ 75 h 108"/>
                    <a:gd name="T24" fmla="*/ 56 w 57"/>
                    <a:gd name="T25" fmla="*/ 77 h 108"/>
                    <a:gd name="T26" fmla="*/ 3 w 57"/>
                    <a:gd name="T27" fmla="*/ 107 h 108"/>
                    <a:gd name="T28" fmla="*/ 2 w 57"/>
                    <a:gd name="T29" fmla="*/ 108 h 108"/>
                    <a:gd name="T30" fmla="*/ 4 w 57"/>
                    <a:gd name="T31" fmla="*/ 33 h 108"/>
                    <a:gd name="T32" fmla="*/ 4 w 57"/>
                    <a:gd name="T33" fmla="*/ 102 h 108"/>
                    <a:gd name="T34" fmla="*/ 53 w 57"/>
                    <a:gd name="T35" fmla="*/ 74 h 108"/>
                    <a:gd name="T36" fmla="*/ 53 w 57"/>
                    <a:gd name="T37" fmla="*/ 14 h 108"/>
                    <a:gd name="T38" fmla="*/ 52 w 57"/>
                    <a:gd name="T39" fmla="*/ 14 h 108"/>
                    <a:gd name="T40" fmla="*/ 52 w 57"/>
                    <a:gd name="T41" fmla="*/ 13 h 108"/>
                    <a:gd name="T42" fmla="*/ 52 w 57"/>
                    <a:gd name="T43" fmla="*/ 5 h 108"/>
                    <a:gd name="T44" fmla="*/ 4 w 57"/>
                    <a:gd name="T45" fmla="*/ 33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7" h="108">
                      <a:moveTo>
                        <a:pt x="2" y="108"/>
                      </a:moveTo>
                      <a:cubicBezTo>
                        <a:pt x="2" y="108"/>
                        <a:pt x="1" y="108"/>
                        <a:pt x="1" y="107"/>
                      </a:cubicBezTo>
                      <a:cubicBezTo>
                        <a:pt x="0" y="107"/>
                        <a:pt x="0" y="106"/>
                        <a:pt x="0" y="106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1"/>
                        <a:pt x="0" y="30"/>
                        <a:pt x="1" y="3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4" y="0"/>
                        <a:pt x="55" y="0"/>
                      </a:cubicBezTo>
                      <a:cubicBezTo>
                        <a:pt x="55" y="0"/>
                        <a:pt x="56" y="1"/>
                        <a:pt x="56" y="2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6" y="11"/>
                        <a:pt x="57" y="11"/>
                        <a:pt x="57" y="12"/>
                      </a:cubicBezTo>
                      <a:cubicBezTo>
                        <a:pt x="57" y="75"/>
                        <a:pt x="57" y="75"/>
                        <a:pt x="57" y="75"/>
                      </a:cubicBezTo>
                      <a:cubicBezTo>
                        <a:pt x="57" y="76"/>
                        <a:pt x="56" y="77"/>
                        <a:pt x="56" y="77"/>
                      </a:cubicBezTo>
                      <a:cubicBezTo>
                        <a:pt x="3" y="107"/>
                        <a:pt x="3" y="107"/>
                        <a:pt x="3" y="107"/>
                      </a:cubicBezTo>
                      <a:cubicBezTo>
                        <a:pt x="3" y="108"/>
                        <a:pt x="2" y="108"/>
                        <a:pt x="2" y="108"/>
                      </a:cubicBezTo>
                      <a:close/>
                      <a:moveTo>
                        <a:pt x="4" y="33"/>
                      </a:moveTo>
                      <a:cubicBezTo>
                        <a:pt x="4" y="102"/>
                        <a:pt x="4" y="102"/>
                        <a:pt x="4" y="102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14"/>
                        <a:pt x="53" y="14"/>
                        <a:pt x="53" y="14"/>
                      </a:cubicBezTo>
                      <a:cubicBezTo>
                        <a:pt x="53" y="14"/>
                        <a:pt x="53" y="14"/>
                        <a:pt x="52" y="14"/>
                      </a:cubicBezTo>
                      <a:cubicBezTo>
                        <a:pt x="52" y="14"/>
                        <a:pt x="52" y="13"/>
                        <a:pt x="52" y="13"/>
                      </a:cubicBezTo>
                      <a:cubicBezTo>
                        <a:pt x="52" y="5"/>
                        <a:pt x="52" y="5"/>
                        <a:pt x="52" y="5"/>
                      </a:cubicBezTo>
                      <a:lnTo>
                        <a:pt x="4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0" name="Freeform 602">
                  <a:extLst>
                    <a:ext uri="{FF2B5EF4-FFF2-40B4-BE49-F238E27FC236}">
                      <a16:creationId xmlns:a16="http://schemas.microsoft.com/office/drawing/2014/main" id="{624B9D57-7FB6-4DC9-A739-A1A3E11586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76" y="1902"/>
                  <a:ext cx="19" cy="16"/>
                </a:xfrm>
                <a:custGeom>
                  <a:avLst/>
                  <a:gdLst>
                    <a:gd name="T0" fmla="*/ 6 w 8"/>
                    <a:gd name="T1" fmla="*/ 7 h 7"/>
                    <a:gd name="T2" fmla="*/ 5 w 8"/>
                    <a:gd name="T3" fmla="*/ 7 h 7"/>
                    <a:gd name="T4" fmla="*/ 1 w 8"/>
                    <a:gd name="T5" fmla="*/ 5 h 7"/>
                    <a:gd name="T6" fmla="*/ 0 w 8"/>
                    <a:gd name="T7" fmla="*/ 3 h 7"/>
                    <a:gd name="T8" fmla="*/ 1 w 8"/>
                    <a:gd name="T9" fmla="*/ 2 h 7"/>
                    <a:gd name="T10" fmla="*/ 3 w 8"/>
                    <a:gd name="T11" fmla="*/ 1 h 7"/>
                    <a:gd name="T12" fmla="*/ 5 w 8"/>
                    <a:gd name="T13" fmla="*/ 1 h 7"/>
                    <a:gd name="T14" fmla="*/ 7 w 8"/>
                    <a:gd name="T15" fmla="*/ 2 h 7"/>
                    <a:gd name="T16" fmla="*/ 8 w 8"/>
                    <a:gd name="T17" fmla="*/ 4 h 7"/>
                    <a:gd name="T18" fmla="*/ 8 w 8"/>
                    <a:gd name="T19" fmla="*/ 5 h 7"/>
                    <a:gd name="T20" fmla="*/ 7 w 8"/>
                    <a:gd name="T21" fmla="*/ 7 h 7"/>
                    <a:gd name="T22" fmla="*/ 6 w 8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7">
                      <a:moveTo>
                        <a:pt x="6" y="7"/>
                      </a:moveTo>
                      <a:cubicBezTo>
                        <a:pt x="6" y="7"/>
                        <a:pt x="5" y="7"/>
                        <a:pt x="5" y="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3"/>
                        <a:pt x="1" y="2"/>
                        <a:pt x="1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4" y="0"/>
                        <a:pt x="4" y="0"/>
                        <a:pt x="5" y="1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8" y="2"/>
                        <a:pt x="8" y="3"/>
                        <a:pt x="8" y="4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6"/>
                        <a:pt x="8" y="7"/>
                        <a:pt x="7" y="7"/>
                      </a:cubicBezTo>
                      <a:cubicBezTo>
                        <a:pt x="7" y="7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1" name="Freeform 603">
                  <a:extLst>
                    <a:ext uri="{FF2B5EF4-FFF2-40B4-BE49-F238E27FC236}">
                      <a16:creationId xmlns:a16="http://schemas.microsoft.com/office/drawing/2014/main" id="{39C3963E-524A-43A8-855B-B8D4EB7E13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86" y="1899"/>
                  <a:ext cx="9" cy="12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4 h 5"/>
                    <a:gd name="T4" fmla="*/ 1 w 4"/>
                    <a:gd name="T5" fmla="*/ 4 h 5"/>
                    <a:gd name="T6" fmla="*/ 0 w 4"/>
                    <a:gd name="T7" fmla="*/ 2 h 5"/>
                    <a:gd name="T8" fmla="*/ 1 w 4"/>
                    <a:gd name="T9" fmla="*/ 1 h 5"/>
                    <a:gd name="T10" fmla="*/ 1 w 4"/>
                    <a:gd name="T11" fmla="*/ 1 h 5"/>
                    <a:gd name="T12" fmla="*/ 3 w 4"/>
                    <a:gd name="T13" fmla="*/ 1 h 5"/>
                    <a:gd name="T14" fmla="*/ 4 w 4"/>
                    <a:gd name="T15" fmla="*/ 2 h 5"/>
                    <a:gd name="T16" fmla="*/ 4 w 4"/>
                    <a:gd name="T17" fmla="*/ 3 h 5"/>
                    <a:gd name="T18" fmla="*/ 3 w 4"/>
                    <a:gd name="T19" fmla="*/ 4 h 5"/>
                    <a:gd name="T20" fmla="*/ 2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1" y="5"/>
                        <a:pt x="1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3"/>
                        <a:pt x="4" y="4"/>
                        <a:pt x="3" y="4"/>
                      </a:cubicBezTo>
                      <a:cubicBezTo>
                        <a:pt x="3" y="5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2" name="Freeform 604">
                  <a:extLst>
                    <a:ext uri="{FF2B5EF4-FFF2-40B4-BE49-F238E27FC236}">
                      <a16:creationId xmlns:a16="http://schemas.microsoft.com/office/drawing/2014/main" id="{A7520FE9-FEC7-4626-91D2-395ED82C9D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23" y="1651"/>
                  <a:ext cx="163" cy="270"/>
                </a:xfrm>
                <a:custGeom>
                  <a:avLst/>
                  <a:gdLst>
                    <a:gd name="T0" fmla="*/ 66 w 69"/>
                    <a:gd name="T1" fmla="*/ 114 h 114"/>
                    <a:gd name="T2" fmla="*/ 65 w 69"/>
                    <a:gd name="T3" fmla="*/ 114 h 114"/>
                    <a:gd name="T4" fmla="*/ 3 w 69"/>
                    <a:gd name="T5" fmla="*/ 78 h 114"/>
                    <a:gd name="T6" fmla="*/ 2 w 69"/>
                    <a:gd name="T7" fmla="*/ 76 h 114"/>
                    <a:gd name="T8" fmla="*/ 2 w 69"/>
                    <a:gd name="T9" fmla="*/ 15 h 114"/>
                    <a:gd name="T10" fmla="*/ 1 w 69"/>
                    <a:gd name="T11" fmla="*/ 15 h 114"/>
                    <a:gd name="T12" fmla="*/ 0 w 69"/>
                    <a:gd name="T13" fmla="*/ 13 h 114"/>
                    <a:gd name="T14" fmla="*/ 0 w 69"/>
                    <a:gd name="T15" fmla="*/ 2 h 114"/>
                    <a:gd name="T16" fmla="*/ 1 w 69"/>
                    <a:gd name="T17" fmla="*/ 0 h 114"/>
                    <a:gd name="T18" fmla="*/ 3 w 69"/>
                    <a:gd name="T19" fmla="*/ 0 h 114"/>
                    <a:gd name="T20" fmla="*/ 68 w 69"/>
                    <a:gd name="T21" fmla="*/ 37 h 114"/>
                    <a:gd name="T22" fmla="*/ 69 w 69"/>
                    <a:gd name="T23" fmla="*/ 39 h 114"/>
                    <a:gd name="T24" fmla="*/ 69 w 69"/>
                    <a:gd name="T25" fmla="*/ 50 h 114"/>
                    <a:gd name="T26" fmla="*/ 68 w 69"/>
                    <a:gd name="T27" fmla="*/ 52 h 114"/>
                    <a:gd name="T28" fmla="*/ 68 w 69"/>
                    <a:gd name="T29" fmla="*/ 52 h 114"/>
                    <a:gd name="T30" fmla="*/ 68 w 69"/>
                    <a:gd name="T31" fmla="*/ 112 h 114"/>
                    <a:gd name="T32" fmla="*/ 67 w 69"/>
                    <a:gd name="T33" fmla="*/ 114 h 114"/>
                    <a:gd name="T34" fmla="*/ 66 w 69"/>
                    <a:gd name="T35" fmla="*/ 114 h 114"/>
                    <a:gd name="T36" fmla="*/ 6 w 69"/>
                    <a:gd name="T37" fmla="*/ 75 h 114"/>
                    <a:gd name="T38" fmla="*/ 64 w 69"/>
                    <a:gd name="T39" fmla="*/ 109 h 114"/>
                    <a:gd name="T40" fmla="*/ 64 w 69"/>
                    <a:gd name="T41" fmla="*/ 50 h 114"/>
                    <a:gd name="T42" fmla="*/ 65 w 69"/>
                    <a:gd name="T43" fmla="*/ 49 h 114"/>
                    <a:gd name="T44" fmla="*/ 65 w 69"/>
                    <a:gd name="T45" fmla="*/ 49 h 114"/>
                    <a:gd name="T46" fmla="*/ 65 w 69"/>
                    <a:gd name="T47" fmla="*/ 40 h 114"/>
                    <a:gd name="T48" fmla="*/ 4 w 69"/>
                    <a:gd name="T49" fmla="*/ 5 h 114"/>
                    <a:gd name="T50" fmla="*/ 4 w 69"/>
                    <a:gd name="T51" fmla="*/ 11 h 114"/>
                    <a:gd name="T52" fmla="*/ 5 w 69"/>
                    <a:gd name="T53" fmla="*/ 11 h 114"/>
                    <a:gd name="T54" fmla="*/ 6 w 69"/>
                    <a:gd name="T55" fmla="*/ 13 h 114"/>
                    <a:gd name="T56" fmla="*/ 6 w 69"/>
                    <a:gd name="T57" fmla="*/ 75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9" h="114">
                      <a:moveTo>
                        <a:pt x="66" y="114"/>
                      </a:moveTo>
                      <a:cubicBezTo>
                        <a:pt x="65" y="114"/>
                        <a:pt x="65" y="114"/>
                        <a:pt x="65" y="114"/>
                      </a:cubicBezTo>
                      <a:cubicBezTo>
                        <a:pt x="3" y="78"/>
                        <a:pt x="3" y="78"/>
                        <a:pt x="3" y="78"/>
                      </a:cubicBezTo>
                      <a:cubicBezTo>
                        <a:pt x="2" y="78"/>
                        <a:pt x="2" y="77"/>
                        <a:pt x="2" y="76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2" y="15"/>
                        <a:pt x="2" y="15"/>
                        <a:pt x="1" y="15"/>
                      </a:cubicBezTo>
                      <a:cubicBezTo>
                        <a:pt x="1" y="15"/>
                        <a:pt x="0" y="14"/>
                        <a:pt x="0" y="1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68" y="37"/>
                        <a:pt x="68" y="37"/>
                        <a:pt x="68" y="37"/>
                      </a:cubicBezTo>
                      <a:cubicBezTo>
                        <a:pt x="68" y="37"/>
                        <a:pt x="69" y="38"/>
                        <a:pt x="69" y="39"/>
                      </a:cubicBezTo>
                      <a:cubicBezTo>
                        <a:pt x="69" y="50"/>
                        <a:pt x="69" y="50"/>
                        <a:pt x="69" y="50"/>
                      </a:cubicBezTo>
                      <a:cubicBezTo>
                        <a:pt x="69" y="51"/>
                        <a:pt x="68" y="51"/>
                        <a:pt x="68" y="52"/>
                      </a:cubicBezTo>
                      <a:cubicBezTo>
                        <a:pt x="68" y="52"/>
                        <a:pt x="68" y="52"/>
                        <a:pt x="68" y="52"/>
                      </a:cubicBezTo>
                      <a:cubicBezTo>
                        <a:pt x="68" y="112"/>
                        <a:pt x="68" y="112"/>
                        <a:pt x="68" y="112"/>
                      </a:cubicBezTo>
                      <a:cubicBezTo>
                        <a:pt x="68" y="113"/>
                        <a:pt x="67" y="114"/>
                        <a:pt x="67" y="114"/>
                      </a:cubicBezTo>
                      <a:cubicBezTo>
                        <a:pt x="66" y="114"/>
                        <a:pt x="66" y="114"/>
                        <a:pt x="66" y="114"/>
                      </a:cubicBezTo>
                      <a:close/>
                      <a:moveTo>
                        <a:pt x="6" y="75"/>
                      </a:moveTo>
                      <a:cubicBezTo>
                        <a:pt x="64" y="109"/>
                        <a:pt x="64" y="109"/>
                        <a:pt x="64" y="109"/>
                      </a:cubicBezTo>
                      <a:cubicBezTo>
                        <a:pt x="64" y="50"/>
                        <a:pt x="64" y="50"/>
                        <a:pt x="64" y="50"/>
                      </a:cubicBezTo>
                      <a:cubicBezTo>
                        <a:pt x="64" y="50"/>
                        <a:pt x="64" y="49"/>
                        <a:pt x="65" y="49"/>
                      </a:cubicBezTo>
                      <a:cubicBezTo>
                        <a:pt x="65" y="49"/>
                        <a:pt x="65" y="49"/>
                        <a:pt x="65" y="49"/>
                      </a:cubicBezTo>
                      <a:cubicBezTo>
                        <a:pt x="65" y="40"/>
                        <a:pt x="65" y="40"/>
                        <a:pt x="65" y="40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1"/>
                        <a:pt x="6" y="12"/>
                        <a:pt x="6" y="13"/>
                      </a:cubicBezTo>
                      <a:lnTo>
                        <a:pt x="6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3" name="Freeform 605">
                  <a:extLst>
                    <a:ext uri="{FF2B5EF4-FFF2-40B4-BE49-F238E27FC236}">
                      <a16:creationId xmlns:a16="http://schemas.microsoft.com/office/drawing/2014/main" id="{AB7C29BE-30D8-4449-BEF6-8AD472915A2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86" y="1899"/>
                  <a:ext cx="26" cy="31"/>
                </a:xfrm>
                <a:custGeom>
                  <a:avLst/>
                  <a:gdLst>
                    <a:gd name="T0" fmla="*/ 9 w 11"/>
                    <a:gd name="T1" fmla="*/ 13 h 13"/>
                    <a:gd name="T2" fmla="*/ 8 w 11"/>
                    <a:gd name="T3" fmla="*/ 12 h 13"/>
                    <a:gd name="T4" fmla="*/ 1 w 11"/>
                    <a:gd name="T5" fmla="*/ 8 h 13"/>
                    <a:gd name="T6" fmla="*/ 0 w 11"/>
                    <a:gd name="T7" fmla="*/ 7 h 13"/>
                    <a:gd name="T8" fmla="*/ 1 w 11"/>
                    <a:gd name="T9" fmla="*/ 5 h 13"/>
                    <a:gd name="T10" fmla="*/ 8 w 11"/>
                    <a:gd name="T11" fmla="*/ 1 h 13"/>
                    <a:gd name="T12" fmla="*/ 10 w 11"/>
                    <a:gd name="T13" fmla="*/ 1 h 13"/>
                    <a:gd name="T14" fmla="*/ 11 w 11"/>
                    <a:gd name="T15" fmla="*/ 3 h 13"/>
                    <a:gd name="T16" fmla="*/ 11 w 11"/>
                    <a:gd name="T17" fmla="*/ 11 h 13"/>
                    <a:gd name="T18" fmla="*/ 10 w 11"/>
                    <a:gd name="T19" fmla="*/ 12 h 13"/>
                    <a:gd name="T20" fmla="*/ 9 w 11"/>
                    <a:gd name="T21" fmla="*/ 13 h 13"/>
                    <a:gd name="T22" fmla="*/ 6 w 11"/>
                    <a:gd name="T23" fmla="*/ 7 h 13"/>
                    <a:gd name="T24" fmla="*/ 7 w 11"/>
                    <a:gd name="T25" fmla="*/ 7 h 13"/>
                    <a:gd name="T26" fmla="*/ 7 w 11"/>
                    <a:gd name="T27" fmla="*/ 6 h 13"/>
                    <a:gd name="T28" fmla="*/ 6 w 11"/>
                    <a:gd name="T29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9" y="13"/>
                      </a:moveTo>
                      <a:cubicBezTo>
                        <a:pt x="9" y="13"/>
                        <a:pt x="9" y="13"/>
                        <a:pt x="8" y="12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1" y="8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9" y="0"/>
                        <a:pt x="10" y="0"/>
                        <a:pt x="10" y="1"/>
                      </a:cubicBezTo>
                      <a:cubicBezTo>
                        <a:pt x="11" y="1"/>
                        <a:pt x="11" y="2"/>
                        <a:pt x="11" y="3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1" y="11"/>
                        <a:pt x="11" y="12"/>
                        <a:pt x="10" y="12"/>
                      </a:cubicBezTo>
                      <a:cubicBezTo>
                        <a:pt x="10" y="13"/>
                        <a:pt x="10" y="13"/>
                        <a:pt x="9" y="13"/>
                      </a:cubicBezTo>
                      <a:close/>
                      <a:moveTo>
                        <a:pt x="6" y="7"/>
                      </a:move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4" name="Freeform 606">
                  <a:extLst>
                    <a:ext uri="{FF2B5EF4-FFF2-40B4-BE49-F238E27FC236}">
                      <a16:creationId xmlns:a16="http://schemas.microsoft.com/office/drawing/2014/main" id="{071D9B9E-5967-494E-ACBE-A554E09AFE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1259"/>
                  <a:ext cx="26" cy="31"/>
                </a:xfrm>
                <a:custGeom>
                  <a:avLst/>
                  <a:gdLst>
                    <a:gd name="T0" fmla="*/ 2 w 11"/>
                    <a:gd name="T1" fmla="*/ 13 h 13"/>
                    <a:gd name="T2" fmla="*/ 1 w 11"/>
                    <a:gd name="T3" fmla="*/ 12 h 13"/>
                    <a:gd name="T4" fmla="*/ 0 w 11"/>
                    <a:gd name="T5" fmla="*/ 11 h 13"/>
                    <a:gd name="T6" fmla="*/ 0 w 11"/>
                    <a:gd name="T7" fmla="*/ 2 h 13"/>
                    <a:gd name="T8" fmla="*/ 1 w 11"/>
                    <a:gd name="T9" fmla="*/ 0 h 13"/>
                    <a:gd name="T10" fmla="*/ 3 w 11"/>
                    <a:gd name="T11" fmla="*/ 0 h 13"/>
                    <a:gd name="T12" fmla="*/ 10 w 11"/>
                    <a:gd name="T13" fmla="*/ 5 h 13"/>
                    <a:gd name="T14" fmla="*/ 11 w 11"/>
                    <a:gd name="T15" fmla="*/ 6 h 13"/>
                    <a:gd name="T16" fmla="*/ 10 w 11"/>
                    <a:gd name="T17" fmla="*/ 8 h 13"/>
                    <a:gd name="T18" fmla="*/ 3 w 11"/>
                    <a:gd name="T19" fmla="*/ 12 h 13"/>
                    <a:gd name="T20" fmla="*/ 2 w 11"/>
                    <a:gd name="T21" fmla="*/ 13 h 13"/>
                    <a:gd name="T22" fmla="*/ 4 w 11"/>
                    <a:gd name="T23" fmla="*/ 6 h 13"/>
                    <a:gd name="T24" fmla="*/ 4 w 11"/>
                    <a:gd name="T25" fmla="*/ 7 h 13"/>
                    <a:gd name="T26" fmla="*/ 5 w 11"/>
                    <a:gd name="T27" fmla="*/ 6 h 13"/>
                    <a:gd name="T28" fmla="*/ 4 w 11"/>
                    <a:gd name="T29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2" y="13"/>
                      </a:moveTo>
                      <a:cubicBezTo>
                        <a:pt x="2" y="13"/>
                        <a:pt x="2" y="12"/>
                        <a:pt x="1" y="12"/>
                      </a:cubicBezTo>
                      <a:cubicBezTo>
                        <a:pt x="1" y="12"/>
                        <a:pt x="0" y="11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1" y="5"/>
                        <a:pt x="11" y="6"/>
                        <a:pt x="11" y="6"/>
                      </a:cubicBezTo>
                      <a:cubicBezTo>
                        <a:pt x="11" y="7"/>
                        <a:pt x="11" y="8"/>
                        <a:pt x="10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3" y="13"/>
                        <a:pt x="2" y="13"/>
                      </a:cubicBezTo>
                      <a:close/>
                      <a:moveTo>
                        <a:pt x="4" y="6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5" name="Freeform 607">
                  <a:extLst>
                    <a:ext uri="{FF2B5EF4-FFF2-40B4-BE49-F238E27FC236}">
                      <a16:creationId xmlns:a16="http://schemas.microsoft.com/office/drawing/2014/main" id="{6E05F1B2-A83D-4746-ABD3-38D3D52D9E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1956"/>
                  <a:ext cx="156" cy="208"/>
                </a:xfrm>
                <a:custGeom>
                  <a:avLst/>
                  <a:gdLst>
                    <a:gd name="T0" fmla="*/ 64 w 66"/>
                    <a:gd name="T1" fmla="*/ 88 h 88"/>
                    <a:gd name="T2" fmla="*/ 63 w 66"/>
                    <a:gd name="T3" fmla="*/ 87 h 88"/>
                    <a:gd name="T4" fmla="*/ 18 w 66"/>
                    <a:gd name="T5" fmla="*/ 61 h 88"/>
                    <a:gd name="T6" fmla="*/ 3 w 66"/>
                    <a:gd name="T7" fmla="*/ 69 h 88"/>
                    <a:gd name="T8" fmla="*/ 1 w 66"/>
                    <a:gd name="T9" fmla="*/ 69 h 88"/>
                    <a:gd name="T10" fmla="*/ 0 w 66"/>
                    <a:gd name="T11" fmla="*/ 68 h 88"/>
                    <a:gd name="T12" fmla="*/ 0 w 66"/>
                    <a:gd name="T13" fmla="*/ 67 h 88"/>
                    <a:gd name="T14" fmla="*/ 1 w 66"/>
                    <a:gd name="T15" fmla="*/ 65 h 88"/>
                    <a:gd name="T16" fmla="*/ 10 w 66"/>
                    <a:gd name="T17" fmla="*/ 60 h 88"/>
                    <a:gd name="T18" fmla="*/ 10 w 66"/>
                    <a:gd name="T19" fmla="*/ 2 h 88"/>
                    <a:gd name="T20" fmla="*/ 11 w 66"/>
                    <a:gd name="T21" fmla="*/ 1 h 88"/>
                    <a:gd name="T22" fmla="*/ 13 w 66"/>
                    <a:gd name="T23" fmla="*/ 1 h 88"/>
                    <a:gd name="T24" fmla="*/ 65 w 66"/>
                    <a:gd name="T25" fmla="*/ 31 h 88"/>
                    <a:gd name="T26" fmla="*/ 66 w 66"/>
                    <a:gd name="T27" fmla="*/ 32 h 88"/>
                    <a:gd name="T28" fmla="*/ 66 w 66"/>
                    <a:gd name="T29" fmla="*/ 86 h 88"/>
                    <a:gd name="T30" fmla="*/ 65 w 66"/>
                    <a:gd name="T31" fmla="*/ 87 h 88"/>
                    <a:gd name="T32" fmla="*/ 64 w 66"/>
                    <a:gd name="T33" fmla="*/ 88 h 88"/>
                    <a:gd name="T34" fmla="*/ 18 w 66"/>
                    <a:gd name="T35" fmla="*/ 57 h 88"/>
                    <a:gd name="T36" fmla="*/ 19 w 66"/>
                    <a:gd name="T37" fmla="*/ 57 h 88"/>
                    <a:gd name="T38" fmla="*/ 62 w 66"/>
                    <a:gd name="T39" fmla="*/ 82 h 88"/>
                    <a:gd name="T40" fmla="*/ 62 w 66"/>
                    <a:gd name="T41" fmla="*/ 34 h 88"/>
                    <a:gd name="T42" fmla="*/ 14 w 66"/>
                    <a:gd name="T43" fmla="*/ 6 h 88"/>
                    <a:gd name="T44" fmla="*/ 14 w 66"/>
                    <a:gd name="T45" fmla="*/ 59 h 88"/>
                    <a:gd name="T46" fmla="*/ 17 w 66"/>
                    <a:gd name="T47" fmla="*/ 57 h 88"/>
                    <a:gd name="T48" fmla="*/ 18 w 66"/>
                    <a:gd name="T49" fmla="*/ 57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6" h="88">
                      <a:moveTo>
                        <a:pt x="64" y="88"/>
                      </a:moveTo>
                      <a:cubicBezTo>
                        <a:pt x="64" y="88"/>
                        <a:pt x="63" y="88"/>
                        <a:pt x="63" y="87"/>
                      </a:cubicBezTo>
                      <a:cubicBezTo>
                        <a:pt x="18" y="61"/>
                        <a:pt x="18" y="61"/>
                        <a:pt x="18" y="61"/>
                      </a:cubicBezTo>
                      <a:cubicBezTo>
                        <a:pt x="3" y="69"/>
                        <a:pt x="3" y="69"/>
                        <a:pt x="3" y="69"/>
                      </a:cubicBezTo>
                      <a:cubicBezTo>
                        <a:pt x="3" y="70"/>
                        <a:pt x="2" y="70"/>
                        <a:pt x="1" y="69"/>
                      </a:cubicBezTo>
                      <a:cubicBezTo>
                        <a:pt x="1" y="69"/>
                        <a:pt x="0" y="68"/>
                        <a:pt x="0" y="68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66"/>
                        <a:pt x="1" y="66"/>
                        <a:pt x="1" y="65"/>
                      </a:cubicBezTo>
                      <a:cubicBezTo>
                        <a:pt x="10" y="60"/>
                        <a:pt x="10" y="60"/>
                        <a:pt x="10" y="60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2"/>
                        <a:pt x="10" y="1"/>
                        <a:pt x="11" y="1"/>
                      </a:cubicBezTo>
                      <a:cubicBezTo>
                        <a:pt x="12" y="0"/>
                        <a:pt x="12" y="0"/>
                        <a:pt x="13" y="1"/>
                      </a:cubicBezTo>
                      <a:cubicBezTo>
                        <a:pt x="65" y="31"/>
                        <a:pt x="65" y="31"/>
                        <a:pt x="65" y="31"/>
                      </a:cubicBezTo>
                      <a:cubicBezTo>
                        <a:pt x="66" y="31"/>
                        <a:pt x="66" y="32"/>
                        <a:pt x="66" y="32"/>
                      </a:cubicBezTo>
                      <a:cubicBezTo>
                        <a:pt x="66" y="86"/>
                        <a:pt x="66" y="86"/>
                        <a:pt x="66" y="86"/>
                      </a:cubicBezTo>
                      <a:cubicBezTo>
                        <a:pt x="66" y="86"/>
                        <a:pt x="66" y="87"/>
                        <a:pt x="65" y="87"/>
                      </a:cubicBezTo>
                      <a:cubicBezTo>
                        <a:pt x="65" y="88"/>
                        <a:pt x="64" y="88"/>
                        <a:pt x="64" y="88"/>
                      </a:cubicBezTo>
                      <a:close/>
                      <a:moveTo>
                        <a:pt x="18" y="57"/>
                      </a:moveTo>
                      <a:cubicBezTo>
                        <a:pt x="18" y="57"/>
                        <a:pt x="18" y="57"/>
                        <a:pt x="19" y="57"/>
                      </a:cubicBezTo>
                      <a:cubicBezTo>
                        <a:pt x="62" y="82"/>
                        <a:pt x="62" y="82"/>
                        <a:pt x="62" y="82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59"/>
                        <a:pt x="14" y="59"/>
                        <a:pt x="14" y="59"/>
                      </a:cubicBezTo>
                      <a:cubicBezTo>
                        <a:pt x="17" y="57"/>
                        <a:pt x="17" y="57"/>
                        <a:pt x="17" y="57"/>
                      </a:cubicBezTo>
                      <a:cubicBezTo>
                        <a:pt x="17" y="57"/>
                        <a:pt x="17" y="57"/>
                        <a:pt x="18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6" name="Freeform 608">
                  <a:extLst>
                    <a:ext uri="{FF2B5EF4-FFF2-40B4-BE49-F238E27FC236}">
                      <a16:creationId xmlns:a16="http://schemas.microsoft.com/office/drawing/2014/main" id="{D066E6E1-207F-4365-B947-33A84ADCC8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1630"/>
                  <a:ext cx="68" cy="80"/>
                </a:xfrm>
                <a:custGeom>
                  <a:avLst/>
                  <a:gdLst>
                    <a:gd name="T0" fmla="*/ 2 w 29"/>
                    <a:gd name="T1" fmla="*/ 34 h 34"/>
                    <a:gd name="T2" fmla="*/ 1 w 29"/>
                    <a:gd name="T3" fmla="*/ 33 h 34"/>
                    <a:gd name="T4" fmla="*/ 0 w 29"/>
                    <a:gd name="T5" fmla="*/ 32 h 34"/>
                    <a:gd name="T6" fmla="*/ 0 w 29"/>
                    <a:gd name="T7" fmla="*/ 2 h 34"/>
                    <a:gd name="T8" fmla="*/ 1 w 29"/>
                    <a:gd name="T9" fmla="*/ 0 h 34"/>
                    <a:gd name="T10" fmla="*/ 3 w 29"/>
                    <a:gd name="T11" fmla="*/ 0 h 34"/>
                    <a:gd name="T12" fmla="*/ 28 w 29"/>
                    <a:gd name="T13" fmla="*/ 15 h 34"/>
                    <a:gd name="T14" fmla="*/ 29 w 29"/>
                    <a:gd name="T15" fmla="*/ 17 h 34"/>
                    <a:gd name="T16" fmla="*/ 28 w 29"/>
                    <a:gd name="T17" fmla="*/ 19 h 34"/>
                    <a:gd name="T18" fmla="*/ 3 w 29"/>
                    <a:gd name="T19" fmla="*/ 33 h 34"/>
                    <a:gd name="T20" fmla="*/ 2 w 29"/>
                    <a:gd name="T21" fmla="*/ 34 h 34"/>
                    <a:gd name="T22" fmla="*/ 4 w 29"/>
                    <a:gd name="T23" fmla="*/ 6 h 34"/>
                    <a:gd name="T24" fmla="*/ 4 w 29"/>
                    <a:gd name="T25" fmla="*/ 28 h 34"/>
                    <a:gd name="T26" fmla="*/ 23 w 29"/>
                    <a:gd name="T27" fmla="*/ 17 h 34"/>
                    <a:gd name="T28" fmla="*/ 4 w 29"/>
                    <a:gd name="T29" fmla="*/ 6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34">
                      <a:moveTo>
                        <a:pt x="2" y="34"/>
                      </a:moveTo>
                      <a:cubicBezTo>
                        <a:pt x="1" y="34"/>
                        <a:pt x="1" y="33"/>
                        <a:pt x="1" y="33"/>
                      </a:cubicBezTo>
                      <a:cubicBezTo>
                        <a:pt x="0" y="33"/>
                        <a:pt x="0" y="32"/>
                        <a:pt x="0" y="3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9" y="15"/>
                        <a:pt x="29" y="16"/>
                        <a:pt x="29" y="17"/>
                      </a:cubicBezTo>
                      <a:cubicBezTo>
                        <a:pt x="29" y="18"/>
                        <a:pt x="29" y="18"/>
                        <a:pt x="28" y="19"/>
                      </a:cubicBezTo>
                      <a:cubicBezTo>
                        <a:pt x="3" y="33"/>
                        <a:pt x="3" y="33"/>
                        <a:pt x="3" y="33"/>
                      </a:cubicBezTo>
                      <a:cubicBezTo>
                        <a:pt x="2" y="33"/>
                        <a:pt x="2" y="34"/>
                        <a:pt x="2" y="34"/>
                      </a:cubicBezTo>
                      <a:close/>
                      <a:moveTo>
                        <a:pt x="4" y="6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7" name="Freeform 609">
                  <a:extLst>
                    <a:ext uri="{FF2B5EF4-FFF2-40B4-BE49-F238E27FC236}">
                      <a16:creationId xmlns:a16="http://schemas.microsoft.com/office/drawing/2014/main" id="{D20E5AEC-9E79-422F-815B-D314D6C381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1694"/>
                  <a:ext cx="160" cy="191"/>
                </a:xfrm>
                <a:custGeom>
                  <a:avLst/>
                  <a:gdLst>
                    <a:gd name="T0" fmla="*/ 53 w 68"/>
                    <a:gd name="T1" fmla="*/ 81 h 81"/>
                    <a:gd name="T2" fmla="*/ 52 w 68"/>
                    <a:gd name="T3" fmla="*/ 81 h 81"/>
                    <a:gd name="T4" fmla="*/ 1 w 68"/>
                    <a:gd name="T5" fmla="*/ 51 h 81"/>
                    <a:gd name="T6" fmla="*/ 0 w 68"/>
                    <a:gd name="T7" fmla="*/ 49 h 81"/>
                    <a:gd name="T8" fmla="*/ 0 w 68"/>
                    <a:gd name="T9" fmla="*/ 11 h 81"/>
                    <a:gd name="T10" fmla="*/ 1 w 68"/>
                    <a:gd name="T11" fmla="*/ 9 h 81"/>
                    <a:gd name="T12" fmla="*/ 3 w 68"/>
                    <a:gd name="T13" fmla="*/ 9 h 81"/>
                    <a:gd name="T14" fmla="*/ 17 w 68"/>
                    <a:gd name="T15" fmla="*/ 17 h 81"/>
                    <a:gd name="T16" fmla="*/ 47 w 68"/>
                    <a:gd name="T17" fmla="*/ 0 h 81"/>
                    <a:gd name="T18" fmla="*/ 49 w 68"/>
                    <a:gd name="T19" fmla="*/ 0 h 81"/>
                    <a:gd name="T20" fmla="*/ 67 w 68"/>
                    <a:gd name="T21" fmla="*/ 10 h 81"/>
                    <a:gd name="T22" fmla="*/ 68 w 68"/>
                    <a:gd name="T23" fmla="*/ 12 h 81"/>
                    <a:gd name="T24" fmla="*/ 67 w 68"/>
                    <a:gd name="T25" fmla="*/ 14 h 81"/>
                    <a:gd name="T26" fmla="*/ 55 w 68"/>
                    <a:gd name="T27" fmla="*/ 21 h 81"/>
                    <a:gd name="T28" fmla="*/ 55 w 68"/>
                    <a:gd name="T29" fmla="*/ 79 h 81"/>
                    <a:gd name="T30" fmla="*/ 54 w 68"/>
                    <a:gd name="T31" fmla="*/ 81 h 81"/>
                    <a:gd name="T32" fmla="*/ 53 w 68"/>
                    <a:gd name="T33" fmla="*/ 81 h 81"/>
                    <a:gd name="T34" fmla="*/ 4 w 68"/>
                    <a:gd name="T35" fmla="*/ 48 h 81"/>
                    <a:gd name="T36" fmla="*/ 51 w 68"/>
                    <a:gd name="T37" fmla="*/ 76 h 81"/>
                    <a:gd name="T38" fmla="*/ 51 w 68"/>
                    <a:gd name="T39" fmla="*/ 20 h 81"/>
                    <a:gd name="T40" fmla="*/ 52 w 68"/>
                    <a:gd name="T41" fmla="*/ 18 h 81"/>
                    <a:gd name="T42" fmla="*/ 62 w 68"/>
                    <a:gd name="T43" fmla="*/ 12 h 81"/>
                    <a:gd name="T44" fmla="*/ 48 w 68"/>
                    <a:gd name="T45" fmla="*/ 4 h 81"/>
                    <a:gd name="T46" fmla="*/ 18 w 68"/>
                    <a:gd name="T47" fmla="*/ 21 h 81"/>
                    <a:gd name="T48" fmla="*/ 16 w 68"/>
                    <a:gd name="T49" fmla="*/ 21 h 81"/>
                    <a:gd name="T50" fmla="*/ 4 w 68"/>
                    <a:gd name="T51" fmla="*/ 14 h 81"/>
                    <a:gd name="T52" fmla="*/ 4 w 68"/>
                    <a:gd name="T53" fmla="*/ 48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" h="81">
                      <a:moveTo>
                        <a:pt x="53" y="81"/>
                      </a:moveTo>
                      <a:cubicBezTo>
                        <a:pt x="53" y="81"/>
                        <a:pt x="53" y="81"/>
                        <a:pt x="52" y="81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0" y="51"/>
                        <a:pt x="0" y="50"/>
                        <a:pt x="0" y="49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0"/>
                        <a:pt x="0" y="10"/>
                        <a:pt x="1" y="9"/>
                      </a:cubicBezTo>
                      <a:cubicBezTo>
                        <a:pt x="1" y="9"/>
                        <a:pt x="2" y="9"/>
                        <a:pt x="3" y="9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7" y="0"/>
                        <a:pt x="48" y="0"/>
                        <a:pt x="49" y="0"/>
                      </a:cubicBezTo>
                      <a:cubicBezTo>
                        <a:pt x="67" y="10"/>
                        <a:pt x="67" y="10"/>
                        <a:pt x="67" y="10"/>
                      </a:cubicBezTo>
                      <a:cubicBezTo>
                        <a:pt x="68" y="11"/>
                        <a:pt x="68" y="11"/>
                        <a:pt x="68" y="12"/>
                      </a:cubicBezTo>
                      <a:cubicBezTo>
                        <a:pt x="68" y="13"/>
                        <a:pt x="68" y="14"/>
                        <a:pt x="67" y="14"/>
                      </a:cubicBezTo>
                      <a:cubicBezTo>
                        <a:pt x="55" y="21"/>
                        <a:pt x="55" y="21"/>
                        <a:pt x="55" y="21"/>
                      </a:cubicBezTo>
                      <a:cubicBezTo>
                        <a:pt x="55" y="79"/>
                        <a:pt x="55" y="79"/>
                        <a:pt x="55" y="79"/>
                      </a:cubicBezTo>
                      <a:cubicBezTo>
                        <a:pt x="55" y="80"/>
                        <a:pt x="55" y="81"/>
                        <a:pt x="54" y="81"/>
                      </a:cubicBezTo>
                      <a:cubicBezTo>
                        <a:pt x="54" y="81"/>
                        <a:pt x="54" y="81"/>
                        <a:pt x="53" y="81"/>
                      </a:cubicBezTo>
                      <a:close/>
                      <a:moveTo>
                        <a:pt x="4" y="48"/>
                      </a:moveTo>
                      <a:cubicBezTo>
                        <a:pt x="51" y="76"/>
                        <a:pt x="51" y="76"/>
                        <a:pt x="51" y="76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1" y="19"/>
                        <a:pt x="52" y="18"/>
                        <a:pt x="52" y="18"/>
                      </a:cubicBezTo>
                      <a:cubicBezTo>
                        <a:pt x="62" y="12"/>
                        <a:pt x="62" y="12"/>
                        <a:pt x="62" y="12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2"/>
                        <a:pt x="16" y="22"/>
                        <a:pt x="16" y="21"/>
                      </a:cubicBezTo>
                      <a:cubicBezTo>
                        <a:pt x="4" y="14"/>
                        <a:pt x="4" y="14"/>
                        <a:pt x="4" y="14"/>
                      </a:cubicBezTo>
                      <a:lnTo>
                        <a:pt x="4" y="4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8" name="Freeform 610">
                  <a:extLst>
                    <a:ext uri="{FF2B5EF4-FFF2-40B4-BE49-F238E27FC236}">
                      <a16:creationId xmlns:a16="http://schemas.microsoft.com/office/drawing/2014/main" id="{44057582-FF7F-47BC-B589-3491218FA9E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1675"/>
                  <a:ext cx="130" cy="229"/>
                </a:xfrm>
                <a:custGeom>
                  <a:avLst/>
                  <a:gdLst>
                    <a:gd name="T0" fmla="*/ 2 w 55"/>
                    <a:gd name="T1" fmla="*/ 97 h 97"/>
                    <a:gd name="T2" fmla="*/ 1 w 55"/>
                    <a:gd name="T3" fmla="*/ 97 h 97"/>
                    <a:gd name="T4" fmla="*/ 0 w 55"/>
                    <a:gd name="T5" fmla="*/ 95 h 97"/>
                    <a:gd name="T6" fmla="*/ 0 w 55"/>
                    <a:gd name="T7" fmla="*/ 21 h 97"/>
                    <a:gd name="T8" fmla="*/ 1 w 55"/>
                    <a:gd name="T9" fmla="*/ 20 h 97"/>
                    <a:gd name="T10" fmla="*/ 35 w 55"/>
                    <a:gd name="T11" fmla="*/ 0 h 97"/>
                    <a:gd name="T12" fmla="*/ 37 w 55"/>
                    <a:gd name="T13" fmla="*/ 0 h 97"/>
                    <a:gd name="T14" fmla="*/ 54 w 55"/>
                    <a:gd name="T15" fmla="*/ 10 h 97"/>
                    <a:gd name="T16" fmla="*/ 55 w 55"/>
                    <a:gd name="T17" fmla="*/ 12 h 97"/>
                    <a:gd name="T18" fmla="*/ 55 w 55"/>
                    <a:gd name="T19" fmla="*/ 66 h 97"/>
                    <a:gd name="T20" fmla="*/ 54 w 55"/>
                    <a:gd name="T21" fmla="*/ 68 h 97"/>
                    <a:gd name="T22" fmla="*/ 3 w 55"/>
                    <a:gd name="T23" fmla="*/ 97 h 97"/>
                    <a:gd name="T24" fmla="*/ 2 w 55"/>
                    <a:gd name="T25" fmla="*/ 97 h 97"/>
                    <a:gd name="T26" fmla="*/ 4 w 55"/>
                    <a:gd name="T27" fmla="*/ 23 h 97"/>
                    <a:gd name="T28" fmla="*/ 4 w 55"/>
                    <a:gd name="T29" fmla="*/ 92 h 97"/>
                    <a:gd name="T30" fmla="*/ 51 w 55"/>
                    <a:gd name="T31" fmla="*/ 65 h 97"/>
                    <a:gd name="T32" fmla="*/ 51 w 55"/>
                    <a:gd name="T33" fmla="*/ 13 h 97"/>
                    <a:gd name="T34" fmla="*/ 36 w 55"/>
                    <a:gd name="T35" fmla="*/ 4 h 97"/>
                    <a:gd name="T36" fmla="*/ 4 w 55"/>
                    <a:gd name="T37" fmla="*/ 2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5" h="97">
                      <a:moveTo>
                        <a:pt x="2" y="97"/>
                      </a:moveTo>
                      <a:cubicBezTo>
                        <a:pt x="1" y="97"/>
                        <a:pt x="1" y="97"/>
                        <a:pt x="1" y="97"/>
                      </a:cubicBezTo>
                      <a:cubicBezTo>
                        <a:pt x="0" y="97"/>
                        <a:pt x="0" y="96"/>
                        <a:pt x="0" y="95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21"/>
                        <a:pt x="0" y="20"/>
                        <a:pt x="1" y="2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6" y="0"/>
                        <a:pt x="36" y="0"/>
                        <a:pt x="37" y="0"/>
                      </a:cubicBezTo>
                      <a:cubicBezTo>
                        <a:pt x="54" y="10"/>
                        <a:pt x="54" y="10"/>
                        <a:pt x="54" y="10"/>
                      </a:cubicBezTo>
                      <a:cubicBezTo>
                        <a:pt x="55" y="10"/>
                        <a:pt x="55" y="11"/>
                        <a:pt x="55" y="12"/>
                      </a:cubicBezTo>
                      <a:cubicBezTo>
                        <a:pt x="55" y="66"/>
                        <a:pt x="55" y="66"/>
                        <a:pt x="55" y="66"/>
                      </a:cubicBezTo>
                      <a:cubicBezTo>
                        <a:pt x="55" y="66"/>
                        <a:pt x="55" y="67"/>
                        <a:pt x="54" y="68"/>
                      </a:cubicBezTo>
                      <a:cubicBezTo>
                        <a:pt x="3" y="97"/>
                        <a:pt x="3" y="97"/>
                        <a:pt x="3" y="97"/>
                      </a:cubicBezTo>
                      <a:cubicBezTo>
                        <a:pt x="2" y="97"/>
                        <a:pt x="2" y="97"/>
                        <a:pt x="2" y="97"/>
                      </a:cubicBezTo>
                      <a:close/>
                      <a:moveTo>
                        <a:pt x="4" y="23"/>
                      </a:moveTo>
                      <a:cubicBezTo>
                        <a:pt x="4" y="92"/>
                        <a:pt x="4" y="92"/>
                        <a:pt x="4" y="92"/>
                      </a:cubicBezTo>
                      <a:cubicBezTo>
                        <a:pt x="51" y="65"/>
                        <a:pt x="51" y="65"/>
                        <a:pt x="51" y="65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36" y="4"/>
                        <a:pt x="36" y="4"/>
                        <a:pt x="36" y="4"/>
                      </a:cubicBezTo>
                      <a:lnTo>
                        <a:pt x="4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9" name="Freeform 611">
                  <a:extLst>
                    <a:ext uri="{FF2B5EF4-FFF2-40B4-BE49-F238E27FC236}">
                      <a16:creationId xmlns:a16="http://schemas.microsoft.com/office/drawing/2014/main" id="{B760A6DF-1E02-4E89-9ECB-66D4C1556E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43" y="1621"/>
                  <a:ext cx="125" cy="78"/>
                </a:xfrm>
                <a:custGeom>
                  <a:avLst/>
                  <a:gdLst>
                    <a:gd name="T0" fmla="*/ 19 w 53"/>
                    <a:gd name="T1" fmla="*/ 33 h 33"/>
                    <a:gd name="T2" fmla="*/ 18 w 53"/>
                    <a:gd name="T3" fmla="*/ 32 h 33"/>
                    <a:gd name="T4" fmla="*/ 1 w 53"/>
                    <a:gd name="T5" fmla="*/ 23 h 33"/>
                    <a:gd name="T6" fmla="*/ 0 w 53"/>
                    <a:gd name="T7" fmla="*/ 21 h 33"/>
                    <a:gd name="T8" fmla="*/ 1 w 53"/>
                    <a:gd name="T9" fmla="*/ 19 h 33"/>
                    <a:gd name="T10" fmla="*/ 33 w 53"/>
                    <a:gd name="T11" fmla="*/ 0 h 33"/>
                    <a:gd name="T12" fmla="*/ 35 w 53"/>
                    <a:gd name="T13" fmla="*/ 0 h 33"/>
                    <a:gd name="T14" fmla="*/ 52 w 53"/>
                    <a:gd name="T15" fmla="*/ 10 h 33"/>
                    <a:gd name="T16" fmla="*/ 53 w 53"/>
                    <a:gd name="T17" fmla="*/ 12 h 33"/>
                    <a:gd name="T18" fmla="*/ 52 w 53"/>
                    <a:gd name="T19" fmla="*/ 14 h 33"/>
                    <a:gd name="T20" fmla="*/ 20 w 53"/>
                    <a:gd name="T21" fmla="*/ 32 h 33"/>
                    <a:gd name="T22" fmla="*/ 19 w 53"/>
                    <a:gd name="T23" fmla="*/ 33 h 33"/>
                    <a:gd name="T24" fmla="*/ 6 w 53"/>
                    <a:gd name="T25" fmla="*/ 21 h 33"/>
                    <a:gd name="T26" fmla="*/ 19 w 53"/>
                    <a:gd name="T27" fmla="*/ 28 h 33"/>
                    <a:gd name="T28" fmla="*/ 47 w 53"/>
                    <a:gd name="T29" fmla="*/ 12 h 33"/>
                    <a:gd name="T30" fmla="*/ 34 w 53"/>
                    <a:gd name="T31" fmla="*/ 4 h 33"/>
                    <a:gd name="T32" fmla="*/ 6 w 53"/>
                    <a:gd name="T33" fmla="*/ 2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3" h="33">
                      <a:moveTo>
                        <a:pt x="19" y="33"/>
                      </a:moveTo>
                      <a:cubicBezTo>
                        <a:pt x="18" y="33"/>
                        <a:pt x="18" y="33"/>
                        <a:pt x="18" y="32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2"/>
                        <a:pt x="0" y="22"/>
                        <a:pt x="0" y="21"/>
                      </a:cubicBezTo>
                      <a:cubicBezTo>
                        <a:pt x="0" y="20"/>
                        <a:pt x="0" y="19"/>
                        <a:pt x="1" y="1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4" y="0"/>
                        <a:pt x="34" y="0"/>
                        <a:pt x="35" y="0"/>
                      </a:cubicBezTo>
                      <a:cubicBezTo>
                        <a:pt x="52" y="10"/>
                        <a:pt x="52" y="10"/>
                        <a:pt x="52" y="10"/>
                      </a:cubicBezTo>
                      <a:cubicBezTo>
                        <a:pt x="53" y="11"/>
                        <a:pt x="53" y="11"/>
                        <a:pt x="53" y="12"/>
                      </a:cubicBezTo>
                      <a:cubicBezTo>
                        <a:pt x="53" y="13"/>
                        <a:pt x="53" y="13"/>
                        <a:pt x="52" y="14"/>
                      </a:cubicBezTo>
                      <a:cubicBezTo>
                        <a:pt x="20" y="32"/>
                        <a:pt x="20" y="32"/>
                        <a:pt x="20" y="32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lose/>
                      <a:moveTo>
                        <a:pt x="6" y="21"/>
                      </a:moveTo>
                      <a:cubicBezTo>
                        <a:pt x="19" y="28"/>
                        <a:pt x="19" y="28"/>
                        <a:pt x="19" y="28"/>
                      </a:cubicBezTo>
                      <a:cubicBezTo>
                        <a:pt x="47" y="12"/>
                        <a:pt x="47" y="12"/>
                        <a:pt x="47" y="12"/>
                      </a:cubicBezTo>
                      <a:cubicBezTo>
                        <a:pt x="34" y="4"/>
                        <a:pt x="34" y="4"/>
                        <a:pt x="34" y="4"/>
                      </a:cubicBezTo>
                      <a:lnTo>
                        <a:pt x="6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0" name="Freeform 612">
                  <a:extLst>
                    <a:ext uri="{FF2B5EF4-FFF2-40B4-BE49-F238E27FC236}">
                      <a16:creationId xmlns:a16="http://schemas.microsoft.com/office/drawing/2014/main" id="{CBDCDEA3-6586-400F-AC13-136CBB0556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1668"/>
                  <a:ext cx="113" cy="73"/>
                </a:xfrm>
                <a:custGeom>
                  <a:avLst/>
                  <a:gdLst>
                    <a:gd name="T0" fmla="*/ 17 w 48"/>
                    <a:gd name="T1" fmla="*/ 31 h 31"/>
                    <a:gd name="T2" fmla="*/ 16 w 48"/>
                    <a:gd name="T3" fmla="*/ 30 h 31"/>
                    <a:gd name="T4" fmla="*/ 1 w 48"/>
                    <a:gd name="T5" fmla="*/ 22 h 31"/>
                    <a:gd name="T6" fmla="*/ 0 w 48"/>
                    <a:gd name="T7" fmla="*/ 20 h 31"/>
                    <a:gd name="T8" fmla="*/ 0 w 48"/>
                    <a:gd name="T9" fmla="*/ 17 h 31"/>
                    <a:gd name="T10" fmla="*/ 1 w 48"/>
                    <a:gd name="T11" fmla="*/ 16 h 31"/>
                    <a:gd name="T12" fmla="*/ 28 w 48"/>
                    <a:gd name="T13" fmla="*/ 0 h 31"/>
                    <a:gd name="T14" fmla="*/ 30 w 48"/>
                    <a:gd name="T15" fmla="*/ 0 h 31"/>
                    <a:gd name="T16" fmla="*/ 47 w 48"/>
                    <a:gd name="T17" fmla="*/ 10 h 31"/>
                    <a:gd name="T18" fmla="*/ 48 w 48"/>
                    <a:gd name="T19" fmla="*/ 12 h 31"/>
                    <a:gd name="T20" fmla="*/ 47 w 48"/>
                    <a:gd name="T21" fmla="*/ 13 h 31"/>
                    <a:gd name="T22" fmla="*/ 18 w 48"/>
                    <a:gd name="T23" fmla="*/ 30 h 31"/>
                    <a:gd name="T24" fmla="*/ 17 w 48"/>
                    <a:gd name="T25" fmla="*/ 31 h 31"/>
                    <a:gd name="T26" fmla="*/ 4 w 48"/>
                    <a:gd name="T27" fmla="*/ 19 h 31"/>
                    <a:gd name="T28" fmla="*/ 17 w 48"/>
                    <a:gd name="T29" fmla="*/ 26 h 31"/>
                    <a:gd name="T30" fmla="*/ 42 w 48"/>
                    <a:gd name="T31" fmla="*/ 12 h 31"/>
                    <a:gd name="T32" fmla="*/ 29 w 48"/>
                    <a:gd name="T33" fmla="*/ 4 h 31"/>
                    <a:gd name="T34" fmla="*/ 4 w 48"/>
                    <a:gd name="T35" fmla="*/ 1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8" h="31">
                      <a:moveTo>
                        <a:pt x="17" y="31"/>
                      </a:moveTo>
                      <a:cubicBezTo>
                        <a:pt x="16" y="31"/>
                        <a:pt x="16" y="31"/>
                        <a:pt x="16" y="30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7"/>
                        <a:pt x="0" y="16"/>
                        <a:pt x="1" y="16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0"/>
                        <a:pt x="29" y="0"/>
                        <a:pt x="30" y="0"/>
                      </a:cubicBezTo>
                      <a:cubicBezTo>
                        <a:pt x="47" y="10"/>
                        <a:pt x="47" y="10"/>
                        <a:pt x="47" y="10"/>
                      </a:cubicBezTo>
                      <a:cubicBezTo>
                        <a:pt x="48" y="10"/>
                        <a:pt x="48" y="11"/>
                        <a:pt x="48" y="12"/>
                      </a:cubicBezTo>
                      <a:cubicBezTo>
                        <a:pt x="48" y="12"/>
                        <a:pt x="48" y="13"/>
                        <a:pt x="47" y="13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7" y="31"/>
                        <a:pt x="17" y="31"/>
                        <a:pt x="17" y="31"/>
                      </a:cubicBezTo>
                      <a:close/>
                      <a:moveTo>
                        <a:pt x="4" y="19"/>
                      </a:moveTo>
                      <a:cubicBezTo>
                        <a:pt x="17" y="26"/>
                        <a:pt x="17" y="26"/>
                        <a:pt x="17" y="26"/>
                      </a:cubicBezTo>
                      <a:cubicBezTo>
                        <a:pt x="42" y="12"/>
                        <a:pt x="42" y="12"/>
                        <a:pt x="42" y="12"/>
                      </a:cubicBezTo>
                      <a:cubicBezTo>
                        <a:pt x="29" y="4"/>
                        <a:pt x="29" y="4"/>
                        <a:pt x="29" y="4"/>
                      </a:cubicBezTo>
                      <a:cubicBezTo>
                        <a:pt x="4" y="19"/>
                        <a:pt x="4" y="19"/>
                        <a:pt x="4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1" name="Freeform 613">
                  <a:extLst>
                    <a:ext uri="{FF2B5EF4-FFF2-40B4-BE49-F238E27FC236}">
                      <a16:creationId xmlns:a16="http://schemas.microsoft.com/office/drawing/2014/main" id="{F12961E5-488A-4B01-AC09-F19512DA48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86" y="1647"/>
                  <a:ext cx="130" cy="80"/>
                </a:xfrm>
                <a:custGeom>
                  <a:avLst/>
                  <a:gdLst>
                    <a:gd name="T0" fmla="*/ 21 w 55"/>
                    <a:gd name="T1" fmla="*/ 34 h 34"/>
                    <a:gd name="T2" fmla="*/ 20 w 55"/>
                    <a:gd name="T3" fmla="*/ 33 h 34"/>
                    <a:gd name="T4" fmla="*/ 19 w 55"/>
                    <a:gd name="T5" fmla="*/ 33 h 34"/>
                    <a:gd name="T6" fmla="*/ 1 w 55"/>
                    <a:gd name="T7" fmla="*/ 22 h 34"/>
                    <a:gd name="T8" fmla="*/ 0 w 55"/>
                    <a:gd name="T9" fmla="*/ 21 h 34"/>
                    <a:gd name="T10" fmla="*/ 1 w 55"/>
                    <a:gd name="T11" fmla="*/ 19 h 34"/>
                    <a:gd name="T12" fmla="*/ 34 w 55"/>
                    <a:gd name="T13" fmla="*/ 0 h 34"/>
                    <a:gd name="T14" fmla="*/ 36 w 55"/>
                    <a:gd name="T15" fmla="*/ 0 h 34"/>
                    <a:gd name="T16" fmla="*/ 54 w 55"/>
                    <a:gd name="T17" fmla="*/ 11 h 34"/>
                    <a:gd name="T18" fmla="*/ 55 w 55"/>
                    <a:gd name="T19" fmla="*/ 13 h 34"/>
                    <a:gd name="T20" fmla="*/ 54 w 55"/>
                    <a:gd name="T21" fmla="*/ 14 h 34"/>
                    <a:gd name="T22" fmla="*/ 22 w 55"/>
                    <a:gd name="T23" fmla="*/ 33 h 34"/>
                    <a:gd name="T24" fmla="*/ 21 w 55"/>
                    <a:gd name="T25" fmla="*/ 34 h 34"/>
                    <a:gd name="T26" fmla="*/ 6 w 55"/>
                    <a:gd name="T27" fmla="*/ 21 h 34"/>
                    <a:gd name="T28" fmla="*/ 21 w 55"/>
                    <a:gd name="T29" fmla="*/ 29 h 34"/>
                    <a:gd name="T30" fmla="*/ 49 w 55"/>
                    <a:gd name="T31" fmla="*/ 13 h 34"/>
                    <a:gd name="T32" fmla="*/ 35 w 55"/>
                    <a:gd name="T33" fmla="*/ 4 h 34"/>
                    <a:gd name="T34" fmla="*/ 6 w 55"/>
                    <a:gd name="T35" fmla="*/ 21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5" h="34">
                      <a:moveTo>
                        <a:pt x="21" y="34"/>
                      </a:moveTo>
                      <a:cubicBezTo>
                        <a:pt x="20" y="34"/>
                        <a:pt x="20" y="33"/>
                        <a:pt x="20" y="33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2"/>
                        <a:pt x="0" y="21"/>
                        <a:pt x="0" y="21"/>
                      </a:cubicBezTo>
                      <a:cubicBezTo>
                        <a:pt x="0" y="20"/>
                        <a:pt x="1" y="19"/>
                        <a:pt x="1" y="19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4" y="0"/>
                        <a:pt x="35" y="0"/>
                        <a:pt x="36" y="0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cubicBezTo>
                        <a:pt x="55" y="11"/>
                        <a:pt x="55" y="12"/>
                        <a:pt x="55" y="13"/>
                      </a:cubicBezTo>
                      <a:cubicBezTo>
                        <a:pt x="55" y="13"/>
                        <a:pt x="55" y="14"/>
                        <a:pt x="54" y="14"/>
                      </a:cubicBezTo>
                      <a:cubicBezTo>
                        <a:pt x="22" y="33"/>
                        <a:pt x="22" y="33"/>
                        <a:pt x="22" y="33"/>
                      </a:cubicBezTo>
                      <a:cubicBezTo>
                        <a:pt x="21" y="33"/>
                        <a:pt x="21" y="34"/>
                        <a:pt x="21" y="34"/>
                      </a:cubicBezTo>
                      <a:close/>
                      <a:moveTo>
                        <a:pt x="6" y="21"/>
                      </a:moveTo>
                      <a:cubicBezTo>
                        <a:pt x="21" y="29"/>
                        <a:pt x="21" y="29"/>
                        <a:pt x="21" y="29"/>
                      </a:cubicBez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35" y="4"/>
                        <a:pt x="35" y="4"/>
                        <a:pt x="35" y="4"/>
                      </a:cubicBezTo>
                      <a:lnTo>
                        <a:pt x="6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2" name="Freeform 614">
                  <a:extLst>
                    <a:ext uri="{FF2B5EF4-FFF2-40B4-BE49-F238E27FC236}">
                      <a16:creationId xmlns:a16="http://schemas.microsoft.com/office/drawing/2014/main" id="{880D1A3B-A8CD-4FFC-AC13-617F70895C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1722"/>
                  <a:ext cx="35" cy="180"/>
                </a:xfrm>
                <a:custGeom>
                  <a:avLst/>
                  <a:gdLst>
                    <a:gd name="T0" fmla="*/ 13 w 15"/>
                    <a:gd name="T1" fmla="*/ 76 h 76"/>
                    <a:gd name="T2" fmla="*/ 12 w 15"/>
                    <a:gd name="T3" fmla="*/ 76 h 76"/>
                    <a:gd name="T4" fmla="*/ 1 w 15"/>
                    <a:gd name="T5" fmla="*/ 70 h 76"/>
                    <a:gd name="T6" fmla="*/ 0 w 15"/>
                    <a:gd name="T7" fmla="*/ 68 h 76"/>
                    <a:gd name="T8" fmla="*/ 0 w 15"/>
                    <a:gd name="T9" fmla="*/ 9 h 76"/>
                    <a:gd name="T10" fmla="*/ 1 w 15"/>
                    <a:gd name="T11" fmla="*/ 7 h 76"/>
                    <a:gd name="T12" fmla="*/ 12 w 15"/>
                    <a:gd name="T13" fmla="*/ 1 h 76"/>
                    <a:gd name="T14" fmla="*/ 14 w 15"/>
                    <a:gd name="T15" fmla="*/ 1 h 76"/>
                    <a:gd name="T16" fmla="*/ 15 w 15"/>
                    <a:gd name="T17" fmla="*/ 2 h 76"/>
                    <a:gd name="T18" fmla="*/ 15 w 15"/>
                    <a:gd name="T19" fmla="*/ 74 h 76"/>
                    <a:gd name="T20" fmla="*/ 14 w 15"/>
                    <a:gd name="T21" fmla="*/ 76 h 76"/>
                    <a:gd name="T22" fmla="*/ 13 w 15"/>
                    <a:gd name="T23" fmla="*/ 76 h 76"/>
                    <a:gd name="T24" fmla="*/ 4 w 15"/>
                    <a:gd name="T25" fmla="*/ 67 h 76"/>
                    <a:gd name="T26" fmla="*/ 11 w 15"/>
                    <a:gd name="T27" fmla="*/ 71 h 76"/>
                    <a:gd name="T28" fmla="*/ 11 w 15"/>
                    <a:gd name="T29" fmla="*/ 6 h 76"/>
                    <a:gd name="T30" fmla="*/ 4 w 15"/>
                    <a:gd name="T31" fmla="*/ 10 h 76"/>
                    <a:gd name="T32" fmla="*/ 4 w 15"/>
                    <a:gd name="T33" fmla="*/ 67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76">
                      <a:moveTo>
                        <a:pt x="13" y="76"/>
                      </a:moveTo>
                      <a:cubicBezTo>
                        <a:pt x="13" y="76"/>
                        <a:pt x="12" y="76"/>
                        <a:pt x="12" y="76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69"/>
                        <a:pt x="0" y="69"/>
                        <a:pt x="0" y="6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3" y="0"/>
                        <a:pt x="13" y="0"/>
                        <a:pt x="14" y="1"/>
                      </a:cubicBezTo>
                      <a:cubicBezTo>
                        <a:pt x="15" y="1"/>
                        <a:pt x="15" y="2"/>
                        <a:pt x="15" y="2"/>
                      </a:cubicBezTo>
                      <a:cubicBezTo>
                        <a:pt x="15" y="74"/>
                        <a:pt x="15" y="74"/>
                        <a:pt x="15" y="74"/>
                      </a:cubicBezTo>
                      <a:cubicBezTo>
                        <a:pt x="15" y="75"/>
                        <a:pt x="15" y="76"/>
                        <a:pt x="14" y="76"/>
                      </a:cubicBezTo>
                      <a:cubicBezTo>
                        <a:pt x="14" y="76"/>
                        <a:pt x="13" y="76"/>
                        <a:pt x="13" y="76"/>
                      </a:cubicBezTo>
                      <a:close/>
                      <a:moveTo>
                        <a:pt x="4" y="67"/>
                      </a:moveTo>
                      <a:cubicBezTo>
                        <a:pt x="11" y="71"/>
                        <a:pt x="11" y="71"/>
                        <a:pt x="11" y="71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3" name="Freeform 615">
                  <a:extLst>
                    <a:ext uri="{FF2B5EF4-FFF2-40B4-BE49-F238E27FC236}">
                      <a16:creationId xmlns:a16="http://schemas.microsoft.com/office/drawing/2014/main" id="{44C1A22F-1C30-44EC-8214-D9FA16876D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46" y="1651"/>
                  <a:ext cx="15" cy="15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1 h 6"/>
                    <a:gd name="T10" fmla="*/ 3 w 6"/>
                    <a:gd name="T11" fmla="*/ 0 h 6"/>
                    <a:gd name="T12" fmla="*/ 5 w 6"/>
                    <a:gd name="T13" fmla="*/ 0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4" y="6"/>
                        <a:pt x="3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4" y="0"/>
                        <a:pt x="5" y="0"/>
                      </a:cubicBezTo>
                      <a:cubicBezTo>
                        <a:pt x="6" y="0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5"/>
                        <a:pt x="5" y="6"/>
                      </a:cubicBezTo>
                      <a:cubicBezTo>
                        <a:pt x="5" y="6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4" name="Freeform 616">
                  <a:extLst>
                    <a:ext uri="{FF2B5EF4-FFF2-40B4-BE49-F238E27FC236}">
                      <a16:creationId xmlns:a16="http://schemas.microsoft.com/office/drawing/2014/main" id="{E4886E4F-D155-4B24-90D0-30A46ECDC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70" y="1706"/>
                  <a:ext cx="9" cy="11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5 h 5"/>
                    <a:gd name="T4" fmla="*/ 1 w 4"/>
                    <a:gd name="T5" fmla="*/ 4 h 5"/>
                    <a:gd name="T6" fmla="*/ 0 w 4"/>
                    <a:gd name="T7" fmla="*/ 3 h 5"/>
                    <a:gd name="T8" fmla="*/ 1 w 4"/>
                    <a:gd name="T9" fmla="*/ 1 h 5"/>
                    <a:gd name="T10" fmla="*/ 1 w 4"/>
                    <a:gd name="T11" fmla="*/ 1 h 5"/>
                    <a:gd name="T12" fmla="*/ 3 w 4"/>
                    <a:gd name="T13" fmla="*/ 1 h 5"/>
                    <a:gd name="T14" fmla="*/ 4 w 4"/>
                    <a:gd name="T15" fmla="*/ 2 h 5"/>
                    <a:gd name="T16" fmla="*/ 4 w 4"/>
                    <a:gd name="T17" fmla="*/ 3 h 5"/>
                    <a:gd name="T18" fmla="*/ 3 w 4"/>
                    <a:gd name="T19" fmla="*/ 5 h 5"/>
                    <a:gd name="T20" fmla="*/ 2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1" y="5"/>
                        <a:pt x="1" y="5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4"/>
                        <a:pt x="4" y="4"/>
                        <a:pt x="3" y="5"/>
                      </a:cubicBezTo>
                      <a:cubicBezTo>
                        <a:pt x="3" y="5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5" name="Freeform 617">
                  <a:extLst>
                    <a:ext uri="{FF2B5EF4-FFF2-40B4-BE49-F238E27FC236}">
                      <a16:creationId xmlns:a16="http://schemas.microsoft.com/office/drawing/2014/main" id="{65F484A9-045E-4B86-AB2B-FC0F5095295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16" y="1821"/>
                  <a:ext cx="282" cy="187"/>
                </a:xfrm>
                <a:custGeom>
                  <a:avLst/>
                  <a:gdLst>
                    <a:gd name="T0" fmla="*/ 67 w 119"/>
                    <a:gd name="T1" fmla="*/ 79 h 79"/>
                    <a:gd name="T2" fmla="*/ 66 w 119"/>
                    <a:gd name="T3" fmla="*/ 79 h 79"/>
                    <a:gd name="T4" fmla="*/ 1 w 119"/>
                    <a:gd name="T5" fmla="*/ 41 h 79"/>
                    <a:gd name="T6" fmla="*/ 0 w 119"/>
                    <a:gd name="T7" fmla="*/ 40 h 79"/>
                    <a:gd name="T8" fmla="*/ 1 w 119"/>
                    <a:gd name="T9" fmla="*/ 38 h 79"/>
                    <a:gd name="T10" fmla="*/ 66 w 119"/>
                    <a:gd name="T11" fmla="*/ 1 h 79"/>
                    <a:gd name="T12" fmla="*/ 68 w 119"/>
                    <a:gd name="T13" fmla="*/ 1 h 79"/>
                    <a:gd name="T14" fmla="*/ 69 w 119"/>
                    <a:gd name="T15" fmla="*/ 2 h 79"/>
                    <a:gd name="T16" fmla="*/ 69 w 119"/>
                    <a:gd name="T17" fmla="*/ 18 h 79"/>
                    <a:gd name="T18" fmla="*/ 118 w 119"/>
                    <a:gd name="T19" fmla="*/ 47 h 79"/>
                    <a:gd name="T20" fmla="*/ 119 w 119"/>
                    <a:gd name="T21" fmla="*/ 49 h 79"/>
                    <a:gd name="T22" fmla="*/ 118 w 119"/>
                    <a:gd name="T23" fmla="*/ 50 h 79"/>
                    <a:gd name="T24" fmla="*/ 68 w 119"/>
                    <a:gd name="T25" fmla="*/ 79 h 79"/>
                    <a:gd name="T26" fmla="*/ 67 w 119"/>
                    <a:gd name="T27" fmla="*/ 79 h 79"/>
                    <a:gd name="T28" fmla="*/ 6 w 119"/>
                    <a:gd name="T29" fmla="*/ 40 h 79"/>
                    <a:gd name="T30" fmla="*/ 67 w 119"/>
                    <a:gd name="T31" fmla="*/ 75 h 79"/>
                    <a:gd name="T32" fmla="*/ 113 w 119"/>
                    <a:gd name="T33" fmla="*/ 49 h 79"/>
                    <a:gd name="T34" fmla="*/ 66 w 119"/>
                    <a:gd name="T35" fmla="*/ 21 h 79"/>
                    <a:gd name="T36" fmla="*/ 65 w 119"/>
                    <a:gd name="T37" fmla="*/ 19 h 79"/>
                    <a:gd name="T38" fmla="*/ 65 w 119"/>
                    <a:gd name="T39" fmla="*/ 6 h 79"/>
                    <a:gd name="T40" fmla="*/ 6 w 119"/>
                    <a:gd name="T41" fmla="*/ 4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9" h="79">
                      <a:moveTo>
                        <a:pt x="67" y="79"/>
                      </a:moveTo>
                      <a:cubicBezTo>
                        <a:pt x="67" y="79"/>
                        <a:pt x="67" y="79"/>
                        <a:pt x="66" y="79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1" y="41"/>
                        <a:pt x="0" y="40"/>
                        <a:pt x="0" y="40"/>
                      </a:cubicBezTo>
                      <a:cubicBezTo>
                        <a:pt x="0" y="39"/>
                        <a:pt x="1" y="38"/>
                        <a:pt x="1" y="38"/>
                      </a:cubicBezTo>
                      <a:cubicBezTo>
                        <a:pt x="66" y="1"/>
                        <a:pt x="66" y="1"/>
                        <a:pt x="66" y="1"/>
                      </a:cubicBezTo>
                      <a:cubicBezTo>
                        <a:pt x="66" y="0"/>
                        <a:pt x="67" y="0"/>
                        <a:pt x="68" y="1"/>
                      </a:cubicBezTo>
                      <a:cubicBezTo>
                        <a:pt x="68" y="1"/>
                        <a:pt x="69" y="2"/>
                        <a:pt x="69" y="2"/>
                      </a:cubicBezTo>
                      <a:cubicBezTo>
                        <a:pt x="69" y="18"/>
                        <a:pt x="69" y="18"/>
                        <a:pt x="69" y="18"/>
                      </a:cubicBezTo>
                      <a:cubicBezTo>
                        <a:pt x="118" y="47"/>
                        <a:pt x="118" y="47"/>
                        <a:pt x="118" y="47"/>
                      </a:cubicBezTo>
                      <a:cubicBezTo>
                        <a:pt x="119" y="47"/>
                        <a:pt x="119" y="48"/>
                        <a:pt x="119" y="49"/>
                      </a:cubicBezTo>
                      <a:cubicBezTo>
                        <a:pt x="119" y="49"/>
                        <a:pt x="119" y="50"/>
                        <a:pt x="118" y="50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68" y="79"/>
                        <a:pt x="68" y="79"/>
                        <a:pt x="67" y="79"/>
                      </a:cubicBezTo>
                      <a:close/>
                      <a:moveTo>
                        <a:pt x="6" y="40"/>
                      </a:move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113" y="49"/>
                        <a:pt x="113" y="49"/>
                        <a:pt x="113" y="49"/>
                      </a:cubicBezTo>
                      <a:cubicBezTo>
                        <a:pt x="66" y="21"/>
                        <a:pt x="66" y="21"/>
                        <a:pt x="66" y="21"/>
                      </a:cubicBezTo>
                      <a:cubicBezTo>
                        <a:pt x="65" y="21"/>
                        <a:pt x="65" y="20"/>
                        <a:pt x="65" y="19"/>
                      </a:cubicBezTo>
                      <a:cubicBezTo>
                        <a:pt x="65" y="6"/>
                        <a:pt x="65" y="6"/>
                        <a:pt x="65" y="6"/>
                      </a:cubicBezTo>
                      <a:lnTo>
                        <a:pt x="6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6" name="Freeform 618">
                  <a:extLst>
                    <a:ext uri="{FF2B5EF4-FFF2-40B4-BE49-F238E27FC236}">
                      <a16:creationId xmlns:a16="http://schemas.microsoft.com/office/drawing/2014/main" id="{94931547-DE8B-4451-99CD-B3B6AF8927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1883"/>
                  <a:ext cx="35" cy="40"/>
                </a:xfrm>
                <a:custGeom>
                  <a:avLst/>
                  <a:gdLst>
                    <a:gd name="T0" fmla="*/ 2 w 15"/>
                    <a:gd name="T1" fmla="*/ 17 h 17"/>
                    <a:gd name="T2" fmla="*/ 1 w 15"/>
                    <a:gd name="T3" fmla="*/ 16 h 17"/>
                    <a:gd name="T4" fmla="*/ 0 w 15"/>
                    <a:gd name="T5" fmla="*/ 15 h 17"/>
                    <a:gd name="T6" fmla="*/ 0 w 15"/>
                    <a:gd name="T7" fmla="*/ 2 h 17"/>
                    <a:gd name="T8" fmla="*/ 1 w 15"/>
                    <a:gd name="T9" fmla="*/ 0 h 17"/>
                    <a:gd name="T10" fmla="*/ 3 w 15"/>
                    <a:gd name="T11" fmla="*/ 0 h 17"/>
                    <a:gd name="T12" fmla="*/ 14 w 15"/>
                    <a:gd name="T13" fmla="*/ 7 h 17"/>
                    <a:gd name="T14" fmla="*/ 15 w 15"/>
                    <a:gd name="T15" fmla="*/ 8 h 17"/>
                    <a:gd name="T16" fmla="*/ 14 w 15"/>
                    <a:gd name="T17" fmla="*/ 10 h 17"/>
                    <a:gd name="T18" fmla="*/ 3 w 15"/>
                    <a:gd name="T19" fmla="*/ 16 h 17"/>
                    <a:gd name="T20" fmla="*/ 2 w 15"/>
                    <a:gd name="T21" fmla="*/ 17 h 17"/>
                    <a:gd name="T22" fmla="*/ 4 w 15"/>
                    <a:gd name="T23" fmla="*/ 5 h 17"/>
                    <a:gd name="T24" fmla="*/ 4 w 15"/>
                    <a:gd name="T25" fmla="*/ 11 h 17"/>
                    <a:gd name="T26" fmla="*/ 9 w 15"/>
                    <a:gd name="T27" fmla="*/ 8 h 17"/>
                    <a:gd name="T28" fmla="*/ 4 w 15"/>
                    <a:gd name="T29" fmla="*/ 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7">
                      <a:moveTo>
                        <a:pt x="2" y="17"/>
                      </a:moveTo>
                      <a:cubicBezTo>
                        <a:pt x="2" y="17"/>
                        <a:pt x="1" y="17"/>
                        <a:pt x="1" y="16"/>
                      </a:cubicBezTo>
                      <a:cubicBezTo>
                        <a:pt x="0" y="16"/>
                        <a:pt x="0" y="15"/>
                        <a:pt x="0" y="1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5" y="7"/>
                        <a:pt x="15" y="8"/>
                        <a:pt x="15" y="8"/>
                      </a:cubicBezTo>
                      <a:cubicBezTo>
                        <a:pt x="15" y="9"/>
                        <a:pt x="15" y="10"/>
                        <a:pt x="14" y="10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7"/>
                        <a:pt x="2" y="17"/>
                        <a:pt x="2" y="17"/>
                      </a:cubicBezTo>
                      <a:close/>
                      <a:moveTo>
                        <a:pt x="4" y="5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9" y="8"/>
                        <a:pt x="9" y="8"/>
                        <a:pt x="9" y="8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7" name="Freeform 619">
                  <a:extLst>
                    <a:ext uri="{FF2B5EF4-FFF2-40B4-BE49-F238E27FC236}">
                      <a16:creationId xmlns:a16="http://schemas.microsoft.com/office/drawing/2014/main" id="{6DE46B99-D6C0-42BF-BF58-F4D9498826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81" y="2095"/>
                  <a:ext cx="151" cy="112"/>
                </a:xfrm>
                <a:custGeom>
                  <a:avLst/>
                  <a:gdLst>
                    <a:gd name="T0" fmla="*/ 62 w 64"/>
                    <a:gd name="T1" fmla="*/ 47 h 47"/>
                    <a:gd name="T2" fmla="*/ 61 w 64"/>
                    <a:gd name="T3" fmla="*/ 47 h 47"/>
                    <a:gd name="T4" fmla="*/ 1 w 64"/>
                    <a:gd name="T5" fmla="*/ 12 h 47"/>
                    <a:gd name="T6" fmla="*/ 0 w 64"/>
                    <a:gd name="T7" fmla="*/ 10 h 47"/>
                    <a:gd name="T8" fmla="*/ 1 w 64"/>
                    <a:gd name="T9" fmla="*/ 8 h 47"/>
                    <a:gd name="T10" fmla="*/ 15 w 64"/>
                    <a:gd name="T11" fmla="*/ 0 h 47"/>
                    <a:gd name="T12" fmla="*/ 17 w 64"/>
                    <a:gd name="T13" fmla="*/ 0 h 47"/>
                    <a:gd name="T14" fmla="*/ 63 w 64"/>
                    <a:gd name="T15" fmla="*/ 27 h 47"/>
                    <a:gd name="T16" fmla="*/ 64 w 64"/>
                    <a:gd name="T17" fmla="*/ 29 h 47"/>
                    <a:gd name="T18" fmla="*/ 64 w 64"/>
                    <a:gd name="T19" fmla="*/ 45 h 47"/>
                    <a:gd name="T20" fmla="*/ 63 w 64"/>
                    <a:gd name="T21" fmla="*/ 47 h 47"/>
                    <a:gd name="T22" fmla="*/ 62 w 64"/>
                    <a:gd name="T23" fmla="*/ 47 h 47"/>
                    <a:gd name="T24" fmla="*/ 6 w 64"/>
                    <a:gd name="T25" fmla="*/ 10 h 47"/>
                    <a:gd name="T26" fmla="*/ 60 w 64"/>
                    <a:gd name="T27" fmla="*/ 41 h 47"/>
                    <a:gd name="T28" fmla="*/ 60 w 64"/>
                    <a:gd name="T29" fmla="*/ 30 h 47"/>
                    <a:gd name="T30" fmla="*/ 16 w 64"/>
                    <a:gd name="T31" fmla="*/ 4 h 47"/>
                    <a:gd name="T32" fmla="*/ 6 w 64"/>
                    <a:gd name="T33" fmla="*/ 1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4" h="47">
                      <a:moveTo>
                        <a:pt x="62" y="47"/>
                      </a:moveTo>
                      <a:cubicBezTo>
                        <a:pt x="62" y="47"/>
                        <a:pt x="61" y="47"/>
                        <a:pt x="61" y="47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1"/>
                        <a:pt x="0" y="11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6" y="0"/>
                        <a:pt x="17" y="0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64" y="27"/>
                        <a:pt x="64" y="28"/>
                        <a:pt x="64" y="29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6"/>
                        <a:pt x="64" y="46"/>
                        <a:pt x="63" y="47"/>
                      </a:cubicBezTo>
                      <a:cubicBezTo>
                        <a:pt x="63" y="47"/>
                        <a:pt x="62" y="47"/>
                        <a:pt x="62" y="47"/>
                      </a:cubicBezTo>
                      <a:close/>
                      <a:moveTo>
                        <a:pt x="6" y="10"/>
                      </a:moveTo>
                      <a:cubicBezTo>
                        <a:pt x="60" y="41"/>
                        <a:pt x="60" y="41"/>
                        <a:pt x="60" y="41"/>
                      </a:cubicBezTo>
                      <a:cubicBezTo>
                        <a:pt x="60" y="30"/>
                        <a:pt x="60" y="30"/>
                        <a:pt x="60" y="30"/>
                      </a:cubicBezTo>
                      <a:cubicBezTo>
                        <a:pt x="16" y="4"/>
                        <a:pt x="16" y="4"/>
                        <a:pt x="16" y="4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8" name="Freeform 620">
                  <a:extLst>
                    <a:ext uri="{FF2B5EF4-FFF2-40B4-BE49-F238E27FC236}">
                      <a16:creationId xmlns:a16="http://schemas.microsoft.com/office/drawing/2014/main" id="{23074848-A329-46BF-AACB-A68CBD3767B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56" y="1699"/>
                  <a:ext cx="23" cy="137"/>
                </a:xfrm>
                <a:custGeom>
                  <a:avLst/>
                  <a:gdLst>
                    <a:gd name="T0" fmla="*/ 2 w 10"/>
                    <a:gd name="T1" fmla="*/ 58 h 58"/>
                    <a:gd name="T2" fmla="*/ 1 w 10"/>
                    <a:gd name="T3" fmla="*/ 58 h 58"/>
                    <a:gd name="T4" fmla="*/ 0 w 10"/>
                    <a:gd name="T5" fmla="*/ 56 h 58"/>
                    <a:gd name="T6" fmla="*/ 0 w 10"/>
                    <a:gd name="T7" fmla="*/ 3 h 58"/>
                    <a:gd name="T8" fmla="*/ 1 w 10"/>
                    <a:gd name="T9" fmla="*/ 1 h 58"/>
                    <a:gd name="T10" fmla="*/ 3 w 10"/>
                    <a:gd name="T11" fmla="*/ 1 h 58"/>
                    <a:gd name="T12" fmla="*/ 9 w 10"/>
                    <a:gd name="T13" fmla="*/ 4 h 58"/>
                    <a:gd name="T14" fmla="*/ 10 w 10"/>
                    <a:gd name="T15" fmla="*/ 6 h 58"/>
                    <a:gd name="T16" fmla="*/ 10 w 10"/>
                    <a:gd name="T17" fmla="*/ 53 h 58"/>
                    <a:gd name="T18" fmla="*/ 9 w 10"/>
                    <a:gd name="T19" fmla="*/ 54 h 58"/>
                    <a:gd name="T20" fmla="*/ 3 w 10"/>
                    <a:gd name="T21" fmla="*/ 58 h 58"/>
                    <a:gd name="T22" fmla="*/ 2 w 10"/>
                    <a:gd name="T23" fmla="*/ 58 h 58"/>
                    <a:gd name="T24" fmla="*/ 4 w 10"/>
                    <a:gd name="T25" fmla="*/ 6 h 58"/>
                    <a:gd name="T26" fmla="*/ 4 w 10"/>
                    <a:gd name="T27" fmla="*/ 53 h 58"/>
                    <a:gd name="T28" fmla="*/ 6 w 10"/>
                    <a:gd name="T29" fmla="*/ 51 h 58"/>
                    <a:gd name="T30" fmla="*/ 6 w 10"/>
                    <a:gd name="T31" fmla="*/ 7 h 58"/>
                    <a:gd name="T32" fmla="*/ 4 w 10"/>
                    <a:gd name="T33" fmla="*/ 6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" h="58">
                      <a:moveTo>
                        <a:pt x="2" y="58"/>
                      </a:move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57"/>
                        <a:pt x="0" y="57"/>
                        <a:pt x="0" y="56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9" y="5"/>
                        <a:pt x="10" y="5"/>
                        <a:pt x="10" y="6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10" y="53"/>
                        <a:pt x="9" y="54"/>
                        <a:pt x="9" y="54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2" y="58"/>
                        <a:pt x="2" y="58"/>
                        <a:pt x="2" y="58"/>
                      </a:cubicBezTo>
                      <a:close/>
                      <a:moveTo>
                        <a:pt x="4" y="6"/>
                      </a:move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6" y="51"/>
                        <a:pt x="6" y="51"/>
                        <a:pt x="6" y="51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9" name="Freeform 621">
                  <a:extLst>
                    <a:ext uri="{FF2B5EF4-FFF2-40B4-BE49-F238E27FC236}">
                      <a16:creationId xmlns:a16="http://schemas.microsoft.com/office/drawing/2014/main" id="{50B0D68A-5F9A-4000-ACB7-7DD2A0D646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1944"/>
                  <a:ext cx="29" cy="170"/>
                </a:xfrm>
                <a:custGeom>
                  <a:avLst/>
                  <a:gdLst>
                    <a:gd name="T0" fmla="*/ 2 w 12"/>
                    <a:gd name="T1" fmla="*/ 72 h 72"/>
                    <a:gd name="T2" fmla="*/ 1 w 12"/>
                    <a:gd name="T3" fmla="*/ 72 h 72"/>
                    <a:gd name="T4" fmla="*/ 0 w 12"/>
                    <a:gd name="T5" fmla="*/ 70 h 72"/>
                    <a:gd name="T6" fmla="*/ 0 w 12"/>
                    <a:gd name="T7" fmla="*/ 2 h 72"/>
                    <a:gd name="T8" fmla="*/ 1 w 12"/>
                    <a:gd name="T9" fmla="*/ 0 h 72"/>
                    <a:gd name="T10" fmla="*/ 3 w 12"/>
                    <a:gd name="T11" fmla="*/ 0 h 72"/>
                    <a:gd name="T12" fmla="*/ 11 w 12"/>
                    <a:gd name="T13" fmla="*/ 5 h 72"/>
                    <a:gd name="T14" fmla="*/ 12 w 12"/>
                    <a:gd name="T15" fmla="*/ 6 h 72"/>
                    <a:gd name="T16" fmla="*/ 12 w 12"/>
                    <a:gd name="T17" fmla="*/ 66 h 72"/>
                    <a:gd name="T18" fmla="*/ 11 w 12"/>
                    <a:gd name="T19" fmla="*/ 67 h 72"/>
                    <a:gd name="T20" fmla="*/ 3 w 12"/>
                    <a:gd name="T21" fmla="*/ 72 h 72"/>
                    <a:gd name="T22" fmla="*/ 2 w 12"/>
                    <a:gd name="T23" fmla="*/ 72 h 72"/>
                    <a:gd name="T24" fmla="*/ 4 w 12"/>
                    <a:gd name="T25" fmla="*/ 5 h 72"/>
                    <a:gd name="T26" fmla="*/ 4 w 12"/>
                    <a:gd name="T27" fmla="*/ 67 h 72"/>
                    <a:gd name="T28" fmla="*/ 8 w 12"/>
                    <a:gd name="T29" fmla="*/ 64 h 72"/>
                    <a:gd name="T30" fmla="*/ 8 w 12"/>
                    <a:gd name="T31" fmla="*/ 7 h 72"/>
                    <a:gd name="T32" fmla="*/ 4 w 12"/>
                    <a:gd name="T33" fmla="*/ 5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" h="72">
                      <a:moveTo>
                        <a:pt x="2" y="72"/>
                      </a:moveTo>
                      <a:cubicBezTo>
                        <a:pt x="2" y="72"/>
                        <a:pt x="2" y="72"/>
                        <a:pt x="1" y="72"/>
                      </a:cubicBezTo>
                      <a:cubicBezTo>
                        <a:pt x="1" y="72"/>
                        <a:pt x="0" y="71"/>
                        <a:pt x="0" y="7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5"/>
                        <a:pt x="12" y="6"/>
                        <a:pt x="12" y="6"/>
                      </a:cubicBez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2" y="66"/>
                        <a:pt x="12" y="67"/>
                        <a:pt x="11" y="67"/>
                      </a:cubicBezTo>
                      <a:cubicBezTo>
                        <a:pt x="3" y="72"/>
                        <a:pt x="3" y="72"/>
                        <a:pt x="3" y="72"/>
                      </a:cubicBezTo>
                      <a:cubicBezTo>
                        <a:pt x="3" y="72"/>
                        <a:pt x="3" y="72"/>
                        <a:pt x="2" y="72"/>
                      </a:cubicBezTo>
                      <a:close/>
                      <a:moveTo>
                        <a:pt x="4" y="5"/>
                      </a:moveTo>
                      <a:cubicBezTo>
                        <a:pt x="4" y="67"/>
                        <a:pt x="4" y="67"/>
                        <a:pt x="4" y="67"/>
                      </a:cubicBezTo>
                      <a:cubicBezTo>
                        <a:pt x="8" y="64"/>
                        <a:pt x="8" y="64"/>
                        <a:pt x="8" y="64"/>
                      </a:cubicBezTo>
                      <a:cubicBezTo>
                        <a:pt x="8" y="7"/>
                        <a:pt x="8" y="7"/>
                        <a:pt x="8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0" name="Freeform 622">
                  <a:extLst>
                    <a:ext uri="{FF2B5EF4-FFF2-40B4-BE49-F238E27FC236}">
                      <a16:creationId xmlns:a16="http://schemas.microsoft.com/office/drawing/2014/main" id="{1CF468D5-71E7-470E-A6B8-E6D19562233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1911"/>
                  <a:ext cx="319" cy="279"/>
                </a:xfrm>
                <a:custGeom>
                  <a:avLst/>
                  <a:gdLst>
                    <a:gd name="T0" fmla="*/ 74 w 135"/>
                    <a:gd name="T1" fmla="*/ 118 h 118"/>
                    <a:gd name="T2" fmla="*/ 73 w 135"/>
                    <a:gd name="T3" fmla="*/ 118 h 118"/>
                    <a:gd name="T4" fmla="*/ 55 w 135"/>
                    <a:gd name="T5" fmla="*/ 107 h 118"/>
                    <a:gd name="T6" fmla="*/ 54 w 135"/>
                    <a:gd name="T7" fmla="*/ 106 h 118"/>
                    <a:gd name="T8" fmla="*/ 54 w 135"/>
                    <a:gd name="T9" fmla="*/ 52 h 118"/>
                    <a:gd name="T10" fmla="*/ 1 w 135"/>
                    <a:gd name="T11" fmla="*/ 21 h 118"/>
                    <a:gd name="T12" fmla="*/ 0 w 135"/>
                    <a:gd name="T13" fmla="*/ 19 h 118"/>
                    <a:gd name="T14" fmla="*/ 0 w 135"/>
                    <a:gd name="T15" fmla="*/ 5 h 118"/>
                    <a:gd name="T16" fmla="*/ 1 w 135"/>
                    <a:gd name="T17" fmla="*/ 3 h 118"/>
                    <a:gd name="T18" fmla="*/ 6 w 135"/>
                    <a:gd name="T19" fmla="*/ 0 h 118"/>
                    <a:gd name="T20" fmla="*/ 8 w 135"/>
                    <a:gd name="T21" fmla="*/ 0 h 118"/>
                    <a:gd name="T22" fmla="*/ 74 w 135"/>
                    <a:gd name="T23" fmla="*/ 39 h 118"/>
                    <a:gd name="T24" fmla="*/ 125 w 135"/>
                    <a:gd name="T25" fmla="*/ 10 h 118"/>
                    <a:gd name="T26" fmla="*/ 127 w 135"/>
                    <a:gd name="T27" fmla="*/ 10 h 118"/>
                    <a:gd name="T28" fmla="*/ 134 w 135"/>
                    <a:gd name="T29" fmla="*/ 14 h 118"/>
                    <a:gd name="T30" fmla="*/ 135 w 135"/>
                    <a:gd name="T31" fmla="*/ 16 h 118"/>
                    <a:gd name="T32" fmla="*/ 134 w 135"/>
                    <a:gd name="T33" fmla="*/ 18 h 118"/>
                    <a:gd name="T34" fmla="*/ 76 w 135"/>
                    <a:gd name="T35" fmla="*/ 52 h 118"/>
                    <a:gd name="T36" fmla="*/ 76 w 135"/>
                    <a:gd name="T37" fmla="*/ 116 h 118"/>
                    <a:gd name="T38" fmla="*/ 75 w 135"/>
                    <a:gd name="T39" fmla="*/ 118 h 118"/>
                    <a:gd name="T40" fmla="*/ 74 w 135"/>
                    <a:gd name="T41" fmla="*/ 118 h 118"/>
                    <a:gd name="T42" fmla="*/ 58 w 135"/>
                    <a:gd name="T43" fmla="*/ 104 h 118"/>
                    <a:gd name="T44" fmla="*/ 72 w 135"/>
                    <a:gd name="T45" fmla="*/ 112 h 118"/>
                    <a:gd name="T46" fmla="*/ 72 w 135"/>
                    <a:gd name="T47" fmla="*/ 50 h 118"/>
                    <a:gd name="T48" fmla="*/ 73 w 135"/>
                    <a:gd name="T49" fmla="*/ 49 h 118"/>
                    <a:gd name="T50" fmla="*/ 129 w 135"/>
                    <a:gd name="T51" fmla="*/ 16 h 118"/>
                    <a:gd name="T52" fmla="*/ 126 w 135"/>
                    <a:gd name="T53" fmla="*/ 14 h 118"/>
                    <a:gd name="T54" fmla="*/ 75 w 135"/>
                    <a:gd name="T55" fmla="*/ 43 h 118"/>
                    <a:gd name="T56" fmla="*/ 73 w 135"/>
                    <a:gd name="T57" fmla="*/ 43 h 118"/>
                    <a:gd name="T58" fmla="*/ 7 w 135"/>
                    <a:gd name="T59" fmla="*/ 4 h 118"/>
                    <a:gd name="T60" fmla="*/ 4 w 135"/>
                    <a:gd name="T61" fmla="*/ 6 h 118"/>
                    <a:gd name="T62" fmla="*/ 4 w 135"/>
                    <a:gd name="T63" fmla="*/ 18 h 118"/>
                    <a:gd name="T64" fmla="*/ 57 w 135"/>
                    <a:gd name="T65" fmla="*/ 49 h 118"/>
                    <a:gd name="T66" fmla="*/ 58 w 135"/>
                    <a:gd name="T67" fmla="*/ 50 h 118"/>
                    <a:gd name="T68" fmla="*/ 58 w 135"/>
                    <a:gd name="T69" fmla="*/ 104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5" h="118">
                      <a:moveTo>
                        <a:pt x="74" y="118"/>
                      </a:moveTo>
                      <a:cubicBezTo>
                        <a:pt x="73" y="118"/>
                        <a:pt x="73" y="118"/>
                        <a:pt x="73" y="118"/>
                      </a:cubicBezTo>
                      <a:cubicBezTo>
                        <a:pt x="55" y="107"/>
                        <a:pt x="55" y="107"/>
                        <a:pt x="55" y="107"/>
                      </a:cubicBezTo>
                      <a:cubicBezTo>
                        <a:pt x="54" y="107"/>
                        <a:pt x="54" y="106"/>
                        <a:pt x="54" y="106"/>
                      </a:cubicBezTo>
                      <a:cubicBezTo>
                        <a:pt x="54" y="52"/>
                        <a:pt x="54" y="52"/>
                        <a:pt x="54" y="52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0" y="21"/>
                        <a:pt x="0" y="20"/>
                        <a:pt x="0" y="1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4"/>
                        <a:pt x="0" y="3"/>
                        <a:pt x="1" y="3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6" y="0"/>
                        <a:pt x="7" y="0"/>
                        <a:pt x="8" y="0"/>
                      </a:cubicBezTo>
                      <a:cubicBezTo>
                        <a:pt x="74" y="39"/>
                        <a:pt x="74" y="39"/>
                        <a:pt x="74" y="39"/>
                      </a:cubicBezTo>
                      <a:cubicBezTo>
                        <a:pt x="125" y="10"/>
                        <a:pt x="125" y="10"/>
                        <a:pt x="125" y="10"/>
                      </a:cubicBezTo>
                      <a:cubicBezTo>
                        <a:pt x="125" y="9"/>
                        <a:pt x="126" y="9"/>
                        <a:pt x="127" y="10"/>
                      </a:cubicBezTo>
                      <a:cubicBezTo>
                        <a:pt x="134" y="14"/>
                        <a:pt x="134" y="14"/>
                        <a:pt x="134" y="14"/>
                      </a:cubicBezTo>
                      <a:cubicBezTo>
                        <a:pt x="135" y="15"/>
                        <a:pt x="135" y="15"/>
                        <a:pt x="135" y="16"/>
                      </a:cubicBezTo>
                      <a:cubicBezTo>
                        <a:pt x="135" y="17"/>
                        <a:pt x="135" y="17"/>
                        <a:pt x="134" y="18"/>
                      </a:cubicBezTo>
                      <a:cubicBezTo>
                        <a:pt x="76" y="52"/>
                        <a:pt x="76" y="52"/>
                        <a:pt x="76" y="52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6" y="117"/>
                        <a:pt x="75" y="117"/>
                        <a:pt x="75" y="118"/>
                      </a:cubicBezTo>
                      <a:cubicBezTo>
                        <a:pt x="74" y="118"/>
                        <a:pt x="74" y="118"/>
                        <a:pt x="74" y="118"/>
                      </a:cubicBezTo>
                      <a:close/>
                      <a:moveTo>
                        <a:pt x="58" y="104"/>
                      </a:moveTo>
                      <a:cubicBezTo>
                        <a:pt x="72" y="112"/>
                        <a:pt x="72" y="112"/>
                        <a:pt x="72" y="112"/>
                      </a:cubicBezTo>
                      <a:cubicBezTo>
                        <a:pt x="72" y="50"/>
                        <a:pt x="72" y="50"/>
                        <a:pt x="72" y="50"/>
                      </a:cubicBezTo>
                      <a:cubicBezTo>
                        <a:pt x="72" y="50"/>
                        <a:pt x="72" y="49"/>
                        <a:pt x="73" y="49"/>
                      </a:cubicBezTo>
                      <a:cubicBezTo>
                        <a:pt x="129" y="16"/>
                        <a:pt x="129" y="16"/>
                        <a:pt x="129" y="16"/>
                      </a:cubicBezTo>
                      <a:cubicBezTo>
                        <a:pt x="126" y="14"/>
                        <a:pt x="126" y="14"/>
                        <a:pt x="126" y="14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cubicBezTo>
                        <a:pt x="75" y="43"/>
                        <a:pt x="74" y="43"/>
                        <a:pt x="73" y="4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57" y="49"/>
                        <a:pt x="57" y="49"/>
                        <a:pt x="57" y="49"/>
                      </a:cubicBezTo>
                      <a:cubicBezTo>
                        <a:pt x="57" y="49"/>
                        <a:pt x="58" y="50"/>
                        <a:pt x="58" y="50"/>
                      </a:cubicBezTo>
                      <a:lnTo>
                        <a:pt x="58" y="1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1" name="Freeform 623">
                  <a:extLst>
                    <a:ext uri="{FF2B5EF4-FFF2-40B4-BE49-F238E27FC236}">
                      <a16:creationId xmlns:a16="http://schemas.microsoft.com/office/drawing/2014/main" id="{1766FBC6-49C4-4168-9904-1773C29E02A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61" y="2117"/>
                  <a:ext cx="316" cy="165"/>
                </a:xfrm>
                <a:custGeom>
                  <a:avLst/>
                  <a:gdLst>
                    <a:gd name="T0" fmla="*/ 67 w 134"/>
                    <a:gd name="T1" fmla="*/ 70 h 70"/>
                    <a:gd name="T2" fmla="*/ 66 w 134"/>
                    <a:gd name="T3" fmla="*/ 70 h 70"/>
                    <a:gd name="T4" fmla="*/ 1 w 134"/>
                    <a:gd name="T5" fmla="*/ 32 h 70"/>
                    <a:gd name="T6" fmla="*/ 0 w 134"/>
                    <a:gd name="T7" fmla="*/ 30 h 70"/>
                    <a:gd name="T8" fmla="*/ 1 w 134"/>
                    <a:gd name="T9" fmla="*/ 29 h 70"/>
                    <a:gd name="T10" fmla="*/ 50 w 134"/>
                    <a:gd name="T11" fmla="*/ 0 h 70"/>
                    <a:gd name="T12" fmla="*/ 52 w 134"/>
                    <a:gd name="T13" fmla="*/ 0 h 70"/>
                    <a:gd name="T14" fmla="*/ 113 w 134"/>
                    <a:gd name="T15" fmla="*/ 35 h 70"/>
                    <a:gd name="T16" fmla="*/ 113 w 134"/>
                    <a:gd name="T17" fmla="*/ 20 h 70"/>
                    <a:gd name="T18" fmla="*/ 114 w 134"/>
                    <a:gd name="T19" fmla="*/ 19 h 70"/>
                    <a:gd name="T20" fmla="*/ 116 w 134"/>
                    <a:gd name="T21" fmla="*/ 19 h 70"/>
                    <a:gd name="T22" fmla="*/ 133 w 134"/>
                    <a:gd name="T23" fmla="*/ 29 h 70"/>
                    <a:gd name="T24" fmla="*/ 134 w 134"/>
                    <a:gd name="T25" fmla="*/ 30 h 70"/>
                    <a:gd name="T26" fmla="*/ 133 w 134"/>
                    <a:gd name="T27" fmla="*/ 32 h 70"/>
                    <a:gd name="T28" fmla="*/ 68 w 134"/>
                    <a:gd name="T29" fmla="*/ 70 h 70"/>
                    <a:gd name="T30" fmla="*/ 67 w 134"/>
                    <a:gd name="T31" fmla="*/ 70 h 70"/>
                    <a:gd name="T32" fmla="*/ 6 w 134"/>
                    <a:gd name="T33" fmla="*/ 30 h 70"/>
                    <a:gd name="T34" fmla="*/ 67 w 134"/>
                    <a:gd name="T35" fmla="*/ 66 h 70"/>
                    <a:gd name="T36" fmla="*/ 112 w 134"/>
                    <a:gd name="T37" fmla="*/ 39 h 70"/>
                    <a:gd name="T38" fmla="*/ 51 w 134"/>
                    <a:gd name="T39" fmla="*/ 4 h 70"/>
                    <a:gd name="T40" fmla="*/ 6 w 134"/>
                    <a:gd name="T41" fmla="*/ 30 h 70"/>
                    <a:gd name="T42" fmla="*/ 117 w 134"/>
                    <a:gd name="T43" fmla="*/ 24 h 70"/>
                    <a:gd name="T44" fmla="*/ 117 w 134"/>
                    <a:gd name="T45" fmla="*/ 37 h 70"/>
                    <a:gd name="T46" fmla="*/ 128 w 134"/>
                    <a:gd name="T47" fmla="*/ 30 h 70"/>
                    <a:gd name="T48" fmla="*/ 117 w 134"/>
                    <a:gd name="T49" fmla="*/ 2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4" h="70">
                      <a:moveTo>
                        <a:pt x="67" y="70"/>
                      </a:moveTo>
                      <a:cubicBezTo>
                        <a:pt x="66" y="70"/>
                        <a:pt x="66" y="70"/>
                        <a:pt x="66" y="70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1" y="0"/>
                        <a:pt x="52" y="0"/>
                      </a:cubicBezTo>
                      <a:cubicBezTo>
                        <a:pt x="113" y="35"/>
                        <a:pt x="113" y="35"/>
                        <a:pt x="113" y="35"/>
                      </a:cubicBezTo>
                      <a:cubicBezTo>
                        <a:pt x="113" y="20"/>
                        <a:pt x="113" y="20"/>
                        <a:pt x="113" y="20"/>
                      </a:cubicBezTo>
                      <a:cubicBezTo>
                        <a:pt x="113" y="20"/>
                        <a:pt x="113" y="19"/>
                        <a:pt x="114" y="19"/>
                      </a:cubicBezTo>
                      <a:cubicBezTo>
                        <a:pt x="114" y="18"/>
                        <a:pt x="115" y="18"/>
                        <a:pt x="116" y="19"/>
                      </a:cubicBezTo>
                      <a:cubicBezTo>
                        <a:pt x="133" y="29"/>
                        <a:pt x="133" y="29"/>
                        <a:pt x="133" y="29"/>
                      </a:cubicBezTo>
                      <a:cubicBezTo>
                        <a:pt x="133" y="29"/>
                        <a:pt x="134" y="30"/>
                        <a:pt x="134" y="30"/>
                      </a:cubicBezTo>
                      <a:cubicBezTo>
                        <a:pt x="134" y="31"/>
                        <a:pt x="133" y="32"/>
                        <a:pt x="133" y="32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ubicBezTo>
                        <a:pt x="67" y="70"/>
                        <a:pt x="67" y="70"/>
                        <a:pt x="67" y="70"/>
                      </a:cubicBezTo>
                      <a:close/>
                      <a:moveTo>
                        <a:pt x="6" y="30"/>
                      </a:moveTo>
                      <a:cubicBezTo>
                        <a:pt x="67" y="66"/>
                        <a:pt x="67" y="66"/>
                        <a:pt x="67" y="66"/>
                      </a:cubicBezTo>
                      <a:cubicBezTo>
                        <a:pt x="112" y="39"/>
                        <a:pt x="112" y="39"/>
                        <a:pt x="112" y="39"/>
                      </a:cubicBezTo>
                      <a:cubicBezTo>
                        <a:pt x="51" y="4"/>
                        <a:pt x="51" y="4"/>
                        <a:pt x="51" y="4"/>
                      </a:cubicBezTo>
                      <a:lnTo>
                        <a:pt x="6" y="30"/>
                      </a:lnTo>
                      <a:close/>
                      <a:moveTo>
                        <a:pt x="117" y="24"/>
                      </a:moveTo>
                      <a:cubicBezTo>
                        <a:pt x="117" y="37"/>
                        <a:pt x="117" y="37"/>
                        <a:pt x="117" y="37"/>
                      </a:cubicBezTo>
                      <a:cubicBezTo>
                        <a:pt x="128" y="30"/>
                        <a:pt x="128" y="30"/>
                        <a:pt x="128" y="30"/>
                      </a:cubicBezTo>
                      <a:lnTo>
                        <a:pt x="117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2" name="Freeform 624">
                  <a:extLst>
                    <a:ext uri="{FF2B5EF4-FFF2-40B4-BE49-F238E27FC236}">
                      <a16:creationId xmlns:a16="http://schemas.microsoft.com/office/drawing/2014/main" id="{258F0375-60FB-4518-9D09-30F067DF4D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44" y="1918"/>
                  <a:ext cx="161" cy="270"/>
                </a:xfrm>
                <a:custGeom>
                  <a:avLst/>
                  <a:gdLst>
                    <a:gd name="T0" fmla="*/ 5 w 68"/>
                    <a:gd name="T1" fmla="*/ 114 h 114"/>
                    <a:gd name="T2" fmla="*/ 4 w 68"/>
                    <a:gd name="T3" fmla="*/ 114 h 114"/>
                    <a:gd name="T4" fmla="*/ 1 w 68"/>
                    <a:gd name="T5" fmla="*/ 112 h 114"/>
                    <a:gd name="T6" fmla="*/ 0 w 68"/>
                    <a:gd name="T7" fmla="*/ 111 h 114"/>
                    <a:gd name="T8" fmla="*/ 0 w 68"/>
                    <a:gd name="T9" fmla="*/ 40 h 114"/>
                    <a:gd name="T10" fmla="*/ 1 w 68"/>
                    <a:gd name="T11" fmla="*/ 38 h 114"/>
                    <a:gd name="T12" fmla="*/ 65 w 68"/>
                    <a:gd name="T13" fmla="*/ 1 h 114"/>
                    <a:gd name="T14" fmla="*/ 67 w 68"/>
                    <a:gd name="T15" fmla="*/ 1 h 114"/>
                    <a:gd name="T16" fmla="*/ 68 w 68"/>
                    <a:gd name="T17" fmla="*/ 3 h 114"/>
                    <a:gd name="T18" fmla="*/ 68 w 68"/>
                    <a:gd name="T19" fmla="*/ 15 h 114"/>
                    <a:gd name="T20" fmla="*/ 67 w 68"/>
                    <a:gd name="T21" fmla="*/ 17 h 114"/>
                    <a:gd name="T22" fmla="*/ 65 w 68"/>
                    <a:gd name="T23" fmla="*/ 17 h 114"/>
                    <a:gd name="T24" fmla="*/ 59 w 68"/>
                    <a:gd name="T25" fmla="*/ 13 h 114"/>
                    <a:gd name="T26" fmla="*/ 59 w 68"/>
                    <a:gd name="T27" fmla="*/ 82 h 114"/>
                    <a:gd name="T28" fmla="*/ 58 w 68"/>
                    <a:gd name="T29" fmla="*/ 84 h 114"/>
                    <a:gd name="T30" fmla="*/ 6 w 68"/>
                    <a:gd name="T31" fmla="*/ 114 h 114"/>
                    <a:gd name="T32" fmla="*/ 5 w 68"/>
                    <a:gd name="T33" fmla="*/ 114 h 114"/>
                    <a:gd name="T34" fmla="*/ 4 w 68"/>
                    <a:gd name="T35" fmla="*/ 110 h 114"/>
                    <a:gd name="T36" fmla="*/ 5 w 68"/>
                    <a:gd name="T37" fmla="*/ 110 h 114"/>
                    <a:gd name="T38" fmla="*/ 55 w 68"/>
                    <a:gd name="T39" fmla="*/ 81 h 114"/>
                    <a:gd name="T40" fmla="*/ 55 w 68"/>
                    <a:gd name="T41" fmla="*/ 12 h 114"/>
                    <a:gd name="T42" fmla="*/ 4 w 68"/>
                    <a:gd name="T43" fmla="*/ 41 h 114"/>
                    <a:gd name="T44" fmla="*/ 4 w 68"/>
                    <a:gd name="T45" fmla="*/ 110 h 114"/>
                    <a:gd name="T46" fmla="*/ 59 w 68"/>
                    <a:gd name="T47" fmla="*/ 9 h 114"/>
                    <a:gd name="T48" fmla="*/ 64 w 68"/>
                    <a:gd name="T49" fmla="*/ 12 h 114"/>
                    <a:gd name="T50" fmla="*/ 64 w 68"/>
                    <a:gd name="T51" fmla="*/ 6 h 114"/>
                    <a:gd name="T52" fmla="*/ 59 w 68"/>
                    <a:gd name="T53" fmla="*/ 9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" h="114">
                      <a:moveTo>
                        <a:pt x="5" y="114"/>
                      </a:moveTo>
                      <a:cubicBezTo>
                        <a:pt x="4" y="114"/>
                        <a:pt x="4" y="114"/>
                        <a:pt x="4" y="114"/>
                      </a:cubicBezTo>
                      <a:cubicBezTo>
                        <a:pt x="1" y="112"/>
                        <a:pt x="1" y="112"/>
                        <a:pt x="1" y="112"/>
                      </a:cubicBezTo>
                      <a:cubicBezTo>
                        <a:pt x="1" y="112"/>
                        <a:pt x="0" y="111"/>
                        <a:pt x="0" y="111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39"/>
                        <a:pt x="1" y="38"/>
                        <a:pt x="1" y="38"/>
                      </a:cubicBezTo>
                      <a:cubicBezTo>
                        <a:pt x="65" y="1"/>
                        <a:pt x="65" y="1"/>
                        <a:pt x="65" y="1"/>
                      </a:cubicBezTo>
                      <a:cubicBezTo>
                        <a:pt x="66" y="0"/>
                        <a:pt x="67" y="0"/>
                        <a:pt x="67" y="1"/>
                      </a:cubicBezTo>
                      <a:cubicBezTo>
                        <a:pt x="68" y="1"/>
                        <a:pt x="68" y="2"/>
                        <a:pt x="68" y="3"/>
                      </a:cubicBezTo>
                      <a:cubicBezTo>
                        <a:pt x="68" y="15"/>
                        <a:pt x="68" y="15"/>
                        <a:pt x="68" y="15"/>
                      </a:cubicBezTo>
                      <a:cubicBezTo>
                        <a:pt x="68" y="16"/>
                        <a:pt x="68" y="17"/>
                        <a:pt x="67" y="17"/>
                      </a:cubicBezTo>
                      <a:cubicBezTo>
                        <a:pt x="67" y="18"/>
                        <a:pt x="66" y="18"/>
                        <a:pt x="65" y="17"/>
                      </a:cubicBezTo>
                      <a:cubicBezTo>
                        <a:pt x="59" y="13"/>
                        <a:pt x="59" y="13"/>
                        <a:pt x="59" y="13"/>
                      </a:cubicBezTo>
                      <a:cubicBezTo>
                        <a:pt x="59" y="82"/>
                        <a:pt x="59" y="82"/>
                        <a:pt x="59" y="82"/>
                      </a:cubicBezTo>
                      <a:cubicBezTo>
                        <a:pt x="59" y="83"/>
                        <a:pt x="58" y="84"/>
                        <a:pt x="58" y="84"/>
                      </a:cubicBezTo>
                      <a:cubicBezTo>
                        <a:pt x="6" y="114"/>
                        <a:pt x="6" y="114"/>
                        <a:pt x="6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lose/>
                      <a:moveTo>
                        <a:pt x="4" y="110"/>
                      </a:moveTo>
                      <a:cubicBezTo>
                        <a:pt x="5" y="110"/>
                        <a:pt x="5" y="110"/>
                        <a:pt x="5" y="110"/>
                      </a:cubicBezTo>
                      <a:cubicBezTo>
                        <a:pt x="55" y="81"/>
                        <a:pt x="55" y="81"/>
                        <a:pt x="55" y="81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4" y="41"/>
                        <a:pt x="4" y="41"/>
                        <a:pt x="4" y="41"/>
                      </a:cubicBezTo>
                      <a:lnTo>
                        <a:pt x="4" y="110"/>
                      </a:lnTo>
                      <a:close/>
                      <a:moveTo>
                        <a:pt x="59" y="9"/>
                      </a:moveTo>
                      <a:cubicBezTo>
                        <a:pt x="64" y="12"/>
                        <a:pt x="64" y="12"/>
                        <a:pt x="64" y="12"/>
                      </a:cubicBezTo>
                      <a:cubicBezTo>
                        <a:pt x="64" y="6"/>
                        <a:pt x="64" y="6"/>
                        <a:pt x="64" y="6"/>
                      </a:cubicBezTo>
                      <a:lnTo>
                        <a:pt x="59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3" name="Freeform 625">
                  <a:extLst>
                    <a:ext uri="{FF2B5EF4-FFF2-40B4-BE49-F238E27FC236}">
                      <a16:creationId xmlns:a16="http://schemas.microsoft.com/office/drawing/2014/main" id="{9845CD77-6EAB-49EE-9D74-8990022091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53" y="2112"/>
                  <a:ext cx="130" cy="78"/>
                </a:xfrm>
                <a:custGeom>
                  <a:avLst/>
                  <a:gdLst>
                    <a:gd name="T0" fmla="*/ 3 w 55"/>
                    <a:gd name="T1" fmla="*/ 33 h 33"/>
                    <a:gd name="T2" fmla="*/ 2 w 55"/>
                    <a:gd name="T3" fmla="*/ 33 h 33"/>
                    <a:gd name="T4" fmla="*/ 1 w 55"/>
                    <a:gd name="T5" fmla="*/ 33 h 33"/>
                    <a:gd name="T6" fmla="*/ 0 w 55"/>
                    <a:gd name="T7" fmla="*/ 31 h 33"/>
                    <a:gd name="T8" fmla="*/ 1 w 55"/>
                    <a:gd name="T9" fmla="*/ 29 h 33"/>
                    <a:gd name="T10" fmla="*/ 52 w 55"/>
                    <a:gd name="T11" fmla="*/ 0 h 33"/>
                    <a:gd name="T12" fmla="*/ 54 w 55"/>
                    <a:gd name="T13" fmla="*/ 0 h 33"/>
                    <a:gd name="T14" fmla="*/ 55 w 55"/>
                    <a:gd name="T15" fmla="*/ 2 h 33"/>
                    <a:gd name="T16" fmla="*/ 55 w 55"/>
                    <a:gd name="T17" fmla="*/ 3 h 33"/>
                    <a:gd name="T18" fmla="*/ 54 w 55"/>
                    <a:gd name="T19" fmla="*/ 4 h 33"/>
                    <a:gd name="T20" fmla="*/ 4 w 55"/>
                    <a:gd name="T21" fmla="*/ 33 h 33"/>
                    <a:gd name="T22" fmla="*/ 3 w 55"/>
                    <a:gd name="T23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" h="33">
                      <a:moveTo>
                        <a:pt x="3" y="33"/>
                      </a:moveTo>
                      <a:cubicBezTo>
                        <a:pt x="3" y="33"/>
                        <a:pt x="2" y="33"/>
                        <a:pt x="2" y="33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2"/>
                        <a:pt x="0" y="32"/>
                        <a:pt x="0" y="31"/>
                      </a:cubicBezTo>
                      <a:cubicBezTo>
                        <a:pt x="0" y="30"/>
                        <a:pt x="1" y="30"/>
                        <a:pt x="1" y="29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3" y="0"/>
                        <a:pt x="54" y="0"/>
                      </a:cubicBezTo>
                      <a:cubicBezTo>
                        <a:pt x="54" y="1"/>
                        <a:pt x="55" y="1"/>
                        <a:pt x="55" y="2"/>
                      </a:cubicBezTo>
                      <a:cubicBezTo>
                        <a:pt x="55" y="3"/>
                        <a:pt x="55" y="3"/>
                        <a:pt x="55" y="3"/>
                      </a:cubicBezTo>
                      <a:cubicBezTo>
                        <a:pt x="55" y="3"/>
                        <a:pt x="54" y="4"/>
                        <a:pt x="54" y="4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4" y="33"/>
                        <a:pt x="3" y="33"/>
                        <a:pt x="3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4" name="Freeform 626">
                  <a:extLst>
                    <a:ext uri="{FF2B5EF4-FFF2-40B4-BE49-F238E27FC236}">
                      <a16:creationId xmlns:a16="http://schemas.microsoft.com/office/drawing/2014/main" id="{0B65514F-1BBC-406F-814E-8A09D302F4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44" y="1699"/>
                  <a:ext cx="26" cy="28"/>
                </a:xfrm>
                <a:custGeom>
                  <a:avLst/>
                  <a:gdLst>
                    <a:gd name="T0" fmla="*/ 2 w 11"/>
                    <a:gd name="T1" fmla="*/ 12 h 12"/>
                    <a:gd name="T2" fmla="*/ 1 w 11"/>
                    <a:gd name="T3" fmla="*/ 12 h 12"/>
                    <a:gd name="T4" fmla="*/ 0 w 11"/>
                    <a:gd name="T5" fmla="*/ 10 h 12"/>
                    <a:gd name="T6" fmla="*/ 0 w 11"/>
                    <a:gd name="T7" fmla="*/ 2 h 12"/>
                    <a:gd name="T8" fmla="*/ 1 w 11"/>
                    <a:gd name="T9" fmla="*/ 0 h 12"/>
                    <a:gd name="T10" fmla="*/ 3 w 11"/>
                    <a:gd name="T11" fmla="*/ 0 h 12"/>
                    <a:gd name="T12" fmla="*/ 10 w 11"/>
                    <a:gd name="T13" fmla="*/ 4 h 12"/>
                    <a:gd name="T14" fmla="*/ 11 w 11"/>
                    <a:gd name="T15" fmla="*/ 6 h 12"/>
                    <a:gd name="T16" fmla="*/ 10 w 11"/>
                    <a:gd name="T17" fmla="*/ 7 h 12"/>
                    <a:gd name="T18" fmla="*/ 3 w 11"/>
                    <a:gd name="T19" fmla="*/ 12 h 12"/>
                    <a:gd name="T20" fmla="*/ 2 w 11"/>
                    <a:gd name="T21" fmla="*/ 12 h 12"/>
                    <a:gd name="T22" fmla="*/ 4 w 11"/>
                    <a:gd name="T23" fmla="*/ 5 h 12"/>
                    <a:gd name="T24" fmla="*/ 4 w 11"/>
                    <a:gd name="T25" fmla="*/ 6 h 12"/>
                    <a:gd name="T26" fmla="*/ 5 w 11"/>
                    <a:gd name="T27" fmla="*/ 6 h 12"/>
                    <a:gd name="T28" fmla="*/ 4 w 11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2" y="12"/>
                      </a:moveTo>
                      <a:cubicBezTo>
                        <a:pt x="2" y="12"/>
                        <a:pt x="2" y="12"/>
                        <a:pt x="1" y="12"/>
                      </a:cubicBezTo>
                      <a:cubicBezTo>
                        <a:pt x="1" y="11"/>
                        <a:pt x="0" y="10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4"/>
                        <a:pt x="11" y="5"/>
                        <a:pt x="11" y="6"/>
                      </a:cubicBezTo>
                      <a:cubicBezTo>
                        <a:pt x="11" y="6"/>
                        <a:pt x="11" y="7"/>
                        <a:pt x="10" y="7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3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5" name="Freeform 627">
                  <a:extLst>
                    <a:ext uri="{FF2B5EF4-FFF2-40B4-BE49-F238E27FC236}">
                      <a16:creationId xmlns:a16="http://schemas.microsoft.com/office/drawing/2014/main" id="{9C8F3C67-6ED7-4208-B240-A568B5588A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53" y="820"/>
                  <a:ext cx="42" cy="40"/>
                </a:xfrm>
                <a:custGeom>
                  <a:avLst/>
                  <a:gdLst>
                    <a:gd name="T0" fmla="*/ 9 w 18"/>
                    <a:gd name="T1" fmla="*/ 17 h 17"/>
                    <a:gd name="T2" fmla="*/ 8 w 18"/>
                    <a:gd name="T3" fmla="*/ 17 h 17"/>
                    <a:gd name="T4" fmla="*/ 1 w 18"/>
                    <a:gd name="T5" fmla="*/ 12 h 17"/>
                    <a:gd name="T6" fmla="*/ 0 w 18"/>
                    <a:gd name="T7" fmla="*/ 11 h 17"/>
                    <a:gd name="T8" fmla="*/ 1 w 18"/>
                    <a:gd name="T9" fmla="*/ 9 h 17"/>
                    <a:gd name="T10" fmla="*/ 15 w 18"/>
                    <a:gd name="T11" fmla="*/ 1 h 17"/>
                    <a:gd name="T12" fmla="*/ 17 w 18"/>
                    <a:gd name="T13" fmla="*/ 1 h 17"/>
                    <a:gd name="T14" fmla="*/ 18 w 18"/>
                    <a:gd name="T15" fmla="*/ 3 h 17"/>
                    <a:gd name="T16" fmla="*/ 18 w 18"/>
                    <a:gd name="T17" fmla="*/ 11 h 17"/>
                    <a:gd name="T18" fmla="*/ 17 w 18"/>
                    <a:gd name="T19" fmla="*/ 13 h 17"/>
                    <a:gd name="T20" fmla="*/ 10 w 18"/>
                    <a:gd name="T21" fmla="*/ 17 h 17"/>
                    <a:gd name="T22" fmla="*/ 9 w 18"/>
                    <a:gd name="T23" fmla="*/ 17 h 17"/>
                    <a:gd name="T24" fmla="*/ 6 w 18"/>
                    <a:gd name="T25" fmla="*/ 11 h 17"/>
                    <a:gd name="T26" fmla="*/ 9 w 18"/>
                    <a:gd name="T27" fmla="*/ 13 h 17"/>
                    <a:gd name="T28" fmla="*/ 14 w 18"/>
                    <a:gd name="T29" fmla="*/ 10 h 17"/>
                    <a:gd name="T30" fmla="*/ 14 w 18"/>
                    <a:gd name="T31" fmla="*/ 6 h 17"/>
                    <a:gd name="T32" fmla="*/ 6 w 18"/>
                    <a:gd name="T33" fmla="*/ 11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" h="17">
                      <a:moveTo>
                        <a:pt x="9" y="17"/>
                      </a:moveTo>
                      <a:cubicBezTo>
                        <a:pt x="9" y="17"/>
                        <a:pt x="8" y="17"/>
                        <a:pt x="8" y="17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1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6" y="0"/>
                        <a:pt x="16" y="0"/>
                        <a:pt x="17" y="1"/>
                      </a:cubicBezTo>
                      <a:cubicBezTo>
                        <a:pt x="18" y="1"/>
                        <a:pt x="18" y="2"/>
                        <a:pt x="18" y="3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8" y="12"/>
                        <a:pt x="18" y="12"/>
                        <a:pt x="17" y="13"/>
                      </a:cubicBezTo>
                      <a:cubicBezTo>
                        <a:pt x="10" y="17"/>
                        <a:pt x="10" y="17"/>
                        <a:pt x="10" y="17"/>
                      </a:cubicBezTo>
                      <a:cubicBezTo>
                        <a:pt x="10" y="17"/>
                        <a:pt x="9" y="17"/>
                        <a:pt x="9" y="17"/>
                      </a:cubicBezTo>
                      <a:close/>
                      <a:moveTo>
                        <a:pt x="6" y="11"/>
                      </a:move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6"/>
                        <a:pt x="14" y="6"/>
                        <a:pt x="14" y="6"/>
                      </a:cubicBez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6" name="Freeform 628">
                  <a:extLst>
                    <a:ext uri="{FF2B5EF4-FFF2-40B4-BE49-F238E27FC236}">
                      <a16:creationId xmlns:a16="http://schemas.microsoft.com/office/drawing/2014/main" id="{DDE8F28A-CAC9-409F-B8B2-7D3975BFDD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44" y="2181"/>
                  <a:ext cx="12" cy="11"/>
                </a:xfrm>
                <a:custGeom>
                  <a:avLst/>
                  <a:gdLst>
                    <a:gd name="T0" fmla="*/ 2 w 5"/>
                    <a:gd name="T1" fmla="*/ 5 h 5"/>
                    <a:gd name="T2" fmla="*/ 1 w 5"/>
                    <a:gd name="T3" fmla="*/ 4 h 5"/>
                    <a:gd name="T4" fmla="*/ 0 w 5"/>
                    <a:gd name="T5" fmla="*/ 3 h 5"/>
                    <a:gd name="T6" fmla="*/ 0 w 5"/>
                    <a:gd name="T7" fmla="*/ 2 h 5"/>
                    <a:gd name="T8" fmla="*/ 1 w 5"/>
                    <a:gd name="T9" fmla="*/ 0 h 5"/>
                    <a:gd name="T10" fmla="*/ 3 w 5"/>
                    <a:gd name="T11" fmla="*/ 0 h 5"/>
                    <a:gd name="T12" fmla="*/ 4 w 5"/>
                    <a:gd name="T13" fmla="*/ 0 h 5"/>
                    <a:gd name="T14" fmla="*/ 5 w 5"/>
                    <a:gd name="T15" fmla="*/ 2 h 5"/>
                    <a:gd name="T16" fmla="*/ 4 w 5"/>
                    <a:gd name="T17" fmla="*/ 4 h 5"/>
                    <a:gd name="T18" fmla="*/ 3 w 5"/>
                    <a:gd name="T19" fmla="*/ 4 h 5"/>
                    <a:gd name="T20" fmla="*/ 2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2" y="5"/>
                      </a:moveTo>
                      <a:cubicBezTo>
                        <a:pt x="2" y="5"/>
                        <a:pt x="2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1"/>
                        <a:pt x="5" y="1"/>
                        <a:pt x="5" y="2"/>
                      </a:cubicBezTo>
                      <a:cubicBezTo>
                        <a:pt x="5" y="3"/>
                        <a:pt x="5" y="3"/>
                        <a:pt x="4" y="4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3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7" name="Freeform 629">
                  <a:extLst>
                    <a:ext uri="{FF2B5EF4-FFF2-40B4-BE49-F238E27FC236}">
                      <a16:creationId xmlns:a16="http://schemas.microsoft.com/office/drawing/2014/main" id="{7AD82941-6DF6-4BC9-84A8-EF1F3F53D2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572" y="1699"/>
                  <a:ext cx="111" cy="73"/>
                </a:xfrm>
                <a:custGeom>
                  <a:avLst/>
                  <a:gdLst>
                    <a:gd name="T0" fmla="*/ 45 w 47"/>
                    <a:gd name="T1" fmla="*/ 31 h 31"/>
                    <a:gd name="T2" fmla="*/ 44 w 47"/>
                    <a:gd name="T3" fmla="*/ 31 h 31"/>
                    <a:gd name="T4" fmla="*/ 1 w 47"/>
                    <a:gd name="T5" fmla="*/ 7 h 31"/>
                    <a:gd name="T6" fmla="*/ 0 w 47"/>
                    <a:gd name="T7" fmla="*/ 5 h 31"/>
                    <a:gd name="T8" fmla="*/ 0 w 47"/>
                    <a:gd name="T9" fmla="*/ 2 h 31"/>
                    <a:gd name="T10" fmla="*/ 1 w 47"/>
                    <a:gd name="T11" fmla="*/ 1 h 31"/>
                    <a:gd name="T12" fmla="*/ 3 w 47"/>
                    <a:gd name="T13" fmla="*/ 1 h 31"/>
                    <a:gd name="T14" fmla="*/ 46 w 47"/>
                    <a:gd name="T15" fmla="*/ 25 h 31"/>
                    <a:gd name="T16" fmla="*/ 47 w 47"/>
                    <a:gd name="T17" fmla="*/ 27 h 31"/>
                    <a:gd name="T18" fmla="*/ 47 w 47"/>
                    <a:gd name="T19" fmla="*/ 29 h 31"/>
                    <a:gd name="T20" fmla="*/ 46 w 47"/>
                    <a:gd name="T21" fmla="*/ 31 h 31"/>
                    <a:gd name="T22" fmla="*/ 45 w 47"/>
                    <a:gd name="T23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31">
                      <a:moveTo>
                        <a:pt x="45" y="31"/>
                      </a:moveTo>
                      <a:cubicBezTo>
                        <a:pt x="44" y="31"/>
                        <a:pt x="44" y="31"/>
                        <a:pt x="44" y="31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6"/>
                        <a:pt x="0" y="6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46" y="25"/>
                        <a:pt x="46" y="25"/>
                        <a:pt x="46" y="25"/>
                      </a:cubicBezTo>
                      <a:cubicBezTo>
                        <a:pt x="46" y="25"/>
                        <a:pt x="47" y="26"/>
                        <a:pt x="47" y="27"/>
                      </a:cubicBezTo>
                      <a:cubicBezTo>
                        <a:pt x="47" y="29"/>
                        <a:pt x="47" y="29"/>
                        <a:pt x="47" y="29"/>
                      </a:cubicBezTo>
                      <a:cubicBezTo>
                        <a:pt x="47" y="30"/>
                        <a:pt x="46" y="31"/>
                        <a:pt x="46" y="31"/>
                      </a:cubicBezTo>
                      <a:cubicBezTo>
                        <a:pt x="45" y="31"/>
                        <a:pt x="45" y="31"/>
                        <a:pt x="45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8" name="Freeform 630">
                  <a:extLst>
                    <a:ext uri="{FF2B5EF4-FFF2-40B4-BE49-F238E27FC236}">
                      <a16:creationId xmlns:a16="http://schemas.microsoft.com/office/drawing/2014/main" id="{94443432-E671-4B7C-BF89-A8438F6ED4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56" y="1663"/>
                  <a:ext cx="127" cy="99"/>
                </a:xfrm>
                <a:custGeom>
                  <a:avLst/>
                  <a:gdLst>
                    <a:gd name="T0" fmla="*/ 52 w 54"/>
                    <a:gd name="T1" fmla="*/ 42 h 42"/>
                    <a:gd name="T2" fmla="*/ 51 w 54"/>
                    <a:gd name="T3" fmla="*/ 42 h 42"/>
                    <a:gd name="T4" fmla="*/ 10 w 54"/>
                    <a:gd name="T5" fmla="*/ 18 h 42"/>
                    <a:gd name="T6" fmla="*/ 10 w 54"/>
                    <a:gd name="T7" fmla="*/ 19 h 42"/>
                    <a:gd name="T8" fmla="*/ 9 w 54"/>
                    <a:gd name="T9" fmla="*/ 21 h 42"/>
                    <a:gd name="T10" fmla="*/ 7 w 54"/>
                    <a:gd name="T11" fmla="*/ 21 h 42"/>
                    <a:gd name="T12" fmla="*/ 1 w 54"/>
                    <a:gd name="T13" fmla="*/ 17 h 42"/>
                    <a:gd name="T14" fmla="*/ 0 w 54"/>
                    <a:gd name="T15" fmla="*/ 16 h 42"/>
                    <a:gd name="T16" fmla="*/ 0 w 54"/>
                    <a:gd name="T17" fmla="*/ 2 h 42"/>
                    <a:gd name="T18" fmla="*/ 1 w 54"/>
                    <a:gd name="T19" fmla="*/ 0 h 42"/>
                    <a:gd name="T20" fmla="*/ 3 w 54"/>
                    <a:gd name="T21" fmla="*/ 0 h 42"/>
                    <a:gd name="T22" fmla="*/ 53 w 54"/>
                    <a:gd name="T23" fmla="*/ 29 h 42"/>
                    <a:gd name="T24" fmla="*/ 54 w 54"/>
                    <a:gd name="T25" fmla="*/ 31 h 42"/>
                    <a:gd name="T26" fmla="*/ 54 w 54"/>
                    <a:gd name="T27" fmla="*/ 40 h 42"/>
                    <a:gd name="T28" fmla="*/ 53 w 54"/>
                    <a:gd name="T29" fmla="*/ 42 h 42"/>
                    <a:gd name="T30" fmla="*/ 52 w 54"/>
                    <a:gd name="T31" fmla="*/ 42 h 42"/>
                    <a:gd name="T32" fmla="*/ 8 w 54"/>
                    <a:gd name="T33" fmla="*/ 13 h 42"/>
                    <a:gd name="T34" fmla="*/ 9 w 54"/>
                    <a:gd name="T35" fmla="*/ 13 h 42"/>
                    <a:gd name="T36" fmla="*/ 50 w 54"/>
                    <a:gd name="T37" fmla="*/ 36 h 42"/>
                    <a:gd name="T38" fmla="*/ 50 w 54"/>
                    <a:gd name="T39" fmla="*/ 32 h 42"/>
                    <a:gd name="T40" fmla="*/ 4 w 54"/>
                    <a:gd name="T41" fmla="*/ 5 h 42"/>
                    <a:gd name="T42" fmla="*/ 4 w 54"/>
                    <a:gd name="T43" fmla="*/ 14 h 42"/>
                    <a:gd name="T44" fmla="*/ 6 w 54"/>
                    <a:gd name="T45" fmla="*/ 16 h 42"/>
                    <a:gd name="T46" fmla="*/ 6 w 54"/>
                    <a:gd name="T47" fmla="*/ 15 h 42"/>
                    <a:gd name="T48" fmla="*/ 7 w 54"/>
                    <a:gd name="T49" fmla="*/ 13 h 42"/>
                    <a:gd name="T50" fmla="*/ 8 w 54"/>
                    <a:gd name="T51" fmla="*/ 1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4" h="42">
                      <a:moveTo>
                        <a:pt x="52" y="42"/>
                      </a:moveTo>
                      <a:cubicBezTo>
                        <a:pt x="51" y="42"/>
                        <a:pt x="51" y="42"/>
                        <a:pt x="51" y="42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0"/>
                        <a:pt x="9" y="20"/>
                        <a:pt x="9" y="21"/>
                      </a:cubicBezTo>
                      <a:cubicBezTo>
                        <a:pt x="8" y="21"/>
                        <a:pt x="7" y="21"/>
                        <a:pt x="7" y="21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53" y="29"/>
                        <a:pt x="53" y="29"/>
                        <a:pt x="53" y="29"/>
                      </a:cubicBezTo>
                      <a:cubicBezTo>
                        <a:pt x="53" y="29"/>
                        <a:pt x="54" y="30"/>
                        <a:pt x="54" y="31"/>
                      </a:cubicBezTo>
                      <a:cubicBezTo>
                        <a:pt x="54" y="40"/>
                        <a:pt x="54" y="40"/>
                        <a:pt x="54" y="40"/>
                      </a:cubicBezTo>
                      <a:cubicBezTo>
                        <a:pt x="54" y="41"/>
                        <a:pt x="53" y="41"/>
                        <a:pt x="53" y="42"/>
                      </a:cubicBezTo>
                      <a:cubicBezTo>
                        <a:pt x="52" y="42"/>
                        <a:pt x="52" y="42"/>
                        <a:pt x="52" y="42"/>
                      </a:cubicBezTo>
                      <a:close/>
                      <a:moveTo>
                        <a:pt x="8" y="13"/>
                      </a:moveTo>
                      <a:cubicBezTo>
                        <a:pt x="8" y="13"/>
                        <a:pt x="8" y="13"/>
                        <a:pt x="9" y="13"/>
                      </a:cubicBezTo>
                      <a:cubicBezTo>
                        <a:pt x="50" y="36"/>
                        <a:pt x="50" y="36"/>
                        <a:pt x="50" y="36"/>
                      </a:cubicBezTo>
                      <a:cubicBezTo>
                        <a:pt x="50" y="32"/>
                        <a:pt x="50" y="32"/>
                        <a:pt x="50" y="32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5"/>
                        <a:pt x="6" y="15"/>
                        <a:pt x="6" y="15"/>
                      </a:cubicBezTo>
                      <a:cubicBezTo>
                        <a:pt x="6" y="14"/>
                        <a:pt x="6" y="13"/>
                        <a:pt x="7" y="13"/>
                      </a:cubicBezTo>
                      <a:cubicBezTo>
                        <a:pt x="7" y="13"/>
                        <a:pt x="7" y="13"/>
                        <a:pt x="8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9" name="Freeform 631">
                  <a:extLst>
                    <a:ext uri="{FF2B5EF4-FFF2-40B4-BE49-F238E27FC236}">
                      <a16:creationId xmlns:a16="http://schemas.microsoft.com/office/drawing/2014/main" id="{AD5C4B27-A031-4B8D-8710-540CE388DC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1947"/>
                  <a:ext cx="149" cy="250"/>
                </a:xfrm>
                <a:custGeom>
                  <a:avLst/>
                  <a:gdLst>
                    <a:gd name="T0" fmla="*/ 2 w 63"/>
                    <a:gd name="T1" fmla="*/ 106 h 106"/>
                    <a:gd name="T2" fmla="*/ 1 w 63"/>
                    <a:gd name="T3" fmla="*/ 106 h 106"/>
                    <a:gd name="T4" fmla="*/ 0 w 63"/>
                    <a:gd name="T5" fmla="*/ 104 h 106"/>
                    <a:gd name="T6" fmla="*/ 0 w 63"/>
                    <a:gd name="T7" fmla="*/ 103 h 106"/>
                    <a:gd name="T8" fmla="*/ 0 w 63"/>
                    <a:gd name="T9" fmla="*/ 102 h 106"/>
                    <a:gd name="T10" fmla="*/ 0 w 63"/>
                    <a:gd name="T11" fmla="*/ 102 h 106"/>
                    <a:gd name="T12" fmla="*/ 0 w 63"/>
                    <a:gd name="T13" fmla="*/ 36 h 106"/>
                    <a:gd name="T14" fmla="*/ 1 w 63"/>
                    <a:gd name="T15" fmla="*/ 35 h 106"/>
                    <a:gd name="T16" fmla="*/ 60 w 63"/>
                    <a:gd name="T17" fmla="*/ 1 h 106"/>
                    <a:gd name="T18" fmla="*/ 62 w 63"/>
                    <a:gd name="T19" fmla="*/ 1 h 106"/>
                    <a:gd name="T20" fmla="*/ 63 w 63"/>
                    <a:gd name="T21" fmla="*/ 2 h 106"/>
                    <a:gd name="T22" fmla="*/ 63 w 63"/>
                    <a:gd name="T23" fmla="*/ 70 h 106"/>
                    <a:gd name="T24" fmla="*/ 62 w 63"/>
                    <a:gd name="T25" fmla="*/ 72 h 106"/>
                    <a:gd name="T26" fmla="*/ 3 w 63"/>
                    <a:gd name="T27" fmla="*/ 106 h 106"/>
                    <a:gd name="T28" fmla="*/ 2 w 63"/>
                    <a:gd name="T29" fmla="*/ 106 h 106"/>
                    <a:gd name="T30" fmla="*/ 4 w 63"/>
                    <a:gd name="T31" fmla="*/ 101 h 106"/>
                    <a:gd name="T32" fmla="*/ 5 w 63"/>
                    <a:gd name="T33" fmla="*/ 101 h 106"/>
                    <a:gd name="T34" fmla="*/ 59 w 63"/>
                    <a:gd name="T35" fmla="*/ 69 h 106"/>
                    <a:gd name="T36" fmla="*/ 59 w 63"/>
                    <a:gd name="T37" fmla="*/ 6 h 106"/>
                    <a:gd name="T38" fmla="*/ 4 w 63"/>
                    <a:gd name="T39" fmla="*/ 38 h 106"/>
                    <a:gd name="T40" fmla="*/ 4 w 63"/>
                    <a:gd name="T41" fmla="*/ 101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" h="106">
                      <a:moveTo>
                        <a:pt x="2" y="106"/>
                      </a:moveTo>
                      <a:cubicBezTo>
                        <a:pt x="2" y="106"/>
                        <a:pt x="2" y="106"/>
                        <a:pt x="1" y="106"/>
                      </a:cubicBezTo>
                      <a:cubicBezTo>
                        <a:pt x="1" y="106"/>
                        <a:pt x="0" y="105"/>
                        <a:pt x="0" y="104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0" y="103"/>
                        <a:pt x="0" y="102"/>
                        <a:pt x="0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1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1" y="0"/>
                        <a:pt x="62" y="0"/>
                        <a:pt x="62" y="1"/>
                      </a:cubicBezTo>
                      <a:cubicBezTo>
                        <a:pt x="63" y="1"/>
                        <a:pt x="63" y="2"/>
                        <a:pt x="63" y="2"/>
                      </a:cubicBezTo>
                      <a:cubicBezTo>
                        <a:pt x="63" y="70"/>
                        <a:pt x="63" y="70"/>
                        <a:pt x="63" y="70"/>
                      </a:cubicBezTo>
                      <a:cubicBezTo>
                        <a:pt x="63" y="71"/>
                        <a:pt x="63" y="72"/>
                        <a:pt x="62" y="72"/>
                      </a:cubicBezTo>
                      <a:cubicBezTo>
                        <a:pt x="3" y="106"/>
                        <a:pt x="3" y="106"/>
                        <a:pt x="3" y="106"/>
                      </a:cubicBezTo>
                      <a:cubicBezTo>
                        <a:pt x="3" y="106"/>
                        <a:pt x="3" y="106"/>
                        <a:pt x="2" y="106"/>
                      </a:cubicBezTo>
                      <a:close/>
                      <a:moveTo>
                        <a:pt x="4" y="101"/>
                      </a:moveTo>
                      <a:cubicBezTo>
                        <a:pt x="4" y="101"/>
                        <a:pt x="4" y="101"/>
                        <a:pt x="5" y="101"/>
                      </a:cubicBezTo>
                      <a:cubicBezTo>
                        <a:pt x="59" y="69"/>
                        <a:pt x="59" y="69"/>
                        <a:pt x="59" y="69"/>
                      </a:cubicBezTo>
                      <a:cubicBezTo>
                        <a:pt x="59" y="6"/>
                        <a:pt x="59" y="6"/>
                        <a:pt x="59" y="6"/>
                      </a:cubicBezTo>
                      <a:cubicBezTo>
                        <a:pt x="4" y="38"/>
                        <a:pt x="4" y="38"/>
                        <a:pt x="4" y="38"/>
                      </a:cubicBezTo>
                      <a:lnTo>
                        <a:pt x="4" y="10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0" name="Freeform 632">
                  <a:extLst>
                    <a:ext uri="{FF2B5EF4-FFF2-40B4-BE49-F238E27FC236}">
                      <a16:creationId xmlns:a16="http://schemas.microsoft.com/office/drawing/2014/main" id="{853CCE67-44F5-4A02-840A-9C877B6FC95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30" y="1562"/>
                  <a:ext cx="153" cy="174"/>
                </a:xfrm>
                <a:custGeom>
                  <a:avLst/>
                  <a:gdLst>
                    <a:gd name="T0" fmla="*/ 63 w 65"/>
                    <a:gd name="T1" fmla="*/ 74 h 74"/>
                    <a:gd name="T2" fmla="*/ 62 w 65"/>
                    <a:gd name="T3" fmla="*/ 73 h 74"/>
                    <a:gd name="T4" fmla="*/ 12 w 65"/>
                    <a:gd name="T5" fmla="*/ 45 h 74"/>
                    <a:gd name="T6" fmla="*/ 11 w 65"/>
                    <a:gd name="T7" fmla="*/ 43 h 74"/>
                    <a:gd name="T8" fmla="*/ 11 w 65"/>
                    <a:gd name="T9" fmla="*/ 40 h 74"/>
                    <a:gd name="T10" fmla="*/ 9 w 65"/>
                    <a:gd name="T11" fmla="*/ 42 h 74"/>
                    <a:gd name="T12" fmla="*/ 7 w 65"/>
                    <a:gd name="T13" fmla="*/ 42 h 74"/>
                    <a:gd name="T14" fmla="*/ 1 w 65"/>
                    <a:gd name="T15" fmla="*/ 38 h 74"/>
                    <a:gd name="T16" fmla="*/ 0 w 65"/>
                    <a:gd name="T17" fmla="*/ 37 h 74"/>
                    <a:gd name="T18" fmla="*/ 1 w 65"/>
                    <a:gd name="T19" fmla="*/ 35 h 74"/>
                    <a:gd name="T20" fmla="*/ 62 w 65"/>
                    <a:gd name="T21" fmla="*/ 0 h 74"/>
                    <a:gd name="T22" fmla="*/ 64 w 65"/>
                    <a:gd name="T23" fmla="*/ 0 h 74"/>
                    <a:gd name="T24" fmla="*/ 65 w 65"/>
                    <a:gd name="T25" fmla="*/ 2 h 74"/>
                    <a:gd name="T26" fmla="*/ 65 w 65"/>
                    <a:gd name="T27" fmla="*/ 72 h 74"/>
                    <a:gd name="T28" fmla="*/ 64 w 65"/>
                    <a:gd name="T29" fmla="*/ 73 h 74"/>
                    <a:gd name="T30" fmla="*/ 63 w 65"/>
                    <a:gd name="T31" fmla="*/ 74 h 74"/>
                    <a:gd name="T32" fmla="*/ 15 w 65"/>
                    <a:gd name="T33" fmla="*/ 42 h 74"/>
                    <a:gd name="T34" fmla="*/ 61 w 65"/>
                    <a:gd name="T35" fmla="*/ 68 h 74"/>
                    <a:gd name="T36" fmla="*/ 61 w 65"/>
                    <a:gd name="T37" fmla="*/ 5 h 74"/>
                    <a:gd name="T38" fmla="*/ 6 w 65"/>
                    <a:gd name="T39" fmla="*/ 37 h 74"/>
                    <a:gd name="T40" fmla="*/ 8 w 65"/>
                    <a:gd name="T41" fmla="*/ 38 h 74"/>
                    <a:gd name="T42" fmla="*/ 12 w 65"/>
                    <a:gd name="T43" fmla="*/ 35 h 74"/>
                    <a:gd name="T44" fmla="*/ 14 w 65"/>
                    <a:gd name="T45" fmla="*/ 35 h 74"/>
                    <a:gd name="T46" fmla="*/ 15 w 65"/>
                    <a:gd name="T47" fmla="*/ 37 h 74"/>
                    <a:gd name="T48" fmla="*/ 15 w 65"/>
                    <a:gd name="T49" fmla="*/ 4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74">
                      <a:moveTo>
                        <a:pt x="63" y="74"/>
                      </a:moveTo>
                      <a:cubicBezTo>
                        <a:pt x="62" y="74"/>
                        <a:pt x="62" y="74"/>
                        <a:pt x="62" y="73"/>
                      </a:cubicBezTo>
                      <a:cubicBezTo>
                        <a:pt x="12" y="45"/>
                        <a:pt x="12" y="45"/>
                        <a:pt x="12" y="45"/>
                      </a:cubicBezTo>
                      <a:cubicBezTo>
                        <a:pt x="11" y="44"/>
                        <a:pt x="11" y="44"/>
                        <a:pt x="11" y="43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8" y="42"/>
                        <a:pt x="7" y="42"/>
                        <a:pt x="7" y="42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3" y="0"/>
                        <a:pt x="64" y="0"/>
                      </a:cubicBezTo>
                      <a:cubicBezTo>
                        <a:pt x="64" y="0"/>
                        <a:pt x="65" y="1"/>
                        <a:pt x="65" y="2"/>
                      </a:cubicBezTo>
                      <a:cubicBezTo>
                        <a:pt x="65" y="72"/>
                        <a:pt x="65" y="72"/>
                        <a:pt x="65" y="72"/>
                      </a:cubicBezTo>
                      <a:cubicBezTo>
                        <a:pt x="65" y="72"/>
                        <a:pt x="64" y="73"/>
                        <a:pt x="64" y="73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lose/>
                      <a:moveTo>
                        <a:pt x="15" y="42"/>
                      </a:move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5"/>
                        <a:pt x="13" y="35"/>
                        <a:pt x="14" y="35"/>
                      </a:cubicBezTo>
                      <a:cubicBezTo>
                        <a:pt x="14" y="36"/>
                        <a:pt x="15" y="36"/>
                        <a:pt x="15" y="37"/>
                      </a:cubicBezTo>
                      <a:lnTo>
                        <a:pt x="15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1" name="Freeform 633">
                  <a:extLst>
                    <a:ext uri="{FF2B5EF4-FFF2-40B4-BE49-F238E27FC236}">
                      <a16:creationId xmlns:a16="http://schemas.microsoft.com/office/drawing/2014/main" id="{D446F0C4-C058-4DAE-BCF9-41D4A46ACA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16" y="1656"/>
                  <a:ext cx="45" cy="47"/>
                </a:xfrm>
                <a:custGeom>
                  <a:avLst/>
                  <a:gdLst>
                    <a:gd name="T0" fmla="*/ 17 w 19"/>
                    <a:gd name="T1" fmla="*/ 20 h 20"/>
                    <a:gd name="T2" fmla="*/ 16 w 19"/>
                    <a:gd name="T3" fmla="*/ 19 h 20"/>
                    <a:gd name="T4" fmla="*/ 1 w 19"/>
                    <a:gd name="T5" fmla="*/ 10 h 20"/>
                    <a:gd name="T6" fmla="*/ 0 w 19"/>
                    <a:gd name="T7" fmla="*/ 9 h 20"/>
                    <a:gd name="T8" fmla="*/ 1 w 19"/>
                    <a:gd name="T9" fmla="*/ 7 h 20"/>
                    <a:gd name="T10" fmla="*/ 13 w 19"/>
                    <a:gd name="T11" fmla="*/ 0 h 20"/>
                    <a:gd name="T12" fmla="*/ 15 w 19"/>
                    <a:gd name="T13" fmla="*/ 0 h 20"/>
                    <a:gd name="T14" fmla="*/ 18 w 19"/>
                    <a:gd name="T15" fmla="*/ 2 h 20"/>
                    <a:gd name="T16" fmla="*/ 19 w 19"/>
                    <a:gd name="T17" fmla="*/ 4 h 20"/>
                    <a:gd name="T18" fmla="*/ 19 w 19"/>
                    <a:gd name="T19" fmla="*/ 18 h 20"/>
                    <a:gd name="T20" fmla="*/ 18 w 19"/>
                    <a:gd name="T21" fmla="*/ 19 h 20"/>
                    <a:gd name="T22" fmla="*/ 17 w 19"/>
                    <a:gd name="T23" fmla="*/ 20 h 20"/>
                    <a:gd name="T24" fmla="*/ 6 w 19"/>
                    <a:gd name="T25" fmla="*/ 9 h 20"/>
                    <a:gd name="T26" fmla="*/ 15 w 19"/>
                    <a:gd name="T27" fmla="*/ 14 h 20"/>
                    <a:gd name="T28" fmla="*/ 15 w 19"/>
                    <a:gd name="T29" fmla="*/ 5 h 20"/>
                    <a:gd name="T30" fmla="*/ 14 w 19"/>
                    <a:gd name="T31" fmla="*/ 4 h 20"/>
                    <a:gd name="T32" fmla="*/ 6 w 19"/>
                    <a:gd name="T33" fmla="*/ 9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20">
                      <a:moveTo>
                        <a:pt x="17" y="20"/>
                      </a:moveTo>
                      <a:cubicBezTo>
                        <a:pt x="17" y="20"/>
                        <a:pt x="16" y="20"/>
                        <a:pt x="16" y="19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9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4" y="0"/>
                        <a:pt x="15" y="0"/>
                      </a:cubicBez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9" y="2"/>
                        <a:pt x="19" y="3"/>
                        <a:pt x="19" y="4"/>
                      </a:cubicBez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19" y="18"/>
                        <a:pt x="19" y="19"/>
                        <a:pt x="18" y="19"/>
                      </a:cubicBezTo>
                      <a:cubicBezTo>
                        <a:pt x="18" y="20"/>
                        <a:pt x="17" y="20"/>
                        <a:pt x="17" y="20"/>
                      </a:cubicBezTo>
                      <a:close/>
                      <a:moveTo>
                        <a:pt x="6" y="9"/>
                      </a:move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4" y="4"/>
                        <a:pt x="14" y="4"/>
                        <a:pt x="14" y="4"/>
                      </a:cubicBez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2" name="Freeform 634">
                  <a:extLst>
                    <a:ext uri="{FF2B5EF4-FFF2-40B4-BE49-F238E27FC236}">
                      <a16:creationId xmlns:a16="http://schemas.microsoft.com/office/drawing/2014/main" id="{E2B8FF2B-E327-43AB-AA55-AD0C685288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695" y="1923"/>
                  <a:ext cx="26" cy="26"/>
                </a:xfrm>
                <a:custGeom>
                  <a:avLst/>
                  <a:gdLst>
                    <a:gd name="T0" fmla="*/ 9 w 11"/>
                    <a:gd name="T1" fmla="*/ 11 h 11"/>
                    <a:gd name="T2" fmla="*/ 8 w 11"/>
                    <a:gd name="T3" fmla="*/ 11 h 11"/>
                    <a:gd name="T4" fmla="*/ 1 w 11"/>
                    <a:gd name="T5" fmla="*/ 7 h 11"/>
                    <a:gd name="T6" fmla="*/ 0 w 11"/>
                    <a:gd name="T7" fmla="*/ 6 h 11"/>
                    <a:gd name="T8" fmla="*/ 1 w 11"/>
                    <a:gd name="T9" fmla="*/ 4 h 11"/>
                    <a:gd name="T10" fmla="*/ 8 w 11"/>
                    <a:gd name="T11" fmla="*/ 0 h 11"/>
                    <a:gd name="T12" fmla="*/ 10 w 11"/>
                    <a:gd name="T13" fmla="*/ 0 h 11"/>
                    <a:gd name="T14" fmla="*/ 11 w 11"/>
                    <a:gd name="T15" fmla="*/ 2 h 11"/>
                    <a:gd name="T16" fmla="*/ 11 w 11"/>
                    <a:gd name="T17" fmla="*/ 9 h 11"/>
                    <a:gd name="T18" fmla="*/ 10 w 11"/>
                    <a:gd name="T19" fmla="*/ 11 h 11"/>
                    <a:gd name="T20" fmla="*/ 9 w 11"/>
                    <a:gd name="T21" fmla="*/ 11 h 11"/>
                    <a:gd name="T22" fmla="*/ 6 w 11"/>
                    <a:gd name="T23" fmla="*/ 6 h 11"/>
                    <a:gd name="T24" fmla="*/ 7 w 11"/>
                    <a:gd name="T25" fmla="*/ 6 h 11"/>
                    <a:gd name="T26" fmla="*/ 7 w 11"/>
                    <a:gd name="T27" fmla="*/ 5 h 11"/>
                    <a:gd name="T28" fmla="*/ 6 w 11"/>
                    <a:gd name="T2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1">
                      <a:moveTo>
                        <a:pt x="9" y="11"/>
                      </a:moveTo>
                      <a:cubicBezTo>
                        <a:pt x="9" y="11"/>
                        <a:pt x="9" y="11"/>
                        <a:pt x="8" y="11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9" y="0"/>
                        <a:pt x="10" y="0"/>
                        <a:pt x="10" y="0"/>
                      </a:cubicBezTo>
                      <a:cubicBezTo>
                        <a:pt x="11" y="0"/>
                        <a:pt x="11" y="1"/>
                        <a:pt x="11" y="2"/>
                      </a:cubicBezTo>
                      <a:cubicBezTo>
                        <a:pt x="11" y="9"/>
                        <a:pt x="11" y="9"/>
                        <a:pt x="11" y="9"/>
                      </a:cubicBezTo>
                      <a:cubicBezTo>
                        <a:pt x="11" y="10"/>
                        <a:pt x="11" y="11"/>
                        <a:pt x="10" y="11"/>
                      </a:cubicBezTo>
                      <a:cubicBezTo>
                        <a:pt x="10" y="11"/>
                        <a:pt x="10" y="11"/>
                        <a:pt x="9" y="11"/>
                      </a:cubicBezTo>
                      <a:close/>
                      <a:moveTo>
                        <a:pt x="6" y="6"/>
                      </a:move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5"/>
                        <a:pt x="7" y="5"/>
                        <a:pt x="7" y="5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3" name="Freeform 635">
                  <a:extLst>
                    <a:ext uri="{FF2B5EF4-FFF2-40B4-BE49-F238E27FC236}">
                      <a16:creationId xmlns:a16="http://schemas.microsoft.com/office/drawing/2014/main" id="{6A594571-77CC-4BD3-BCF9-CD1BE92506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1821"/>
                  <a:ext cx="149" cy="119"/>
                </a:xfrm>
                <a:custGeom>
                  <a:avLst/>
                  <a:gdLst>
                    <a:gd name="T0" fmla="*/ 53 w 63"/>
                    <a:gd name="T1" fmla="*/ 50 h 50"/>
                    <a:gd name="T2" fmla="*/ 52 w 63"/>
                    <a:gd name="T3" fmla="*/ 49 h 50"/>
                    <a:gd name="T4" fmla="*/ 1 w 63"/>
                    <a:gd name="T5" fmla="*/ 20 h 50"/>
                    <a:gd name="T6" fmla="*/ 0 w 63"/>
                    <a:gd name="T7" fmla="*/ 18 h 50"/>
                    <a:gd name="T8" fmla="*/ 0 w 63"/>
                    <a:gd name="T9" fmla="*/ 2 h 50"/>
                    <a:gd name="T10" fmla="*/ 1 w 63"/>
                    <a:gd name="T11" fmla="*/ 1 h 50"/>
                    <a:gd name="T12" fmla="*/ 3 w 63"/>
                    <a:gd name="T13" fmla="*/ 1 h 50"/>
                    <a:gd name="T14" fmla="*/ 62 w 63"/>
                    <a:gd name="T15" fmla="*/ 35 h 50"/>
                    <a:gd name="T16" fmla="*/ 63 w 63"/>
                    <a:gd name="T17" fmla="*/ 37 h 50"/>
                    <a:gd name="T18" fmla="*/ 63 w 63"/>
                    <a:gd name="T19" fmla="*/ 43 h 50"/>
                    <a:gd name="T20" fmla="*/ 62 w 63"/>
                    <a:gd name="T21" fmla="*/ 44 h 50"/>
                    <a:gd name="T22" fmla="*/ 54 w 63"/>
                    <a:gd name="T23" fmla="*/ 49 h 50"/>
                    <a:gd name="T24" fmla="*/ 53 w 63"/>
                    <a:gd name="T25" fmla="*/ 50 h 50"/>
                    <a:gd name="T26" fmla="*/ 4 w 63"/>
                    <a:gd name="T27" fmla="*/ 17 h 50"/>
                    <a:gd name="T28" fmla="*/ 53 w 63"/>
                    <a:gd name="T29" fmla="*/ 45 h 50"/>
                    <a:gd name="T30" fmla="*/ 59 w 63"/>
                    <a:gd name="T31" fmla="*/ 42 h 50"/>
                    <a:gd name="T32" fmla="*/ 59 w 63"/>
                    <a:gd name="T33" fmla="*/ 38 h 50"/>
                    <a:gd name="T34" fmla="*/ 4 w 63"/>
                    <a:gd name="T35" fmla="*/ 6 h 50"/>
                    <a:gd name="T36" fmla="*/ 4 w 63"/>
                    <a:gd name="T37" fmla="*/ 17 h 50"/>
                    <a:gd name="T38" fmla="*/ 61 w 63"/>
                    <a:gd name="T39" fmla="*/ 43 h 50"/>
                    <a:gd name="T40" fmla="*/ 61 w 63"/>
                    <a:gd name="T41" fmla="*/ 43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" h="50">
                      <a:moveTo>
                        <a:pt x="53" y="50"/>
                      </a:moveTo>
                      <a:cubicBezTo>
                        <a:pt x="52" y="50"/>
                        <a:pt x="52" y="50"/>
                        <a:pt x="52" y="49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2" y="35"/>
                        <a:pt x="62" y="35"/>
                        <a:pt x="62" y="35"/>
                      </a:cubicBezTo>
                      <a:cubicBezTo>
                        <a:pt x="63" y="35"/>
                        <a:pt x="63" y="36"/>
                        <a:pt x="63" y="37"/>
                      </a:cubicBezTo>
                      <a:cubicBezTo>
                        <a:pt x="63" y="43"/>
                        <a:pt x="63" y="43"/>
                        <a:pt x="63" y="43"/>
                      </a:cubicBezTo>
                      <a:cubicBezTo>
                        <a:pt x="63" y="43"/>
                        <a:pt x="63" y="44"/>
                        <a:pt x="62" y="44"/>
                      </a:cubicBezTo>
                      <a:cubicBezTo>
                        <a:pt x="54" y="49"/>
                        <a:pt x="54" y="49"/>
                        <a:pt x="54" y="49"/>
                      </a:cubicBezTo>
                      <a:cubicBezTo>
                        <a:pt x="54" y="50"/>
                        <a:pt x="53" y="50"/>
                        <a:pt x="53" y="50"/>
                      </a:cubicBezTo>
                      <a:close/>
                      <a:moveTo>
                        <a:pt x="4" y="17"/>
                      </a:moveTo>
                      <a:cubicBezTo>
                        <a:pt x="53" y="45"/>
                        <a:pt x="53" y="45"/>
                        <a:pt x="53" y="45"/>
                      </a:cubicBezTo>
                      <a:cubicBezTo>
                        <a:pt x="59" y="42"/>
                        <a:pt x="59" y="42"/>
                        <a:pt x="59" y="42"/>
                      </a:cubicBezTo>
                      <a:cubicBezTo>
                        <a:pt x="59" y="38"/>
                        <a:pt x="59" y="38"/>
                        <a:pt x="59" y="38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7"/>
                      </a:lnTo>
                      <a:close/>
                      <a:moveTo>
                        <a:pt x="61" y="43"/>
                      </a:moveTo>
                      <a:cubicBezTo>
                        <a:pt x="61" y="43"/>
                        <a:pt x="61" y="43"/>
                        <a:pt x="61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4" name="Freeform 636">
                  <a:extLst>
                    <a:ext uri="{FF2B5EF4-FFF2-40B4-BE49-F238E27FC236}">
                      <a16:creationId xmlns:a16="http://schemas.microsoft.com/office/drawing/2014/main" id="{C1EC6398-BDFC-47C8-A974-5631F50299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1210"/>
                  <a:ext cx="70" cy="66"/>
                </a:xfrm>
                <a:custGeom>
                  <a:avLst/>
                  <a:gdLst>
                    <a:gd name="T0" fmla="*/ 11 w 30"/>
                    <a:gd name="T1" fmla="*/ 28 h 28"/>
                    <a:gd name="T2" fmla="*/ 10 w 30"/>
                    <a:gd name="T3" fmla="*/ 28 h 28"/>
                    <a:gd name="T4" fmla="*/ 1 w 30"/>
                    <a:gd name="T5" fmla="*/ 23 h 28"/>
                    <a:gd name="T6" fmla="*/ 0 w 30"/>
                    <a:gd name="T7" fmla="*/ 21 h 28"/>
                    <a:gd name="T8" fmla="*/ 0 w 30"/>
                    <a:gd name="T9" fmla="*/ 2 h 28"/>
                    <a:gd name="T10" fmla="*/ 1 w 30"/>
                    <a:gd name="T11" fmla="*/ 0 h 28"/>
                    <a:gd name="T12" fmla="*/ 3 w 30"/>
                    <a:gd name="T13" fmla="*/ 0 h 28"/>
                    <a:gd name="T14" fmla="*/ 29 w 30"/>
                    <a:gd name="T15" fmla="*/ 15 h 28"/>
                    <a:gd name="T16" fmla="*/ 30 w 30"/>
                    <a:gd name="T17" fmla="*/ 17 h 28"/>
                    <a:gd name="T18" fmla="*/ 29 w 30"/>
                    <a:gd name="T19" fmla="*/ 18 h 28"/>
                    <a:gd name="T20" fmla="*/ 12 w 30"/>
                    <a:gd name="T21" fmla="*/ 28 h 28"/>
                    <a:gd name="T22" fmla="*/ 11 w 30"/>
                    <a:gd name="T23" fmla="*/ 28 h 28"/>
                    <a:gd name="T24" fmla="*/ 4 w 30"/>
                    <a:gd name="T25" fmla="*/ 20 h 28"/>
                    <a:gd name="T26" fmla="*/ 11 w 30"/>
                    <a:gd name="T27" fmla="*/ 24 h 28"/>
                    <a:gd name="T28" fmla="*/ 24 w 30"/>
                    <a:gd name="T29" fmla="*/ 17 h 28"/>
                    <a:gd name="T30" fmla="*/ 4 w 30"/>
                    <a:gd name="T31" fmla="*/ 5 h 28"/>
                    <a:gd name="T32" fmla="*/ 4 w 30"/>
                    <a:gd name="T33" fmla="*/ 2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28">
                      <a:moveTo>
                        <a:pt x="11" y="28"/>
                      </a:moveTo>
                      <a:cubicBezTo>
                        <a:pt x="11" y="28"/>
                        <a:pt x="10" y="28"/>
                        <a:pt x="10" y="28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1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15"/>
                        <a:pt x="30" y="16"/>
                        <a:pt x="30" y="17"/>
                      </a:cubicBezTo>
                      <a:cubicBezTo>
                        <a:pt x="30" y="17"/>
                        <a:pt x="29" y="18"/>
                        <a:pt x="29" y="1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8"/>
                        <a:pt x="11" y="28"/>
                        <a:pt x="11" y="28"/>
                      </a:cubicBezTo>
                      <a:close/>
                      <a:moveTo>
                        <a:pt x="4" y="20"/>
                      </a:moveTo>
                      <a:cubicBezTo>
                        <a:pt x="11" y="24"/>
                        <a:pt x="11" y="24"/>
                        <a:pt x="11" y="24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5" name="Freeform 637">
                  <a:extLst>
                    <a:ext uri="{FF2B5EF4-FFF2-40B4-BE49-F238E27FC236}">
                      <a16:creationId xmlns:a16="http://schemas.microsoft.com/office/drawing/2014/main" id="{49989FDD-9D88-4211-BE49-5592D545F4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739"/>
                  <a:ext cx="12" cy="33"/>
                </a:xfrm>
                <a:custGeom>
                  <a:avLst/>
                  <a:gdLst>
                    <a:gd name="T0" fmla="*/ 3 w 5"/>
                    <a:gd name="T1" fmla="*/ 14 h 14"/>
                    <a:gd name="T2" fmla="*/ 2 w 5"/>
                    <a:gd name="T3" fmla="*/ 14 h 14"/>
                    <a:gd name="T4" fmla="*/ 1 w 5"/>
                    <a:gd name="T5" fmla="*/ 13 h 14"/>
                    <a:gd name="T6" fmla="*/ 0 w 5"/>
                    <a:gd name="T7" fmla="*/ 11 h 14"/>
                    <a:gd name="T8" fmla="*/ 0 w 5"/>
                    <a:gd name="T9" fmla="*/ 2 h 14"/>
                    <a:gd name="T10" fmla="*/ 1 w 5"/>
                    <a:gd name="T11" fmla="*/ 0 h 14"/>
                    <a:gd name="T12" fmla="*/ 3 w 5"/>
                    <a:gd name="T13" fmla="*/ 0 h 14"/>
                    <a:gd name="T14" fmla="*/ 4 w 5"/>
                    <a:gd name="T15" fmla="*/ 1 h 14"/>
                    <a:gd name="T16" fmla="*/ 5 w 5"/>
                    <a:gd name="T17" fmla="*/ 3 h 14"/>
                    <a:gd name="T18" fmla="*/ 5 w 5"/>
                    <a:gd name="T19" fmla="*/ 12 h 14"/>
                    <a:gd name="T20" fmla="*/ 4 w 5"/>
                    <a:gd name="T21" fmla="*/ 14 h 14"/>
                    <a:gd name="T22" fmla="*/ 3 w 5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4">
                      <a:moveTo>
                        <a:pt x="3" y="14"/>
                      </a:moveTo>
                      <a:cubicBezTo>
                        <a:pt x="3" y="14"/>
                        <a:pt x="3" y="14"/>
                        <a:pt x="2" y="14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1"/>
                        <a:pt x="5" y="2"/>
                        <a:pt x="5" y="3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3"/>
                        <a:pt x="5" y="14"/>
                        <a:pt x="4" y="14"/>
                      </a:cubicBezTo>
                      <a:cubicBezTo>
                        <a:pt x="4" y="14"/>
                        <a:pt x="4" y="14"/>
                        <a:pt x="3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6" name="Freeform 638">
                  <a:extLst>
                    <a:ext uri="{FF2B5EF4-FFF2-40B4-BE49-F238E27FC236}">
                      <a16:creationId xmlns:a16="http://schemas.microsoft.com/office/drawing/2014/main" id="{2456269F-B09B-41F8-931D-AED57F94E8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765"/>
                  <a:ext cx="12" cy="144"/>
                </a:xfrm>
                <a:custGeom>
                  <a:avLst/>
                  <a:gdLst>
                    <a:gd name="T0" fmla="*/ 2 w 5"/>
                    <a:gd name="T1" fmla="*/ 61 h 61"/>
                    <a:gd name="T2" fmla="*/ 1 w 5"/>
                    <a:gd name="T3" fmla="*/ 61 h 61"/>
                    <a:gd name="T4" fmla="*/ 0 w 5"/>
                    <a:gd name="T5" fmla="*/ 59 h 61"/>
                    <a:gd name="T6" fmla="*/ 0 w 5"/>
                    <a:gd name="T7" fmla="*/ 2 h 61"/>
                    <a:gd name="T8" fmla="*/ 1 w 5"/>
                    <a:gd name="T9" fmla="*/ 1 h 61"/>
                    <a:gd name="T10" fmla="*/ 3 w 5"/>
                    <a:gd name="T11" fmla="*/ 1 h 61"/>
                    <a:gd name="T12" fmla="*/ 4 w 5"/>
                    <a:gd name="T13" fmla="*/ 2 h 61"/>
                    <a:gd name="T14" fmla="*/ 5 w 5"/>
                    <a:gd name="T15" fmla="*/ 3 h 61"/>
                    <a:gd name="T16" fmla="*/ 5 w 5"/>
                    <a:gd name="T17" fmla="*/ 58 h 61"/>
                    <a:gd name="T18" fmla="*/ 4 w 5"/>
                    <a:gd name="T19" fmla="*/ 60 h 61"/>
                    <a:gd name="T20" fmla="*/ 3 w 5"/>
                    <a:gd name="T21" fmla="*/ 61 h 61"/>
                    <a:gd name="T22" fmla="*/ 2 w 5"/>
                    <a:gd name="T23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61">
                      <a:moveTo>
                        <a:pt x="2" y="61"/>
                      </a:moveTo>
                      <a:cubicBezTo>
                        <a:pt x="1" y="61"/>
                        <a:pt x="1" y="61"/>
                        <a:pt x="1" y="61"/>
                      </a:cubicBezTo>
                      <a:cubicBezTo>
                        <a:pt x="0" y="61"/>
                        <a:pt x="0" y="60"/>
                        <a:pt x="0" y="5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3"/>
                      </a:cubicBezTo>
                      <a:cubicBezTo>
                        <a:pt x="5" y="58"/>
                        <a:pt x="5" y="58"/>
                        <a:pt x="5" y="58"/>
                      </a:cubicBezTo>
                      <a:cubicBezTo>
                        <a:pt x="5" y="59"/>
                        <a:pt x="5" y="60"/>
                        <a:pt x="4" y="60"/>
                      </a:cubicBez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2" y="61"/>
                        <a:pt x="2" y="61"/>
                        <a:pt x="2" y="6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7" name="Freeform 639">
                  <a:extLst>
                    <a:ext uri="{FF2B5EF4-FFF2-40B4-BE49-F238E27FC236}">
                      <a16:creationId xmlns:a16="http://schemas.microsoft.com/office/drawing/2014/main" id="{FF4927DB-4BD1-4A8D-B071-3D3BB52085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420"/>
                  <a:ext cx="12" cy="323"/>
                </a:xfrm>
                <a:custGeom>
                  <a:avLst/>
                  <a:gdLst>
                    <a:gd name="T0" fmla="*/ 2 w 5"/>
                    <a:gd name="T1" fmla="*/ 137 h 137"/>
                    <a:gd name="T2" fmla="*/ 0 w 5"/>
                    <a:gd name="T3" fmla="*/ 135 h 137"/>
                    <a:gd name="T4" fmla="*/ 0 w 5"/>
                    <a:gd name="T5" fmla="*/ 2 h 137"/>
                    <a:gd name="T6" fmla="*/ 1 w 5"/>
                    <a:gd name="T7" fmla="*/ 0 h 137"/>
                    <a:gd name="T8" fmla="*/ 3 w 5"/>
                    <a:gd name="T9" fmla="*/ 0 h 137"/>
                    <a:gd name="T10" fmla="*/ 4 w 5"/>
                    <a:gd name="T11" fmla="*/ 1 h 137"/>
                    <a:gd name="T12" fmla="*/ 5 w 5"/>
                    <a:gd name="T13" fmla="*/ 3 h 137"/>
                    <a:gd name="T14" fmla="*/ 5 w 5"/>
                    <a:gd name="T15" fmla="*/ 134 h 137"/>
                    <a:gd name="T16" fmla="*/ 4 w 5"/>
                    <a:gd name="T17" fmla="*/ 136 h 137"/>
                    <a:gd name="T18" fmla="*/ 3 w 5"/>
                    <a:gd name="T19" fmla="*/ 137 h 137"/>
                    <a:gd name="T20" fmla="*/ 2 w 5"/>
                    <a:gd name="T21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137">
                      <a:moveTo>
                        <a:pt x="2" y="137"/>
                      </a:moveTo>
                      <a:cubicBezTo>
                        <a:pt x="1" y="137"/>
                        <a:pt x="0" y="136"/>
                        <a:pt x="0" y="1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1"/>
                        <a:pt x="5" y="2"/>
                        <a:pt x="5" y="3"/>
                      </a:cubicBezTo>
                      <a:cubicBezTo>
                        <a:pt x="5" y="134"/>
                        <a:pt x="5" y="134"/>
                        <a:pt x="5" y="134"/>
                      </a:cubicBezTo>
                      <a:cubicBezTo>
                        <a:pt x="5" y="135"/>
                        <a:pt x="5" y="135"/>
                        <a:pt x="4" y="136"/>
                      </a:cubicBezTo>
                      <a:cubicBezTo>
                        <a:pt x="3" y="137"/>
                        <a:pt x="3" y="137"/>
                        <a:pt x="3" y="137"/>
                      </a:cubicBezTo>
                      <a:cubicBezTo>
                        <a:pt x="2" y="137"/>
                        <a:pt x="2" y="137"/>
                        <a:pt x="2" y="1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8" name="Freeform 640">
                  <a:extLst>
                    <a:ext uri="{FF2B5EF4-FFF2-40B4-BE49-F238E27FC236}">
                      <a16:creationId xmlns:a16="http://schemas.microsoft.com/office/drawing/2014/main" id="{E03E5E88-97B0-4B99-A0FA-B06C6373AC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69" y="1207"/>
                  <a:ext cx="317" cy="532"/>
                </a:xfrm>
                <a:custGeom>
                  <a:avLst/>
                  <a:gdLst>
                    <a:gd name="T0" fmla="*/ 5 w 134"/>
                    <a:gd name="T1" fmla="*/ 225 h 225"/>
                    <a:gd name="T2" fmla="*/ 4 w 134"/>
                    <a:gd name="T3" fmla="*/ 225 h 225"/>
                    <a:gd name="T4" fmla="*/ 3 w 134"/>
                    <a:gd name="T5" fmla="*/ 223 h 225"/>
                    <a:gd name="T6" fmla="*/ 3 w 134"/>
                    <a:gd name="T7" fmla="*/ 93 h 225"/>
                    <a:gd name="T8" fmla="*/ 1 w 134"/>
                    <a:gd name="T9" fmla="*/ 92 h 225"/>
                    <a:gd name="T10" fmla="*/ 0 w 134"/>
                    <a:gd name="T11" fmla="*/ 90 h 225"/>
                    <a:gd name="T12" fmla="*/ 0 w 134"/>
                    <a:gd name="T13" fmla="*/ 75 h 225"/>
                    <a:gd name="T14" fmla="*/ 1 w 134"/>
                    <a:gd name="T15" fmla="*/ 73 h 225"/>
                    <a:gd name="T16" fmla="*/ 127 w 134"/>
                    <a:gd name="T17" fmla="*/ 0 h 225"/>
                    <a:gd name="T18" fmla="*/ 129 w 134"/>
                    <a:gd name="T19" fmla="*/ 0 h 225"/>
                    <a:gd name="T20" fmla="*/ 133 w 134"/>
                    <a:gd name="T21" fmla="*/ 2 h 225"/>
                    <a:gd name="T22" fmla="*/ 134 w 134"/>
                    <a:gd name="T23" fmla="*/ 4 h 225"/>
                    <a:gd name="T24" fmla="*/ 134 w 134"/>
                    <a:gd name="T25" fmla="*/ 146 h 225"/>
                    <a:gd name="T26" fmla="*/ 133 w 134"/>
                    <a:gd name="T27" fmla="*/ 148 h 225"/>
                    <a:gd name="T28" fmla="*/ 70 w 134"/>
                    <a:gd name="T29" fmla="*/ 184 h 225"/>
                    <a:gd name="T30" fmla="*/ 70 w 134"/>
                    <a:gd name="T31" fmla="*/ 184 h 225"/>
                    <a:gd name="T32" fmla="*/ 71 w 134"/>
                    <a:gd name="T33" fmla="*/ 186 h 225"/>
                    <a:gd name="T34" fmla="*/ 70 w 134"/>
                    <a:gd name="T35" fmla="*/ 188 h 225"/>
                    <a:gd name="T36" fmla="*/ 68 w 134"/>
                    <a:gd name="T37" fmla="*/ 189 h 225"/>
                    <a:gd name="T38" fmla="*/ 67 w 134"/>
                    <a:gd name="T39" fmla="*/ 189 h 225"/>
                    <a:gd name="T40" fmla="*/ 67 w 134"/>
                    <a:gd name="T41" fmla="*/ 190 h 225"/>
                    <a:gd name="T42" fmla="*/ 6 w 134"/>
                    <a:gd name="T43" fmla="*/ 225 h 225"/>
                    <a:gd name="T44" fmla="*/ 5 w 134"/>
                    <a:gd name="T45" fmla="*/ 225 h 225"/>
                    <a:gd name="T46" fmla="*/ 4 w 134"/>
                    <a:gd name="T47" fmla="*/ 89 h 225"/>
                    <a:gd name="T48" fmla="*/ 6 w 134"/>
                    <a:gd name="T49" fmla="*/ 90 h 225"/>
                    <a:gd name="T50" fmla="*/ 7 w 134"/>
                    <a:gd name="T51" fmla="*/ 92 h 225"/>
                    <a:gd name="T52" fmla="*/ 7 w 134"/>
                    <a:gd name="T53" fmla="*/ 219 h 225"/>
                    <a:gd name="T54" fmla="*/ 64 w 134"/>
                    <a:gd name="T55" fmla="*/ 187 h 225"/>
                    <a:gd name="T56" fmla="*/ 65 w 134"/>
                    <a:gd name="T57" fmla="*/ 185 h 225"/>
                    <a:gd name="T58" fmla="*/ 64 w 134"/>
                    <a:gd name="T59" fmla="*/ 184 h 225"/>
                    <a:gd name="T60" fmla="*/ 65 w 134"/>
                    <a:gd name="T61" fmla="*/ 182 h 225"/>
                    <a:gd name="T62" fmla="*/ 130 w 134"/>
                    <a:gd name="T63" fmla="*/ 145 h 225"/>
                    <a:gd name="T64" fmla="*/ 130 w 134"/>
                    <a:gd name="T65" fmla="*/ 5 h 225"/>
                    <a:gd name="T66" fmla="*/ 128 w 134"/>
                    <a:gd name="T67" fmla="*/ 4 h 225"/>
                    <a:gd name="T68" fmla="*/ 4 w 134"/>
                    <a:gd name="T69" fmla="*/ 76 h 225"/>
                    <a:gd name="T70" fmla="*/ 4 w 134"/>
                    <a:gd name="T71" fmla="*/ 89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4" h="225">
                      <a:moveTo>
                        <a:pt x="5" y="225"/>
                      </a:moveTo>
                      <a:cubicBezTo>
                        <a:pt x="5" y="225"/>
                        <a:pt x="4" y="225"/>
                        <a:pt x="4" y="225"/>
                      </a:cubicBezTo>
                      <a:cubicBezTo>
                        <a:pt x="3" y="224"/>
                        <a:pt x="3" y="224"/>
                        <a:pt x="3" y="223"/>
                      </a:cubicBezTo>
                      <a:cubicBezTo>
                        <a:pt x="3" y="93"/>
                        <a:pt x="3" y="93"/>
                        <a:pt x="3" y="93"/>
                      </a:cubicBez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1"/>
                        <a:pt x="0" y="90"/>
                        <a:pt x="0" y="90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74"/>
                        <a:pt x="0" y="74"/>
                        <a:pt x="1" y="73"/>
                      </a:cubicBez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128" y="0"/>
                        <a:pt x="128" y="0"/>
                        <a:pt x="129" y="0"/>
                      </a:cubicBezTo>
                      <a:cubicBezTo>
                        <a:pt x="133" y="2"/>
                        <a:pt x="133" y="2"/>
                        <a:pt x="133" y="2"/>
                      </a:cubicBezTo>
                      <a:cubicBezTo>
                        <a:pt x="133" y="3"/>
                        <a:pt x="134" y="3"/>
                        <a:pt x="134" y="4"/>
                      </a:cubicBezTo>
                      <a:cubicBezTo>
                        <a:pt x="134" y="146"/>
                        <a:pt x="134" y="146"/>
                        <a:pt x="134" y="146"/>
                      </a:cubicBezTo>
                      <a:cubicBezTo>
                        <a:pt x="134" y="147"/>
                        <a:pt x="133" y="148"/>
                        <a:pt x="133" y="148"/>
                      </a:cubicBezTo>
                      <a:cubicBezTo>
                        <a:pt x="70" y="184"/>
                        <a:pt x="70" y="184"/>
                        <a:pt x="70" y="184"/>
                      </a:cubicBezTo>
                      <a:cubicBezTo>
                        <a:pt x="70" y="184"/>
                        <a:pt x="70" y="184"/>
                        <a:pt x="70" y="184"/>
                      </a:cubicBezTo>
                      <a:cubicBezTo>
                        <a:pt x="71" y="184"/>
                        <a:pt x="71" y="185"/>
                        <a:pt x="71" y="186"/>
                      </a:cubicBezTo>
                      <a:cubicBezTo>
                        <a:pt x="71" y="187"/>
                        <a:pt x="71" y="187"/>
                        <a:pt x="70" y="188"/>
                      </a:cubicBezTo>
                      <a:cubicBezTo>
                        <a:pt x="68" y="189"/>
                        <a:pt x="68" y="189"/>
                        <a:pt x="68" y="189"/>
                      </a:cubicBezTo>
                      <a:cubicBezTo>
                        <a:pt x="68" y="189"/>
                        <a:pt x="67" y="189"/>
                        <a:pt x="67" y="189"/>
                      </a:cubicBezTo>
                      <a:cubicBezTo>
                        <a:pt x="67" y="189"/>
                        <a:pt x="67" y="190"/>
                        <a:pt x="67" y="190"/>
                      </a:cubicBezTo>
                      <a:cubicBezTo>
                        <a:pt x="6" y="225"/>
                        <a:pt x="6" y="225"/>
                        <a:pt x="6" y="225"/>
                      </a:cubicBezTo>
                      <a:cubicBezTo>
                        <a:pt x="6" y="225"/>
                        <a:pt x="5" y="225"/>
                        <a:pt x="5" y="225"/>
                      </a:cubicBezTo>
                      <a:close/>
                      <a:moveTo>
                        <a:pt x="4" y="89"/>
                      </a:moveTo>
                      <a:cubicBezTo>
                        <a:pt x="6" y="90"/>
                        <a:pt x="6" y="90"/>
                        <a:pt x="6" y="90"/>
                      </a:cubicBezTo>
                      <a:cubicBezTo>
                        <a:pt x="7" y="90"/>
                        <a:pt x="7" y="91"/>
                        <a:pt x="7" y="92"/>
                      </a:cubicBezTo>
                      <a:cubicBezTo>
                        <a:pt x="7" y="219"/>
                        <a:pt x="7" y="219"/>
                        <a:pt x="7" y="219"/>
                      </a:cubicBezTo>
                      <a:cubicBezTo>
                        <a:pt x="64" y="187"/>
                        <a:pt x="64" y="187"/>
                        <a:pt x="64" y="187"/>
                      </a:cubicBezTo>
                      <a:cubicBezTo>
                        <a:pt x="64" y="186"/>
                        <a:pt x="64" y="186"/>
                        <a:pt x="65" y="185"/>
                      </a:cubicBezTo>
                      <a:cubicBezTo>
                        <a:pt x="64" y="185"/>
                        <a:pt x="64" y="184"/>
                        <a:pt x="64" y="184"/>
                      </a:cubicBezTo>
                      <a:cubicBezTo>
                        <a:pt x="64" y="183"/>
                        <a:pt x="64" y="183"/>
                        <a:pt x="65" y="182"/>
                      </a:cubicBezTo>
                      <a:cubicBezTo>
                        <a:pt x="130" y="145"/>
                        <a:pt x="130" y="145"/>
                        <a:pt x="130" y="145"/>
                      </a:cubicBezTo>
                      <a:cubicBezTo>
                        <a:pt x="130" y="5"/>
                        <a:pt x="130" y="5"/>
                        <a:pt x="130" y="5"/>
                      </a:cubicBezTo>
                      <a:cubicBezTo>
                        <a:pt x="128" y="4"/>
                        <a:pt x="128" y="4"/>
                        <a:pt x="128" y="4"/>
                      </a:cubicBezTo>
                      <a:cubicBezTo>
                        <a:pt x="4" y="76"/>
                        <a:pt x="4" y="76"/>
                        <a:pt x="4" y="76"/>
                      </a:cubicBezTo>
                      <a:lnTo>
                        <a:pt x="4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9" name="Freeform 641">
                  <a:extLst>
                    <a:ext uri="{FF2B5EF4-FFF2-40B4-BE49-F238E27FC236}">
                      <a16:creationId xmlns:a16="http://schemas.microsoft.com/office/drawing/2014/main" id="{4AF3F2F0-3C86-47CD-8963-8DC43EBC35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71" y="1044"/>
                  <a:ext cx="90" cy="81"/>
                </a:xfrm>
                <a:custGeom>
                  <a:avLst/>
                  <a:gdLst>
                    <a:gd name="T0" fmla="*/ 20 w 38"/>
                    <a:gd name="T1" fmla="*/ 34 h 34"/>
                    <a:gd name="T2" fmla="*/ 19 w 38"/>
                    <a:gd name="T3" fmla="*/ 33 h 34"/>
                    <a:gd name="T4" fmla="*/ 1 w 38"/>
                    <a:gd name="T5" fmla="*/ 23 h 34"/>
                    <a:gd name="T6" fmla="*/ 0 w 38"/>
                    <a:gd name="T7" fmla="*/ 21 h 34"/>
                    <a:gd name="T8" fmla="*/ 0 w 38"/>
                    <a:gd name="T9" fmla="*/ 2 h 34"/>
                    <a:gd name="T10" fmla="*/ 1 w 38"/>
                    <a:gd name="T11" fmla="*/ 0 h 34"/>
                    <a:gd name="T12" fmla="*/ 3 w 38"/>
                    <a:gd name="T13" fmla="*/ 0 h 34"/>
                    <a:gd name="T14" fmla="*/ 37 w 38"/>
                    <a:gd name="T15" fmla="*/ 20 h 34"/>
                    <a:gd name="T16" fmla="*/ 38 w 38"/>
                    <a:gd name="T17" fmla="*/ 22 h 34"/>
                    <a:gd name="T18" fmla="*/ 37 w 38"/>
                    <a:gd name="T19" fmla="*/ 24 h 34"/>
                    <a:gd name="T20" fmla="*/ 21 w 38"/>
                    <a:gd name="T21" fmla="*/ 33 h 34"/>
                    <a:gd name="T22" fmla="*/ 20 w 38"/>
                    <a:gd name="T23" fmla="*/ 34 h 34"/>
                    <a:gd name="T24" fmla="*/ 4 w 38"/>
                    <a:gd name="T25" fmla="*/ 20 h 34"/>
                    <a:gd name="T26" fmla="*/ 20 w 38"/>
                    <a:gd name="T27" fmla="*/ 29 h 34"/>
                    <a:gd name="T28" fmla="*/ 32 w 38"/>
                    <a:gd name="T29" fmla="*/ 22 h 34"/>
                    <a:gd name="T30" fmla="*/ 4 w 38"/>
                    <a:gd name="T31" fmla="*/ 5 h 34"/>
                    <a:gd name="T32" fmla="*/ 4 w 38"/>
                    <a:gd name="T33" fmla="*/ 2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8" h="34">
                      <a:moveTo>
                        <a:pt x="20" y="34"/>
                      </a:moveTo>
                      <a:cubicBezTo>
                        <a:pt x="19" y="34"/>
                        <a:pt x="19" y="33"/>
                        <a:pt x="19" y="33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8" y="21"/>
                        <a:pt x="38" y="21"/>
                        <a:pt x="38" y="22"/>
                      </a:cubicBezTo>
                      <a:cubicBezTo>
                        <a:pt x="38" y="23"/>
                        <a:pt x="38" y="23"/>
                        <a:pt x="37" y="24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0" y="33"/>
                        <a:pt x="20" y="34"/>
                        <a:pt x="20" y="34"/>
                      </a:cubicBezTo>
                      <a:close/>
                      <a:moveTo>
                        <a:pt x="4" y="20"/>
                      </a:move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0" name="Freeform 642">
                  <a:extLst>
                    <a:ext uri="{FF2B5EF4-FFF2-40B4-BE49-F238E27FC236}">
                      <a16:creationId xmlns:a16="http://schemas.microsoft.com/office/drawing/2014/main" id="{A31ED441-A178-4A2C-8063-EF7DD5D0DD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83" y="1247"/>
                  <a:ext cx="82" cy="52"/>
                </a:xfrm>
                <a:custGeom>
                  <a:avLst/>
                  <a:gdLst>
                    <a:gd name="T0" fmla="*/ 17 w 35"/>
                    <a:gd name="T1" fmla="*/ 22 h 22"/>
                    <a:gd name="T2" fmla="*/ 16 w 35"/>
                    <a:gd name="T3" fmla="*/ 22 h 22"/>
                    <a:gd name="T4" fmla="*/ 1 w 35"/>
                    <a:gd name="T5" fmla="*/ 13 h 22"/>
                    <a:gd name="T6" fmla="*/ 0 w 35"/>
                    <a:gd name="T7" fmla="*/ 11 h 22"/>
                    <a:gd name="T8" fmla="*/ 1 w 35"/>
                    <a:gd name="T9" fmla="*/ 10 h 22"/>
                    <a:gd name="T10" fmla="*/ 17 w 35"/>
                    <a:gd name="T11" fmla="*/ 0 h 22"/>
                    <a:gd name="T12" fmla="*/ 19 w 35"/>
                    <a:gd name="T13" fmla="*/ 0 h 22"/>
                    <a:gd name="T14" fmla="*/ 34 w 35"/>
                    <a:gd name="T15" fmla="*/ 9 h 22"/>
                    <a:gd name="T16" fmla="*/ 35 w 35"/>
                    <a:gd name="T17" fmla="*/ 10 h 22"/>
                    <a:gd name="T18" fmla="*/ 34 w 35"/>
                    <a:gd name="T19" fmla="*/ 12 h 22"/>
                    <a:gd name="T20" fmla="*/ 18 w 35"/>
                    <a:gd name="T21" fmla="*/ 22 h 22"/>
                    <a:gd name="T22" fmla="*/ 17 w 35"/>
                    <a:gd name="T23" fmla="*/ 22 h 22"/>
                    <a:gd name="T24" fmla="*/ 6 w 35"/>
                    <a:gd name="T25" fmla="*/ 11 h 22"/>
                    <a:gd name="T26" fmla="*/ 17 w 35"/>
                    <a:gd name="T27" fmla="*/ 18 h 22"/>
                    <a:gd name="T28" fmla="*/ 29 w 35"/>
                    <a:gd name="T29" fmla="*/ 10 h 22"/>
                    <a:gd name="T30" fmla="*/ 18 w 35"/>
                    <a:gd name="T31" fmla="*/ 4 h 22"/>
                    <a:gd name="T32" fmla="*/ 6 w 35"/>
                    <a:gd name="T33" fmla="*/ 1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22">
                      <a:moveTo>
                        <a:pt x="17" y="22"/>
                      </a:moveTo>
                      <a:cubicBezTo>
                        <a:pt x="16" y="22"/>
                        <a:pt x="16" y="22"/>
                        <a:pt x="16" y="22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1"/>
                      </a:cubicBezTo>
                      <a:cubicBezTo>
                        <a:pt x="0" y="11"/>
                        <a:pt x="0" y="10"/>
                        <a:pt x="1" y="1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8" y="0"/>
                        <a:pt x="19" y="0"/>
                        <a:pt x="19" y="0"/>
                      </a:cubicBezTo>
                      <a:cubicBezTo>
                        <a:pt x="34" y="9"/>
                        <a:pt x="34" y="9"/>
                        <a:pt x="34" y="9"/>
                      </a:cubicBezTo>
                      <a:cubicBezTo>
                        <a:pt x="35" y="9"/>
                        <a:pt x="35" y="10"/>
                        <a:pt x="35" y="10"/>
                      </a:cubicBezTo>
                      <a:cubicBezTo>
                        <a:pt x="35" y="11"/>
                        <a:pt x="35" y="12"/>
                        <a:pt x="34" y="12"/>
                      </a:cubicBezTo>
                      <a:cubicBezTo>
                        <a:pt x="18" y="22"/>
                        <a:pt x="18" y="22"/>
                        <a:pt x="18" y="22"/>
                      </a:cubicBezTo>
                      <a:cubicBezTo>
                        <a:pt x="17" y="22"/>
                        <a:pt x="17" y="22"/>
                        <a:pt x="17" y="22"/>
                      </a:cubicBezTo>
                      <a:close/>
                      <a:moveTo>
                        <a:pt x="6" y="11"/>
                      </a:move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18" y="4"/>
                        <a:pt x="18" y="4"/>
                        <a:pt x="18" y="4"/>
                      </a:cubicBez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1" name="Freeform 643">
                  <a:extLst>
                    <a:ext uri="{FF2B5EF4-FFF2-40B4-BE49-F238E27FC236}">
                      <a16:creationId xmlns:a16="http://schemas.microsoft.com/office/drawing/2014/main" id="{A687EC92-C75A-44D7-B45E-147663C2D6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1902"/>
                  <a:ext cx="12" cy="26"/>
                </a:xfrm>
                <a:custGeom>
                  <a:avLst/>
                  <a:gdLst>
                    <a:gd name="T0" fmla="*/ 3 w 5"/>
                    <a:gd name="T1" fmla="*/ 11 h 11"/>
                    <a:gd name="T2" fmla="*/ 2 w 5"/>
                    <a:gd name="T3" fmla="*/ 10 h 11"/>
                    <a:gd name="T4" fmla="*/ 1 w 5"/>
                    <a:gd name="T5" fmla="*/ 9 h 11"/>
                    <a:gd name="T6" fmla="*/ 0 w 5"/>
                    <a:gd name="T7" fmla="*/ 8 h 11"/>
                    <a:gd name="T8" fmla="*/ 0 w 5"/>
                    <a:gd name="T9" fmla="*/ 3 h 11"/>
                    <a:gd name="T10" fmla="*/ 1 w 5"/>
                    <a:gd name="T11" fmla="*/ 2 h 11"/>
                    <a:gd name="T12" fmla="*/ 2 w 5"/>
                    <a:gd name="T13" fmla="*/ 1 h 11"/>
                    <a:gd name="T14" fmla="*/ 4 w 5"/>
                    <a:gd name="T15" fmla="*/ 1 h 11"/>
                    <a:gd name="T16" fmla="*/ 5 w 5"/>
                    <a:gd name="T17" fmla="*/ 2 h 11"/>
                    <a:gd name="T18" fmla="*/ 5 w 5"/>
                    <a:gd name="T19" fmla="*/ 9 h 11"/>
                    <a:gd name="T20" fmla="*/ 4 w 5"/>
                    <a:gd name="T21" fmla="*/ 10 h 11"/>
                    <a:gd name="T22" fmla="*/ 3 w 5"/>
                    <a:gd name="T23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1">
                      <a:moveTo>
                        <a:pt x="3" y="11"/>
                      </a:moveTo>
                      <a:cubicBezTo>
                        <a:pt x="3" y="11"/>
                        <a:pt x="3" y="11"/>
                        <a:pt x="2" y="10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9"/>
                        <a:pt x="0" y="8"/>
                        <a:pt x="0" y="8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9"/>
                        <a:pt x="5" y="10"/>
                        <a:pt x="4" y="10"/>
                      </a:cubicBezTo>
                      <a:cubicBezTo>
                        <a:pt x="4" y="11"/>
                        <a:pt x="4" y="11"/>
                        <a:pt x="3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2" name="Freeform 644">
                  <a:extLst>
                    <a:ext uri="{FF2B5EF4-FFF2-40B4-BE49-F238E27FC236}">
                      <a16:creationId xmlns:a16="http://schemas.microsoft.com/office/drawing/2014/main" id="{93720621-6BFB-4AD2-BD57-1C2DCB7D9C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3" y="1748"/>
                  <a:ext cx="137" cy="83"/>
                </a:xfrm>
                <a:custGeom>
                  <a:avLst/>
                  <a:gdLst>
                    <a:gd name="T0" fmla="*/ 3 w 58"/>
                    <a:gd name="T1" fmla="*/ 35 h 35"/>
                    <a:gd name="T2" fmla="*/ 2 w 58"/>
                    <a:gd name="T3" fmla="*/ 35 h 35"/>
                    <a:gd name="T4" fmla="*/ 1 w 58"/>
                    <a:gd name="T5" fmla="*/ 34 h 35"/>
                    <a:gd name="T6" fmla="*/ 0 w 58"/>
                    <a:gd name="T7" fmla="*/ 32 h 35"/>
                    <a:gd name="T8" fmla="*/ 1 w 58"/>
                    <a:gd name="T9" fmla="*/ 30 h 35"/>
                    <a:gd name="T10" fmla="*/ 53 w 58"/>
                    <a:gd name="T11" fmla="*/ 0 h 35"/>
                    <a:gd name="T12" fmla="*/ 55 w 58"/>
                    <a:gd name="T13" fmla="*/ 0 h 35"/>
                    <a:gd name="T14" fmla="*/ 57 w 58"/>
                    <a:gd name="T15" fmla="*/ 1 h 35"/>
                    <a:gd name="T16" fmla="*/ 58 w 58"/>
                    <a:gd name="T17" fmla="*/ 3 h 35"/>
                    <a:gd name="T18" fmla="*/ 57 w 58"/>
                    <a:gd name="T19" fmla="*/ 4 h 35"/>
                    <a:gd name="T20" fmla="*/ 4 w 58"/>
                    <a:gd name="T21" fmla="*/ 35 h 35"/>
                    <a:gd name="T22" fmla="*/ 3 w 58"/>
                    <a:gd name="T23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8" h="35">
                      <a:moveTo>
                        <a:pt x="3" y="35"/>
                      </a:moveTo>
                      <a:cubicBezTo>
                        <a:pt x="3" y="35"/>
                        <a:pt x="3" y="35"/>
                        <a:pt x="2" y="35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3"/>
                        <a:pt x="0" y="33"/>
                        <a:pt x="0" y="32"/>
                      </a:cubicBezTo>
                      <a:cubicBezTo>
                        <a:pt x="0" y="31"/>
                        <a:pt x="0" y="31"/>
                        <a:pt x="1" y="3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4" y="0"/>
                        <a:pt x="55" y="0"/>
                        <a:pt x="55" y="0"/>
                      </a:cubicBezTo>
                      <a:cubicBezTo>
                        <a:pt x="57" y="1"/>
                        <a:pt x="57" y="1"/>
                        <a:pt x="57" y="1"/>
                      </a:cubicBezTo>
                      <a:cubicBezTo>
                        <a:pt x="58" y="1"/>
                        <a:pt x="58" y="2"/>
                        <a:pt x="58" y="3"/>
                      </a:cubicBezTo>
                      <a:cubicBezTo>
                        <a:pt x="58" y="3"/>
                        <a:pt x="58" y="4"/>
                        <a:pt x="57" y="4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4" y="35"/>
                        <a:pt x="4" y="35"/>
                        <a:pt x="3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3" name="Freeform 645">
                  <a:extLst>
                    <a:ext uri="{FF2B5EF4-FFF2-40B4-BE49-F238E27FC236}">
                      <a16:creationId xmlns:a16="http://schemas.microsoft.com/office/drawing/2014/main" id="{6A08DA28-2E4D-4BEB-BFD7-607E37DE78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39" y="1658"/>
                  <a:ext cx="404" cy="244"/>
                </a:xfrm>
                <a:custGeom>
                  <a:avLst/>
                  <a:gdLst>
                    <a:gd name="T0" fmla="*/ 68 w 171"/>
                    <a:gd name="T1" fmla="*/ 103 h 103"/>
                    <a:gd name="T2" fmla="*/ 67 w 171"/>
                    <a:gd name="T3" fmla="*/ 102 h 103"/>
                    <a:gd name="T4" fmla="*/ 1 w 171"/>
                    <a:gd name="T5" fmla="*/ 64 h 103"/>
                    <a:gd name="T6" fmla="*/ 0 w 171"/>
                    <a:gd name="T7" fmla="*/ 62 h 103"/>
                    <a:gd name="T8" fmla="*/ 1 w 171"/>
                    <a:gd name="T9" fmla="*/ 61 h 103"/>
                    <a:gd name="T10" fmla="*/ 105 w 171"/>
                    <a:gd name="T11" fmla="*/ 1 h 103"/>
                    <a:gd name="T12" fmla="*/ 107 w 171"/>
                    <a:gd name="T13" fmla="*/ 1 h 103"/>
                    <a:gd name="T14" fmla="*/ 170 w 171"/>
                    <a:gd name="T15" fmla="*/ 37 h 103"/>
                    <a:gd name="T16" fmla="*/ 171 w 171"/>
                    <a:gd name="T17" fmla="*/ 39 h 103"/>
                    <a:gd name="T18" fmla="*/ 170 w 171"/>
                    <a:gd name="T19" fmla="*/ 40 h 103"/>
                    <a:gd name="T20" fmla="*/ 118 w 171"/>
                    <a:gd name="T21" fmla="*/ 70 h 103"/>
                    <a:gd name="T22" fmla="*/ 119 w 171"/>
                    <a:gd name="T23" fmla="*/ 70 h 103"/>
                    <a:gd name="T24" fmla="*/ 120 w 171"/>
                    <a:gd name="T25" fmla="*/ 72 h 103"/>
                    <a:gd name="T26" fmla="*/ 119 w 171"/>
                    <a:gd name="T27" fmla="*/ 74 h 103"/>
                    <a:gd name="T28" fmla="*/ 69 w 171"/>
                    <a:gd name="T29" fmla="*/ 102 h 103"/>
                    <a:gd name="T30" fmla="*/ 68 w 171"/>
                    <a:gd name="T31" fmla="*/ 103 h 103"/>
                    <a:gd name="T32" fmla="*/ 6 w 171"/>
                    <a:gd name="T33" fmla="*/ 62 h 103"/>
                    <a:gd name="T34" fmla="*/ 68 w 171"/>
                    <a:gd name="T35" fmla="*/ 98 h 103"/>
                    <a:gd name="T36" fmla="*/ 114 w 171"/>
                    <a:gd name="T37" fmla="*/ 72 h 103"/>
                    <a:gd name="T38" fmla="*/ 113 w 171"/>
                    <a:gd name="T39" fmla="*/ 72 h 103"/>
                    <a:gd name="T40" fmla="*/ 112 w 171"/>
                    <a:gd name="T41" fmla="*/ 70 h 103"/>
                    <a:gd name="T42" fmla="*/ 113 w 171"/>
                    <a:gd name="T43" fmla="*/ 68 h 103"/>
                    <a:gd name="T44" fmla="*/ 165 w 171"/>
                    <a:gd name="T45" fmla="*/ 39 h 103"/>
                    <a:gd name="T46" fmla="*/ 106 w 171"/>
                    <a:gd name="T47" fmla="*/ 5 h 103"/>
                    <a:gd name="T48" fmla="*/ 6 w 171"/>
                    <a:gd name="T49" fmla="*/ 62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71" h="103">
                      <a:moveTo>
                        <a:pt x="68" y="103"/>
                      </a:moveTo>
                      <a:cubicBezTo>
                        <a:pt x="68" y="103"/>
                        <a:pt x="67" y="103"/>
                        <a:pt x="67" y="102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0" y="64"/>
                        <a:pt x="0" y="63"/>
                        <a:pt x="0" y="62"/>
                      </a:cubicBezTo>
                      <a:cubicBezTo>
                        <a:pt x="0" y="62"/>
                        <a:pt x="0" y="61"/>
                        <a:pt x="1" y="61"/>
                      </a:cubicBezTo>
                      <a:cubicBezTo>
                        <a:pt x="105" y="1"/>
                        <a:pt x="105" y="1"/>
                        <a:pt x="105" y="1"/>
                      </a:cubicBezTo>
                      <a:cubicBezTo>
                        <a:pt x="105" y="0"/>
                        <a:pt x="106" y="0"/>
                        <a:pt x="107" y="1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1" y="38"/>
                        <a:pt x="171" y="39"/>
                      </a:cubicBezTo>
                      <a:cubicBezTo>
                        <a:pt x="171" y="39"/>
                        <a:pt x="170" y="40"/>
                        <a:pt x="170" y="40"/>
                      </a:cubicBezTo>
                      <a:cubicBezTo>
                        <a:pt x="118" y="70"/>
                        <a:pt x="118" y="70"/>
                        <a:pt x="118" y="70"/>
                      </a:cubicBezTo>
                      <a:cubicBezTo>
                        <a:pt x="119" y="70"/>
                        <a:pt x="119" y="70"/>
                        <a:pt x="119" y="70"/>
                      </a:cubicBezTo>
                      <a:cubicBezTo>
                        <a:pt x="119" y="71"/>
                        <a:pt x="120" y="71"/>
                        <a:pt x="120" y="72"/>
                      </a:cubicBezTo>
                      <a:cubicBezTo>
                        <a:pt x="120" y="73"/>
                        <a:pt x="119" y="73"/>
                        <a:pt x="119" y="74"/>
                      </a:cubicBezTo>
                      <a:cubicBezTo>
                        <a:pt x="69" y="102"/>
                        <a:pt x="69" y="102"/>
                        <a:pt x="69" y="102"/>
                      </a:cubicBezTo>
                      <a:cubicBezTo>
                        <a:pt x="69" y="103"/>
                        <a:pt x="68" y="103"/>
                        <a:pt x="68" y="103"/>
                      </a:cubicBezTo>
                      <a:close/>
                      <a:moveTo>
                        <a:pt x="6" y="62"/>
                      </a:moveTo>
                      <a:cubicBezTo>
                        <a:pt x="68" y="98"/>
                        <a:pt x="68" y="98"/>
                        <a:pt x="68" y="98"/>
                      </a:cubicBezTo>
                      <a:cubicBezTo>
                        <a:pt x="114" y="72"/>
                        <a:pt x="114" y="72"/>
                        <a:pt x="114" y="72"/>
                      </a:cubicBezTo>
                      <a:cubicBezTo>
                        <a:pt x="113" y="72"/>
                        <a:pt x="113" y="72"/>
                        <a:pt x="113" y="72"/>
                      </a:cubicBezTo>
                      <a:cubicBezTo>
                        <a:pt x="113" y="71"/>
                        <a:pt x="112" y="71"/>
                        <a:pt x="112" y="70"/>
                      </a:cubicBezTo>
                      <a:cubicBezTo>
                        <a:pt x="112" y="69"/>
                        <a:pt x="113" y="69"/>
                        <a:pt x="113" y="68"/>
                      </a:cubicBezTo>
                      <a:cubicBezTo>
                        <a:pt x="165" y="39"/>
                        <a:pt x="165" y="39"/>
                        <a:pt x="165" y="39"/>
                      </a:cubicBezTo>
                      <a:cubicBezTo>
                        <a:pt x="106" y="5"/>
                        <a:pt x="106" y="5"/>
                        <a:pt x="106" y="5"/>
                      </a:cubicBezTo>
                      <a:lnTo>
                        <a:pt x="6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4" name="Freeform 646">
                  <a:extLst>
                    <a:ext uri="{FF2B5EF4-FFF2-40B4-BE49-F238E27FC236}">
                      <a16:creationId xmlns:a16="http://schemas.microsoft.com/office/drawing/2014/main" id="{53648E05-4E4C-4108-9D88-886AE3AAC6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92" y="1094"/>
                  <a:ext cx="326" cy="205"/>
                </a:xfrm>
                <a:custGeom>
                  <a:avLst/>
                  <a:gdLst>
                    <a:gd name="T0" fmla="*/ 9 w 138"/>
                    <a:gd name="T1" fmla="*/ 87 h 87"/>
                    <a:gd name="T2" fmla="*/ 8 w 138"/>
                    <a:gd name="T3" fmla="*/ 87 h 87"/>
                    <a:gd name="T4" fmla="*/ 1 w 138"/>
                    <a:gd name="T5" fmla="*/ 82 h 87"/>
                    <a:gd name="T6" fmla="*/ 0 w 138"/>
                    <a:gd name="T7" fmla="*/ 81 h 87"/>
                    <a:gd name="T8" fmla="*/ 1 w 138"/>
                    <a:gd name="T9" fmla="*/ 79 h 87"/>
                    <a:gd name="T10" fmla="*/ 118 w 138"/>
                    <a:gd name="T11" fmla="*/ 11 h 87"/>
                    <a:gd name="T12" fmla="*/ 118 w 138"/>
                    <a:gd name="T13" fmla="*/ 2 h 87"/>
                    <a:gd name="T14" fmla="*/ 119 w 138"/>
                    <a:gd name="T15" fmla="*/ 0 h 87"/>
                    <a:gd name="T16" fmla="*/ 121 w 138"/>
                    <a:gd name="T17" fmla="*/ 0 h 87"/>
                    <a:gd name="T18" fmla="*/ 137 w 138"/>
                    <a:gd name="T19" fmla="*/ 10 h 87"/>
                    <a:gd name="T20" fmla="*/ 138 w 138"/>
                    <a:gd name="T21" fmla="*/ 11 h 87"/>
                    <a:gd name="T22" fmla="*/ 137 w 138"/>
                    <a:gd name="T23" fmla="*/ 13 h 87"/>
                    <a:gd name="T24" fmla="*/ 10 w 138"/>
                    <a:gd name="T25" fmla="*/ 87 h 87"/>
                    <a:gd name="T26" fmla="*/ 9 w 138"/>
                    <a:gd name="T27" fmla="*/ 87 h 87"/>
                    <a:gd name="T28" fmla="*/ 6 w 138"/>
                    <a:gd name="T29" fmla="*/ 81 h 87"/>
                    <a:gd name="T30" fmla="*/ 9 w 138"/>
                    <a:gd name="T31" fmla="*/ 83 h 87"/>
                    <a:gd name="T32" fmla="*/ 132 w 138"/>
                    <a:gd name="T33" fmla="*/ 11 h 87"/>
                    <a:gd name="T34" fmla="*/ 122 w 138"/>
                    <a:gd name="T35" fmla="*/ 6 h 87"/>
                    <a:gd name="T36" fmla="*/ 122 w 138"/>
                    <a:gd name="T37" fmla="*/ 12 h 87"/>
                    <a:gd name="T38" fmla="*/ 121 w 138"/>
                    <a:gd name="T39" fmla="*/ 14 h 87"/>
                    <a:gd name="T40" fmla="*/ 6 w 138"/>
                    <a:gd name="T41" fmla="*/ 8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8" h="87">
                      <a:moveTo>
                        <a:pt x="9" y="87"/>
                      </a:moveTo>
                      <a:cubicBezTo>
                        <a:pt x="9" y="87"/>
                        <a:pt x="8" y="87"/>
                        <a:pt x="8" y="87"/>
                      </a:cubicBezTo>
                      <a:cubicBezTo>
                        <a:pt x="1" y="82"/>
                        <a:pt x="1" y="82"/>
                        <a:pt x="1" y="82"/>
                      </a:cubicBezTo>
                      <a:cubicBezTo>
                        <a:pt x="0" y="82"/>
                        <a:pt x="0" y="81"/>
                        <a:pt x="0" y="81"/>
                      </a:cubicBezTo>
                      <a:cubicBezTo>
                        <a:pt x="0" y="80"/>
                        <a:pt x="0" y="79"/>
                        <a:pt x="1" y="79"/>
                      </a:cubicBezTo>
                      <a:cubicBezTo>
                        <a:pt x="118" y="11"/>
                        <a:pt x="118" y="11"/>
                        <a:pt x="118" y="11"/>
                      </a:cubicBezTo>
                      <a:cubicBezTo>
                        <a:pt x="118" y="2"/>
                        <a:pt x="118" y="2"/>
                        <a:pt x="118" y="2"/>
                      </a:cubicBezTo>
                      <a:cubicBezTo>
                        <a:pt x="118" y="1"/>
                        <a:pt x="118" y="1"/>
                        <a:pt x="119" y="0"/>
                      </a:cubicBezTo>
                      <a:cubicBezTo>
                        <a:pt x="120" y="0"/>
                        <a:pt x="120" y="0"/>
                        <a:pt x="121" y="0"/>
                      </a:cubicBezTo>
                      <a:cubicBezTo>
                        <a:pt x="137" y="10"/>
                        <a:pt x="137" y="10"/>
                        <a:pt x="137" y="10"/>
                      </a:cubicBezTo>
                      <a:cubicBezTo>
                        <a:pt x="138" y="10"/>
                        <a:pt x="138" y="11"/>
                        <a:pt x="138" y="11"/>
                      </a:cubicBezTo>
                      <a:cubicBezTo>
                        <a:pt x="138" y="12"/>
                        <a:pt x="138" y="13"/>
                        <a:pt x="137" y="13"/>
                      </a:cubicBezTo>
                      <a:cubicBezTo>
                        <a:pt x="10" y="87"/>
                        <a:pt x="10" y="87"/>
                        <a:pt x="10" y="87"/>
                      </a:cubicBezTo>
                      <a:cubicBezTo>
                        <a:pt x="10" y="87"/>
                        <a:pt x="9" y="87"/>
                        <a:pt x="9" y="87"/>
                      </a:cubicBezTo>
                      <a:close/>
                      <a:moveTo>
                        <a:pt x="6" y="81"/>
                      </a:moveTo>
                      <a:cubicBezTo>
                        <a:pt x="9" y="83"/>
                        <a:pt x="9" y="83"/>
                        <a:pt x="9" y="83"/>
                      </a:cubicBezTo>
                      <a:cubicBezTo>
                        <a:pt x="132" y="11"/>
                        <a:pt x="132" y="11"/>
                        <a:pt x="132" y="11"/>
                      </a:cubicBezTo>
                      <a:cubicBezTo>
                        <a:pt x="122" y="6"/>
                        <a:pt x="122" y="6"/>
                        <a:pt x="122" y="6"/>
                      </a:cubicBezTo>
                      <a:cubicBezTo>
                        <a:pt x="122" y="12"/>
                        <a:pt x="122" y="12"/>
                        <a:pt x="122" y="12"/>
                      </a:cubicBezTo>
                      <a:cubicBezTo>
                        <a:pt x="122" y="13"/>
                        <a:pt x="122" y="14"/>
                        <a:pt x="121" y="14"/>
                      </a:cubicBezTo>
                      <a:lnTo>
                        <a:pt x="6" y="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5" name="Freeform 647">
                  <a:extLst>
                    <a:ext uri="{FF2B5EF4-FFF2-40B4-BE49-F238E27FC236}">
                      <a16:creationId xmlns:a16="http://schemas.microsoft.com/office/drawing/2014/main" id="{33ACD21F-98E7-4C4F-941B-E392DAF55B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50" y="1623"/>
                  <a:ext cx="63" cy="43"/>
                </a:xfrm>
                <a:custGeom>
                  <a:avLst/>
                  <a:gdLst>
                    <a:gd name="T0" fmla="*/ 17 w 27"/>
                    <a:gd name="T1" fmla="*/ 18 h 18"/>
                    <a:gd name="T2" fmla="*/ 16 w 27"/>
                    <a:gd name="T3" fmla="*/ 17 h 18"/>
                    <a:gd name="T4" fmla="*/ 1 w 27"/>
                    <a:gd name="T5" fmla="*/ 9 h 18"/>
                    <a:gd name="T6" fmla="*/ 0 w 27"/>
                    <a:gd name="T7" fmla="*/ 7 h 18"/>
                    <a:gd name="T8" fmla="*/ 1 w 27"/>
                    <a:gd name="T9" fmla="*/ 5 h 18"/>
                    <a:gd name="T10" fmla="*/ 9 w 27"/>
                    <a:gd name="T11" fmla="*/ 0 h 18"/>
                    <a:gd name="T12" fmla="*/ 11 w 27"/>
                    <a:gd name="T13" fmla="*/ 0 h 18"/>
                    <a:gd name="T14" fmla="*/ 26 w 27"/>
                    <a:gd name="T15" fmla="*/ 9 h 18"/>
                    <a:gd name="T16" fmla="*/ 27 w 27"/>
                    <a:gd name="T17" fmla="*/ 11 h 18"/>
                    <a:gd name="T18" fmla="*/ 26 w 27"/>
                    <a:gd name="T19" fmla="*/ 12 h 18"/>
                    <a:gd name="T20" fmla="*/ 18 w 27"/>
                    <a:gd name="T21" fmla="*/ 17 h 18"/>
                    <a:gd name="T22" fmla="*/ 17 w 27"/>
                    <a:gd name="T23" fmla="*/ 18 h 18"/>
                    <a:gd name="T24" fmla="*/ 6 w 27"/>
                    <a:gd name="T25" fmla="*/ 7 h 18"/>
                    <a:gd name="T26" fmla="*/ 17 w 27"/>
                    <a:gd name="T27" fmla="*/ 13 h 18"/>
                    <a:gd name="T28" fmla="*/ 21 w 27"/>
                    <a:gd name="T29" fmla="*/ 11 h 18"/>
                    <a:gd name="T30" fmla="*/ 10 w 27"/>
                    <a:gd name="T31" fmla="*/ 4 h 18"/>
                    <a:gd name="T32" fmla="*/ 6 w 27"/>
                    <a:gd name="T33" fmla="*/ 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7" h="18">
                      <a:moveTo>
                        <a:pt x="17" y="18"/>
                      </a:moveTo>
                      <a:cubicBezTo>
                        <a:pt x="17" y="18"/>
                        <a:pt x="16" y="17"/>
                        <a:pt x="16" y="17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8"/>
                        <a:pt x="0" y="8"/>
                        <a:pt x="0" y="7"/>
                      </a:cubicBezTo>
                      <a:cubicBezTo>
                        <a:pt x="0" y="6"/>
                        <a:pt x="0" y="6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26" y="9"/>
                        <a:pt x="26" y="9"/>
                        <a:pt x="26" y="9"/>
                      </a:cubicBezTo>
                      <a:cubicBezTo>
                        <a:pt x="27" y="9"/>
                        <a:pt x="27" y="10"/>
                        <a:pt x="27" y="11"/>
                      </a:cubicBezTo>
                      <a:cubicBezTo>
                        <a:pt x="27" y="11"/>
                        <a:pt x="27" y="12"/>
                        <a:pt x="26" y="12"/>
                      </a:cubicBezTo>
                      <a:cubicBezTo>
                        <a:pt x="18" y="17"/>
                        <a:pt x="18" y="17"/>
                        <a:pt x="18" y="17"/>
                      </a:cubicBezTo>
                      <a:cubicBezTo>
                        <a:pt x="18" y="17"/>
                        <a:pt x="17" y="18"/>
                        <a:pt x="17" y="18"/>
                      </a:cubicBezTo>
                      <a:close/>
                      <a:moveTo>
                        <a:pt x="6" y="7"/>
                      </a:move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10" y="4"/>
                        <a:pt x="10" y="4"/>
                        <a:pt x="10" y="4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6" name="Freeform 648">
                  <a:extLst>
                    <a:ext uri="{FF2B5EF4-FFF2-40B4-BE49-F238E27FC236}">
                      <a16:creationId xmlns:a16="http://schemas.microsoft.com/office/drawing/2014/main" id="{8F96D5B8-9A2E-480C-BF59-37739EAF0A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2088"/>
                  <a:ext cx="118" cy="76"/>
                </a:xfrm>
                <a:custGeom>
                  <a:avLst/>
                  <a:gdLst>
                    <a:gd name="T0" fmla="*/ 46 w 50"/>
                    <a:gd name="T1" fmla="*/ 32 h 32"/>
                    <a:gd name="T2" fmla="*/ 45 w 50"/>
                    <a:gd name="T3" fmla="*/ 32 h 32"/>
                    <a:gd name="T4" fmla="*/ 1 w 50"/>
                    <a:gd name="T5" fmla="*/ 6 h 32"/>
                    <a:gd name="T6" fmla="*/ 0 w 50"/>
                    <a:gd name="T7" fmla="*/ 5 h 32"/>
                    <a:gd name="T8" fmla="*/ 0 w 50"/>
                    <a:gd name="T9" fmla="*/ 3 h 32"/>
                    <a:gd name="T10" fmla="*/ 1 w 50"/>
                    <a:gd name="T11" fmla="*/ 1 h 32"/>
                    <a:gd name="T12" fmla="*/ 3 w 50"/>
                    <a:gd name="T13" fmla="*/ 1 h 32"/>
                    <a:gd name="T14" fmla="*/ 49 w 50"/>
                    <a:gd name="T15" fmla="*/ 28 h 32"/>
                    <a:gd name="T16" fmla="*/ 50 w 50"/>
                    <a:gd name="T17" fmla="*/ 29 h 32"/>
                    <a:gd name="T18" fmla="*/ 49 w 50"/>
                    <a:gd name="T19" fmla="*/ 31 h 32"/>
                    <a:gd name="T20" fmla="*/ 47 w 50"/>
                    <a:gd name="T21" fmla="*/ 32 h 32"/>
                    <a:gd name="T22" fmla="*/ 46 w 50"/>
                    <a:gd name="T2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0" h="32">
                      <a:moveTo>
                        <a:pt x="46" y="32"/>
                      </a:moveTo>
                      <a:cubicBezTo>
                        <a:pt x="46" y="32"/>
                        <a:pt x="46" y="32"/>
                        <a:pt x="45" y="32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6"/>
                        <a:pt x="0" y="5"/>
                        <a:pt x="0" y="5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50" y="28"/>
                        <a:pt x="50" y="29"/>
                        <a:pt x="50" y="29"/>
                      </a:cubicBezTo>
                      <a:cubicBezTo>
                        <a:pt x="50" y="30"/>
                        <a:pt x="50" y="31"/>
                        <a:pt x="49" y="31"/>
                      </a:cubicBezTo>
                      <a:cubicBezTo>
                        <a:pt x="47" y="32"/>
                        <a:pt x="47" y="32"/>
                        <a:pt x="47" y="32"/>
                      </a:cubicBezTo>
                      <a:cubicBezTo>
                        <a:pt x="47" y="32"/>
                        <a:pt x="47" y="32"/>
                        <a:pt x="46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7" name="Freeform 649">
                  <a:extLst>
                    <a:ext uri="{FF2B5EF4-FFF2-40B4-BE49-F238E27FC236}">
                      <a16:creationId xmlns:a16="http://schemas.microsoft.com/office/drawing/2014/main" id="{29CC8818-3707-439A-8523-3CFFF95E86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69" y="1918"/>
                  <a:ext cx="161" cy="267"/>
                </a:xfrm>
                <a:custGeom>
                  <a:avLst/>
                  <a:gdLst>
                    <a:gd name="T0" fmla="*/ 66 w 68"/>
                    <a:gd name="T1" fmla="*/ 113 h 113"/>
                    <a:gd name="T2" fmla="*/ 65 w 68"/>
                    <a:gd name="T3" fmla="*/ 113 h 113"/>
                    <a:gd name="T4" fmla="*/ 62 w 68"/>
                    <a:gd name="T5" fmla="*/ 111 h 113"/>
                    <a:gd name="T6" fmla="*/ 61 w 68"/>
                    <a:gd name="T7" fmla="*/ 110 h 113"/>
                    <a:gd name="T8" fmla="*/ 61 w 68"/>
                    <a:gd name="T9" fmla="*/ 109 h 113"/>
                    <a:gd name="T10" fmla="*/ 1 w 68"/>
                    <a:gd name="T11" fmla="*/ 74 h 113"/>
                    <a:gd name="T12" fmla="*/ 0 w 68"/>
                    <a:gd name="T13" fmla="*/ 73 h 113"/>
                    <a:gd name="T14" fmla="*/ 0 w 68"/>
                    <a:gd name="T15" fmla="*/ 3 h 113"/>
                    <a:gd name="T16" fmla="*/ 1 w 68"/>
                    <a:gd name="T17" fmla="*/ 1 h 113"/>
                    <a:gd name="T18" fmla="*/ 3 w 68"/>
                    <a:gd name="T19" fmla="*/ 1 h 113"/>
                    <a:gd name="T20" fmla="*/ 4 w 68"/>
                    <a:gd name="T21" fmla="*/ 2 h 113"/>
                    <a:gd name="T22" fmla="*/ 5 w 68"/>
                    <a:gd name="T23" fmla="*/ 4 h 113"/>
                    <a:gd name="T24" fmla="*/ 5 w 68"/>
                    <a:gd name="T25" fmla="*/ 9 h 113"/>
                    <a:gd name="T26" fmla="*/ 10 w 68"/>
                    <a:gd name="T27" fmla="*/ 6 h 113"/>
                    <a:gd name="T28" fmla="*/ 12 w 68"/>
                    <a:gd name="T29" fmla="*/ 6 h 113"/>
                    <a:gd name="T30" fmla="*/ 67 w 68"/>
                    <a:gd name="T31" fmla="*/ 38 h 113"/>
                    <a:gd name="T32" fmla="*/ 68 w 68"/>
                    <a:gd name="T33" fmla="*/ 40 h 113"/>
                    <a:gd name="T34" fmla="*/ 68 w 68"/>
                    <a:gd name="T35" fmla="*/ 111 h 113"/>
                    <a:gd name="T36" fmla="*/ 67 w 68"/>
                    <a:gd name="T37" fmla="*/ 113 h 113"/>
                    <a:gd name="T38" fmla="*/ 66 w 68"/>
                    <a:gd name="T39" fmla="*/ 113 h 113"/>
                    <a:gd name="T40" fmla="*/ 4 w 68"/>
                    <a:gd name="T41" fmla="*/ 72 h 113"/>
                    <a:gd name="T42" fmla="*/ 64 w 68"/>
                    <a:gd name="T43" fmla="*/ 106 h 113"/>
                    <a:gd name="T44" fmla="*/ 64 w 68"/>
                    <a:gd name="T45" fmla="*/ 41 h 113"/>
                    <a:gd name="T46" fmla="*/ 11 w 68"/>
                    <a:gd name="T47" fmla="*/ 10 h 113"/>
                    <a:gd name="T48" fmla="*/ 4 w 68"/>
                    <a:gd name="T49" fmla="*/ 14 h 113"/>
                    <a:gd name="T50" fmla="*/ 4 w 68"/>
                    <a:gd name="T51" fmla="*/ 15 h 113"/>
                    <a:gd name="T52" fmla="*/ 4 w 68"/>
                    <a:gd name="T53" fmla="*/ 72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8" h="113">
                      <a:moveTo>
                        <a:pt x="66" y="113"/>
                      </a:moveTo>
                      <a:cubicBezTo>
                        <a:pt x="65" y="113"/>
                        <a:pt x="65" y="113"/>
                        <a:pt x="65" y="113"/>
                      </a:cubicBezTo>
                      <a:cubicBezTo>
                        <a:pt x="62" y="111"/>
                        <a:pt x="62" y="111"/>
                        <a:pt x="62" y="111"/>
                      </a:cubicBezTo>
                      <a:cubicBezTo>
                        <a:pt x="61" y="111"/>
                        <a:pt x="61" y="110"/>
                        <a:pt x="61" y="110"/>
                      </a:cubicBezTo>
                      <a:cubicBezTo>
                        <a:pt x="61" y="110"/>
                        <a:pt x="61" y="109"/>
                        <a:pt x="61" y="109"/>
                      </a:cubicBezTo>
                      <a:cubicBezTo>
                        <a:pt x="1" y="74"/>
                        <a:pt x="1" y="74"/>
                        <a:pt x="1" y="74"/>
                      </a:cubicBezTo>
                      <a:cubicBezTo>
                        <a:pt x="0" y="74"/>
                        <a:pt x="0" y="73"/>
                        <a:pt x="0" y="7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4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1" y="6"/>
                        <a:pt x="12" y="6"/>
                        <a:pt x="12" y="6"/>
                      </a:cubicBezTo>
                      <a:cubicBezTo>
                        <a:pt x="67" y="38"/>
                        <a:pt x="67" y="38"/>
                        <a:pt x="67" y="38"/>
                      </a:cubicBezTo>
                      <a:cubicBezTo>
                        <a:pt x="67" y="38"/>
                        <a:pt x="68" y="39"/>
                        <a:pt x="68" y="40"/>
                      </a:cubicBezTo>
                      <a:cubicBezTo>
                        <a:pt x="68" y="111"/>
                        <a:pt x="68" y="111"/>
                        <a:pt x="68" y="111"/>
                      </a:cubicBezTo>
                      <a:cubicBezTo>
                        <a:pt x="68" y="112"/>
                        <a:pt x="67" y="113"/>
                        <a:pt x="67" y="113"/>
                      </a:cubicBezTo>
                      <a:cubicBezTo>
                        <a:pt x="67" y="113"/>
                        <a:pt x="66" y="113"/>
                        <a:pt x="66" y="113"/>
                      </a:cubicBezTo>
                      <a:close/>
                      <a:moveTo>
                        <a:pt x="4" y="72"/>
                      </a:moveTo>
                      <a:cubicBezTo>
                        <a:pt x="64" y="106"/>
                        <a:pt x="64" y="106"/>
                        <a:pt x="64" y="106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4" y="15"/>
                      </a:cubicBezTo>
                      <a:lnTo>
                        <a:pt x="4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8" name="Freeform 650">
                  <a:extLst>
                    <a:ext uri="{FF2B5EF4-FFF2-40B4-BE49-F238E27FC236}">
                      <a16:creationId xmlns:a16="http://schemas.microsoft.com/office/drawing/2014/main" id="{7B759CDF-6315-4976-8A29-8B431A37F8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41" y="1734"/>
                  <a:ext cx="33" cy="24"/>
                </a:xfrm>
                <a:custGeom>
                  <a:avLst/>
                  <a:gdLst>
                    <a:gd name="T0" fmla="*/ 4 w 14"/>
                    <a:gd name="T1" fmla="*/ 10 h 10"/>
                    <a:gd name="T2" fmla="*/ 3 w 14"/>
                    <a:gd name="T3" fmla="*/ 9 h 10"/>
                    <a:gd name="T4" fmla="*/ 1 w 14"/>
                    <a:gd name="T5" fmla="*/ 8 h 10"/>
                    <a:gd name="T6" fmla="*/ 0 w 14"/>
                    <a:gd name="T7" fmla="*/ 7 h 10"/>
                    <a:gd name="T8" fmla="*/ 1 w 14"/>
                    <a:gd name="T9" fmla="*/ 5 h 10"/>
                    <a:gd name="T10" fmla="*/ 9 w 14"/>
                    <a:gd name="T11" fmla="*/ 0 h 10"/>
                    <a:gd name="T12" fmla="*/ 11 w 14"/>
                    <a:gd name="T13" fmla="*/ 0 h 10"/>
                    <a:gd name="T14" fmla="*/ 13 w 14"/>
                    <a:gd name="T15" fmla="*/ 1 h 10"/>
                    <a:gd name="T16" fmla="*/ 14 w 14"/>
                    <a:gd name="T17" fmla="*/ 3 h 10"/>
                    <a:gd name="T18" fmla="*/ 13 w 14"/>
                    <a:gd name="T19" fmla="*/ 5 h 10"/>
                    <a:gd name="T20" fmla="*/ 5 w 14"/>
                    <a:gd name="T21" fmla="*/ 9 h 10"/>
                    <a:gd name="T22" fmla="*/ 4 w 14"/>
                    <a:gd name="T2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4" h="10">
                      <a:moveTo>
                        <a:pt x="4" y="10"/>
                      </a:moveTo>
                      <a:cubicBezTo>
                        <a:pt x="3" y="10"/>
                        <a:pt x="3" y="10"/>
                        <a:pt x="3" y="9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8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4" y="1"/>
                        <a:pt x="14" y="2"/>
                        <a:pt x="14" y="3"/>
                      </a:cubicBezTo>
                      <a:cubicBezTo>
                        <a:pt x="14" y="4"/>
                        <a:pt x="14" y="4"/>
                        <a:pt x="13" y="5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4" y="10"/>
                        <a:pt x="4" y="10"/>
                        <a:pt x="4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9" name="Freeform 651">
                  <a:extLst>
                    <a:ext uri="{FF2B5EF4-FFF2-40B4-BE49-F238E27FC236}">
                      <a16:creationId xmlns:a16="http://schemas.microsoft.com/office/drawing/2014/main" id="{6CA82F1F-F8CD-4F27-AEDB-CA7C04279F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85" y="2098"/>
                  <a:ext cx="295" cy="255"/>
                </a:xfrm>
                <a:custGeom>
                  <a:avLst/>
                  <a:gdLst>
                    <a:gd name="T0" fmla="*/ 12 w 125"/>
                    <a:gd name="T1" fmla="*/ 108 h 108"/>
                    <a:gd name="T2" fmla="*/ 11 w 125"/>
                    <a:gd name="T3" fmla="*/ 108 h 108"/>
                    <a:gd name="T4" fmla="*/ 1 w 125"/>
                    <a:gd name="T5" fmla="*/ 102 h 108"/>
                    <a:gd name="T6" fmla="*/ 0 w 125"/>
                    <a:gd name="T7" fmla="*/ 100 h 108"/>
                    <a:gd name="T8" fmla="*/ 0 w 125"/>
                    <a:gd name="T9" fmla="*/ 47 h 108"/>
                    <a:gd name="T10" fmla="*/ 1 w 125"/>
                    <a:gd name="T11" fmla="*/ 45 h 108"/>
                    <a:gd name="T12" fmla="*/ 78 w 125"/>
                    <a:gd name="T13" fmla="*/ 0 h 108"/>
                    <a:gd name="T14" fmla="*/ 80 w 125"/>
                    <a:gd name="T15" fmla="*/ 0 h 108"/>
                    <a:gd name="T16" fmla="*/ 124 w 125"/>
                    <a:gd name="T17" fmla="*/ 26 h 108"/>
                    <a:gd name="T18" fmla="*/ 125 w 125"/>
                    <a:gd name="T19" fmla="*/ 27 h 108"/>
                    <a:gd name="T20" fmla="*/ 124 w 125"/>
                    <a:gd name="T21" fmla="*/ 29 h 108"/>
                    <a:gd name="T22" fmla="*/ 51 w 125"/>
                    <a:gd name="T23" fmla="*/ 71 h 108"/>
                    <a:gd name="T24" fmla="*/ 61 w 125"/>
                    <a:gd name="T25" fmla="*/ 77 h 108"/>
                    <a:gd name="T26" fmla="*/ 62 w 125"/>
                    <a:gd name="T27" fmla="*/ 78 h 108"/>
                    <a:gd name="T28" fmla="*/ 61 w 125"/>
                    <a:gd name="T29" fmla="*/ 80 h 108"/>
                    <a:gd name="T30" fmla="*/ 13 w 125"/>
                    <a:gd name="T31" fmla="*/ 108 h 108"/>
                    <a:gd name="T32" fmla="*/ 12 w 125"/>
                    <a:gd name="T33" fmla="*/ 108 h 108"/>
                    <a:gd name="T34" fmla="*/ 4 w 125"/>
                    <a:gd name="T35" fmla="*/ 99 h 108"/>
                    <a:gd name="T36" fmla="*/ 12 w 125"/>
                    <a:gd name="T37" fmla="*/ 104 h 108"/>
                    <a:gd name="T38" fmla="*/ 56 w 125"/>
                    <a:gd name="T39" fmla="*/ 78 h 108"/>
                    <a:gd name="T40" fmla="*/ 46 w 125"/>
                    <a:gd name="T41" fmla="*/ 73 h 108"/>
                    <a:gd name="T42" fmla="*/ 45 w 125"/>
                    <a:gd name="T43" fmla="*/ 71 h 108"/>
                    <a:gd name="T44" fmla="*/ 46 w 125"/>
                    <a:gd name="T45" fmla="*/ 69 h 108"/>
                    <a:gd name="T46" fmla="*/ 119 w 125"/>
                    <a:gd name="T47" fmla="*/ 27 h 108"/>
                    <a:gd name="T48" fmla="*/ 79 w 125"/>
                    <a:gd name="T49" fmla="*/ 4 h 108"/>
                    <a:gd name="T50" fmla="*/ 4 w 125"/>
                    <a:gd name="T51" fmla="*/ 48 h 108"/>
                    <a:gd name="T52" fmla="*/ 4 w 125"/>
                    <a:gd name="T53" fmla="*/ 99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5" h="108">
                      <a:moveTo>
                        <a:pt x="12" y="108"/>
                      </a:moveTo>
                      <a:cubicBezTo>
                        <a:pt x="12" y="108"/>
                        <a:pt x="11" y="108"/>
                        <a:pt x="11" y="108"/>
                      </a:cubicBez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0" y="102"/>
                        <a:pt x="0" y="101"/>
                        <a:pt x="0" y="100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46"/>
                        <a:pt x="0" y="45"/>
                        <a:pt x="1" y="45"/>
                      </a:cubicBezTo>
                      <a:cubicBezTo>
                        <a:pt x="78" y="0"/>
                        <a:pt x="78" y="0"/>
                        <a:pt x="78" y="0"/>
                      </a:cubicBezTo>
                      <a:cubicBezTo>
                        <a:pt x="79" y="0"/>
                        <a:pt x="79" y="0"/>
                        <a:pt x="80" y="0"/>
                      </a:cubicBezTo>
                      <a:cubicBezTo>
                        <a:pt x="124" y="26"/>
                        <a:pt x="124" y="26"/>
                        <a:pt x="124" y="26"/>
                      </a:cubicBezTo>
                      <a:cubicBezTo>
                        <a:pt x="124" y="26"/>
                        <a:pt x="125" y="27"/>
                        <a:pt x="125" y="27"/>
                      </a:cubicBezTo>
                      <a:cubicBezTo>
                        <a:pt x="125" y="28"/>
                        <a:pt x="124" y="29"/>
                        <a:pt x="124" y="29"/>
                      </a:cubicBezTo>
                      <a:cubicBezTo>
                        <a:pt x="51" y="71"/>
                        <a:pt x="51" y="71"/>
                        <a:pt x="51" y="71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2" y="77"/>
                        <a:pt x="62" y="78"/>
                        <a:pt x="62" y="78"/>
                      </a:cubicBezTo>
                      <a:cubicBezTo>
                        <a:pt x="62" y="79"/>
                        <a:pt x="62" y="80"/>
                        <a:pt x="61" y="80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13" y="108"/>
                        <a:pt x="12" y="108"/>
                        <a:pt x="12" y="108"/>
                      </a:cubicBezTo>
                      <a:close/>
                      <a:moveTo>
                        <a:pt x="4" y="99"/>
                      </a:moveTo>
                      <a:cubicBezTo>
                        <a:pt x="12" y="104"/>
                        <a:pt x="12" y="104"/>
                        <a:pt x="12" y="104"/>
                      </a:cubicBezTo>
                      <a:cubicBezTo>
                        <a:pt x="56" y="78"/>
                        <a:pt x="56" y="78"/>
                        <a:pt x="56" y="78"/>
                      </a:cubicBezTo>
                      <a:cubicBezTo>
                        <a:pt x="46" y="73"/>
                        <a:pt x="46" y="73"/>
                        <a:pt x="46" y="73"/>
                      </a:cubicBezTo>
                      <a:cubicBezTo>
                        <a:pt x="46" y="72"/>
                        <a:pt x="45" y="72"/>
                        <a:pt x="45" y="71"/>
                      </a:cubicBezTo>
                      <a:cubicBezTo>
                        <a:pt x="45" y="70"/>
                        <a:pt x="46" y="70"/>
                        <a:pt x="46" y="69"/>
                      </a:cubicBezTo>
                      <a:cubicBezTo>
                        <a:pt x="119" y="27"/>
                        <a:pt x="119" y="27"/>
                        <a:pt x="119" y="27"/>
                      </a:cubicBezTo>
                      <a:cubicBezTo>
                        <a:pt x="79" y="4"/>
                        <a:pt x="79" y="4"/>
                        <a:pt x="79" y="4"/>
                      </a:cubicBezTo>
                      <a:cubicBezTo>
                        <a:pt x="4" y="48"/>
                        <a:pt x="4" y="48"/>
                        <a:pt x="4" y="48"/>
                      </a:cubicBezTo>
                      <a:lnTo>
                        <a:pt x="4" y="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0" name="Freeform 652">
                  <a:extLst>
                    <a:ext uri="{FF2B5EF4-FFF2-40B4-BE49-F238E27FC236}">
                      <a16:creationId xmlns:a16="http://schemas.microsoft.com/office/drawing/2014/main" id="{CDC43D95-F6D9-4EA3-861E-9649F8340D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902"/>
                  <a:ext cx="74" cy="173"/>
                </a:xfrm>
                <a:custGeom>
                  <a:avLst/>
                  <a:gdLst>
                    <a:gd name="T0" fmla="*/ 29 w 31"/>
                    <a:gd name="T1" fmla="*/ 73 h 73"/>
                    <a:gd name="T2" fmla="*/ 28 w 31"/>
                    <a:gd name="T3" fmla="*/ 73 h 73"/>
                    <a:gd name="T4" fmla="*/ 1 w 31"/>
                    <a:gd name="T5" fmla="*/ 58 h 73"/>
                    <a:gd name="T6" fmla="*/ 0 w 31"/>
                    <a:gd name="T7" fmla="*/ 56 h 73"/>
                    <a:gd name="T8" fmla="*/ 0 w 31"/>
                    <a:gd name="T9" fmla="*/ 3 h 73"/>
                    <a:gd name="T10" fmla="*/ 1 w 31"/>
                    <a:gd name="T11" fmla="*/ 1 h 73"/>
                    <a:gd name="T12" fmla="*/ 3 w 31"/>
                    <a:gd name="T13" fmla="*/ 1 h 73"/>
                    <a:gd name="T14" fmla="*/ 30 w 31"/>
                    <a:gd name="T15" fmla="*/ 16 h 73"/>
                    <a:gd name="T16" fmla="*/ 31 w 31"/>
                    <a:gd name="T17" fmla="*/ 18 h 73"/>
                    <a:gd name="T18" fmla="*/ 31 w 31"/>
                    <a:gd name="T19" fmla="*/ 71 h 73"/>
                    <a:gd name="T20" fmla="*/ 30 w 31"/>
                    <a:gd name="T21" fmla="*/ 73 h 73"/>
                    <a:gd name="T22" fmla="*/ 29 w 31"/>
                    <a:gd name="T23" fmla="*/ 73 h 73"/>
                    <a:gd name="T24" fmla="*/ 4 w 31"/>
                    <a:gd name="T25" fmla="*/ 55 h 73"/>
                    <a:gd name="T26" fmla="*/ 27 w 31"/>
                    <a:gd name="T27" fmla="*/ 68 h 73"/>
                    <a:gd name="T28" fmla="*/ 27 w 31"/>
                    <a:gd name="T29" fmla="*/ 19 h 73"/>
                    <a:gd name="T30" fmla="*/ 4 w 31"/>
                    <a:gd name="T31" fmla="*/ 6 h 73"/>
                    <a:gd name="T32" fmla="*/ 4 w 31"/>
                    <a:gd name="T33" fmla="*/ 5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" h="73">
                      <a:moveTo>
                        <a:pt x="29" y="73"/>
                      </a:moveTo>
                      <a:cubicBezTo>
                        <a:pt x="28" y="73"/>
                        <a:pt x="28" y="73"/>
                        <a:pt x="28" y="73"/>
                      </a:cubicBez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1" y="57"/>
                        <a:pt x="0" y="57"/>
                        <a:pt x="0" y="56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30" y="17"/>
                        <a:pt x="31" y="17"/>
                        <a:pt x="31" y="18"/>
                      </a:cubicBezTo>
                      <a:cubicBezTo>
                        <a:pt x="31" y="71"/>
                        <a:pt x="31" y="71"/>
                        <a:pt x="31" y="71"/>
                      </a:cubicBezTo>
                      <a:cubicBezTo>
                        <a:pt x="31" y="72"/>
                        <a:pt x="30" y="73"/>
                        <a:pt x="30" y="73"/>
                      </a:cubicBezTo>
                      <a:cubicBezTo>
                        <a:pt x="30" y="73"/>
                        <a:pt x="29" y="73"/>
                        <a:pt x="29" y="73"/>
                      </a:cubicBezTo>
                      <a:close/>
                      <a:moveTo>
                        <a:pt x="4" y="55"/>
                      </a:moveTo>
                      <a:cubicBezTo>
                        <a:pt x="27" y="68"/>
                        <a:pt x="27" y="68"/>
                        <a:pt x="27" y="68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5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1" name="Freeform 653">
                  <a:extLst>
                    <a:ext uri="{FF2B5EF4-FFF2-40B4-BE49-F238E27FC236}">
                      <a16:creationId xmlns:a16="http://schemas.microsoft.com/office/drawing/2014/main" id="{014FA689-86B4-40F8-9808-57B0967607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789"/>
                  <a:ext cx="60" cy="59"/>
                </a:xfrm>
                <a:custGeom>
                  <a:avLst/>
                  <a:gdLst>
                    <a:gd name="T0" fmla="*/ 2 w 25"/>
                    <a:gd name="T1" fmla="*/ 25 h 25"/>
                    <a:gd name="T2" fmla="*/ 1 w 25"/>
                    <a:gd name="T3" fmla="*/ 24 h 25"/>
                    <a:gd name="T4" fmla="*/ 0 w 25"/>
                    <a:gd name="T5" fmla="*/ 23 h 25"/>
                    <a:gd name="T6" fmla="*/ 0 w 25"/>
                    <a:gd name="T7" fmla="*/ 15 h 25"/>
                    <a:gd name="T8" fmla="*/ 1 w 25"/>
                    <a:gd name="T9" fmla="*/ 13 h 25"/>
                    <a:gd name="T10" fmla="*/ 22 w 25"/>
                    <a:gd name="T11" fmla="*/ 1 h 25"/>
                    <a:gd name="T12" fmla="*/ 24 w 25"/>
                    <a:gd name="T13" fmla="*/ 1 h 25"/>
                    <a:gd name="T14" fmla="*/ 25 w 25"/>
                    <a:gd name="T15" fmla="*/ 2 h 25"/>
                    <a:gd name="T16" fmla="*/ 25 w 25"/>
                    <a:gd name="T17" fmla="*/ 10 h 25"/>
                    <a:gd name="T18" fmla="*/ 24 w 25"/>
                    <a:gd name="T19" fmla="*/ 12 h 25"/>
                    <a:gd name="T20" fmla="*/ 3 w 25"/>
                    <a:gd name="T21" fmla="*/ 24 h 25"/>
                    <a:gd name="T22" fmla="*/ 2 w 25"/>
                    <a:gd name="T23" fmla="*/ 25 h 25"/>
                    <a:gd name="T24" fmla="*/ 4 w 25"/>
                    <a:gd name="T25" fmla="*/ 16 h 25"/>
                    <a:gd name="T26" fmla="*/ 4 w 25"/>
                    <a:gd name="T27" fmla="*/ 19 h 25"/>
                    <a:gd name="T28" fmla="*/ 21 w 25"/>
                    <a:gd name="T29" fmla="*/ 9 h 25"/>
                    <a:gd name="T30" fmla="*/ 21 w 25"/>
                    <a:gd name="T31" fmla="*/ 6 h 25"/>
                    <a:gd name="T32" fmla="*/ 4 w 25"/>
                    <a:gd name="T33" fmla="*/ 16 h 25"/>
                    <a:gd name="T34" fmla="*/ 23 w 25"/>
                    <a:gd name="T35" fmla="*/ 10 h 25"/>
                    <a:gd name="T36" fmla="*/ 23 w 25"/>
                    <a:gd name="T37" fmla="*/ 1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25">
                      <a:moveTo>
                        <a:pt x="2" y="25"/>
                      </a:moveTo>
                      <a:cubicBezTo>
                        <a:pt x="1" y="25"/>
                        <a:pt x="1" y="24"/>
                        <a:pt x="1" y="24"/>
                      </a:cubicBezTo>
                      <a:cubicBezTo>
                        <a:pt x="0" y="24"/>
                        <a:pt x="0" y="23"/>
                        <a:pt x="0" y="23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4"/>
                        <a:pt x="0" y="13"/>
                        <a:pt x="1" y="13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2" y="0"/>
                        <a:pt x="23" y="0"/>
                        <a:pt x="24" y="1"/>
                      </a:cubicBezTo>
                      <a:cubicBezTo>
                        <a:pt x="24" y="1"/>
                        <a:pt x="25" y="2"/>
                        <a:pt x="25" y="2"/>
                      </a:cubicBez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25" y="11"/>
                        <a:pt x="24" y="12"/>
                        <a:pt x="24" y="12"/>
                      </a:cubicBez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2" y="24"/>
                        <a:pt x="2" y="25"/>
                        <a:pt x="2" y="25"/>
                      </a:cubicBezTo>
                      <a:close/>
                      <a:moveTo>
                        <a:pt x="4" y="16"/>
                      </a:move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21" y="9"/>
                        <a:pt x="21" y="9"/>
                        <a:pt x="21" y="9"/>
                      </a:cubicBezTo>
                      <a:cubicBezTo>
                        <a:pt x="21" y="6"/>
                        <a:pt x="21" y="6"/>
                        <a:pt x="21" y="6"/>
                      </a:cubicBezTo>
                      <a:lnTo>
                        <a:pt x="4" y="16"/>
                      </a:lnTo>
                      <a:close/>
                      <a:moveTo>
                        <a:pt x="23" y="10"/>
                      </a:moveTo>
                      <a:cubicBezTo>
                        <a:pt x="23" y="10"/>
                        <a:pt x="23" y="10"/>
                        <a:pt x="23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2" name="Freeform 654">
                  <a:extLst>
                    <a:ext uri="{FF2B5EF4-FFF2-40B4-BE49-F238E27FC236}">
                      <a16:creationId xmlns:a16="http://schemas.microsoft.com/office/drawing/2014/main" id="{8D16C7CB-CB32-4401-A283-893730AA31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690"/>
                  <a:ext cx="60" cy="104"/>
                </a:xfrm>
                <a:custGeom>
                  <a:avLst/>
                  <a:gdLst>
                    <a:gd name="T0" fmla="*/ 23 w 25"/>
                    <a:gd name="T1" fmla="*/ 44 h 44"/>
                    <a:gd name="T2" fmla="*/ 22 w 25"/>
                    <a:gd name="T3" fmla="*/ 43 h 44"/>
                    <a:gd name="T4" fmla="*/ 1 w 25"/>
                    <a:gd name="T5" fmla="*/ 31 h 44"/>
                    <a:gd name="T6" fmla="*/ 0 w 25"/>
                    <a:gd name="T7" fmla="*/ 29 h 44"/>
                    <a:gd name="T8" fmla="*/ 0 w 25"/>
                    <a:gd name="T9" fmla="*/ 2 h 44"/>
                    <a:gd name="T10" fmla="*/ 1 w 25"/>
                    <a:gd name="T11" fmla="*/ 1 h 44"/>
                    <a:gd name="T12" fmla="*/ 3 w 25"/>
                    <a:gd name="T13" fmla="*/ 1 h 44"/>
                    <a:gd name="T14" fmla="*/ 24 w 25"/>
                    <a:gd name="T15" fmla="*/ 13 h 44"/>
                    <a:gd name="T16" fmla="*/ 25 w 25"/>
                    <a:gd name="T17" fmla="*/ 15 h 44"/>
                    <a:gd name="T18" fmla="*/ 25 w 25"/>
                    <a:gd name="T19" fmla="*/ 42 h 44"/>
                    <a:gd name="T20" fmla="*/ 24 w 25"/>
                    <a:gd name="T21" fmla="*/ 43 h 44"/>
                    <a:gd name="T22" fmla="*/ 23 w 25"/>
                    <a:gd name="T23" fmla="*/ 44 h 44"/>
                    <a:gd name="T24" fmla="*/ 4 w 25"/>
                    <a:gd name="T25" fmla="*/ 28 h 44"/>
                    <a:gd name="T26" fmla="*/ 21 w 25"/>
                    <a:gd name="T27" fmla="*/ 38 h 44"/>
                    <a:gd name="T28" fmla="*/ 21 w 25"/>
                    <a:gd name="T29" fmla="*/ 16 h 44"/>
                    <a:gd name="T30" fmla="*/ 4 w 25"/>
                    <a:gd name="T31" fmla="*/ 6 h 44"/>
                    <a:gd name="T32" fmla="*/ 4 w 25"/>
                    <a:gd name="T33" fmla="*/ 28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44">
                      <a:moveTo>
                        <a:pt x="23" y="44"/>
                      </a:moveTo>
                      <a:cubicBezTo>
                        <a:pt x="22" y="44"/>
                        <a:pt x="22" y="43"/>
                        <a:pt x="22" y="43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2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3"/>
                        <a:pt x="25" y="14"/>
                        <a:pt x="25" y="15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2"/>
                        <a:pt x="24" y="43"/>
                        <a:pt x="24" y="43"/>
                      </a:cubicBezTo>
                      <a:cubicBezTo>
                        <a:pt x="24" y="43"/>
                        <a:pt x="23" y="44"/>
                        <a:pt x="23" y="44"/>
                      </a:cubicBezTo>
                      <a:close/>
                      <a:moveTo>
                        <a:pt x="4" y="28"/>
                      </a:moveTo>
                      <a:cubicBezTo>
                        <a:pt x="21" y="38"/>
                        <a:pt x="21" y="38"/>
                        <a:pt x="21" y="38"/>
                      </a:cubicBezTo>
                      <a:cubicBezTo>
                        <a:pt x="21" y="16"/>
                        <a:pt x="21" y="16"/>
                        <a:pt x="21" y="16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3" name="Freeform 655">
                  <a:extLst>
                    <a:ext uri="{FF2B5EF4-FFF2-40B4-BE49-F238E27FC236}">
                      <a16:creationId xmlns:a16="http://schemas.microsoft.com/office/drawing/2014/main" id="{D16D782F-8BA0-4EBC-A5A3-8B32BCF8E47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815"/>
                  <a:ext cx="293" cy="222"/>
                </a:xfrm>
                <a:custGeom>
                  <a:avLst/>
                  <a:gdLst>
                    <a:gd name="T0" fmla="*/ 94 w 124"/>
                    <a:gd name="T1" fmla="*/ 94 h 94"/>
                    <a:gd name="T2" fmla="*/ 93 w 124"/>
                    <a:gd name="T3" fmla="*/ 94 h 94"/>
                    <a:gd name="T4" fmla="*/ 28 w 124"/>
                    <a:gd name="T5" fmla="*/ 56 h 94"/>
                    <a:gd name="T6" fmla="*/ 3 w 124"/>
                    <a:gd name="T7" fmla="*/ 71 h 94"/>
                    <a:gd name="T8" fmla="*/ 1 w 124"/>
                    <a:gd name="T9" fmla="*/ 71 h 94"/>
                    <a:gd name="T10" fmla="*/ 0 w 124"/>
                    <a:gd name="T11" fmla="*/ 69 h 94"/>
                    <a:gd name="T12" fmla="*/ 0 w 124"/>
                    <a:gd name="T13" fmla="*/ 60 h 94"/>
                    <a:gd name="T14" fmla="*/ 1 w 124"/>
                    <a:gd name="T15" fmla="*/ 59 h 94"/>
                    <a:gd name="T16" fmla="*/ 82 w 124"/>
                    <a:gd name="T17" fmla="*/ 12 h 94"/>
                    <a:gd name="T18" fmla="*/ 84 w 124"/>
                    <a:gd name="T19" fmla="*/ 12 h 94"/>
                    <a:gd name="T20" fmla="*/ 92 w 124"/>
                    <a:gd name="T21" fmla="*/ 17 h 94"/>
                    <a:gd name="T22" fmla="*/ 121 w 124"/>
                    <a:gd name="T23" fmla="*/ 0 h 94"/>
                    <a:gd name="T24" fmla="*/ 123 w 124"/>
                    <a:gd name="T25" fmla="*/ 0 h 94"/>
                    <a:gd name="T26" fmla="*/ 124 w 124"/>
                    <a:gd name="T27" fmla="*/ 2 h 94"/>
                    <a:gd name="T28" fmla="*/ 124 w 124"/>
                    <a:gd name="T29" fmla="*/ 53 h 94"/>
                    <a:gd name="T30" fmla="*/ 123 w 124"/>
                    <a:gd name="T31" fmla="*/ 55 h 94"/>
                    <a:gd name="T32" fmla="*/ 121 w 124"/>
                    <a:gd name="T33" fmla="*/ 55 h 94"/>
                    <a:gd name="T34" fmla="*/ 96 w 124"/>
                    <a:gd name="T35" fmla="*/ 40 h 94"/>
                    <a:gd name="T36" fmla="*/ 96 w 124"/>
                    <a:gd name="T37" fmla="*/ 92 h 94"/>
                    <a:gd name="T38" fmla="*/ 95 w 124"/>
                    <a:gd name="T39" fmla="*/ 94 h 94"/>
                    <a:gd name="T40" fmla="*/ 94 w 124"/>
                    <a:gd name="T41" fmla="*/ 94 h 94"/>
                    <a:gd name="T42" fmla="*/ 28 w 124"/>
                    <a:gd name="T43" fmla="*/ 52 h 94"/>
                    <a:gd name="T44" fmla="*/ 29 w 124"/>
                    <a:gd name="T45" fmla="*/ 52 h 94"/>
                    <a:gd name="T46" fmla="*/ 92 w 124"/>
                    <a:gd name="T47" fmla="*/ 89 h 94"/>
                    <a:gd name="T48" fmla="*/ 92 w 124"/>
                    <a:gd name="T49" fmla="*/ 37 h 94"/>
                    <a:gd name="T50" fmla="*/ 93 w 124"/>
                    <a:gd name="T51" fmla="*/ 35 h 94"/>
                    <a:gd name="T52" fmla="*/ 95 w 124"/>
                    <a:gd name="T53" fmla="*/ 35 h 94"/>
                    <a:gd name="T54" fmla="*/ 120 w 124"/>
                    <a:gd name="T55" fmla="*/ 50 h 94"/>
                    <a:gd name="T56" fmla="*/ 120 w 124"/>
                    <a:gd name="T57" fmla="*/ 5 h 94"/>
                    <a:gd name="T58" fmla="*/ 93 w 124"/>
                    <a:gd name="T59" fmla="*/ 21 h 94"/>
                    <a:gd name="T60" fmla="*/ 91 w 124"/>
                    <a:gd name="T61" fmla="*/ 21 h 94"/>
                    <a:gd name="T62" fmla="*/ 83 w 124"/>
                    <a:gd name="T63" fmla="*/ 16 h 94"/>
                    <a:gd name="T64" fmla="*/ 4 w 124"/>
                    <a:gd name="T65" fmla="*/ 62 h 94"/>
                    <a:gd name="T66" fmla="*/ 4 w 124"/>
                    <a:gd name="T67" fmla="*/ 65 h 94"/>
                    <a:gd name="T68" fmla="*/ 27 w 124"/>
                    <a:gd name="T69" fmla="*/ 52 h 94"/>
                    <a:gd name="T70" fmla="*/ 28 w 124"/>
                    <a:gd name="T71" fmla="*/ 52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24" h="94">
                      <a:moveTo>
                        <a:pt x="94" y="94"/>
                      </a:moveTo>
                      <a:cubicBezTo>
                        <a:pt x="93" y="94"/>
                        <a:pt x="93" y="94"/>
                        <a:pt x="93" y="94"/>
                      </a:cubicBezTo>
                      <a:cubicBezTo>
                        <a:pt x="28" y="56"/>
                        <a:pt x="28" y="56"/>
                        <a:pt x="28" y="56"/>
                      </a:cubicBezTo>
                      <a:cubicBezTo>
                        <a:pt x="3" y="71"/>
                        <a:pt x="3" y="71"/>
                        <a:pt x="3" y="71"/>
                      </a:cubicBezTo>
                      <a:cubicBezTo>
                        <a:pt x="3" y="71"/>
                        <a:pt x="2" y="71"/>
                        <a:pt x="1" y="71"/>
                      </a:cubicBezTo>
                      <a:cubicBezTo>
                        <a:pt x="1" y="70"/>
                        <a:pt x="0" y="70"/>
                        <a:pt x="0" y="6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0"/>
                        <a:pt x="1" y="59"/>
                        <a:pt x="1" y="59"/>
                      </a:cubicBezTo>
                      <a:cubicBezTo>
                        <a:pt x="82" y="12"/>
                        <a:pt x="82" y="12"/>
                        <a:pt x="82" y="12"/>
                      </a:cubicBezTo>
                      <a:cubicBezTo>
                        <a:pt x="83" y="12"/>
                        <a:pt x="84" y="12"/>
                        <a:pt x="84" y="12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121" y="0"/>
                        <a:pt x="121" y="0"/>
                        <a:pt x="121" y="0"/>
                      </a:cubicBezTo>
                      <a:cubicBezTo>
                        <a:pt x="121" y="0"/>
                        <a:pt x="122" y="0"/>
                        <a:pt x="123" y="0"/>
                      </a:cubicBezTo>
                      <a:cubicBezTo>
                        <a:pt x="123" y="0"/>
                        <a:pt x="124" y="1"/>
                        <a:pt x="124" y="2"/>
                      </a:cubicBezTo>
                      <a:cubicBezTo>
                        <a:pt x="124" y="53"/>
                        <a:pt x="124" y="53"/>
                        <a:pt x="124" y="53"/>
                      </a:cubicBezTo>
                      <a:cubicBezTo>
                        <a:pt x="124" y="54"/>
                        <a:pt x="123" y="54"/>
                        <a:pt x="123" y="55"/>
                      </a:cubicBezTo>
                      <a:cubicBezTo>
                        <a:pt x="122" y="55"/>
                        <a:pt x="121" y="55"/>
                        <a:pt x="121" y="55"/>
                      </a:cubicBezTo>
                      <a:cubicBezTo>
                        <a:pt x="96" y="40"/>
                        <a:pt x="96" y="40"/>
                        <a:pt x="96" y="40"/>
                      </a:cubicBezTo>
                      <a:cubicBezTo>
                        <a:pt x="96" y="92"/>
                        <a:pt x="96" y="92"/>
                        <a:pt x="96" y="92"/>
                      </a:cubicBezTo>
                      <a:cubicBezTo>
                        <a:pt x="96" y="93"/>
                        <a:pt x="95" y="94"/>
                        <a:pt x="95" y="94"/>
                      </a:cubicBezTo>
                      <a:cubicBezTo>
                        <a:pt x="94" y="94"/>
                        <a:pt x="94" y="94"/>
                        <a:pt x="94" y="94"/>
                      </a:cubicBezTo>
                      <a:close/>
                      <a:moveTo>
                        <a:pt x="28" y="52"/>
                      </a:moveTo>
                      <a:cubicBezTo>
                        <a:pt x="28" y="52"/>
                        <a:pt x="28" y="52"/>
                        <a:pt x="29" y="52"/>
                      </a:cubicBezTo>
                      <a:cubicBezTo>
                        <a:pt x="92" y="89"/>
                        <a:pt x="92" y="89"/>
                        <a:pt x="92" y="89"/>
                      </a:cubicBezTo>
                      <a:cubicBezTo>
                        <a:pt x="92" y="37"/>
                        <a:pt x="92" y="37"/>
                        <a:pt x="92" y="37"/>
                      </a:cubicBezTo>
                      <a:cubicBezTo>
                        <a:pt x="92" y="36"/>
                        <a:pt x="92" y="35"/>
                        <a:pt x="93" y="35"/>
                      </a:cubicBezTo>
                      <a:cubicBezTo>
                        <a:pt x="93" y="35"/>
                        <a:pt x="94" y="35"/>
                        <a:pt x="95" y="35"/>
                      </a:cubicBezTo>
                      <a:cubicBezTo>
                        <a:pt x="120" y="50"/>
                        <a:pt x="120" y="50"/>
                        <a:pt x="120" y="50"/>
                      </a:cubicBezTo>
                      <a:cubicBezTo>
                        <a:pt x="120" y="5"/>
                        <a:pt x="120" y="5"/>
                        <a:pt x="120" y="5"/>
                      </a:cubicBezTo>
                      <a:cubicBezTo>
                        <a:pt x="93" y="21"/>
                        <a:pt x="93" y="21"/>
                        <a:pt x="93" y="21"/>
                      </a:cubicBezTo>
                      <a:cubicBezTo>
                        <a:pt x="92" y="21"/>
                        <a:pt x="92" y="21"/>
                        <a:pt x="91" y="21"/>
                      </a:cubicBezTo>
                      <a:cubicBezTo>
                        <a:pt x="83" y="16"/>
                        <a:pt x="83" y="16"/>
                        <a:pt x="83" y="16"/>
                      </a:cubicBez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27" y="52"/>
                        <a:pt x="27" y="52"/>
                        <a:pt x="27" y="52"/>
                      </a:cubicBezTo>
                      <a:cubicBezTo>
                        <a:pt x="27" y="52"/>
                        <a:pt x="27" y="52"/>
                        <a:pt x="28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4" name="Freeform 656">
                  <a:extLst>
                    <a:ext uri="{FF2B5EF4-FFF2-40B4-BE49-F238E27FC236}">
                      <a16:creationId xmlns:a16="http://schemas.microsoft.com/office/drawing/2014/main" id="{CA5F27C5-CA29-4D98-B51E-354537F00C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633"/>
                  <a:ext cx="60" cy="92"/>
                </a:xfrm>
                <a:custGeom>
                  <a:avLst/>
                  <a:gdLst>
                    <a:gd name="T0" fmla="*/ 23 w 25"/>
                    <a:gd name="T1" fmla="*/ 39 h 39"/>
                    <a:gd name="T2" fmla="*/ 22 w 25"/>
                    <a:gd name="T3" fmla="*/ 38 h 39"/>
                    <a:gd name="T4" fmla="*/ 1 w 25"/>
                    <a:gd name="T5" fmla="*/ 26 h 39"/>
                    <a:gd name="T6" fmla="*/ 0 w 25"/>
                    <a:gd name="T7" fmla="*/ 24 h 39"/>
                    <a:gd name="T8" fmla="*/ 0 w 25"/>
                    <a:gd name="T9" fmla="*/ 15 h 39"/>
                    <a:gd name="T10" fmla="*/ 1 w 25"/>
                    <a:gd name="T11" fmla="*/ 13 h 39"/>
                    <a:gd name="T12" fmla="*/ 22 w 25"/>
                    <a:gd name="T13" fmla="*/ 1 h 39"/>
                    <a:gd name="T14" fmla="*/ 24 w 25"/>
                    <a:gd name="T15" fmla="*/ 1 h 39"/>
                    <a:gd name="T16" fmla="*/ 25 w 25"/>
                    <a:gd name="T17" fmla="*/ 2 h 39"/>
                    <a:gd name="T18" fmla="*/ 25 w 25"/>
                    <a:gd name="T19" fmla="*/ 37 h 39"/>
                    <a:gd name="T20" fmla="*/ 24 w 25"/>
                    <a:gd name="T21" fmla="*/ 38 h 39"/>
                    <a:gd name="T22" fmla="*/ 23 w 25"/>
                    <a:gd name="T23" fmla="*/ 39 h 39"/>
                    <a:gd name="T24" fmla="*/ 4 w 25"/>
                    <a:gd name="T25" fmla="*/ 23 h 39"/>
                    <a:gd name="T26" fmla="*/ 21 w 25"/>
                    <a:gd name="T27" fmla="*/ 33 h 39"/>
                    <a:gd name="T28" fmla="*/ 21 w 25"/>
                    <a:gd name="T29" fmla="*/ 6 h 39"/>
                    <a:gd name="T30" fmla="*/ 4 w 25"/>
                    <a:gd name="T31" fmla="*/ 16 h 39"/>
                    <a:gd name="T32" fmla="*/ 4 w 25"/>
                    <a:gd name="T33" fmla="*/ 23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39">
                      <a:moveTo>
                        <a:pt x="23" y="39"/>
                      </a:moveTo>
                      <a:cubicBezTo>
                        <a:pt x="22" y="39"/>
                        <a:pt x="22" y="39"/>
                        <a:pt x="22" y="38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5"/>
                        <a:pt x="0" y="24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4"/>
                        <a:pt x="0" y="13"/>
                        <a:pt x="1" y="13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2" y="0"/>
                        <a:pt x="23" y="0"/>
                        <a:pt x="24" y="1"/>
                      </a:cubicBezTo>
                      <a:cubicBezTo>
                        <a:pt x="24" y="1"/>
                        <a:pt x="25" y="2"/>
                        <a:pt x="25" y="2"/>
                      </a:cubicBezTo>
                      <a:cubicBezTo>
                        <a:pt x="25" y="37"/>
                        <a:pt x="25" y="37"/>
                        <a:pt x="25" y="37"/>
                      </a:cubicBezTo>
                      <a:cubicBezTo>
                        <a:pt x="25" y="37"/>
                        <a:pt x="24" y="38"/>
                        <a:pt x="24" y="38"/>
                      </a:cubicBezTo>
                      <a:cubicBezTo>
                        <a:pt x="24" y="39"/>
                        <a:pt x="23" y="39"/>
                        <a:pt x="23" y="39"/>
                      </a:cubicBezTo>
                      <a:close/>
                      <a:moveTo>
                        <a:pt x="4" y="23"/>
                      </a:move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4" y="16"/>
                        <a:pt x="4" y="16"/>
                        <a:pt x="4" y="16"/>
                      </a:cubicBezTo>
                      <a:lnTo>
                        <a:pt x="4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5" name="Freeform 657">
                  <a:extLst>
                    <a:ext uri="{FF2B5EF4-FFF2-40B4-BE49-F238E27FC236}">
                      <a16:creationId xmlns:a16="http://schemas.microsoft.com/office/drawing/2014/main" id="{5D1E7689-06A4-4F1A-8005-46A7D30A6D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1297"/>
                  <a:ext cx="114" cy="331"/>
                </a:xfrm>
                <a:custGeom>
                  <a:avLst/>
                  <a:gdLst>
                    <a:gd name="T0" fmla="*/ 41 w 48"/>
                    <a:gd name="T1" fmla="*/ 140 h 140"/>
                    <a:gd name="T2" fmla="*/ 40 w 48"/>
                    <a:gd name="T3" fmla="*/ 140 h 140"/>
                    <a:gd name="T4" fmla="*/ 1 w 48"/>
                    <a:gd name="T5" fmla="*/ 117 h 140"/>
                    <a:gd name="T6" fmla="*/ 0 w 48"/>
                    <a:gd name="T7" fmla="*/ 115 h 140"/>
                    <a:gd name="T8" fmla="*/ 0 w 48"/>
                    <a:gd name="T9" fmla="*/ 23 h 140"/>
                    <a:gd name="T10" fmla="*/ 1 w 48"/>
                    <a:gd name="T11" fmla="*/ 21 h 140"/>
                    <a:gd name="T12" fmla="*/ 36 w 48"/>
                    <a:gd name="T13" fmla="*/ 1 h 140"/>
                    <a:gd name="T14" fmla="*/ 38 w 48"/>
                    <a:gd name="T15" fmla="*/ 1 h 140"/>
                    <a:gd name="T16" fmla="*/ 47 w 48"/>
                    <a:gd name="T17" fmla="*/ 6 h 140"/>
                    <a:gd name="T18" fmla="*/ 48 w 48"/>
                    <a:gd name="T19" fmla="*/ 8 h 140"/>
                    <a:gd name="T20" fmla="*/ 48 w 48"/>
                    <a:gd name="T21" fmla="*/ 135 h 140"/>
                    <a:gd name="T22" fmla="*/ 47 w 48"/>
                    <a:gd name="T23" fmla="*/ 137 h 140"/>
                    <a:gd name="T24" fmla="*/ 42 w 48"/>
                    <a:gd name="T25" fmla="*/ 140 h 140"/>
                    <a:gd name="T26" fmla="*/ 41 w 48"/>
                    <a:gd name="T27" fmla="*/ 140 h 140"/>
                    <a:gd name="T28" fmla="*/ 4 w 48"/>
                    <a:gd name="T29" fmla="*/ 114 h 140"/>
                    <a:gd name="T30" fmla="*/ 41 w 48"/>
                    <a:gd name="T31" fmla="*/ 136 h 140"/>
                    <a:gd name="T32" fmla="*/ 44 w 48"/>
                    <a:gd name="T33" fmla="*/ 134 h 140"/>
                    <a:gd name="T34" fmla="*/ 44 w 48"/>
                    <a:gd name="T35" fmla="*/ 9 h 140"/>
                    <a:gd name="T36" fmla="*/ 37 w 48"/>
                    <a:gd name="T37" fmla="*/ 5 h 140"/>
                    <a:gd name="T38" fmla="*/ 4 w 48"/>
                    <a:gd name="T39" fmla="*/ 24 h 140"/>
                    <a:gd name="T40" fmla="*/ 4 w 48"/>
                    <a:gd name="T41" fmla="*/ 114 h 140"/>
                    <a:gd name="T42" fmla="*/ 46 w 48"/>
                    <a:gd name="T43" fmla="*/ 135 h 140"/>
                    <a:gd name="T44" fmla="*/ 46 w 48"/>
                    <a:gd name="T45" fmla="*/ 135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8" h="140">
                      <a:moveTo>
                        <a:pt x="41" y="140"/>
                      </a:moveTo>
                      <a:cubicBezTo>
                        <a:pt x="41" y="140"/>
                        <a:pt x="41" y="140"/>
                        <a:pt x="40" y="140"/>
                      </a:cubicBezTo>
                      <a:cubicBezTo>
                        <a:pt x="1" y="117"/>
                        <a:pt x="1" y="117"/>
                        <a:pt x="1" y="117"/>
                      </a:cubicBezTo>
                      <a:cubicBezTo>
                        <a:pt x="0" y="117"/>
                        <a:pt x="0" y="116"/>
                        <a:pt x="0" y="115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2"/>
                        <a:pt x="0" y="21"/>
                        <a:pt x="1" y="2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7" y="0"/>
                        <a:pt x="38" y="0"/>
                        <a:pt x="38" y="1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8" y="6"/>
                        <a:pt x="48" y="7"/>
                        <a:pt x="48" y="8"/>
                      </a:cubicBezTo>
                      <a:cubicBezTo>
                        <a:pt x="48" y="135"/>
                        <a:pt x="48" y="135"/>
                        <a:pt x="48" y="135"/>
                      </a:cubicBezTo>
                      <a:cubicBezTo>
                        <a:pt x="48" y="136"/>
                        <a:pt x="48" y="137"/>
                        <a:pt x="47" y="137"/>
                      </a:cubicBezTo>
                      <a:cubicBezTo>
                        <a:pt x="42" y="140"/>
                        <a:pt x="42" y="140"/>
                        <a:pt x="42" y="140"/>
                      </a:cubicBezTo>
                      <a:cubicBezTo>
                        <a:pt x="42" y="140"/>
                        <a:pt x="42" y="140"/>
                        <a:pt x="41" y="140"/>
                      </a:cubicBezTo>
                      <a:close/>
                      <a:moveTo>
                        <a:pt x="4" y="114"/>
                      </a:moveTo>
                      <a:cubicBezTo>
                        <a:pt x="41" y="136"/>
                        <a:pt x="41" y="136"/>
                        <a:pt x="41" y="136"/>
                      </a:cubicBezTo>
                      <a:cubicBezTo>
                        <a:pt x="44" y="134"/>
                        <a:pt x="44" y="134"/>
                        <a:pt x="44" y="134"/>
                      </a:cubicBezTo>
                      <a:cubicBezTo>
                        <a:pt x="44" y="9"/>
                        <a:pt x="44" y="9"/>
                        <a:pt x="44" y="9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4" y="24"/>
                        <a:pt x="4" y="24"/>
                        <a:pt x="4" y="24"/>
                      </a:cubicBezTo>
                      <a:lnTo>
                        <a:pt x="4" y="114"/>
                      </a:lnTo>
                      <a:close/>
                      <a:moveTo>
                        <a:pt x="46" y="135"/>
                      </a:moveTo>
                      <a:cubicBezTo>
                        <a:pt x="46" y="135"/>
                        <a:pt x="46" y="135"/>
                        <a:pt x="46" y="1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6" name="Freeform 658">
                  <a:extLst>
                    <a:ext uri="{FF2B5EF4-FFF2-40B4-BE49-F238E27FC236}">
                      <a16:creationId xmlns:a16="http://schemas.microsoft.com/office/drawing/2014/main" id="{68638650-4002-4540-BBC3-F9636179BA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95" y="789"/>
                  <a:ext cx="81" cy="258"/>
                </a:xfrm>
                <a:custGeom>
                  <a:avLst/>
                  <a:gdLst>
                    <a:gd name="T0" fmla="*/ 32 w 34"/>
                    <a:gd name="T1" fmla="*/ 109 h 109"/>
                    <a:gd name="T2" fmla="*/ 31 w 34"/>
                    <a:gd name="T3" fmla="*/ 109 h 109"/>
                    <a:gd name="T4" fmla="*/ 1 w 34"/>
                    <a:gd name="T5" fmla="*/ 91 h 109"/>
                    <a:gd name="T6" fmla="*/ 0 w 34"/>
                    <a:gd name="T7" fmla="*/ 90 h 109"/>
                    <a:gd name="T8" fmla="*/ 0 w 34"/>
                    <a:gd name="T9" fmla="*/ 20 h 109"/>
                    <a:gd name="T10" fmla="*/ 1 w 34"/>
                    <a:gd name="T11" fmla="*/ 18 h 109"/>
                    <a:gd name="T12" fmla="*/ 31 w 34"/>
                    <a:gd name="T13" fmla="*/ 1 h 109"/>
                    <a:gd name="T14" fmla="*/ 33 w 34"/>
                    <a:gd name="T15" fmla="*/ 1 h 109"/>
                    <a:gd name="T16" fmla="*/ 34 w 34"/>
                    <a:gd name="T17" fmla="*/ 2 h 109"/>
                    <a:gd name="T18" fmla="*/ 34 w 34"/>
                    <a:gd name="T19" fmla="*/ 107 h 109"/>
                    <a:gd name="T20" fmla="*/ 33 w 34"/>
                    <a:gd name="T21" fmla="*/ 109 h 109"/>
                    <a:gd name="T22" fmla="*/ 32 w 34"/>
                    <a:gd name="T23" fmla="*/ 109 h 109"/>
                    <a:gd name="T24" fmla="*/ 4 w 34"/>
                    <a:gd name="T25" fmla="*/ 89 h 109"/>
                    <a:gd name="T26" fmla="*/ 30 w 34"/>
                    <a:gd name="T27" fmla="*/ 104 h 109"/>
                    <a:gd name="T28" fmla="*/ 30 w 34"/>
                    <a:gd name="T29" fmla="*/ 6 h 109"/>
                    <a:gd name="T30" fmla="*/ 4 w 34"/>
                    <a:gd name="T31" fmla="*/ 21 h 109"/>
                    <a:gd name="T32" fmla="*/ 4 w 34"/>
                    <a:gd name="T33" fmla="*/ 89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109">
                      <a:moveTo>
                        <a:pt x="32" y="109"/>
                      </a:moveTo>
                      <a:cubicBezTo>
                        <a:pt x="32" y="109"/>
                        <a:pt x="32" y="109"/>
                        <a:pt x="31" y="109"/>
                      </a:cubicBezTo>
                      <a:cubicBezTo>
                        <a:pt x="1" y="91"/>
                        <a:pt x="1" y="91"/>
                        <a:pt x="1" y="91"/>
                      </a:cubicBezTo>
                      <a:cubicBezTo>
                        <a:pt x="0" y="91"/>
                        <a:pt x="0" y="90"/>
                        <a:pt x="0" y="90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9"/>
                        <a:pt x="0" y="19"/>
                        <a:pt x="1" y="18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2" y="0"/>
                        <a:pt x="33" y="0"/>
                        <a:pt x="33" y="1"/>
                      </a:cubicBezTo>
                      <a:cubicBezTo>
                        <a:pt x="34" y="1"/>
                        <a:pt x="34" y="2"/>
                        <a:pt x="34" y="2"/>
                      </a:cubicBezTo>
                      <a:cubicBezTo>
                        <a:pt x="34" y="107"/>
                        <a:pt x="34" y="107"/>
                        <a:pt x="34" y="107"/>
                      </a:cubicBezTo>
                      <a:cubicBezTo>
                        <a:pt x="34" y="108"/>
                        <a:pt x="34" y="109"/>
                        <a:pt x="33" y="109"/>
                      </a:cubicBezTo>
                      <a:cubicBezTo>
                        <a:pt x="33" y="109"/>
                        <a:pt x="33" y="109"/>
                        <a:pt x="32" y="109"/>
                      </a:cubicBezTo>
                      <a:close/>
                      <a:moveTo>
                        <a:pt x="4" y="89"/>
                      </a:moveTo>
                      <a:cubicBezTo>
                        <a:pt x="30" y="104"/>
                        <a:pt x="30" y="104"/>
                        <a:pt x="30" y="104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4" y="21"/>
                        <a:pt x="4" y="21"/>
                        <a:pt x="4" y="21"/>
                      </a:cubicBezTo>
                      <a:lnTo>
                        <a:pt x="4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7" name="Freeform 659">
                  <a:extLst>
                    <a:ext uri="{FF2B5EF4-FFF2-40B4-BE49-F238E27FC236}">
                      <a16:creationId xmlns:a16="http://schemas.microsoft.com/office/drawing/2014/main" id="{B4AC379F-B40D-4B90-8A3F-511C027E12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1035"/>
                  <a:ext cx="74" cy="82"/>
                </a:xfrm>
                <a:custGeom>
                  <a:avLst/>
                  <a:gdLst>
                    <a:gd name="T0" fmla="*/ 29 w 31"/>
                    <a:gd name="T1" fmla="*/ 35 h 35"/>
                    <a:gd name="T2" fmla="*/ 28 w 31"/>
                    <a:gd name="T3" fmla="*/ 35 h 35"/>
                    <a:gd name="T4" fmla="*/ 1 w 31"/>
                    <a:gd name="T5" fmla="*/ 20 h 35"/>
                    <a:gd name="T6" fmla="*/ 0 w 31"/>
                    <a:gd name="T7" fmla="*/ 18 h 35"/>
                    <a:gd name="T8" fmla="*/ 0 w 31"/>
                    <a:gd name="T9" fmla="*/ 2 h 35"/>
                    <a:gd name="T10" fmla="*/ 1 w 31"/>
                    <a:gd name="T11" fmla="*/ 0 h 35"/>
                    <a:gd name="T12" fmla="*/ 3 w 31"/>
                    <a:gd name="T13" fmla="*/ 0 h 35"/>
                    <a:gd name="T14" fmla="*/ 30 w 31"/>
                    <a:gd name="T15" fmla="*/ 16 h 35"/>
                    <a:gd name="T16" fmla="*/ 31 w 31"/>
                    <a:gd name="T17" fmla="*/ 17 h 35"/>
                    <a:gd name="T18" fmla="*/ 31 w 31"/>
                    <a:gd name="T19" fmla="*/ 33 h 35"/>
                    <a:gd name="T20" fmla="*/ 30 w 31"/>
                    <a:gd name="T21" fmla="*/ 35 h 35"/>
                    <a:gd name="T22" fmla="*/ 29 w 31"/>
                    <a:gd name="T23" fmla="*/ 35 h 35"/>
                    <a:gd name="T24" fmla="*/ 4 w 31"/>
                    <a:gd name="T25" fmla="*/ 17 h 35"/>
                    <a:gd name="T26" fmla="*/ 27 w 31"/>
                    <a:gd name="T27" fmla="*/ 30 h 35"/>
                    <a:gd name="T28" fmla="*/ 27 w 31"/>
                    <a:gd name="T29" fmla="*/ 19 h 35"/>
                    <a:gd name="T30" fmla="*/ 4 w 31"/>
                    <a:gd name="T31" fmla="*/ 5 h 35"/>
                    <a:gd name="T32" fmla="*/ 4 w 31"/>
                    <a:gd name="T33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" h="35">
                      <a:moveTo>
                        <a:pt x="29" y="35"/>
                      </a:move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19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30" y="16"/>
                        <a:pt x="31" y="17"/>
                        <a:pt x="31" y="17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4"/>
                        <a:pt x="30" y="35"/>
                        <a:pt x="30" y="35"/>
                      </a:cubicBezTo>
                      <a:cubicBezTo>
                        <a:pt x="30" y="35"/>
                        <a:pt x="29" y="35"/>
                        <a:pt x="29" y="35"/>
                      </a:cubicBezTo>
                      <a:close/>
                      <a:moveTo>
                        <a:pt x="4" y="17"/>
                      </a:moveTo>
                      <a:cubicBezTo>
                        <a:pt x="27" y="30"/>
                        <a:pt x="27" y="30"/>
                        <a:pt x="27" y="30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8" name="Freeform 660">
                  <a:extLst>
                    <a:ext uri="{FF2B5EF4-FFF2-40B4-BE49-F238E27FC236}">
                      <a16:creationId xmlns:a16="http://schemas.microsoft.com/office/drawing/2014/main" id="{95B16C7D-4ABB-4E90-92C3-2449F17F25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57" y="943"/>
                  <a:ext cx="293" cy="309"/>
                </a:xfrm>
                <a:custGeom>
                  <a:avLst/>
                  <a:gdLst>
                    <a:gd name="T0" fmla="*/ 29 w 124"/>
                    <a:gd name="T1" fmla="*/ 131 h 131"/>
                    <a:gd name="T2" fmla="*/ 28 w 124"/>
                    <a:gd name="T3" fmla="*/ 131 h 131"/>
                    <a:gd name="T4" fmla="*/ 1 w 124"/>
                    <a:gd name="T5" fmla="*/ 115 h 131"/>
                    <a:gd name="T6" fmla="*/ 0 w 124"/>
                    <a:gd name="T7" fmla="*/ 113 h 131"/>
                    <a:gd name="T8" fmla="*/ 0 w 124"/>
                    <a:gd name="T9" fmla="*/ 17 h 131"/>
                    <a:gd name="T10" fmla="*/ 1 w 124"/>
                    <a:gd name="T11" fmla="*/ 15 h 131"/>
                    <a:gd name="T12" fmla="*/ 27 w 124"/>
                    <a:gd name="T13" fmla="*/ 0 h 131"/>
                    <a:gd name="T14" fmla="*/ 29 w 124"/>
                    <a:gd name="T15" fmla="*/ 0 h 131"/>
                    <a:gd name="T16" fmla="*/ 95 w 124"/>
                    <a:gd name="T17" fmla="*/ 38 h 131"/>
                    <a:gd name="T18" fmla="*/ 96 w 124"/>
                    <a:gd name="T19" fmla="*/ 40 h 131"/>
                    <a:gd name="T20" fmla="*/ 96 w 124"/>
                    <a:gd name="T21" fmla="*/ 57 h 131"/>
                    <a:gd name="T22" fmla="*/ 123 w 124"/>
                    <a:gd name="T23" fmla="*/ 73 h 131"/>
                    <a:gd name="T24" fmla="*/ 124 w 124"/>
                    <a:gd name="T25" fmla="*/ 74 h 131"/>
                    <a:gd name="T26" fmla="*/ 124 w 124"/>
                    <a:gd name="T27" fmla="*/ 75 h 131"/>
                    <a:gd name="T28" fmla="*/ 123 w 124"/>
                    <a:gd name="T29" fmla="*/ 77 h 131"/>
                    <a:gd name="T30" fmla="*/ 30 w 124"/>
                    <a:gd name="T31" fmla="*/ 131 h 131"/>
                    <a:gd name="T32" fmla="*/ 29 w 124"/>
                    <a:gd name="T33" fmla="*/ 131 h 131"/>
                    <a:gd name="T34" fmla="*/ 4 w 124"/>
                    <a:gd name="T35" fmla="*/ 112 h 131"/>
                    <a:gd name="T36" fmla="*/ 29 w 124"/>
                    <a:gd name="T37" fmla="*/ 127 h 131"/>
                    <a:gd name="T38" fmla="*/ 119 w 124"/>
                    <a:gd name="T39" fmla="*/ 75 h 131"/>
                    <a:gd name="T40" fmla="*/ 93 w 124"/>
                    <a:gd name="T41" fmla="*/ 60 h 131"/>
                    <a:gd name="T42" fmla="*/ 92 w 124"/>
                    <a:gd name="T43" fmla="*/ 58 h 131"/>
                    <a:gd name="T44" fmla="*/ 92 w 124"/>
                    <a:gd name="T45" fmla="*/ 41 h 131"/>
                    <a:gd name="T46" fmla="*/ 28 w 124"/>
                    <a:gd name="T47" fmla="*/ 4 h 131"/>
                    <a:gd name="T48" fmla="*/ 4 w 124"/>
                    <a:gd name="T49" fmla="*/ 18 h 131"/>
                    <a:gd name="T50" fmla="*/ 4 w 124"/>
                    <a:gd name="T51" fmla="*/ 112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4" h="131">
                      <a:moveTo>
                        <a:pt x="29" y="131"/>
                      </a:moveTo>
                      <a:cubicBezTo>
                        <a:pt x="29" y="131"/>
                        <a:pt x="29" y="131"/>
                        <a:pt x="28" y="131"/>
                      </a:cubicBezTo>
                      <a:cubicBezTo>
                        <a:pt x="1" y="115"/>
                        <a:pt x="1" y="115"/>
                        <a:pt x="1" y="115"/>
                      </a:cubicBezTo>
                      <a:cubicBezTo>
                        <a:pt x="1" y="114"/>
                        <a:pt x="0" y="114"/>
                        <a:pt x="0" y="11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1" y="15"/>
                        <a:pt x="1" y="15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8" y="0"/>
                        <a:pt x="29" y="0"/>
                      </a:cubicBezTo>
                      <a:cubicBezTo>
                        <a:pt x="95" y="38"/>
                        <a:pt x="95" y="38"/>
                        <a:pt x="95" y="38"/>
                      </a:cubicBezTo>
                      <a:cubicBezTo>
                        <a:pt x="95" y="39"/>
                        <a:pt x="96" y="39"/>
                        <a:pt x="96" y="40"/>
                      </a:cubicBezTo>
                      <a:cubicBezTo>
                        <a:pt x="96" y="57"/>
                        <a:pt x="96" y="57"/>
                        <a:pt x="96" y="57"/>
                      </a:cubicBezTo>
                      <a:cubicBezTo>
                        <a:pt x="123" y="73"/>
                        <a:pt x="123" y="73"/>
                        <a:pt x="123" y="73"/>
                      </a:cubicBezTo>
                      <a:cubicBezTo>
                        <a:pt x="123" y="73"/>
                        <a:pt x="124" y="74"/>
                        <a:pt x="124" y="74"/>
                      </a:cubicBezTo>
                      <a:cubicBezTo>
                        <a:pt x="124" y="75"/>
                        <a:pt x="124" y="75"/>
                        <a:pt x="124" y="75"/>
                      </a:cubicBezTo>
                      <a:cubicBezTo>
                        <a:pt x="124" y="76"/>
                        <a:pt x="123" y="77"/>
                        <a:pt x="123" y="77"/>
                      </a:cubicBezTo>
                      <a:cubicBezTo>
                        <a:pt x="30" y="131"/>
                        <a:pt x="30" y="131"/>
                        <a:pt x="30" y="131"/>
                      </a:cubicBezTo>
                      <a:cubicBezTo>
                        <a:pt x="30" y="131"/>
                        <a:pt x="30" y="131"/>
                        <a:pt x="29" y="131"/>
                      </a:cubicBezTo>
                      <a:close/>
                      <a:moveTo>
                        <a:pt x="4" y="112"/>
                      </a:moveTo>
                      <a:cubicBezTo>
                        <a:pt x="29" y="127"/>
                        <a:pt x="29" y="127"/>
                        <a:pt x="29" y="127"/>
                      </a:cubicBezTo>
                      <a:cubicBezTo>
                        <a:pt x="119" y="75"/>
                        <a:pt x="119" y="75"/>
                        <a:pt x="119" y="75"/>
                      </a:cubicBezTo>
                      <a:cubicBezTo>
                        <a:pt x="93" y="60"/>
                        <a:pt x="93" y="60"/>
                        <a:pt x="93" y="60"/>
                      </a:cubicBezTo>
                      <a:cubicBezTo>
                        <a:pt x="92" y="59"/>
                        <a:pt x="92" y="59"/>
                        <a:pt x="92" y="58"/>
                      </a:cubicBezTo>
                      <a:cubicBezTo>
                        <a:pt x="92" y="41"/>
                        <a:pt x="92" y="41"/>
                        <a:pt x="92" y="41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1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9" name="Freeform 661">
                  <a:extLst>
                    <a:ext uri="{FF2B5EF4-FFF2-40B4-BE49-F238E27FC236}">
                      <a16:creationId xmlns:a16="http://schemas.microsoft.com/office/drawing/2014/main" id="{BA40F5A3-BEE9-4677-8BA7-20D3CFDD99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95" y="654"/>
                  <a:ext cx="317" cy="445"/>
                </a:xfrm>
                <a:custGeom>
                  <a:avLst/>
                  <a:gdLst>
                    <a:gd name="T0" fmla="*/ 70 w 134"/>
                    <a:gd name="T1" fmla="*/ 188 h 188"/>
                    <a:gd name="T2" fmla="*/ 69 w 134"/>
                    <a:gd name="T3" fmla="*/ 188 h 188"/>
                    <a:gd name="T4" fmla="*/ 33 w 134"/>
                    <a:gd name="T5" fmla="*/ 167 h 188"/>
                    <a:gd name="T6" fmla="*/ 32 w 134"/>
                    <a:gd name="T7" fmla="*/ 165 h 188"/>
                    <a:gd name="T8" fmla="*/ 32 w 134"/>
                    <a:gd name="T9" fmla="*/ 60 h 188"/>
                    <a:gd name="T10" fmla="*/ 3 w 134"/>
                    <a:gd name="T11" fmla="*/ 77 h 188"/>
                    <a:gd name="T12" fmla="*/ 1 w 134"/>
                    <a:gd name="T13" fmla="*/ 77 h 188"/>
                    <a:gd name="T14" fmla="*/ 0 w 134"/>
                    <a:gd name="T15" fmla="*/ 75 h 188"/>
                    <a:gd name="T16" fmla="*/ 0 w 134"/>
                    <a:gd name="T17" fmla="*/ 2 h 188"/>
                    <a:gd name="T18" fmla="*/ 1 w 134"/>
                    <a:gd name="T19" fmla="*/ 0 h 188"/>
                    <a:gd name="T20" fmla="*/ 3 w 134"/>
                    <a:gd name="T21" fmla="*/ 0 h 188"/>
                    <a:gd name="T22" fmla="*/ 123 w 134"/>
                    <a:gd name="T23" fmla="*/ 69 h 188"/>
                    <a:gd name="T24" fmla="*/ 127 w 134"/>
                    <a:gd name="T25" fmla="*/ 67 h 188"/>
                    <a:gd name="T26" fmla="*/ 129 w 134"/>
                    <a:gd name="T27" fmla="*/ 67 h 188"/>
                    <a:gd name="T28" fmla="*/ 133 w 134"/>
                    <a:gd name="T29" fmla="*/ 70 h 188"/>
                    <a:gd name="T30" fmla="*/ 134 w 134"/>
                    <a:gd name="T31" fmla="*/ 71 h 188"/>
                    <a:gd name="T32" fmla="*/ 134 w 134"/>
                    <a:gd name="T33" fmla="*/ 150 h 188"/>
                    <a:gd name="T34" fmla="*/ 133 w 134"/>
                    <a:gd name="T35" fmla="*/ 152 h 188"/>
                    <a:gd name="T36" fmla="*/ 71 w 134"/>
                    <a:gd name="T37" fmla="*/ 188 h 188"/>
                    <a:gd name="T38" fmla="*/ 70 w 134"/>
                    <a:gd name="T39" fmla="*/ 188 h 188"/>
                    <a:gd name="T40" fmla="*/ 36 w 134"/>
                    <a:gd name="T41" fmla="*/ 164 h 188"/>
                    <a:gd name="T42" fmla="*/ 70 w 134"/>
                    <a:gd name="T43" fmla="*/ 184 h 188"/>
                    <a:gd name="T44" fmla="*/ 130 w 134"/>
                    <a:gd name="T45" fmla="*/ 149 h 188"/>
                    <a:gd name="T46" fmla="*/ 130 w 134"/>
                    <a:gd name="T47" fmla="*/ 73 h 188"/>
                    <a:gd name="T48" fmla="*/ 128 w 134"/>
                    <a:gd name="T49" fmla="*/ 71 h 188"/>
                    <a:gd name="T50" fmla="*/ 124 w 134"/>
                    <a:gd name="T51" fmla="*/ 74 h 188"/>
                    <a:gd name="T52" fmla="*/ 122 w 134"/>
                    <a:gd name="T53" fmla="*/ 74 h 188"/>
                    <a:gd name="T54" fmla="*/ 4 w 134"/>
                    <a:gd name="T55" fmla="*/ 5 h 188"/>
                    <a:gd name="T56" fmla="*/ 4 w 134"/>
                    <a:gd name="T57" fmla="*/ 72 h 188"/>
                    <a:gd name="T58" fmla="*/ 33 w 134"/>
                    <a:gd name="T59" fmla="*/ 55 h 188"/>
                    <a:gd name="T60" fmla="*/ 35 w 134"/>
                    <a:gd name="T61" fmla="*/ 55 h 188"/>
                    <a:gd name="T62" fmla="*/ 36 w 134"/>
                    <a:gd name="T63" fmla="*/ 57 h 188"/>
                    <a:gd name="T64" fmla="*/ 36 w 134"/>
                    <a:gd name="T65" fmla="*/ 164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4" h="188">
                      <a:moveTo>
                        <a:pt x="70" y="188"/>
                      </a:moveTo>
                      <a:cubicBezTo>
                        <a:pt x="70" y="188"/>
                        <a:pt x="69" y="188"/>
                        <a:pt x="69" y="188"/>
                      </a:cubicBezTo>
                      <a:cubicBezTo>
                        <a:pt x="33" y="167"/>
                        <a:pt x="33" y="167"/>
                        <a:pt x="33" y="167"/>
                      </a:cubicBezTo>
                      <a:cubicBezTo>
                        <a:pt x="32" y="167"/>
                        <a:pt x="32" y="166"/>
                        <a:pt x="32" y="165"/>
                      </a:cubicBezTo>
                      <a:cubicBezTo>
                        <a:pt x="32" y="60"/>
                        <a:pt x="32" y="60"/>
                        <a:pt x="32" y="60"/>
                      </a:cubicBezTo>
                      <a:cubicBezTo>
                        <a:pt x="3" y="77"/>
                        <a:pt x="3" y="77"/>
                        <a:pt x="3" y="77"/>
                      </a:cubicBezTo>
                      <a:cubicBezTo>
                        <a:pt x="2" y="77"/>
                        <a:pt x="2" y="77"/>
                        <a:pt x="1" y="77"/>
                      </a:cubicBezTo>
                      <a:cubicBezTo>
                        <a:pt x="0" y="76"/>
                        <a:pt x="0" y="76"/>
                        <a:pt x="0" y="7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23" y="69"/>
                        <a:pt x="123" y="69"/>
                        <a:pt x="123" y="69"/>
                      </a:cubicBezTo>
                      <a:cubicBezTo>
                        <a:pt x="127" y="67"/>
                        <a:pt x="127" y="67"/>
                        <a:pt x="127" y="67"/>
                      </a:cubicBezTo>
                      <a:cubicBezTo>
                        <a:pt x="128" y="67"/>
                        <a:pt x="129" y="67"/>
                        <a:pt x="129" y="67"/>
                      </a:cubicBezTo>
                      <a:cubicBezTo>
                        <a:pt x="133" y="70"/>
                        <a:pt x="133" y="70"/>
                        <a:pt x="133" y="70"/>
                      </a:cubicBezTo>
                      <a:cubicBezTo>
                        <a:pt x="134" y="70"/>
                        <a:pt x="134" y="71"/>
                        <a:pt x="134" y="71"/>
                      </a:cubicBezTo>
                      <a:cubicBezTo>
                        <a:pt x="134" y="150"/>
                        <a:pt x="134" y="150"/>
                        <a:pt x="134" y="150"/>
                      </a:cubicBezTo>
                      <a:cubicBezTo>
                        <a:pt x="134" y="151"/>
                        <a:pt x="134" y="151"/>
                        <a:pt x="133" y="152"/>
                      </a:cubicBezTo>
                      <a:cubicBezTo>
                        <a:pt x="71" y="188"/>
                        <a:pt x="71" y="188"/>
                        <a:pt x="71" y="188"/>
                      </a:cubicBezTo>
                      <a:cubicBezTo>
                        <a:pt x="71" y="188"/>
                        <a:pt x="70" y="188"/>
                        <a:pt x="70" y="188"/>
                      </a:cubicBezTo>
                      <a:close/>
                      <a:moveTo>
                        <a:pt x="36" y="164"/>
                      </a:moveTo>
                      <a:cubicBezTo>
                        <a:pt x="70" y="184"/>
                        <a:pt x="70" y="184"/>
                        <a:pt x="70" y="184"/>
                      </a:cubicBezTo>
                      <a:cubicBezTo>
                        <a:pt x="130" y="149"/>
                        <a:pt x="130" y="149"/>
                        <a:pt x="130" y="149"/>
                      </a:cubicBezTo>
                      <a:cubicBezTo>
                        <a:pt x="130" y="73"/>
                        <a:pt x="130" y="73"/>
                        <a:pt x="130" y="73"/>
                      </a:cubicBezTo>
                      <a:cubicBezTo>
                        <a:pt x="128" y="71"/>
                        <a:pt x="128" y="71"/>
                        <a:pt x="128" y="71"/>
                      </a:cubicBezTo>
                      <a:cubicBezTo>
                        <a:pt x="124" y="74"/>
                        <a:pt x="124" y="74"/>
                        <a:pt x="124" y="74"/>
                      </a:cubicBezTo>
                      <a:cubicBezTo>
                        <a:pt x="124" y="74"/>
                        <a:pt x="123" y="74"/>
                        <a:pt x="122" y="74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33" y="55"/>
                        <a:pt x="33" y="55"/>
                        <a:pt x="33" y="55"/>
                      </a:cubicBezTo>
                      <a:cubicBezTo>
                        <a:pt x="34" y="54"/>
                        <a:pt x="34" y="54"/>
                        <a:pt x="35" y="55"/>
                      </a:cubicBezTo>
                      <a:cubicBezTo>
                        <a:pt x="36" y="55"/>
                        <a:pt x="36" y="56"/>
                        <a:pt x="36" y="57"/>
                      </a:cubicBezTo>
                      <a:lnTo>
                        <a:pt x="36" y="1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0" name="Freeform 662">
                  <a:extLst>
                    <a:ext uri="{FF2B5EF4-FFF2-40B4-BE49-F238E27FC236}">
                      <a16:creationId xmlns:a16="http://schemas.microsoft.com/office/drawing/2014/main" id="{2BD52D4F-4D37-4CFF-98A5-D24EECA71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95" y="640"/>
                  <a:ext cx="305" cy="184"/>
                </a:xfrm>
                <a:custGeom>
                  <a:avLst/>
                  <a:gdLst>
                    <a:gd name="T0" fmla="*/ 123 w 129"/>
                    <a:gd name="T1" fmla="*/ 78 h 78"/>
                    <a:gd name="T2" fmla="*/ 122 w 129"/>
                    <a:gd name="T3" fmla="*/ 78 h 78"/>
                    <a:gd name="T4" fmla="*/ 1 w 129"/>
                    <a:gd name="T5" fmla="*/ 7 h 78"/>
                    <a:gd name="T6" fmla="*/ 0 w 129"/>
                    <a:gd name="T7" fmla="*/ 6 h 78"/>
                    <a:gd name="T8" fmla="*/ 0 w 129"/>
                    <a:gd name="T9" fmla="*/ 2 h 78"/>
                    <a:gd name="T10" fmla="*/ 1 w 129"/>
                    <a:gd name="T11" fmla="*/ 0 h 78"/>
                    <a:gd name="T12" fmla="*/ 3 w 129"/>
                    <a:gd name="T13" fmla="*/ 0 h 78"/>
                    <a:gd name="T14" fmla="*/ 128 w 129"/>
                    <a:gd name="T15" fmla="*/ 72 h 78"/>
                    <a:gd name="T16" fmla="*/ 129 w 129"/>
                    <a:gd name="T17" fmla="*/ 74 h 78"/>
                    <a:gd name="T18" fmla="*/ 128 w 129"/>
                    <a:gd name="T19" fmla="*/ 76 h 78"/>
                    <a:gd name="T20" fmla="*/ 124 w 129"/>
                    <a:gd name="T21" fmla="*/ 78 h 78"/>
                    <a:gd name="T22" fmla="*/ 123 w 129"/>
                    <a:gd name="T23" fmla="*/ 78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9" h="78">
                      <a:moveTo>
                        <a:pt x="123" y="78"/>
                      </a:moveTo>
                      <a:cubicBezTo>
                        <a:pt x="123" y="78"/>
                        <a:pt x="123" y="78"/>
                        <a:pt x="122" y="78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7"/>
                        <a:pt x="0" y="6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28" y="72"/>
                        <a:pt x="128" y="72"/>
                        <a:pt x="128" y="72"/>
                      </a:cubicBezTo>
                      <a:cubicBezTo>
                        <a:pt x="128" y="73"/>
                        <a:pt x="129" y="73"/>
                        <a:pt x="129" y="74"/>
                      </a:cubicBezTo>
                      <a:cubicBezTo>
                        <a:pt x="129" y="75"/>
                        <a:pt x="128" y="76"/>
                        <a:pt x="128" y="76"/>
                      </a:cubicBezTo>
                      <a:cubicBezTo>
                        <a:pt x="124" y="78"/>
                        <a:pt x="124" y="78"/>
                        <a:pt x="124" y="78"/>
                      </a:cubicBezTo>
                      <a:cubicBezTo>
                        <a:pt x="124" y="78"/>
                        <a:pt x="124" y="78"/>
                        <a:pt x="123" y="7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1" name="Freeform 663">
                  <a:extLst>
                    <a:ext uri="{FF2B5EF4-FFF2-40B4-BE49-F238E27FC236}">
                      <a16:creationId xmlns:a16="http://schemas.microsoft.com/office/drawing/2014/main" id="{4AF2875E-02D4-4205-91D7-73565F38B8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98" y="699"/>
                  <a:ext cx="257" cy="312"/>
                </a:xfrm>
                <a:custGeom>
                  <a:avLst/>
                  <a:gdLst>
                    <a:gd name="T0" fmla="*/ 6 w 109"/>
                    <a:gd name="T1" fmla="*/ 132 h 132"/>
                    <a:gd name="T2" fmla="*/ 5 w 109"/>
                    <a:gd name="T3" fmla="*/ 132 h 132"/>
                    <a:gd name="T4" fmla="*/ 4 w 109"/>
                    <a:gd name="T5" fmla="*/ 130 h 132"/>
                    <a:gd name="T6" fmla="*/ 4 w 109"/>
                    <a:gd name="T7" fmla="*/ 53 h 132"/>
                    <a:gd name="T8" fmla="*/ 1 w 109"/>
                    <a:gd name="T9" fmla="*/ 51 h 132"/>
                    <a:gd name="T10" fmla="*/ 0 w 109"/>
                    <a:gd name="T11" fmla="*/ 49 h 132"/>
                    <a:gd name="T12" fmla="*/ 1 w 109"/>
                    <a:gd name="T13" fmla="*/ 47 h 132"/>
                    <a:gd name="T14" fmla="*/ 82 w 109"/>
                    <a:gd name="T15" fmla="*/ 1 h 132"/>
                    <a:gd name="T16" fmla="*/ 84 w 109"/>
                    <a:gd name="T17" fmla="*/ 1 h 132"/>
                    <a:gd name="T18" fmla="*/ 91 w 109"/>
                    <a:gd name="T19" fmla="*/ 5 h 132"/>
                    <a:gd name="T20" fmla="*/ 92 w 109"/>
                    <a:gd name="T21" fmla="*/ 7 h 132"/>
                    <a:gd name="T22" fmla="*/ 91 w 109"/>
                    <a:gd name="T23" fmla="*/ 9 h 132"/>
                    <a:gd name="T24" fmla="*/ 55 w 109"/>
                    <a:gd name="T25" fmla="*/ 30 h 132"/>
                    <a:gd name="T26" fmla="*/ 108 w 109"/>
                    <a:gd name="T27" fmla="*/ 60 h 132"/>
                    <a:gd name="T28" fmla="*/ 109 w 109"/>
                    <a:gd name="T29" fmla="*/ 62 h 132"/>
                    <a:gd name="T30" fmla="*/ 108 w 109"/>
                    <a:gd name="T31" fmla="*/ 63 h 132"/>
                    <a:gd name="T32" fmla="*/ 28 w 109"/>
                    <a:gd name="T33" fmla="*/ 110 h 132"/>
                    <a:gd name="T34" fmla="*/ 28 w 109"/>
                    <a:gd name="T35" fmla="*/ 119 h 132"/>
                    <a:gd name="T36" fmla="*/ 27 w 109"/>
                    <a:gd name="T37" fmla="*/ 120 h 132"/>
                    <a:gd name="T38" fmla="*/ 7 w 109"/>
                    <a:gd name="T39" fmla="*/ 132 h 132"/>
                    <a:gd name="T40" fmla="*/ 6 w 109"/>
                    <a:gd name="T41" fmla="*/ 132 h 132"/>
                    <a:gd name="T42" fmla="*/ 6 w 109"/>
                    <a:gd name="T43" fmla="*/ 49 h 132"/>
                    <a:gd name="T44" fmla="*/ 7 w 109"/>
                    <a:gd name="T45" fmla="*/ 50 h 132"/>
                    <a:gd name="T46" fmla="*/ 8 w 109"/>
                    <a:gd name="T47" fmla="*/ 51 h 132"/>
                    <a:gd name="T48" fmla="*/ 8 w 109"/>
                    <a:gd name="T49" fmla="*/ 127 h 132"/>
                    <a:gd name="T50" fmla="*/ 24 w 109"/>
                    <a:gd name="T51" fmla="*/ 118 h 132"/>
                    <a:gd name="T52" fmla="*/ 24 w 109"/>
                    <a:gd name="T53" fmla="*/ 108 h 132"/>
                    <a:gd name="T54" fmla="*/ 25 w 109"/>
                    <a:gd name="T55" fmla="*/ 107 h 132"/>
                    <a:gd name="T56" fmla="*/ 103 w 109"/>
                    <a:gd name="T57" fmla="*/ 62 h 132"/>
                    <a:gd name="T58" fmla="*/ 50 w 109"/>
                    <a:gd name="T59" fmla="*/ 31 h 132"/>
                    <a:gd name="T60" fmla="*/ 49 w 109"/>
                    <a:gd name="T61" fmla="*/ 30 h 132"/>
                    <a:gd name="T62" fmla="*/ 50 w 109"/>
                    <a:gd name="T63" fmla="*/ 28 h 132"/>
                    <a:gd name="T64" fmla="*/ 86 w 109"/>
                    <a:gd name="T65" fmla="*/ 7 h 132"/>
                    <a:gd name="T66" fmla="*/ 83 w 109"/>
                    <a:gd name="T67" fmla="*/ 5 h 132"/>
                    <a:gd name="T68" fmla="*/ 6 w 109"/>
                    <a:gd name="T69" fmla="*/ 49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09" h="132">
                      <a:moveTo>
                        <a:pt x="6" y="132"/>
                      </a:moveTo>
                      <a:cubicBezTo>
                        <a:pt x="6" y="132"/>
                        <a:pt x="5" y="132"/>
                        <a:pt x="5" y="132"/>
                      </a:cubicBezTo>
                      <a:cubicBezTo>
                        <a:pt x="4" y="131"/>
                        <a:pt x="4" y="131"/>
                        <a:pt x="4" y="130"/>
                      </a:cubicBez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0" y="51"/>
                        <a:pt x="0" y="50"/>
                        <a:pt x="0" y="49"/>
                      </a:cubicBezTo>
                      <a:cubicBezTo>
                        <a:pt x="0" y="48"/>
                        <a:pt x="0" y="48"/>
                        <a:pt x="1" y="47"/>
                      </a:cubicBezTo>
                      <a:cubicBezTo>
                        <a:pt x="82" y="1"/>
                        <a:pt x="82" y="1"/>
                        <a:pt x="82" y="1"/>
                      </a:cubicBezTo>
                      <a:cubicBezTo>
                        <a:pt x="82" y="0"/>
                        <a:pt x="83" y="0"/>
                        <a:pt x="84" y="1"/>
                      </a:cubicBezTo>
                      <a:cubicBezTo>
                        <a:pt x="91" y="5"/>
                        <a:pt x="91" y="5"/>
                        <a:pt x="91" y="5"/>
                      </a:cubicBezTo>
                      <a:cubicBezTo>
                        <a:pt x="92" y="6"/>
                        <a:pt x="92" y="6"/>
                        <a:pt x="92" y="7"/>
                      </a:cubicBezTo>
                      <a:cubicBezTo>
                        <a:pt x="92" y="8"/>
                        <a:pt x="92" y="8"/>
                        <a:pt x="91" y="9"/>
                      </a:cubicBezTo>
                      <a:cubicBezTo>
                        <a:pt x="55" y="30"/>
                        <a:pt x="55" y="30"/>
                        <a:pt x="55" y="30"/>
                      </a:cubicBezTo>
                      <a:cubicBezTo>
                        <a:pt x="108" y="60"/>
                        <a:pt x="108" y="60"/>
                        <a:pt x="108" y="60"/>
                      </a:cubicBezTo>
                      <a:cubicBezTo>
                        <a:pt x="108" y="60"/>
                        <a:pt x="109" y="61"/>
                        <a:pt x="109" y="62"/>
                      </a:cubicBezTo>
                      <a:cubicBezTo>
                        <a:pt x="109" y="62"/>
                        <a:pt x="108" y="63"/>
                        <a:pt x="108" y="63"/>
                      </a:cubicBezTo>
                      <a:cubicBezTo>
                        <a:pt x="28" y="110"/>
                        <a:pt x="28" y="110"/>
                        <a:pt x="28" y="110"/>
                      </a:cubicBezTo>
                      <a:cubicBezTo>
                        <a:pt x="28" y="119"/>
                        <a:pt x="28" y="119"/>
                        <a:pt x="28" y="119"/>
                      </a:cubicBezTo>
                      <a:cubicBezTo>
                        <a:pt x="28" y="119"/>
                        <a:pt x="27" y="120"/>
                        <a:pt x="27" y="120"/>
                      </a:cubicBezTo>
                      <a:cubicBezTo>
                        <a:pt x="7" y="132"/>
                        <a:pt x="7" y="132"/>
                        <a:pt x="7" y="132"/>
                      </a:cubicBezTo>
                      <a:cubicBezTo>
                        <a:pt x="7" y="132"/>
                        <a:pt x="6" y="132"/>
                        <a:pt x="6" y="132"/>
                      </a:cubicBezTo>
                      <a:close/>
                      <a:moveTo>
                        <a:pt x="6" y="49"/>
                      </a:moveTo>
                      <a:cubicBezTo>
                        <a:pt x="7" y="50"/>
                        <a:pt x="7" y="50"/>
                        <a:pt x="7" y="50"/>
                      </a:cubicBezTo>
                      <a:cubicBezTo>
                        <a:pt x="8" y="50"/>
                        <a:pt x="8" y="51"/>
                        <a:pt x="8" y="51"/>
                      </a:cubicBezTo>
                      <a:cubicBezTo>
                        <a:pt x="8" y="127"/>
                        <a:pt x="8" y="127"/>
                        <a:pt x="8" y="127"/>
                      </a:cubicBezTo>
                      <a:cubicBezTo>
                        <a:pt x="24" y="118"/>
                        <a:pt x="24" y="118"/>
                        <a:pt x="24" y="118"/>
                      </a:cubicBezTo>
                      <a:cubicBezTo>
                        <a:pt x="24" y="108"/>
                        <a:pt x="24" y="108"/>
                        <a:pt x="24" y="108"/>
                      </a:cubicBezTo>
                      <a:cubicBezTo>
                        <a:pt x="24" y="108"/>
                        <a:pt x="24" y="107"/>
                        <a:pt x="25" y="107"/>
                      </a:cubicBezTo>
                      <a:cubicBezTo>
                        <a:pt x="103" y="62"/>
                        <a:pt x="103" y="62"/>
                        <a:pt x="103" y="62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49" y="31"/>
                        <a:pt x="49" y="30"/>
                        <a:pt x="49" y="30"/>
                      </a:cubicBezTo>
                      <a:cubicBezTo>
                        <a:pt x="49" y="29"/>
                        <a:pt x="49" y="28"/>
                        <a:pt x="50" y="28"/>
                      </a:cubicBezTo>
                      <a:cubicBezTo>
                        <a:pt x="86" y="7"/>
                        <a:pt x="86" y="7"/>
                        <a:pt x="86" y="7"/>
                      </a:cubicBezTo>
                      <a:cubicBezTo>
                        <a:pt x="83" y="5"/>
                        <a:pt x="83" y="5"/>
                        <a:pt x="83" y="5"/>
                      </a:cubicBezTo>
                      <a:lnTo>
                        <a:pt x="6" y="4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2" name="Freeform 664">
                  <a:extLst>
                    <a:ext uri="{FF2B5EF4-FFF2-40B4-BE49-F238E27FC236}">
                      <a16:creationId xmlns:a16="http://schemas.microsoft.com/office/drawing/2014/main" id="{F1EFC3C6-AB5B-4B22-AC4F-E59E9CC308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758"/>
                  <a:ext cx="57" cy="66"/>
                </a:xfrm>
                <a:custGeom>
                  <a:avLst/>
                  <a:gdLst>
                    <a:gd name="T0" fmla="*/ 2 w 24"/>
                    <a:gd name="T1" fmla="*/ 28 h 28"/>
                    <a:gd name="T2" fmla="*/ 1 w 24"/>
                    <a:gd name="T3" fmla="*/ 27 h 28"/>
                    <a:gd name="T4" fmla="*/ 0 w 24"/>
                    <a:gd name="T5" fmla="*/ 26 h 28"/>
                    <a:gd name="T6" fmla="*/ 0 w 24"/>
                    <a:gd name="T7" fmla="*/ 2 h 28"/>
                    <a:gd name="T8" fmla="*/ 1 w 24"/>
                    <a:gd name="T9" fmla="*/ 0 h 28"/>
                    <a:gd name="T10" fmla="*/ 3 w 24"/>
                    <a:gd name="T11" fmla="*/ 0 h 28"/>
                    <a:gd name="T12" fmla="*/ 23 w 24"/>
                    <a:gd name="T13" fmla="*/ 12 h 28"/>
                    <a:gd name="T14" fmla="*/ 24 w 24"/>
                    <a:gd name="T15" fmla="*/ 14 h 28"/>
                    <a:gd name="T16" fmla="*/ 23 w 24"/>
                    <a:gd name="T17" fmla="*/ 16 h 28"/>
                    <a:gd name="T18" fmla="*/ 3 w 24"/>
                    <a:gd name="T19" fmla="*/ 27 h 28"/>
                    <a:gd name="T20" fmla="*/ 2 w 24"/>
                    <a:gd name="T21" fmla="*/ 28 h 28"/>
                    <a:gd name="T22" fmla="*/ 4 w 24"/>
                    <a:gd name="T23" fmla="*/ 6 h 28"/>
                    <a:gd name="T24" fmla="*/ 4 w 24"/>
                    <a:gd name="T25" fmla="*/ 22 h 28"/>
                    <a:gd name="T26" fmla="*/ 18 w 24"/>
                    <a:gd name="T27" fmla="*/ 14 h 28"/>
                    <a:gd name="T28" fmla="*/ 4 w 24"/>
                    <a:gd name="T29" fmla="*/ 6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8">
                      <a:moveTo>
                        <a:pt x="2" y="28"/>
                      </a:moveTo>
                      <a:cubicBezTo>
                        <a:pt x="1" y="28"/>
                        <a:pt x="1" y="28"/>
                        <a:pt x="1" y="27"/>
                      </a:cubicBezTo>
                      <a:cubicBezTo>
                        <a:pt x="0" y="27"/>
                        <a:pt x="0" y="26"/>
                        <a:pt x="0" y="2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4" y="13"/>
                        <a:pt x="24" y="13"/>
                        <a:pt x="24" y="14"/>
                      </a:cubicBezTo>
                      <a:cubicBezTo>
                        <a:pt x="24" y="15"/>
                        <a:pt x="24" y="15"/>
                        <a:pt x="23" y="16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2" y="28"/>
                        <a:pt x="2" y="28"/>
                        <a:pt x="2" y="28"/>
                      </a:cubicBezTo>
                      <a:close/>
                      <a:moveTo>
                        <a:pt x="4" y="6"/>
                      </a:move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18" y="14"/>
                        <a:pt x="18" y="14"/>
                        <a:pt x="18" y="14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3" name="Freeform 665">
                  <a:extLst>
                    <a:ext uri="{FF2B5EF4-FFF2-40B4-BE49-F238E27FC236}">
                      <a16:creationId xmlns:a16="http://schemas.microsoft.com/office/drawing/2014/main" id="{BFF4CE3C-5946-4297-9C1D-BCCE0E3A71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15" y="678"/>
                  <a:ext cx="80" cy="83"/>
                </a:xfrm>
                <a:custGeom>
                  <a:avLst/>
                  <a:gdLst>
                    <a:gd name="T0" fmla="*/ 32 w 34"/>
                    <a:gd name="T1" fmla="*/ 35 h 35"/>
                    <a:gd name="T2" fmla="*/ 31 w 34"/>
                    <a:gd name="T3" fmla="*/ 35 h 35"/>
                    <a:gd name="T4" fmla="*/ 1 w 34"/>
                    <a:gd name="T5" fmla="*/ 18 h 35"/>
                    <a:gd name="T6" fmla="*/ 0 w 34"/>
                    <a:gd name="T7" fmla="*/ 16 h 35"/>
                    <a:gd name="T8" fmla="*/ 1 w 34"/>
                    <a:gd name="T9" fmla="*/ 14 h 35"/>
                    <a:gd name="T10" fmla="*/ 24 w 34"/>
                    <a:gd name="T11" fmla="*/ 1 h 35"/>
                    <a:gd name="T12" fmla="*/ 26 w 34"/>
                    <a:gd name="T13" fmla="*/ 1 h 35"/>
                    <a:gd name="T14" fmla="*/ 33 w 34"/>
                    <a:gd name="T15" fmla="*/ 5 h 35"/>
                    <a:gd name="T16" fmla="*/ 34 w 34"/>
                    <a:gd name="T17" fmla="*/ 6 h 35"/>
                    <a:gd name="T18" fmla="*/ 34 w 34"/>
                    <a:gd name="T19" fmla="*/ 33 h 35"/>
                    <a:gd name="T20" fmla="*/ 33 w 34"/>
                    <a:gd name="T21" fmla="*/ 35 h 35"/>
                    <a:gd name="T22" fmla="*/ 32 w 34"/>
                    <a:gd name="T23" fmla="*/ 35 h 35"/>
                    <a:gd name="T24" fmla="*/ 6 w 34"/>
                    <a:gd name="T25" fmla="*/ 16 h 35"/>
                    <a:gd name="T26" fmla="*/ 30 w 34"/>
                    <a:gd name="T27" fmla="*/ 30 h 35"/>
                    <a:gd name="T28" fmla="*/ 30 w 34"/>
                    <a:gd name="T29" fmla="*/ 8 h 35"/>
                    <a:gd name="T30" fmla="*/ 25 w 34"/>
                    <a:gd name="T31" fmla="*/ 5 h 35"/>
                    <a:gd name="T32" fmla="*/ 6 w 34"/>
                    <a:gd name="T33" fmla="*/ 16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35">
                      <a:moveTo>
                        <a:pt x="32" y="35"/>
                      </a:moveTo>
                      <a:cubicBezTo>
                        <a:pt x="32" y="35"/>
                        <a:pt x="31" y="35"/>
                        <a:pt x="31" y="35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7"/>
                        <a:pt x="0" y="17"/>
                        <a:pt x="0" y="16"/>
                      </a:cubicBezTo>
                      <a:cubicBezTo>
                        <a:pt x="0" y="15"/>
                        <a:pt x="0" y="15"/>
                        <a:pt x="1" y="14"/>
                      </a:cubicBez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5" y="0"/>
                        <a:pt x="25" y="0"/>
                        <a:pt x="26" y="1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4" y="5"/>
                        <a:pt x="34" y="6"/>
                        <a:pt x="34" y="6"/>
                      </a:cubicBezTo>
                      <a:cubicBezTo>
                        <a:pt x="34" y="33"/>
                        <a:pt x="34" y="33"/>
                        <a:pt x="34" y="33"/>
                      </a:cubicBezTo>
                      <a:cubicBezTo>
                        <a:pt x="34" y="34"/>
                        <a:pt x="34" y="35"/>
                        <a:pt x="33" y="35"/>
                      </a:cubicBezTo>
                      <a:cubicBezTo>
                        <a:pt x="33" y="35"/>
                        <a:pt x="32" y="35"/>
                        <a:pt x="32" y="35"/>
                      </a:cubicBezTo>
                      <a:close/>
                      <a:moveTo>
                        <a:pt x="6" y="16"/>
                      </a:moveTo>
                      <a:cubicBezTo>
                        <a:pt x="30" y="30"/>
                        <a:pt x="30" y="30"/>
                        <a:pt x="30" y="30"/>
                      </a:cubicBezTo>
                      <a:cubicBezTo>
                        <a:pt x="30" y="8"/>
                        <a:pt x="30" y="8"/>
                        <a:pt x="30" y="8"/>
                      </a:cubicBezTo>
                      <a:cubicBezTo>
                        <a:pt x="25" y="5"/>
                        <a:pt x="25" y="5"/>
                        <a:pt x="25" y="5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4" name="Freeform 666">
                  <a:extLst>
                    <a:ext uri="{FF2B5EF4-FFF2-40B4-BE49-F238E27FC236}">
                      <a16:creationId xmlns:a16="http://schemas.microsoft.com/office/drawing/2014/main" id="{8CD8DACF-9933-494B-B41E-C94FDA009B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920" y="713"/>
                  <a:ext cx="175" cy="135"/>
                </a:xfrm>
                <a:custGeom>
                  <a:avLst/>
                  <a:gdLst>
                    <a:gd name="T0" fmla="*/ 56 w 74"/>
                    <a:gd name="T1" fmla="*/ 57 h 57"/>
                    <a:gd name="T2" fmla="*/ 55 w 74"/>
                    <a:gd name="T3" fmla="*/ 57 h 57"/>
                    <a:gd name="T4" fmla="*/ 1 w 74"/>
                    <a:gd name="T5" fmla="*/ 25 h 57"/>
                    <a:gd name="T6" fmla="*/ 0 w 74"/>
                    <a:gd name="T7" fmla="*/ 24 h 57"/>
                    <a:gd name="T8" fmla="*/ 1 w 74"/>
                    <a:gd name="T9" fmla="*/ 22 h 57"/>
                    <a:gd name="T10" fmla="*/ 39 w 74"/>
                    <a:gd name="T11" fmla="*/ 0 h 57"/>
                    <a:gd name="T12" fmla="*/ 41 w 74"/>
                    <a:gd name="T13" fmla="*/ 0 h 57"/>
                    <a:gd name="T14" fmla="*/ 73 w 74"/>
                    <a:gd name="T15" fmla="*/ 18 h 57"/>
                    <a:gd name="T16" fmla="*/ 74 w 74"/>
                    <a:gd name="T17" fmla="*/ 20 h 57"/>
                    <a:gd name="T18" fmla="*/ 74 w 74"/>
                    <a:gd name="T19" fmla="*/ 46 h 57"/>
                    <a:gd name="T20" fmla="*/ 73 w 74"/>
                    <a:gd name="T21" fmla="*/ 47 h 57"/>
                    <a:gd name="T22" fmla="*/ 57 w 74"/>
                    <a:gd name="T23" fmla="*/ 57 h 57"/>
                    <a:gd name="T24" fmla="*/ 56 w 74"/>
                    <a:gd name="T25" fmla="*/ 57 h 57"/>
                    <a:gd name="T26" fmla="*/ 6 w 74"/>
                    <a:gd name="T27" fmla="*/ 24 h 57"/>
                    <a:gd name="T28" fmla="*/ 56 w 74"/>
                    <a:gd name="T29" fmla="*/ 52 h 57"/>
                    <a:gd name="T30" fmla="*/ 70 w 74"/>
                    <a:gd name="T31" fmla="*/ 45 h 57"/>
                    <a:gd name="T32" fmla="*/ 70 w 74"/>
                    <a:gd name="T33" fmla="*/ 21 h 57"/>
                    <a:gd name="T34" fmla="*/ 40 w 74"/>
                    <a:gd name="T35" fmla="*/ 4 h 57"/>
                    <a:gd name="T36" fmla="*/ 6 w 74"/>
                    <a:gd name="T37" fmla="*/ 2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4" h="57">
                      <a:moveTo>
                        <a:pt x="56" y="57"/>
                      </a:moveTo>
                      <a:cubicBezTo>
                        <a:pt x="56" y="57"/>
                        <a:pt x="55" y="57"/>
                        <a:pt x="55" y="57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1" y="25"/>
                        <a:pt x="0" y="24"/>
                        <a:pt x="0" y="24"/>
                      </a:cubicBezTo>
                      <a:cubicBezTo>
                        <a:pt x="0" y="23"/>
                        <a:pt x="1" y="22"/>
                        <a:pt x="1" y="22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40" y="0"/>
                        <a:pt x="40" y="0"/>
                        <a:pt x="41" y="0"/>
                      </a:cubicBezTo>
                      <a:cubicBezTo>
                        <a:pt x="73" y="18"/>
                        <a:pt x="73" y="18"/>
                        <a:pt x="73" y="18"/>
                      </a:cubicBezTo>
                      <a:cubicBezTo>
                        <a:pt x="74" y="19"/>
                        <a:pt x="74" y="19"/>
                        <a:pt x="74" y="20"/>
                      </a:cubicBezTo>
                      <a:cubicBezTo>
                        <a:pt x="74" y="46"/>
                        <a:pt x="74" y="46"/>
                        <a:pt x="74" y="46"/>
                      </a:cubicBezTo>
                      <a:cubicBezTo>
                        <a:pt x="74" y="46"/>
                        <a:pt x="74" y="47"/>
                        <a:pt x="73" y="47"/>
                      </a:cubicBezTo>
                      <a:cubicBezTo>
                        <a:pt x="57" y="57"/>
                        <a:pt x="57" y="57"/>
                        <a:pt x="57" y="57"/>
                      </a:cubicBezTo>
                      <a:cubicBezTo>
                        <a:pt x="57" y="57"/>
                        <a:pt x="57" y="57"/>
                        <a:pt x="56" y="57"/>
                      </a:cubicBezTo>
                      <a:close/>
                      <a:moveTo>
                        <a:pt x="6" y="24"/>
                      </a:moveTo>
                      <a:cubicBezTo>
                        <a:pt x="56" y="52"/>
                        <a:pt x="56" y="52"/>
                        <a:pt x="56" y="52"/>
                      </a:cubicBezTo>
                      <a:cubicBezTo>
                        <a:pt x="70" y="45"/>
                        <a:pt x="70" y="45"/>
                        <a:pt x="70" y="45"/>
                      </a:cubicBezTo>
                      <a:cubicBezTo>
                        <a:pt x="70" y="21"/>
                        <a:pt x="70" y="21"/>
                        <a:pt x="70" y="21"/>
                      </a:cubicBezTo>
                      <a:cubicBezTo>
                        <a:pt x="40" y="4"/>
                        <a:pt x="40" y="4"/>
                        <a:pt x="40" y="4"/>
                      </a:cubicBezTo>
                      <a:lnTo>
                        <a:pt x="6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5" name="Freeform 667">
                  <a:extLst>
                    <a:ext uri="{FF2B5EF4-FFF2-40B4-BE49-F238E27FC236}">
                      <a16:creationId xmlns:a16="http://schemas.microsoft.com/office/drawing/2014/main" id="{C160DEDD-24E4-4D5E-9FD5-1BD60F2FA6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64" y="1285"/>
                  <a:ext cx="26" cy="31"/>
                </a:xfrm>
                <a:custGeom>
                  <a:avLst/>
                  <a:gdLst>
                    <a:gd name="T0" fmla="*/ 9 w 11"/>
                    <a:gd name="T1" fmla="*/ 13 h 13"/>
                    <a:gd name="T2" fmla="*/ 8 w 11"/>
                    <a:gd name="T3" fmla="*/ 13 h 13"/>
                    <a:gd name="T4" fmla="*/ 1 w 11"/>
                    <a:gd name="T5" fmla="*/ 8 h 13"/>
                    <a:gd name="T6" fmla="*/ 0 w 11"/>
                    <a:gd name="T7" fmla="*/ 7 h 13"/>
                    <a:gd name="T8" fmla="*/ 1 w 11"/>
                    <a:gd name="T9" fmla="*/ 5 h 13"/>
                    <a:gd name="T10" fmla="*/ 8 w 11"/>
                    <a:gd name="T11" fmla="*/ 1 h 13"/>
                    <a:gd name="T12" fmla="*/ 10 w 11"/>
                    <a:gd name="T13" fmla="*/ 1 h 13"/>
                    <a:gd name="T14" fmla="*/ 11 w 11"/>
                    <a:gd name="T15" fmla="*/ 2 h 13"/>
                    <a:gd name="T16" fmla="*/ 11 w 11"/>
                    <a:gd name="T17" fmla="*/ 11 h 13"/>
                    <a:gd name="T18" fmla="*/ 10 w 11"/>
                    <a:gd name="T19" fmla="*/ 13 h 13"/>
                    <a:gd name="T20" fmla="*/ 9 w 11"/>
                    <a:gd name="T21" fmla="*/ 13 h 13"/>
                    <a:gd name="T22" fmla="*/ 6 w 11"/>
                    <a:gd name="T23" fmla="*/ 7 h 13"/>
                    <a:gd name="T24" fmla="*/ 7 w 11"/>
                    <a:gd name="T25" fmla="*/ 7 h 13"/>
                    <a:gd name="T26" fmla="*/ 7 w 11"/>
                    <a:gd name="T27" fmla="*/ 6 h 13"/>
                    <a:gd name="T28" fmla="*/ 6 w 11"/>
                    <a:gd name="T29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9" y="13"/>
                      </a:moveTo>
                      <a:cubicBezTo>
                        <a:pt x="9" y="13"/>
                        <a:pt x="8" y="13"/>
                        <a:pt x="8" y="13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8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9" y="0"/>
                        <a:pt x="9" y="0"/>
                        <a:pt x="10" y="1"/>
                      </a:cubicBezTo>
                      <a:cubicBezTo>
                        <a:pt x="11" y="1"/>
                        <a:pt x="11" y="2"/>
                        <a:pt x="11" y="2"/>
                      </a:cubicBez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1" y="12"/>
                        <a:pt x="11" y="12"/>
                        <a:pt x="10" y="13"/>
                      </a:cubicBezTo>
                      <a:cubicBezTo>
                        <a:pt x="10" y="13"/>
                        <a:pt x="9" y="13"/>
                        <a:pt x="9" y="13"/>
                      </a:cubicBezTo>
                      <a:close/>
                      <a:moveTo>
                        <a:pt x="6" y="7"/>
                      </a:move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6" name="Freeform 668">
                  <a:extLst>
                    <a:ext uri="{FF2B5EF4-FFF2-40B4-BE49-F238E27FC236}">
                      <a16:creationId xmlns:a16="http://schemas.microsoft.com/office/drawing/2014/main" id="{388050A0-7750-44D4-A4F1-A3FC48EC0E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1944"/>
                  <a:ext cx="40" cy="45"/>
                </a:xfrm>
                <a:custGeom>
                  <a:avLst/>
                  <a:gdLst>
                    <a:gd name="T0" fmla="*/ 2 w 17"/>
                    <a:gd name="T1" fmla="*/ 19 h 19"/>
                    <a:gd name="T2" fmla="*/ 1 w 17"/>
                    <a:gd name="T3" fmla="*/ 19 h 19"/>
                    <a:gd name="T4" fmla="*/ 0 w 17"/>
                    <a:gd name="T5" fmla="*/ 17 h 19"/>
                    <a:gd name="T6" fmla="*/ 0 w 17"/>
                    <a:gd name="T7" fmla="*/ 2 h 19"/>
                    <a:gd name="T8" fmla="*/ 1 w 17"/>
                    <a:gd name="T9" fmla="*/ 0 h 19"/>
                    <a:gd name="T10" fmla="*/ 3 w 17"/>
                    <a:gd name="T11" fmla="*/ 0 h 19"/>
                    <a:gd name="T12" fmla="*/ 16 w 17"/>
                    <a:gd name="T13" fmla="*/ 7 h 19"/>
                    <a:gd name="T14" fmla="*/ 17 w 17"/>
                    <a:gd name="T15" fmla="*/ 9 h 19"/>
                    <a:gd name="T16" fmla="*/ 16 w 17"/>
                    <a:gd name="T17" fmla="*/ 11 h 19"/>
                    <a:gd name="T18" fmla="*/ 3 w 17"/>
                    <a:gd name="T19" fmla="*/ 19 h 19"/>
                    <a:gd name="T20" fmla="*/ 2 w 17"/>
                    <a:gd name="T21" fmla="*/ 19 h 19"/>
                    <a:gd name="T22" fmla="*/ 4 w 17"/>
                    <a:gd name="T23" fmla="*/ 5 h 19"/>
                    <a:gd name="T24" fmla="*/ 4 w 17"/>
                    <a:gd name="T25" fmla="*/ 13 h 19"/>
                    <a:gd name="T26" fmla="*/ 11 w 17"/>
                    <a:gd name="T27" fmla="*/ 9 h 19"/>
                    <a:gd name="T28" fmla="*/ 4 w 17"/>
                    <a:gd name="T29" fmla="*/ 5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9">
                      <a:moveTo>
                        <a:pt x="2" y="19"/>
                      </a:moveTo>
                      <a:cubicBezTo>
                        <a:pt x="2" y="19"/>
                        <a:pt x="1" y="19"/>
                        <a:pt x="1" y="19"/>
                      </a:cubicBezTo>
                      <a:cubicBezTo>
                        <a:pt x="1" y="18"/>
                        <a:pt x="0" y="18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17" y="8"/>
                        <a:pt x="17" y="9"/>
                        <a:pt x="17" y="9"/>
                      </a:cubicBezTo>
                      <a:cubicBezTo>
                        <a:pt x="17" y="10"/>
                        <a:pt x="17" y="11"/>
                        <a:pt x="16" y="1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9"/>
                        <a:pt x="3" y="19"/>
                        <a:pt x="2" y="19"/>
                      </a:cubicBezTo>
                      <a:close/>
                      <a:moveTo>
                        <a:pt x="4" y="5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11" y="9"/>
                        <a:pt x="11" y="9"/>
                        <a:pt x="11" y="9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7" name="Freeform 669">
                  <a:extLst>
                    <a:ext uri="{FF2B5EF4-FFF2-40B4-BE49-F238E27FC236}">
                      <a16:creationId xmlns:a16="http://schemas.microsoft.com/office/drawing/2014/main" id="{126F1D5F-EBA1-4B45-BB5E-3B19902A05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0" y="1906"/>
                  <a:ext cx="12" cy="15"/>
                </a:xfrm>
                <a:custGeom>
                  <a:avLst/>
                  <a:gdLst>
                    <a:gd name="T0" fmla="*/ 2 w 5"/>
                    <a:gd name="T1" fmla="*/ 6 h 6"/>
                    <a:gd name="T2" fmla="*/ 1 w 5"/>
                    <a:gd name="T3" fmla="*/ 6 h 6"/>
                    <a:gd name="T4" fmla="*/ 1 w 5"/>
                    <a:gd name="T5" fmla="*/ 6 h 6"/>
                    <a:gd name="T6" fmla="*/ 0 w 5"/>
                    <a:gd name="T7" fmla="*/ 4 h 6"/>
                    <a:gd name="T8" fmla="*/ 0 w 5"/>
                    <a:gd name="T9" fmla="*/ 3 h 6"/>
                    <a:gd name="T10" fmla="*/ 1 w 5"/>
                    <a:gd name="T11" fmla="*/ 1 h 6"/>
                    <a:gd name="T12" fmla="*/ 3 w 5"/>
                    <a:gd name="T13" fmla="*/ 1 h 6"/>
                    <a:gd name="T14" fmla="*/ 4 w 5"/>
                    <a:gd name="T15" fmla="*/ 2 h 6"/>
                    <a:gd name="T16" fmla="*/ 5 w 5"/>
                    <a:gd name="T17" fmla="*/ 4 h 6"/>
                    <a:gd name="T18" fmla="*/ 4 w 5"/>
                    <a:gd name="T19" fmla="*/ 5 h 6"/>
                    <a:gd name="T20" fmla="*/ 3 w 5"/>
                    <a:gd name="T21" fmla="*/ 6 h 6"/>
                    <a:gd name="T22" fmla="*/ 2 w 5"/>
                    <a:gd name="T2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6">
                      <a:moveTo>
                        <a:pt x="2" y="6"/>
                      </a:moveTo>
                      <a:cubicBezTo>
                        <a:pt x="2" y="6"/>
                        <a:pt x="1" y="6"/>
                        <a:pt x="1" y="6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6"/>
                        <a:pt x="0" y="5"/>
                        <a:pt x="0" y="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4"/>
                      </a:cubicBezTo>
                      <a:cubicBezTo>
                        <a:pt x="5" y="4"/>
                        <a:pt x="5" y="5"/>
                        <a:pt x="4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2" y="6"/>
                        <a:pt x="2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8" name="Freeform 670">
                  <a:extLst>
                    <a:ext uri="{FF2B5EF4-FFF2-40B4-BE49-F238E27FC236}">
                      <a16:creationId xmlns:a16="http://schemas.microsoft.com/office/drawing/2014/main" id="{8B293564-79A3-4826-A5B6-867CCD7F85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1987"/>
                  <a:ext cx="82" cy="170"/>
                </a:xfrm>
                <a:custGeom>
                  <a:avLst/>
                  <a:gdLst>
                    <a:gd name="T0" fmla="*/ 2 w 35"/>
                    <a:gd name="T1" fmla="*/ 72 h 72"/>
                    <a:gd name="T2" fmla="*/ 1 w 35"/>
                    <a:gd name="T3" fmla="*/ 71 h 72"/>
                    <a:gd name="T4" fmla="*/ 0 w 35"/>
                    <a:gd name="T5" fmla="*/ 70 h 72"/>
                    <a:gd name="T6" fmla="*/ 0 w 35"/>
                    <a:gd name="T7" fmla="*/ 19 h 72"/>
                    <a:gd name="T8" fmla="*/ 1 w 35"/>
                    <a:gd name="T9" fmla="*/ 18 h 72"/>
                    <a:gd name="T10" fmla="*/ 32 w 35"/>
                    <a:gd name="T11" fmla="*/ 0 h 72"/>
                    <a:gd name="T12" fmla="*/ 34 w 35"/>
                    <a:gd name="T13" fmla="*/ 0 h 72"/>
                    <a:gd name="T14" fmla="*/ 35 w 35"/>
                    <a:gd name="T15" fmla="*/ 2 h 72"/>
                    <a:gd name="T16" fmla="*/ 35 w 35"/>
                    <a:gd name="T17" fmla="*/ 52 h 72"/>
                    <a:gd name="T18" fmla="*/ 34 w 35"/>
                    <a:gd name="T19" fmla="*/ 54 h 72"/>
                    <a:gd name="T20" fmla="*/ 3 w 35"/>
                    <a:gd name="T21" fmla="*/ 71 h 72"/>
                    <a:gd name="T22" fmla="*/ 2 w 35"/>
                    <a:gd name="T23" fmla="*/ 72 h 72"/>
                    <a:gd name="T24" fmla="*/ 4 w 35"/>
                    <a:gd name="T25" fmla="*/ 21 h 72"/>
                    <a:gd name="T26" fmla="*/ 4 w 35"/>
                    <a:gd name="T27" fmla="*/ 66 h 72"/>
                    <a:gd name="T28" fmla="*/ 31 w 35"/>
                    <a:gd name="T29" fmla="*/ 51 h 72"/>
                    <a:gd name="T30" fmla="*/ 31 w 35"/>
                    <a:gd name="T31" fmla="*/ 5 h 72"/>
                    <a:gd name="T32" fmla="*/ 4 w 35"/>
                    <a:gd name="T33" fmla="*/ 2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72">
                      <a:moveTo>
                        <a:pt x="2" y="72"/>
                      </a:moveTo>
                      <a:cubicBezTo>
                        <a:pt x="1" y="72"/>
                        <a:pt x="1" y="72"/>
                        <a:pt x="1" y="71"/>
                      </a:cubicBezTo>
                      <a:cubicBezTo>
                        <a:pt x="0" y="71"/>
                        <a:pt x="0" y="70"/>
                        <a:pt x="0" y="70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9"/>
                        <a:pt x="0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34" y="0"/>
                        <a:pt x="35" y="1"/>
                        <a:pt x="35" y="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5" y="53"/>
                        <a:pt x="34" y="53"/>
                        <a:pt x="34" y="54"/>
                      </a:cubicBezTo>
                      <a:cubicBezTo>
                        <a:pt x="3" y="71"/>
                        <a:pt x="3" y="71"/>
                        <a:pt x="3" y="71"/>
                      </a:cubicBezTo>
                      <a:cubicBezTo>
                        <a:pt x="3" y="72"/>
                        <a:pt x="2" y="72"/>
                        <a:pt x="2" y="72"/>
                      </a:cubicBezTo>
                      <a:close/>
                      <a:moveTo>
                        <a:pt x="4" y="21"/>
                      </a:moveTo>
                      <a:cubicBezTo>
                        <a:pt x="4" y="66"/>
                        <a:pt x="4" y="66"/>
                        <a:pt x="4" y="66"/>
                      </a:cubicBezTo>
                      <a:cubicBezTo>
                        <a:pt x="31" y="51"/>
                        <a:pt x="31" y="51"/>
                        <a:pt x="31" y="51"/>
                      </a:cubicBezTo>
                      <a:cubicBezTo>
                        <a:pt x="31" y="5"/>
                        <a:pt x="31" y="5"/>
                        <a:pt x="31" y="5"/>
                      </a:cubicBezTo>
                      <a:lnTo>
                        <a:pt x="4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9" name="Freeform 671">
                  <a:extLst>
                    <a:ext uri="{FF2B5EF4-FFF2-40B4-BE49-F238E27FC236}">
                      <a16:creationId xmlns:a16="http://schemas.microsoft.com/office/drawing/2014/main" id="{CADABC19-7664-4EBF-8794-C29E9B64D0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1751"/>
                  <a:ext cx="60" cy="151"/>
                </a:xfrm>
                <a:custGeom>
                  <a:avLst/>
                  <a:gdLst>
                    <a:gd name="T0" fmla="*/ 2 w 25"/>
                    <a:gd name="T1" fmla="*/ 64 h 64"/>
                    <a:gd name="T2" fmla="*/ 1 w 25"/>
                    <a:gd name="T3" fmla="*/ 64 h 64"/>
                    <a:gd name="T4" fmla="*/ 0 w 25"/>
                    <a:gd name="T5" fmla="*/ 62 h 64"/>
                    <a:gd name="T6" fmla="*/ 0 w 25"/>
                    <a:gd name="T7" fmla="*/ 2 h 64"/>
                    <a:gd name="T8" fmla="*/ 1 w 25"/>
                    <a:gd name="T9" fmla="*/ 0 h 64"/>
                    <a:gd name="T10" fmla="*/ 3 w 25"/>
                    <a:gd name="T11" fmla="*/ 0 h 64"/>
                    <a:gd name="T12" fmla="*/ 24 w 25"/>
                    <a:gd name="T13" fmla="*/ 13 h 64"/>
                    <a:gd name="T14" fmla="*/ 25 w 25"/>
                    <a:gd name="T15" fmla="*/ 14 h 64"/>
                    <a:gd name="T16" fmla="*/ 25 w 25"/>
                    <a:gd name="T17" fmla="*/ 50 h 64"/>
                    <a:gd name="T18" fmla="*/ 24 w 25"/>
                    <a:gd name="T19" fmla="*/ 52 h 64"/>
                    <a:gd name="T20" fmla="*/ 3 w 25"/>
                    <a:gd name="T21" fmla="*/ 64 h 64"/>
                    <a:gd name="T22" fmla="*/ 2 w 25"/>
                    <a:gd name="T23" fmla="*/ 64 h 64"/>
                    <a:gd name="T24" fmla="*/ 4 w 25"/>
                    <a:gd name="T25" fmla="*/ 6 h 64"/>
                    <a:gd name="T26" fmla="*/ 4 w 25"/>
                    <a:gd name="T27" fmla="*/ 59 h 64"/>
                    <a:gd name="T28" fmla="*/ 21 w 25"/>
                    <a:gd name="T29" fmla="*/ 49 h 64"/>
                    <a:gd name="T30" fmla="*/ 21 w 25"/>
                    <a:gd name="T31" fmla="*/ 16 h 64"/>
                    <a:gd name="T32" fmla="*/ 4 w 25"/>
                    <a:gd name="T33" fmla="*/ 6 h 64"/>
                    <a:gd name="T34" fmla="*/ 23 w 25"/>
                    <a:gd name="T35" fmla="*/ 50 h 64"/>
                    <a:gd name="T36" fmla="*/ 23 w 25"/>
                    <a:gd name="T37" fmla="*/ 5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64">
                      <a:moveTo>
                        <a:pt x="2" y="64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0" y="64"/>
                        <a:pt x="0" y="63"/>
                        <a:pt x="0" y="6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3"/>
                        <a:pt x="25" y="14"/>
                        <a:pt x="25" y="14"/>
                      </a:cubicBezTo>
                      <a:cubicBezTo>
                        <a:pt x="25" y="50"/>
                        <a:pt x="25" y="50"/>
                        <a:pt x="25" y="50"/>
                      </a:cubicBezTo>
                      <a:cubicBezTo>
                        <a:pt x="25" y="51"/>
                        <a:pt x="24" y="52"/>
                        <a:pt x="24" y="52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2" y="64"/>
                        <a:pt x="2" y="64"/>
                        <a:pt x="2" y="64"/>
                      </a:cubicBezTo>
                      <a:close/>
                      <a:moveTo>
                        <a:pt x="4" y="6"/>
                      </a:moveTo>
                      <a:cubicBezTo>
                        <a:pt x="4" y="59"/>
                        <a:pt x="4" y="59"/>
                        <a:pt x="4" y="5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16"/>
                        <a:pt x="21" y="16"/>
                        <a:pt x="21" y="16"/>
                      </a:cubicBezTo>
                      <a:lnTo>
                        <a:pt x="4" y="6"/>
                      </a:lnTo>
                      <a:close/>
                      <a:moveTo>
                        <a:pt x="23" y="50"/>
                      </a:moveTo>
                      <a:cubicBezTo>
                        <a:pt x="23" y="50"/>
                        <a:pt x="23" y="50"/>
                        <a:pt x="23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0" name="Freeform 672">
                  <a:extLst>
                    <a:ext uri="{FF2B5EF4-FFF2-40B4-BE49-F238E27FC236}">
                      <a16:creationId xmlns:a16="http://schemas.microsoft.com/office/drawing/2014/main" id="{9461C6A1-3E76-4FC4-B28A-C62FFCC2F8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1869"/>
                  <a:ext cx="60" cy="49"/>
                </a:xfrm>
                <a:custGeom>
                  <a:avLst/>
                  <a:gdLst>
                    <a:gd name="T0" fmla="*/ 5 w 25"/>
                    <a:gd name="T1" fmla="*/ 21 h 21"/>
                    <a:gd name="T2" fmla="*/ 4 w 25"/>
                    <a:gd name="T3" fmla="*/ 20 h 21"/>
                    <a:gd name="T4" fmla="*/ 1 w 25"/>
                    <a:gd name="T5" fmla="*/ 18 h 21"/>
                    <a:gd name="T6" fmla="*/ 0 w 25"/>
                    <a:gd name="T7" fmla="*/ 17 h 21"/>
                    <a:gd name="T8" fmla="*/ 0 w 25"/>
                    <a:gd name="T9" fmla="*/ 14 h 21"/>
                    <a:gd name="T10" fmla="*/ 1 w 25"/>
                    <a:gd name="T11" fmla="*/ 13 h 21"/>
                    <a:gd name="T12" fmla="*/ 22 w 25"/>
                    <a:gd name="T13" fmla="*/ 0 h 21"/>
                    <a:gd name="T14" fmla="*/ 24 w 25"/>
                    <a:gd name="T15" fmla="*/ 0 h 21"/>
                    <a:gd name="T16" fmla="*/ 25 w 25"/>
                    <a:gd name="T17" fmla="*/ 2 h 21"/>
                    <a:gd name="T18" fmla="*/ 25 w 25"/>
                    <a:gd name="T19" fmla="*/ 8 h 21"/>
                    <a:gd name="T20" fmla="*/ 24 w 25"/>
                    <a:gd name="T21" fmla="*/ 10 h 21"/>
                    <a:gd name="T22" fmla="*/ 6 w 25"/>
                    <a:gd name="T23" fmla="*/ 20 h 21"/>
                    <a:gd name="T24" fmla="*/ 5 w 25"/>
                    <a:gd name="T25" fmla="*/ 21 h 21"/>
                    <a:gd name="T26" fmla="*/ 4 w 25"/>
                    <a:gd name="T27" fmla="*/ 16 h 21"/>
                    <a:gd name="T28" fmla="*/ 5 w 25"/>
                    <a:gd name="T29" fmla="*/ 16 h 21"/>
                    <a:gd name="T30" fmla="*/ 21 w 25"/>
                    <a:gd name="T31" fmla="*/ 7 h 21"/>
                    <a:gd name="T32" fmla="*/ 21 w 25"/>
                    <a:gd name="T33" fmla="*/ 6 h 21"/>
                    <a:gd name="T34" fmla="*/ 4 w 25"/>
                    <a:gd name="T35" fmla="*/ 16 h 21"/>
                    <a:gd name="T36" fmla="*/ 23 w 25"/>
                    <a:gd name="T37" fmla="*/ 8 h 21"/>
                    <a:gd name="T38" fmla="*/ 23 w 25"/>
                    <a:gd name="T39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5" h="21">
                      <a:moveTo>
                        <a:pt x="5" y="21"/>
                      </a:moveTo>
                      <a:cubicBezTo>
                        <a:pt x="5" y="21"/>
                        <a:pt x="4" y="21"/>
                        <a:pt x="4" y="20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7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4"/>
                        <a:pt x="0" y="13"/>
                        <a:pt x="1" y="13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2" y="0"/>
                        <a:pt x="23" y="0"/>
                        <a:pt x="24" y="0"/>
                      </a:cubicBezTo>
                      <a:cubicBezTo>
                        <a:pt x="24" y="1"/>
                        <a:pt x="25" y="1"/>
                        <a:pt x="25" y="2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9"/>
                        <a:pt x="24" y="10"/>
                        <a:pt x="24" y="1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21"/>
                        <a:pt x="5" y="21"/>
                        <a:pt x="5" y="21"/>
                      </a:cubicBezTo>
                      <a:close/>
                      <a:moveTo>
                        <a:pt x="4" y="16"/>
                      </a:move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21" y="7"/>
                        <a:pt x="21" y="7"/>
                        <a:pt x="21" y="7"/>
                      </a:cubicBezTo>
                      <a:cubicBezTo>
                        <a:pt x="21" y="6"/>
                        <a:pt x="21" y="6"/>
                        <a:pt x="21" y="6"/>
                      </a:cubicBezTo>
                      <a:lnTo>
                        <a:pt x="4" y="16"/>
                      </a:lnTo>
                      <a:close/>
                      <a:moveTo>
                        <a:pt x="23" y="8"/>
                      </a:moveTo>
                      <a:cubicBezTo>
                        <a:pt x="23" y="8"/>
                        <a:pt x="23" y="8"/>
                        <a:pt x="2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1" name="Freeform 673">
                  <a:extLst>
                    <a:ext uri="{FF2B5EF4-FFF2-40B4-BE49-F238E27FC236}">
                      <a16:creationId xmlns:a16="http://schemas.microsoft.com/office/drawing/2014/main" id="{CA23CFD1-4CC7-4D3A-B17D-ABF6BC1211D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1684"/>
                  <a:ext cx="153" cy="234"/>
                </a:xfrm>
                <a:custGeom>
                  <a:avLst/>
                  <a:gdLst>
                    <a:gd name="T0" fmla="*/ 2 w 65"/>
                    <a:gd name="T1" fmla="*/ 99 h 99"/>
                    <a:gd name="T2" fmla="*/ 1 w 65"/>
                    <a:gd name="T3" fmla="*/ 99 h 99"/>
                    <a:gd name="T4" fmla="*/ 0 w 65"/>
                    <a:gd name="T5" fmla="*/ 97 h 99"/>
                    <a:gd name="T6" fmla="*/ 0 w 65"/>
                    <a:gd name="T7" fmla="*/ 37 h 99"/>
                    <a:gd name="T8" fmla="*/ 1 w 65"/>
                    <a:gd name="T9" fmla="*/ 35 h 99"/>
                    <a:gd name="T10" fmla="*/ 62 w 65"/>
                    <a:gd name="T11" fmla="*/ 0 h 99"/>
                    <a:gd name="T12" fmla="*/ 64 w 65"/>
                    <a:gd name="T13" fmla="*/ 0 h 99"/>
                    <a:gd name="T14" fmla="*/ 65 w 65"/>
                    <a:gd name="T15" fmla="*/ 2 h 99"/>
                    <a:gd name="T16" fmla="*/ 65 w 65"/>
                    <a:gd name="T17" fmla="*/ 57 h 99"/>
                    <a:gd name="T18" fmla="*/ 64 w 65"/>
                    <a:gd name="T19" fmla="*/ 58 h 99"/>
                    <a:gd name="T20" fmla="*/ 63 w 65"/>
                    <a:gd name="T21" fmla="*/ 59 h 99"/>
                    <a:gd name="T22" fmla="*/ 64 w 65"/>
                    <a:gd name="T23" fmla="*/ 60 h 99"/>
                    <a:gd name="T24" fmla="*/ 65 w 65"/>
                    <a:gd name="T25" fmla="*/ 61 h 99"/>
                    <a:gd name="T26" fmla="*/ 65 w 65"/>
                    <a:gd name="T27" fmla="*/ 62 h 99"/>
                    <a:gd name="T28" fmla="*/ 64 w 65"/>
                    <a:gd name="T29" fmla="*/ 64 h 99"/>
                    <a:gd name="T30" fmla="*/ 15 w 65"/>
                    <a:gd name="T31" fmla="*/ 92 h 99"/>
                    <a:gd name="T32" fmla="*/ 14 w 65"/>
                    <a:gd name="T33" fmla="*/ 93 h 99"/>
                    <a:gd name="T34" fmla="*/ 3 w 65"/>
                    <a:gd name="T35" fmla="*/ 99 h 99"/>
                    <a:gd name="T36" fmla="*/ 2 w 65"/>
                    <a:gd name="T37" fmla="*/ 99 h 99"/>
                    <a:gd name="T38" fmla="*/ 4 w 65"/>
                    <a:gd name="T39" fmla="*/ 38 h 99"/>
                    <a:gd name="T40" fmla="*/ 4 w 65"/>
                    <a:gd name="T41" fmla="*/ 94 h 99"/>
                    <a:gd name="T42" fmla="*/ 13 w 65"/>
                    <a:gd name="T43" fmla="*/ 89 h 99"/>
                    <a:gd name="T44" fmla="*/ 14 w 65"/>
                    <a:gd name="T45" fmla="*/ 88 h 99"/>
                    <a:gd name="T46" fmla="*/ 60 w 65"/>
                    <a:gd name="T47" fmla="*/ 62 h 99"/>
                    <a:gd name="T48" fmla="*/ 58 w 65"/>
                    <a:gd name="T49" fmla="*/ 61 h 99"/>
                    <a:gd name="T50" fmla="*/ 57 w 65"/>
                    <a:gd name="T51" fmla="*/ 59 h 99"/>
                    <a:gd name="T52" fmla="*/ 58 w 65"/>
                    <a:gd name="T53" fmla="*/ 57 h 99"/>
                    <a:gd name="T54" fmla="*/ 61 w 65"/>
                    <a:gd name="T55" fmla="*/ 56 h 99"/>
                    <a:gd name="T56" fmla="*/ 61 w 65"/>
                    <a:gd name="T57" fmla="*/ 5 h 99"/>
                    <a:gd name="T58" fmla="*/ 4 w 65"/>
                    <a:gd name="T59" fmla="*/ 38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5" h="99">
                      <a:moveTo>
                        <a:pt x="2" y="99"/>
                      </a:moveTo>
                      <a:cubicBezTo>
                        <a:pt x="2" y="99"/>
                        <a:pt x="1" y="99"/>
                        <a:pt x="1" y="99"/>
                      </a:cubicBezTo>
                      <a:cubicBezTo>
                        <a:pt x="1" y="99"/>
                        <a:pt x="0" y="98"/>
                        <a:pt x="0" y="97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36"/>
                        <a:pt x="1" y="35"/>
                        <a:pt x="1" y="35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3" y="0"/>
                        <a:pt x="63" y="0"/>
                        <a:pt x="64" y="0"/>
                      </a:cubicBezTo>
                      <a:cubicBezTo>
                        <a:pt x="65" y="0"/>
                        <a:pt x="65" y="1"/>
                        <a:pt x="65" y="2"/>
                      </a:cubicBezTo>
                      <a:cubicBezTo>
                        <a:pt x="65" y="57"/>
                        <a:pt x="65" y="57"/>
                        <a:pt x="65" y="57"/>
                      </a:cubicBezTo>
                      <a:cubicBezTo>
                        <a:pt x="65" y="57"/>
                        <a:pt x="65" y="58"/>
                        <a:pt x="64" y="58"/>
                      </a:cubicBezTo>
                      <a:cubicBezTo>
                        <a:pt x="63" y="59"/>
                        <a:pt x="63" y="59"/>
                        <a:pt x="63" y="59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5" y="60"/>
                        <a:pt x="65" y="61"/>
                        <a:pt x="65" y="61"/>
                      </a:cubicBezTo>
                      <a:cubicBezTo>
                        <a:pt x="65" y="62"/>
                        <a:pt x="65" y="62"/>
                        <a:pt x="65" y="62"/>
                      </a:cubicBezTo>
                      <a:cubicBezTo>
                        <a:pt x="65" y="63"/>
                        <a:pt x="65" y="64"/>
                        <a:pt x="64" y="64"/>
                      </a:cubicBezTo>
                      <a:cubicBezTo>
                        <a:pt x="15" y="92"/>
                        <a:pt x="15" y="92"/>
                        <a:pt x="15" y="92"/>
                      </a:cubicBezTo>
                      <a:cubicBezTo>
                        <a:pt x="15" y="93"/>
                        <a:pt x="14" y="93"/>
                        <a:pt x="14" y="93"/>
                      </a:cubicBezTo>
                      <a:cubicBezTo>
                        <a:pt x="3" y="99"/>
                        <a:pt x="3" y="99"/>
                        <a:pt x="3" y="99"/>
                      </a:cubicBezTo>
                      <a:cubicBezTo>
                        <a:pt x="3" y="99"/>
                        <a:pt x="3" y="99"/>
                        <a:pt x="2" y="99"/>
                      </a:cubicBezTo>
                      <a:close/>
                      <a:moveTo>
                        <a:pt x="4" y="38"/>
                      </a:moveTo>
                      <a:cubicBezTo>
                        <a:pt x="4" y="94"/>
                        <a:pt x="4" y="94"/>
                        <a:pt x="4" y="94"/>
                      </a:cubicBezTo>
                      <a:cubicBezTo>
                        <a:pt x="13" y="89"/>
                        <a:pt x="13" y="89"/>
                        <a:pt x="13" y="89"/>
                      </a:cubicBezTo>
                      <a:cubicBezTo>
                        <a:pt x="13" y="89"/>
                        <a:pt x="13" y="89"/>
                        <a:pt x="14" y="88"/>
                      </a:cubicBezTo>
                      <a:cubicBezTo>
                        <a:pt x="60" y="62"/>
                        <a:pt x="60" y="62"/>
                        <a:pt x="60" y="62"/>
                      </a:cubicBezTo>
                      <a:cubicBezTo>
                        <a:pt x="58" y="61"/>
                        <a:pt x="58" y="61"/>
                        <a:pt x="58" y="61"/>
                      </a:cubicBezTo>
                      <a:cubicBezTo>
                        <a:pt x="57" y="60"/>
                        <a:pt x="57" y="60"/>
                        <a:pt x="57" y="59"/>
                      </a:cubicBezTo>
                      <a:cubicBezTo>
                        <a:pt x="57" y="58"/>
                        <a:pt x="57" y="58"/>
                        <a:pt x="58" y="57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"/>
                        <a:pt x="61" y="5"/>
                        <a:pt x="61" y="5"/>
                      </a:cubicBezTo>
                      <a:lnTo>
                        <a:pt x="4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2" name="Freeform 674">
                  <a:extLst>
                    <a:ext uri="{FF2B5EF4-FFF2-40B4-BE49-F238E27FC236}">
                      <a16:creationId xmlns:a16="http://schemas.microsoft.com/office/drawing/2014/main" id="{21C0077D-4787-4AFB-98DE-70241E801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0" y="1746"/>
                  <a:ext cx="60" cy="38"/>
                </a:xfrm>
                <a:custGeom>
                  <a:avLst/>
                  <a:gdLst>
                    <a:gd name="T0" fmla="*/ 23 w 25"/>
                    <a:gd name="T1" fmla="*/ 16 h 16"/>
                    <a:gd name="T2" fmla="*/ 22 w 25"/>
                    <a:gd name="T3" fmla="*/ 16 h 16"/>
                    <a:gd name="T4" fmla="*/ 1 w 25"/>
                    <a:gd name="T5" fmla="*/ 4 h 16"/>
                    <a:gd name="T6" fmla="*/ 0 w 25"/>
                    <a:gd name="T7" fmla="*/ 2 h 16"/>
                    <a:gd name="T8" fmla="*/ 0 w 25"/>
                    <a:gd name="T9" fmla="*/ 2 h 16"/>
                    <a:gd name="T10" fmla="*/ 1 w 25"/>
                    <a:gd name="T11" fmla="*/ 0 h 16"/>
                    <a:gd name="T12" fmla="*/ 3 w 25"/>
                    <a:gd name="T13" fmla="*/ 0 h 16"/>
                    <a:gd name="T14" fmla="*/ 24 w 25"/>
                    <a:gd name="T15" fmla="*/ 12 h 16"/>
                    <a:gd name="T16" fmla="*/ 25 w 25"/>
                    <a:gd name="T17" fmla="*/ 14 h 16"/>
                    <a:gd name="T18" fmla="*/ 25 w 25"/>
                    <a:gd name="T19" fmla="*/ 14 h 16"/>
                    <a:gd name="T20" fmla="*/ 24 w 25"/>
                    <a:gd name="T21" fmla="*/ 16 h 16"/>
                    <a:gd name="T22" fmla="*/ 23 w 25"/>
                    <a:gd name="T23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" h="16">
                      <a:moveTo>
                        <a:pt x="23" y="16"/>
                      </a:move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24" y="13"/>
                        <a:pt x="25" y="13"/>
                        <a:pt x="25" y="14"/>
                      </a:cubicBezTo>
                      <a:cubicBezTo>
                        <a:pt x="25" y="14"/>
                        <a:pt x="25" y="14"/>
                        <a:pt x="25" y="14"/>
                      </a:cubicBezTo>
                      <a:cubicBezTo>
                        <a:pt x="25" y="15"/>
                        <a:pt x="24" y="16"/>
                        <a:pt x="24" y="16"/>
                      </a:cubicBezTo>
                      <a:cubicBezTo>
                        <a:pt x="24" y="16"/>
                        <a:pt x="23" y="16"/>
                        <a:pt x="23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3" name="Freeform 675">
                  <a:extLst>
                    <a:ext uri="{FF2B5EF4-FFF2-40B4-BE49-F238E27FC236}">
                      <a16:creationId xmlns:a16="http://schemas.microsoft.com/office/drawing/2014/main" id="{25D6FA8C-0D0D-4F21-8F97-79889F6D2F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927" y="1777"/>
                  <a:ext cx="78" cy="82"/>
                </a:xfrm>
                <a:custGeom>
                  <a:avLst/>
                  <a:gdLst>
                    <a:gd name="T0" fmla="*/ 31 w 33"/>
                    <a:gd name="T1" fmla="*/ 35 h 35"/>
                    <a:gd name="T2" fmla="*/ 30 w 33"/>
                    <a:gd name="T3" fmla="*/ 35 h 35"/>
                    <a:gd name="T4" fmla="*/ 7 w 33"/>
                    <a:gd name="T5" fmla="*/ 21 h 35"/>
                    <a:gd name="T6" fmla="*/ 3 w 33"/>
                    <a:gd name="T7" fmla="*/ 24 h 35"/>
                    <a:gd name="T8" fmla="*/ 1 w 33"/>
                    <a:gd name="T9" fmla="*/ 24 h 35"/>
                    <a:gd name="T10" fmla="*/ 1 w 33"/>
                    <a:gd name="T11" fmla="*/ 23 h 35"/>
                    <a:gd name="T12" fmla="*/ 0 w 33"/>
                    <a:gd name="T13" fmla="*/ 21 h 35"/>
                    <a:gd name="T14" fmla="*/ 0 w 33"/>
                    <a:gd name="T15" fmla="*/ 19 h 35"/>
                    <a:gd name="T16" fmla="*/ 1 w 33"/>
                    <a:gd name="T17" fmla="*/ 17 h 35"/>
                    <a:gd name="T18" fmla="*/ 30 w 33"/>
                    <a:gd name="T19" fmla="*/ 0 h 35"/>
                    <a:gd name="T20" fmla="*/ 32 w 33"/>
                    <a:gd name="T21" fmla="*/ 0 h 35"/>
                    <a:gd name="T22" fmla="*/ 33 w 33"/>
                    <a:gd name="T23" fmla="*/ 2 h 35"/>
                    <a:gd name="T24" fmla="*/ 33 w 33"/>
                    <a:gd name="T25" fmla="*/ 33 h 35"/>
                    <a:gd name="T26" fmla="*/ 32 w 33"/>
                    <a:gd name="T27" fmla="*/ 35 h 35"/>
                    <a:gd name="T28" fmla="*/ 31 w 33"/>
                    <a:gd name="T29" fmla="*/ 35 h 35"/>
                    <a:gd name="T30" fmla="*/ 8 w 33"/>
                    <a:gd name="T31" fmla="*/ 17 h 35"/>
                    <a:gd name="T32" fmla="*/ 8 w 33"/>
                    <a:gd name="T33" fmla="*/ 17 h 35"/>
                    <a:gd name="T34" fmla="*/ 29 w 33"/>
                    <a:gd name="T35" fmla="*/ 29 h 35"/>
                    <a:gd name="T36" fmla="*/ 29 w 33"/>
                    <a:gd name="T37" fmla="*/ 5 h 35"/>
                    <a:gd name="T38" fmla="*/ 8 w 33"/>
                    <a:gd name="T39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3" h="35">
                      <a:moveTo>
                        <a:pt x="31" y="35"/>
                      </a:moveTo>
                      <a:cubicBezTo>
                        <a:pt x="31" y="35"/>
                        <a:pt x="31" y="35"/>
                        <a:pt x="30" y="35"/>
                      </a:cubicBez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3" y="24"/>
                        <a:pt x="2" y="24"/>
                        <a:pt x="1" y="24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8"/>
                        <a:pt x="0" y="17"/>
                        <a:pt x="1" y="17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1" y="0"/>
                        <a:pt x="32" y="0"/>
                        <a:pt x="32" y="0"/>
                      </a:cubicBezTo>
                      <a:cubicBezTo>
                        <a:pt x="33" y="0"/>
                        <a:pt x="33" y="1"/>
                        <a:pt x="33" y="2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3" y="34"/>
                        <a:pt x="33" y="34"/>
                        <a:pt x="32" y="35"/>
                      </a:cubicBezTo>
                      <a:cubicBezTo>
                        <a:pt x="32" y="35"/>
                        <a:pt x="32" y="35"/>
                        <a:pt x="31" y="35"/>
                      </a:cubicBezTo>
                      <a:close/>
                      <a:moveTo>
                        <a:pt x="8" y="17"/>
                      </a:move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29" y="29"/>
                        <a:pt x="29" y="29"/>
                        <a:pt x="29" y="29"/>
                      </a:cubicBezTo>
                      <a:cubicBezTo>
                        <a:pt x="29" y="5"/>
                        <a:pt x="29" y="5"/>
                        <a:pt x="29" y="5"/>
                      </a:cubicBez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4" name="Freeform 676">
                  <a:extLst>
                    <a:ext uri="{FF2B5EF4-FFF2-40B4-BE49-F238E27FC236}">
                      <a16:creationId xmlns:a16="http://schemas.microsoft.com/office/drawing/2014/main" id="{0CBBF678-2AFB-4A7E-A5DE-F7FB56346C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5" y="1888"/>
                  <a:ext cx="55" cy="61"/>
                </a:xfrm>
                <a:custGeom>
                  <a:avLst/>
                  <a:gdLst>
                    <a:gd name="T0" fmla="*/ 21 w 23"/>
                    <a:gd name="T1" fmla="*/ 26 h 26"/>
                    <a:gd name="T2" fmla="*/ 20 w 23"/>
                    <a:gd name="T3" fmla="*/ 26 h 26"/>
                    <a:gd name="T4" fmla="*/ 1 w 23"/>
                    <a:gd name="T5" fmla="*/ 15 h 26"/>
                    <a:gd name="T6" fmla="*/ 0 w 23"/>
                    <a:gd name="T7" fmla="*/ 13 h 26"/>
                    <a:gd name="T8" fmla="*/ 1 w 23"/>
                    <a:gd name="T9" fmla="*/ 12 h 26"/>
                    <a:gd name="T10" fmla="*/ 20 w 23"/>
                    <a:gd name="T11" fmla="*/ 1 h 26"/>
                    <a:gd name="T12" fmla="*/ 22 w 23"/>
                    <a:gd name="T13" fmla="*/ 1 h 26"/>
                    <a:gd name="T14" fmla="*/ 23 w 23"/>
                    <a:gd name="T15" fmla="*/ 2 h 26"/>
                    <a:gd name="T16" fmla="*/ 23 w 23"/>
                    <a:gd name="T17" fmla="*/ 24 h 26"/>
                    <a:gd name="T18" fmla="*/ 22 w 23"/>
                    <a:gd name="T19" fmla="*/ 26 h 26"/>
                    <a:gd name="T20" fmla="*/ 21 w 23"/>
                    <a:gd name="T21" fmla="*/ 26 h 26"/>
                    <a:gd name="T22" fmla="*/ 6 w 23"/>
                    <a:gd name="T23" fmla="*/ 13 h 26"/>
                    <a:gd name="T24" fmla="*/ 19 w 23"/>
                    <a:gd name="T25" fmla="*/ 21 h 26"/>
                    <a:gd name="T26" fmla="*/ 19 w 23"/>
                    <a:gd name="T27" fmla="*/ 6 h 26"/>
                    <a:gd name="T28" fmla="*/ 6 w 23"/>
                    <a:gd name="T29" fmla="*/ 1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" h="26">
                      <a:moveTo>
                        <a:pt x="21" y="26"/>
                      </a:move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0" y="15"/>
                        <a:pt x="0" y="14"/>
                        <a:pt x="0" y="13"/>
                      </a:cubicBezTo>
                      <a:cubicBezTo>
                        <a:pt x="0" y="13"/>
                        <a:pt x="0" y="12"/>
                        <a:pt x="1" y="12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0"/>
                        <a:pt x="21" y="0"/>
                        <a:pt x="22" y="1"/>
                      </a:cubicBezTo>
                      <a:cubicBezTo>
                        <a:pt x="22" y="1"/>
                        <a:pt x="23" y="2"/>
                        <a:pt x="23" y="2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5"/>
                        <a:pt x="22" y="26"/>
                        <a:pt x="22" y="26"/>
                      </a:cubicBezTo>
                      <a:cubicBezTo>
                        <a:pt x="22" y="26"/>
                        <a:pt x="21" y="26"/>
                        <a:pt x="21" y="26"/>
                      </a:cubicBezTo>
                      <a:close/>
                      <a:moveTo>
                        <a:pt x="6" y="13"/>
                      </a:move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5" name="Freeform 677">
                  <a:extLst>
                    <a:ext uri="{FF2B5EF4-FFF2-40B4-BE49-F238E27FC236}">
                      <a16:creationId xmlns:a16="http://schemas.microsoft.com/office/drawing/2014/main" id="{02233E7C-2080-44F9-9EBE-4647CBBA98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829"/>
                  <a:ext cx="288" cy="179"/>
                </a:xfrm>
                <a:custGeom>
                  <a:avLst/>
                  <a:gdLst>
                    <a:gd name="T0" fmla="*/ 58 w 122"/>
                    <a:gd name="T1" fmla="*/ 76 h 76"/>
                    <a:gd name="T2" fmla="*/ 57 w 122"/>
                    <a:gd name="T3" fmla="*/ 76 h 76"/>
                    <a:gd name="T4" fmla="*/ 1 w 122"/>
                    <a:gd name="T5" fmla="*/ 44 h 76"/>
                    <a:gd name="T6" fmla="*/ 0 w 122"/>
                    <a:gd name="T7" fmla="*/ 42 h 76"/>
                    <a:gd name="T8" fmla="*/ 1 w 122"/>
                    <a:gd name="T9" fmla="*/ 40 h 76"/>
                    <a:gd name="T10" fmla="*/ 51 w 122"/>
                    <a:gd name="T11" fmla="*/ 12 h 76"/>
                    <a:gd name="T12" fmla="*/ 51 w 122"/>
                    <a:gd name="T13" fmla="*/ 2 h 76"/>
                    <a:gd name="T14" fmla="*/ 52 w 122"/>
                    <a:gd name="T15" fmla="*/ 1 h 76"/>
                    <a:gd name="T16" fmla="*/ 52 w 122"/>
                    <a:gd name="T17" fmla="*/ 0 h 76"/>
                    <a:gd name="T18" fmla="*/ 54 w 122"/>
                    <a:gd name="T19" fmla="*/ 0 h 76"/>
                    <a:gd name="T20" fmla="*/ 113 w 122"/>
                    <a:gd name="T21" fmla="*/ 34 h 76"/>
                    <a:gd name="T22" fmla="*/ 114 w 122"/>
                    <a:gd name="T23" fmla="*/ 33 h 76"/>
                    <a:gd name="T24" fmla="*/ 116 w 122"/>
                    <a:gd name="T25" fmla="*/ 33 h 76"/>
                    <a:gd name="T26" fmla="*/ 121 w 122"/>
                    <a:gd name="T27" fmla="*/ 36 h 76"/>
                    <a:gd name="T28" fmla="*/ 122 w 122"/>
                    <a:gd name="T29" fmla="*/ 38 h 76"/>
                    <a:gd name="T30" fmla="*/ 122 w 122"/>
                    <a:gd name="T31" fmla="*/ 39 h 76"/>
                    <a:gd name="T32" fmla="*/ 121 w 122"/>
                    <a:gd name="T33" fmla="*/ 40 h 76"/>
                    <a:gd name="T34" fmla="*/ 59 w 122"/>
                    <a:gd name="T35" fmla="*/ 76 h 76"/>
                    <a:gd name="T36" fmla="*/ 58 w 122"/>
                    <a:gd name="T37" fmla="*/ 76 h 76"/>
                    <a:gd name="T38" fmla="*/ 6 w 122"/>
                    <a:gd name="T39" fmla="*/ 42 h 76"/>
                    <a:gd name="T40" fmla="*/ 58 w 122"/>
                    <a:gd name="T41" fmla="*/ 72 h 76"/>
                    <a:gd name="T42" fmla="*/ 116 w 122"/>
                    <a:gd name="T43" fmla="*/ 38 h 76"/>
                    <a:gd name="T44" fmla="*/ 115 w 122"/>
                    <a:gd name="T45" fmla="*/ 38 h 76"/>
                    <a:gd name="T46" fmla="*/ 114 w 122"/>
                    <a:gd name="T47" fmla="*/ 38 h 76"/>
                    <a:gd name="T48" fmla="*/ 112 w 122"/>
                    <a:gd name="T49" fmla="*/ 38 h 76"/>
                    <a:gd name="T50" fmla="*/ 55 w 122"/>
                    <a:gd name="T51" fmla="*/ 5 h 76"/>
                    <a:gd name="T52" fmla="*/ 55 w 122"/>
                    <a:gd name="T53" fmla="*/ 13 h 76"/>
                    <a:gd name="T54" fmla="*/ 54 w 122"/>
                    <a:gd name="T55" fmla="*/ 15 h 76"/>
                    <a:gd name="T56" fmla="*/ 6 w 122"/>
                    <a:gd name="T57" fmla="*/ 42 h 76"/>
                    <a:gd name="T58" fmla="*/ 53 w 122"/>
                    <a:gd name="T59" fmla="*/ 13 h 76"/>
                    <a:gd name="T60" fmla="*/ 53 w 122"/>
                    <a:gd name="T61" fmla="*/ 13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22" h="76">
                      <a:moveTo>
                        <a:pt x="58" y="76"/>
                      </a:moveTo>
                      <a:cubicBezTo>
                        <a:pt x="58" y="76"/>
                        <a:pt x="58" y="76"/>
                        <a:pt x="57" y="76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1" y="43"/>
                        <a:pt x="0" y="43"/>
                        <a:pt x="0" y="42"/>
                      </a:cubicBezTo>
                      <a:cubicBezTo>
                        <a:pt x="0" y="41"/>
                        <a:pt x="1" y="41"/>
                        <a:pt x="1" y="40"/>
                      </a:cubicBezTo>
                      <a:cubicBezTo>
                        <a:pt x="51" y="12"/>
                        <a:pt x="51" y="12"/>
                        <a:pt x="51" y="12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1" y="2"/>
                        <a:pt x="51" y="1"/>
                        <a:pt x="52" y="1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3" y="0"/>
                        <a:pt x="54" y="0"/>
                        <a:pt x="54" y="0"/>
                      </a:cubicBezTo>
                      <a:cubicBezTo>
                        <a:pt x="113" y="34"/>
                        <a:pt x="113" y="34"/>
                        <a:pt x="113" y="34"/>
                      </a:cubicBezTo>
                      <a:cubicBezTo>
                        <a:pt x="114" y="33"/>
                        <a:pt x="114" y="33"/>
                        <a:pt x="114" y="33"/>
                      </a:cubicBezTo>
                      <a:cubicBezTo>
                        <a:pt x="114" y="33"/>
                        <a:pt x="115" y="33"/>
                        <a:pt x="116" y="33"/>
                      </a:cubicBezTo>
                      <a:cubicBezTo>
                        <a:pt x="121" y="36"/>
                        <a:pt x="121" y="36"/>
                        <a:pt x="121" y="36"/>
                      </a:cubicBezTo>
                      <a:cubicBezTo>
                        <a:pt x="122" y="37"/>
                        <a:pt x="122" y="37"/>
                        <a:pt x="122" y="38"/>
                      </a:cubicBezTo>
                      <a:cubicBezTo>
                        <a:pt x="122" y="39"/>
                        <a:pt x="122" y="39"/>
                        <a:pt x="122" y="39"/>
                      </a:cubicBezTo>
                      <a:cubicBezTo>
                        <a:pt x="122" y="39"/>
                        <a:pt x="122" y="40"/>
                        <a:pt x="121" y="40"/>
                      </a:cubicBezTo>
                      <a:cubicBezTo>
                        <a:pt x="59" y="76"/>
                        <a:pt x="59" y="76"/>
                        <a:pt x="59" y="76"/>
                      </a:cubicBezTo>
                      <a:cubicBezTo>
                        <a:pt x="59" y="76"/>
                        <a:pt x="59" y="76"/>
                        <a:pt x="58" y="76"/>
                      </a:cubicBezTo>
                      <a:close/>
                      <a:moveTo>
                        <a:pt x="6" y="42"/>
                      </a:moveTo>
                      <a:cubicBezTo>
                        <a:pt x="58" y="72"/>
                        <a:pt x="58" y="72"/>
                        <a:pt x="58" y="72"/>
                      </a:cubicBezTo>
                      <a:cubicBezTo>
                        <a:pt x="116" y="38"/>
                        <a:pt x="116" y="38"/>
                        <a:pt x="116" y="38"/>
                      </a:cubicBezTo>
                      <a:cubicBezTo>
                        <a:pt x="115" y="38"/>
                        <a:pt x="115" y="38"/>
                        <a:pt x="115" y="38"/>
                      </a:cubicBezTo>
                      <a:cubicBezTo>
                        <a:pt x="114" y="38"/>
                        <a:pt x="114" y="38"/>
                        <a:pt x="114" y="38"/>
                      </a:cubicBezTo>
                      <a:cubicBezTo>
                        <a:pt x="113" y="38"/>
                        <a:pt x="113" y="38"/>
                        <a:pt x="112" y="38"/>
                      </a:cubicBezTo>
                      <a:cubicBezTo>
                        <a:pt x="55" y="5"/>
                        <a:pt x="55" y="5"/>
                        <a:pt x="55" y="5"/>
                      </a:cubicBezTo>
                      <a:cubicBezTo>
                        <a:pt x="55" y="13"/>
                        <a:pt x="55" y="13"/>
                        <a:pt x="55" y="13"/>
                      </a:cubicBezTo>
                      <a:cubicBezTo>
                        <a:pt x="55" y="14"/>
                        <a:pt x="54" y="14"/>
                        <a:pt x="54" y="15"/>
                      </a:cubicBezTo>
                      <a:lnTo>
                        <a:pt x="6" y="42"/>
                      </a:lnTo>
                      <a:close/>
                      <a:moveTo>
                        <a:pt x="53" y="13"/>
                      </a:moveTo>
                      <a:cubicBezTo>
                        <a:pt x="53" y="13"/>
                        <a:pt x="53" y="13"/>
                        <a:pt x="53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6" name="Freeform 678">
                  <a:extLst>
                    <a:ext uri="{FF2B5EF4-FFF2-40B4-BE49-F238E27FC236}">
                      <a16:creationId xmlns:a16="http://schemas.microsoft.com/office/drawing/2014/main" id="{00304E88-6950-4603-9591-956BCF1020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32" y="1821"/>
                  <a:ext cx="147" cy="93"/>
                </a:xfrm>
                <a:custGeom>
                  <a:avLst/>
                  <a:gdLst>
                    <a:gd name="T0" fmla="*/ 60 w 62"/>
                    <a:gd name="T1" fmla="*/ 39 h 39"/>
                    <a:gd name="T2" fmla="*/ 59 w 62"/>
                    <a:gd name="T3" fmla="*/ 39 h 39"/>
                    <a:gd name="T4" fmla="*/ 1 w 62"/>
                    <a:gd name="T5" fmla="*/ 6 h 39"/>
                    <a:gd name="T6" fmla="*/ 0 w 62"/>
                    <a:gd name="T7" fmla="*/ 4 h 39"/>
                    <a:gd name="T8" fmla="*/ 1 w 62"/>
                    <a:gd name="T9" fmla="*/ 2 h 39"/>
                    <a:gd name="T10" fmla="*/ 4 w 62"/>
                    <a:gd name="T11" fmla="*/ 0 h 39"/>
                    <a:gd name="T12" fmla="*/ 6 w 62"/>
                    <a:gd name="T13" fmla="*/ 0 h 39"/>
                    <a:gd name="T14" fmla="*/ 30 w 62"/>
                    <a:gd name="T15" fmla="*/ 14 h 39"/>
                    <a:gd name="T16" fmla="*/ 31 w 62"/>
                    <a:gd name="T17" fmla="*/ 16 h 39"/>
                    <a:gd name="T18" fmla="*/ 31 w 62"/>
                    <a:gd name="T19" fmla="*/ 18 h 39"/>
                    <a:gd name="T20" fmla="*/ 61 w 62"/>
                    <a:gd name="T21" fmla="*/ 36 h 39"/>
                    <a:gd name="T22" fmla="*/ 62 w 62"/>
                    <a:gd name="T23" fmla="*/ 37 h 39"/>
                    <a:gd name="T24" fmla="*/ 61 w 62"/>
                    <a:gd name="T25" fmla="*/ 39 h 39"/>
                    <a:gd name="T26" fmla="*/ 60 w 62"/>
                    <a:gd name="T27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2" h="39">
                      <a:moveTo>
                        <a:pt x="60" y="39"/>
                      </a:moveTo>
                      <a:cubicBezTo>
                        <a:pt x="60" y="39"/>
                        <a:pt x="59" y="39"/>
                        <a:pt x="59" y="39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0"/>
                        <a:pt x="6" y="0"/>
                        <a:pt x="6" y="0"/>
                      </a:cubicBezTo>
                      <a:cubicBezTo>
                        <a:pt x="30" y="14"/>
                        <a:pt x="30" y="14"/>
                        <a:pt x="30" y="14"/>
                      </a:cubicBezTo>
                      <a:cubicBezTo>
                        <a:pt x="31" y="14"/>
                        <a:pt x="31" y="15"/>
                        <a:pt x="31" y="16"/>
                      </a:cubicBezTo>
                      <a:cubicBezTo>
                        <a:pt x="31" y="18"/>
                        <a:pt x="31" y="18"/>
                        <a:pt x="31" y="18"/>
                      </a:cubicBezTo>
                      <a:cubicBezTo>
                        <a:pt x="61" y="36"/>
                        <a:pt x="61" y="36"/>
                        <a:pt x="61" y="36"/>
                      </a:cubicBezTo>
                      <a:cubicBezTo>
                        <a:pt x="62" y="36"/>
                        <a:pt x="62" y="37"/>
                        <a:pt x="62" y="37"/>
                      </a:cubicBezTo>
                      <a:cubicBezTo>
                        <a:pt x="62" y="38"/>
                        <a:pt x="62" y="39"/>
                        <a:pt x="61" y="39"/>
                      </a:cubicBezTo>
                      <a:cubicBezTo>
                        <a:pt x="61" y="39"/>
                        <a:pt x="60" y="39"/>
                        <a:pt x="60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7" name="Freeform 679">
                  <a:extLst>
                    <a:ext uri="{FF2B5EF4-FFF2-40B4-BE49-F238E27FC236}">
                      <a16:creationId xmlns:a16="http://schemas.microsoft.com/office/drawing/2014/main" id="{4AFAB1C4-8D87-4576-8712-DBF5D36142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01" y="1857"/>
                  <a:ext cx="85" cy="54"/>
                </a:xfrm>
                <a:custGeom>
                  <a:avLst/>
                  <a:gdLst>
                    <a:gd name="T0" fmla="*/ 33 w 36"/>
                    <a:gd name="T1" fmla="*/ 23 h 23"/>
                    <a:gd name="T2" fmla="*/ 32 w 36"/>
                    <a:gd name="T3" fmla="*/ 23 h 23"/>
                    <a:gd name="T4" fmla="*/ 1 w 36"/>
                    <a:gd name="T5" fmla="*/ 5 h 23"/>
                    <a:gd name="T6" fmla="*/ 0 w 36"/>
                    <a:gd name="T7" fmla="*/ 3 h 23"/>
                    <a:gd name="T8" fmla="*/ 0 w 36"/>
                    <a:gd name="T9" fmla="*/ 2 h 23"/>
                    <a:gd name="T10" fmla="*/ 1 w 36"/>
                    <a:gd name="T11" fmla="*/ 0 h 23"/>
                    <a:gd name="T12" fmla="*/ 3 w 36"/>
                    <a:gd name="T13" fmla="*/ 0 h 23"/>
                    <a:gd name="T14" fmla="*/ 35 w 36"/>
                    <a:gd name="T15" fmla="*/ 19 h 23"/>
                    <a:gd name="T16" fmla="*/ 36 w 36"/>
                    <a:gd name="T17" fmla="*/ 20 h 23"/>
                    <a:gd name="T18" fmla="*/ 35 w 36"/>
                    <a:gd name="T19" fmla="*/ 22 h 23"/>
                    <a:gd name="T20" fmla="*/ 34 w 36"/>
                    <a:gd name="T21" fmla="*/ 23 h 23"/>
                    <a:gd name="T22" fmla="*/ 33 w 36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23">
                      <a:moveTo>
                        <a:pt x="33" y="23"/>
                      </a:moveTo>
                      <a:cubicBezTo>
                        <a:pt x="32" y="23"/>
                        <a:pt x="32" y="23"/>
                        <a:pt x="32" y="23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5" y="19"/>
                        <a:pt x="35" y="19"/>
                        <a:pt x="35" y="19"/>
                      </a:cubicBezTo>
                      <a:cubicBezTo>
                        <a:pt x="36" y="19"/>
                        <a:pt x="36" y="20"/>
                        <a:pt x="36" y="20"/>
                      </a:cubicBezTo>
                      <a:cubicBezTo>
                        <a:pt x="36" y="21"/>
                        <a:pt x="36" y="22"/>
                        <a:pt x="35" y="22"/>
                      </a:cubicBezTo>
                      <a:cubicBezTo>
                        <a:pt x="34" y="23"/>
                        <a:pt x="34" y="23"/>
                        <a:pt x="34" y="23"/>
                      </a:cubicBezTo>
                      <a:cubicBezTo>
                        <a:pt x="33" y="23"/>
                        <a:pt x="33" y="23"/>
                        <a:pt x="33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8" name="Freeform 680">
                  <a:extLst>
                    <a:ext uri="{FF2B5EF4-FFF2-40B4-BE49-F238E27FC236}">
                      <a16:creationId xmlns:a16="http://schemas.microsoft.com/office/drawing/2014/main" id="{47E610C8-0C4F-455C-BD2B-A21AA1D6E44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1736"/>
                  <a:ext cx="94" cy="173"/>
                </a:xfrm>
                <a:custGeom>
                  <a:avLst/>
                  <a:gdLst>
                    <a:gd name="T0" fmla="*/ 36 w 40"/>
                    <a:gd name="T1" fmla="*/ 73 h 73"/>
                    <a:gd name="T2" fmla="*/ 35 w 40"/>
                    <a:gd name="T3" fmla="*/ 72 h 73"/>
                    <a:gd name="T4" fmla="*/ 1 w 40"/>
                    <a:gd name="T5" fmla="*/ 53 h 73"/>
                    <a:gd name="T6" fmla="*/ 0 w 40"/>
                    <a:gd name="T7" fmla="*/ 51 h 73"/>
                    <a:gd name="T8" fmla="*/ 0 w 40"/>
                    <a:gd name="T9" fmla="*/ 18 h 73"/>
                    <a:gd name="T10" fmla="*/ 1 w 40"/>
                    <a:gd name="T11" fmla="*/ 16 h 73"/>
                    <a:gd name="T12" fmla="*/ 28 w 40"/>
                    <a:gd name="T13" fmla="*/ 0 h 73"/>
                    <a:gd name="T14" fmla="*/ 30 w 40"/>
                    <a:gd name="T15" fmla="*/ 0 h 73"/>
                    <a:gd name="T16" fmla="*/ 39 w 40"/>
                    <a:gd name="T17" fmla="*/ 5 h 73"/>
                    <a:gd name="T18" fmla="*/ 40 w 40"/>
                    <a:gd name="T19" fmla="*/ 7 h 73"/>
                    <a:gd name="T20" fmla="*/ 40 w 40"/>
                    <a:gd name="T21" fmla="*/ 69 h 73"/>
                    <a:gd name="T22" fmla="*/ 39 w 40"/>
                    <a:gd name="T23" fmla="*/ 71 h 73"/>
                    <a:gd name="T24" fmla="*/ 37 w 40"/>
                    <a:gd name="T25" fmla="*/ 72 h 73"/>
                    <a:gd name="T26" fmla="*/ 36 w 40"/>
                    <a:gd name="T27" fmla="*/ 73 h 73"/>
                    <a:gd name="T28" fmla="*/ 4 w 40"/>
                    <a:gd name="T29" fmla="*/ 50 h 73"/>
                    <a:gd name="T30" fmla="*/ 36 w 40"/>
                    <a:gd name="T31" fmla="*/ 68 h 73"/>
                    <a:gd name="T32" fmla="*/ 36 w 40"/>
                    <a:gd name="T33" fmla="*/ 68 h 73"/>
                    <a:gd name="T34" fmla="*/ 36 w 40"/>
                    <a:gd name="T35" fmla="*/ 8 h 73"/>
                    <a:gd name="T36" fmla="*/ 29 w 40"/>
                    <a:gd name="T37" fmla="*/ 4 h 73"/>
                    <a:gd name="T38" fmla="*/ 4 w 40"/>
                    <a:gd name="T39" fmla="*/ 19 h 73"/>
                    <a:gd name="T40" fmla="*/ 4 w 40"/>
                    <a:gd name="T41" fmla="*/ 5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0" h="73">
                      <a:moveTo>
                        <a:pt x="36" y="73"/>
                      </a:moveTo>
                      <a:cubicBezTo>
                        <a:pt x="36" y="73"/>
                        <a:pt x="35" y="72"/>
                        <a:pt x="35" y="72"/>
                      </a:cubicBez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0" y="52"/>
                        <a:pt x="0" y="52"/>
                        <a:pt x="0" y="51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7"/>
                        <a:pt x="0" y="16"/>
                        <a:pt x="1" y="16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0"/>
                        <a:pt x="29" y="0"/>
                        <a:pt x="30" y="0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40" y="6"/>
                        <a:pt x="40" y="6"/>
                        <a:pt x="40" y="7"/>
                      </a:cubicBezTo>
                      <a:cubicBezTo>
                        <a:pt x="40" y="69"/>
                        <a:pt x="40" y="69"/>
                        <a:pt x="40" y="69"/>
                      </a:cubicBezTo>
                      <a:cubicBezTo>
                        <a:pt x="40" y="70"/>
                        <a:pt x="40" y="71"/>
                        <a:pt x="39" y="71"/>
                      </a:cubicBezTo>
                      <a:cubicBezTo>
                        <a:pt x="37" y="72"/>
                        <a:pt x="37" y="72"/>
                        <a:pt x="37" y="72"/>
                      </a:cubicBezTo>
                      <a:cubicBezTo>
                        <a:pt x="37" y="72"/>
                        <a:pt x="36" y="73"/>
                        <a:pt x="36" y="73"/>
                      </a:cubicBezTo>
                      <a:close/>
                      <a:moveTo>
                        <a:pt x="4" y="50"/>
                      </a:moveTo>
                      <a:cubicBezTo>
                        <a:pt x="36" y="68"/>
                        <a:pt x="36" y="68"/>
                        <a:pt x="36" y="68"/>
                      </a:cubicBezTo>
                      <a:cubicBezTo>
                        <a:pt x="36" y="68"/>
                        <a:pt x="36" y="68"/>
                        <a:pt x="36" y="68"/>
                      </a:cubicBezTo>
                      <a:cubicBezTo>
                        <a:pt x="36" y="8"/>
                        <a:pt x="36" y="8"/>
                        <a:pt x="36" y="8"/>
                      </a:cubicBezTo>
                      <a:cubicBezTo>
                        <a:pt x="29" y="4"/>
                        <a:pt x="29" y="4"/>
                        <a:pt x="29" y="4"/>
                      </a:cubicBezTo>
                      <a:cubicBezTo>
                        <a:pt x="4" y="19"/>
                        <a:pt x="4" y="19"/>
                        <a:pt x="4" y="19"/>
                      </a:cubicBezTo>
                      <a:lnTo>
                        <a:pt x="4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9" name="Freeform 681">
                  <a:extLst>
                    <a:ext uri="{FF2B5EF4-FFF2-40B4-BE49-F238E27FC236}">
                      <a16:creationId xmlns:a16="http://schemas.microsoft.com/office/drawing/2014/main" id="{CFD3A8B7-E4DF-4212-8A15-0E6BB37BBAA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1699"/>
                  <a:ext cx="68" cy="80"/>
                </a:xfrm>
                <a:custGeom>
                  <a:avLst/>
                  <a:gdLst>
                    <a:gd name="T0" fmla="*/ 2 w 29"/>
                    <a:gd name="T1" fmla="*/ 34 h 34"/>
                    <a:gd name="T2" fmla="*/ 1 w 29"/>
                    <a:gd name="T3" fmla="*/ 34 h 34"/>
                    <a:gd name="T4" fmla="*/ 0 w 29"/>
                    <a:gd name="T5" fmla="*/ 32 h 34"/>
                    <a:gd name="T6" fmla="*/ 0 w 29"/>
                    <a:gd name="T7" fmla="*/ 2 h 34"/>
                    <a:gd name="T8" fmla="*/ 1 w 29"/>
                    <a:gd name="T9" fmla="*/ 1 h 34"/>
                    <a:gd name="T10" fmla="*/ 3 w 29"/>
                    <a:gd name="T11" fmla="*/ 1 h 34"/>
                    <a:gd name="T12" fmla="*/ 28 w 29"/>
                    <a:gd name="T13" fmla="*/ 15 h 34"/>
                    <a:gd name="T14" fmla="*/ 29 w 29"/>
                    <a:gd name="T15" fmla="*/ 17 h 34"/>
                    <a:gd name="T16" fmla="*/ 28 w 29"/>
                    <a:gd name="T17" fmla="*/ 19 h 34"/>
                    <a:gd name="T18" fmla="*/ 3 w 29"/>
                    <a:gd name="T19" fmla="*/ 34 h 34"/>
                    <a:gd name="T20" fmla="*/ 2 w 29"/>
                    <a:gd name="T21" fmla="*/ 34 h 34"/>
                    <a:gd name="T22" fmla="*/ 4 w 29"/>
                    <a:gd name="T23" fmla="*/ 6 h 34"/>
                    <a:gd name="T24" fmla="*/ 4 w 29"/>
                    <a:gd name="T25" fmla="*/ 28 h 34"/>
                    <a:gd name="T26" fmla="*/ 23 w 29"/>
                    <a:gd name="T27" fmla="*/ 17 h 34"/>
                    <a:gd name="T28" fmla="*/ 4 w 29"/>
                    <a:gd name="T29" fmla="*/ 6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34">
                      <a:moveTo>
                        <a:pt x="2" y="34"/>
                      </a:move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3"/>
                        <a:pt x="0" y="33"/>
                        <a:pt x="0" y="3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9" y="16"/>
                        <a:pt x="29" y="16"/>
                        <a:pt x="29" y="17"/>
                      </a:cubicBezTo>
                      <a:cubicBezTo>
                        <a:pt x="29" y="18"/>
                        <a:pt x="29" y="18"/>
                        <a:pt x="28" y="19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3" y="34"/>
                        <a:pt x="2" y="34"/>
                        <a:pt x="2" y="34"/>
                      </a:cubicBezTo>
                      <a:close/>
                      <a:moveTo>
                        <a:pt x="4" y="6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0" name="Freeform 682">
                  <a:extLst>
                    <a:ext uri="{FF2B5EF4-FFF2-40B4-BE49-F238E27FC236}">
                      <a16:creationId xmlns:a16="http://schemas.microsoft.com/office/drawing/2014/main" id="{E12504C7-B2C5-416A-8D63-34C9C44493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69" y="1734"/>
                  <a:ext cx="26" cy="19"/>
                </a:xfrm>
                <a:custGeom>
                  <a:avLst/>
                  <a:gdLst>
                    <a:gd name="T0" fmla="*/ 9 w 11"/>
                    <a:gd name="T1" fmla="*/ 8 h 8"/>
                    <a:gd name="T2" fmla="*/ 8 w 11"/>
                    <a:gd name="T3" fmla="*/ 8 h 8"/>
                    <a:gd name="T4" fmla="*/ 1 w 11"/>
                    <a:gd name="T5" fmla="*/ 4 h 8"/>
                    <a:gd name="T6" fmla="*/ 0 w 11"/>
                    <a:gd name="T7" fmla="*/ 2 h 8"/>
                    <a:gd name="T8" fmla="*/ 1 w 11"/>
                    <a:gd name="T9" fmla="*/ 0 h 8"/>
                    <a:gd name="T10" fmla="*/ 1 w 11"/>
                    <a:gd name="T11" fmla="*/ 0 h 8"/>
                    <a:gd name="T12" fmla="*/ 3 w 11"/>
                    <a:gd name="T13" fmla="*/ 0 h 8"/>
                    <a:gd name="T14" fmla="*/ 10 w 11"/>
                    <a:gd name="T15" fmla="*/ 4 h 8"/>
                    <a:gd name="T16" fmla="*/ 11 w 11"/>
                    <a:gd name="T17" fmla="*/ 6 h 8"/>
                    <a:gd name="T18" fmla="*/ 11 w 11"/>
                    <a:gd name="T19" fmla="*/ 6 h 8"/>
                    <a:gd name="T20" fmla="*/ 10 w 11"/>
                    <a:gd name="T21" fmla="*/ 8 h 8"/>
                    <a:gd name="T22" fmla="*/ 9 w 11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8">
                      <a:moveTo>
                        <a:pt x="9" y="8"/>
                      </a:moveTo>
                      <a:cubicBezTo>
                        <a:pt x="9" y="8"/>
                        <a:pt x="8" y="8"/>
                        <a:pt x="8" y="8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3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4"/>
                        <a:pt x="11" y="5"/>
                        <a:pt x="11" y="6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1" y="7"/>
                        <a:pt x="11" y="8"/>
                        <a:pt x="10" y="8"/>
                      </a:cubicBezTo>
                      <a:cubicBezTo>
                        <a:pt x="10" y="8"/>
                        <a:pt x="9" y="8"/>
                        <a:pt x="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1" name="Freeform 683">
                  <a:extLst>
                    <a:ext uri="{FF2B5EF4-FFF2-40B4-BE49-F238E27FC236}">
                      <a16:creationId xmlns:a16="http://schemas.microsoft.com/office/drawing/2014/main" id="{FB9F56EC-5CA7-46CD-A79E-09D4357704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2013"/>
                  <a:ext cx="133" cy="234"/>
                </a:xfrm>
                <a:custGeom>
                  <a:avLst/>
                  <a:gdLst>
                    <a:gd name="T0" fmla="*/ 28 w 56"/>
                    <a:gd name="T1" fmla="*/ 99 h 99"/>
                    <a:gd name="T2" fmla="*/ 27 w 56"/>
                    <a:gd name="T3" fmla="*/ 98 h 99"/>
                    <a:gd name="T4" fmla="*/ 1 w 56"/>
                    <a:gd name="T5" fmla="*/ 83 h 99"/>
                    <a:gd name="T6" fmla="*/ 0 w 56"/>
                    <a:gd name="T7" fmla="*/ 82 h 99"/>
                    <a:gd name="T8" fmla="*/ 0 w 56"/>
                    <a:gd name="T9" fmla="*/ 32 h 99"/>
                    <a:gd name="T10" fmla="*/ 1 w 56"/>
                    <a:gd name="T11" fmla="*/ 30 h 99"/>
                    <a:gd name="T12" fmla="*/ 53 w 56"/>
                    <a:gd name="T13" fmla="*/ 1 h 99"/>
                    <a:gd name="T14" fmla="*/ 55 w 56"/>
                    <a:gd name="T15" fmla="*/ 1 h 99"/>
                    <a:gd name="T16" fmla="*/ 56 w 56"/>
                    <a:gd name="T17" fmla="*/ 2 h 99"/>
                    <a:gd name="T18" fmla="*/ 56 w 56"/>
                    <a:gd name="T19" fmla="*/ 82 h 99"/>
                    <a:gd name="T20" fmla="*/ 55 w 56"/>
                    <a:gd name="T21" fmla="*/ 83 h 99"/>
                    <a:gd name="T22" fmla="*/ 29 w 56"/>
                    <a:gd name="T23" fmla="*/ 98 h 99"/>
                    <a:gd name="T24" fmla="*/ 28 w 56"/>
                    <a:gd name="T25" fmla="*/ 99 h 99"/>
                    <a:gd name="T26" fmla="*/ 4 w 56"/>
                    <a:gd name="T27" fmla="*/ 80 h 99"/>
                    <a:gd name="T28" fmla="*/ 28 w 56"/>
                    <a:gd name="T29" fmla="*/ 94 h 99"/>
                    <a:gd name="T30" fmla="*/ 52 w 56"/>
                    <a:gd name="T31" fmla="*/ 80 h 99"/>
                    <a:gd name="T32" fmla="*/ 52 w 56"/>
                    <a:gd name="T33" fmla="*/ 6 h 99"/>
                    <a:gd name="T34" fmla="*/ 4 w 56"/>
                    <a:gd name="T35" fmla="*/ 33 h 99"/>
                    <a:gd name="T36" fmla="*/ 4 w 56"/>
                    <a:gd name="T37" fmla="*/ 80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6" h="99">
                      <a:moveTo>
                        <a:pt x="28" y="99"/>
                      </a:moveTo>
                      <a:cubicBezTo>
                        <a:pt x="28" y="99"/>
                        <a:pt x="28" y="98"/>
                        <a:pt x="27" y="98"/>
                      </a:cubicBezTo>
                      <a:cubicBezTo>
                        <a:pt x="1" y="83"/>
                        <a:pt x="1" y="83"/>
                        <a:pt x="1" y="83"/>
                      </a:cubicBezTo>
                      <a:cubicBezTo>
                        <a:pt x="1" y="83"/>
                        <a:pt x="0" y="82"/>
                        <a:pt x="0" y="8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1" y="31"/>
                        <a:pt x="1" y="30"/>
                      </a:cubicBezTo>
                      <a:cubicBezTo>
                        <a:pt x="53" y="1"/>
                        <a:pt x="53" y="1"/>
                        <a:pt x="53" y="1"/>
                      </a:cubicBezTo>
                      <a:cubicBezTo>
                        <a:pt x="54" y="0"/>
                        <a:pt x="54" y="0"/>
                        <a:pt x="55" y="1"/>
                      </a:cubicBezTo>
                      <a:cubicBezTo>
                        <a:pt x="56" y="1"/>
                        <a:pt x="56" y="2"/>
                        <a:pt x="56" y="2"/>
                      </a:cubicBezTo>
                      <a:cubicBezTo>
                        <a:pt x="56" y="82"/>
                        <a:pt x="56" y="82"/>
                        <a:pt x="56" y="82"/>
                      </a:cubicBezTo>
                      <a:cubicBezTo>
                        <a:pt x="56" y="82"/>
                        <a:pt x="56" y="83"/>
                        <a:pt x="55" y="83"/>
                      </a:cubicBezTo>
                      <a:cubicBezTo>
                        <a:pt x="29" y="98"/>
                        <a:pt x="29" y="98"/>
                        <a:pt x="29" y="98"/>
                      </a:cubicBezTo>
                      <a:cubicBezTo>
                        <a:pt x="29" y="98"/>
                        <a:pt x="29" y="99"/>
                        <a:pt x="28" y="99"/>
                      </a:cubicBezTo>
                      <a:close/>
                      <a:moveTo>
                        <a:pt x="4" y="80"/>
                      </a:moveTo>
                      <a:cubicBezTo>
                        <a:pt x="28" y="94"/>
                        <a:pt x="28" y="94"/>
                        <a:pt x="28" y="94"/>
                      </a:cubicBezTo>
                      <a:cubicBezTo>
                        <a:pt x="52" y="80"/>
                        <a:pt x="52" y="80"/>
                        <a:pt x="52" y="80"/>
                      </a:cubicBezTo>
                      <a:cubicBezTo>
                        <a:pt x="52" y="6"/>
                        <a:pt x="52" y="6"/>
                        <a:pt x="52" y="6"/>
                      </a:cubicBezTo>
                      <a:cubicBezTo>
                        <a:pt x="4" y="33"/>
                        <a:pt x="4" y="33"/>
                        <a:pt x="4" y="33"/>
                      </a:cubicBezTo>
                      <a:lnTo>
                        <a:pt x="4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2" name="Freeform 684">
                  <a:extLst>
                    <a:ext uri="{FF2B5EF4-FFF2-40B4-BE49-F238E27FC236}">
                      <a16:creationId xmlns:a16="http://schemas.microsoft.com/office/drawing/2014/main" id="{F138C616-9B67-487B-92EF-C1FABE9B5E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24" y="2204"/>
                  <a:ext cx="66" cy="76"/>
                </a:xfrm>
                <a:custGeom>
                  <a:avLst/>
                  <a:gdLst>
                    <a:gd name="T0" fmla="*/ 26 w 28"/>
                    <a:gd name="T1" fmla="*/ 32 h 32"/>
                    <a:gd name="T2" fmla="*/ 25 w 28"/>
                    <a:gd name="T3" fmla="*/ 32 h 32"/>
                    <a:gd name="T4" fmla="*/ 1 w 28"/>
                    <a:gd name="T5" fmla="*/ 18 h 32"/>
                    <a:gd name="T6" fmla="*/ 0 w 28"/>
                    <a:gd name="T7" fmla="*/ 16 h 32"/>
                    <a:gd name="T8" fmla="*/ 1 w 28"/>
                    <a:gd name="T9" fmla="*/ 15 h 32"/>
                    <a:gd name="T10" fmla="*/ 25 w 28"/>
                    <a:gd name="T11" fmla="*/ 1 h 32"/>
                    <a:gd name="T12" fmla="*/ 27 w 28"/>
                    <a:gd name="T13" fmla="*/ 1 h 32"/>
                    <a:gd name="T14" fmla="*/ 28 w 28"/>
                    <a:gd name="T15" fmla="*/ 2 h 32"/>
                    <a:gd name="T16" fmla="*/ 28 w 28"/>
                    <a:gd name="T17" fmla="*/ 30 h 32"/>
                    <a:gd name="T18" fmla="*/ 27 w 28"/>
                    <a:gd name="T19" fmla="*/ 32 h 32"/>
                    <a:gd name="T20" fmla="*/ 26 w 28"/>
                    <a:gd name="T21" fmla="*/ 32 h 32"/>
                    <a:gd name="T22" fmla="*/ 6 w 28"/>
                    <a:gd name="T23" fmla="*/ 16 h 32"/>
                    <a:gd name="T24" fmla="*/ 24 w 28"/>
                    <a:gd name="T25" fmla="*/ 27 h 32"/>
                    <a:gd name="T26" fmla="*/ 24 w 28"/>
                    <a:gd name="T27" fmla="*/ 6 h 32"/>
                    <a:gd name="T28" fmla="*/ 6 w 28"/>
                    <a:gd name="T29" fmla="*/ 1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" h="32">
                      <a:moveTo>
                        <a:pt x="26" y="32"/>
                      </a:moveTo>
                      <a:cubicBezTo>
                        <a:pt x="26" y="32"/>
                        <a:pt x="25" y="32"/>
                        <a:pt x="25" y="32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6"/>
                      </a:cubicBezTo>
                      <a:cubicBezTo>
                        <a:pt x="0" y="16"/>
                        <a:pt x="0" y="15"/>
                        <a:pt x="1" y="15"/>
                      </a:cubicBezTo>
                      <a:cubicBezTo>
                        <a:pt x="25" y="1"/>
                        <a:pt x="25" y="1"/>
                        <a:pt x="25" y="1"/>
                      </a:cubicBezTo>
                      <a:cubicBezTo>
                        <a:pt x="26" y="0"/>
                        <a:pt x="26" y="0"/>
                        <a:pt x="27" y="1"/>
                      </a:cubicBezTo>
                      <a:cubicBezTo>
                        <a:pt x="28" y="1"/>
                        <a:pt x="28" y="2"/>
                        <a:pt x="28" y="2"/>
                      </a:cubicBezTo>
                      <a:cubicBezTo>
                        <a:pt x="28" y="30"/>
                        <a:pt x="28" y="30"/>
                        <a:pt x="28" y="30"/>
                      </a:cubicBezTo>
                      <a:cubicBezTo>
                        <a:pt x="28" y="31"/>
                        <a:pt x="28" y="32"/>
                        <a:pt x="27" y="32"/>
                      </a:cubicBezTo>
                      <a:cubicBezTo>
                        <a:pt x="27" y="32"/>
                        <a:pt x="26" y="32"/>
                        <a:pt x="26" y="32"/>
                      </a:cubicBezTo>
                      <a:close/>
                      <a:moveTo>
                        <a:pt x="6" y="16"/>
                      </a:move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6"/>
                        <a:pt x="24" y="6"/>
                        <a:pt x="24" y="6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3" name="Freeform 685">
                  <a:extLst>
                    <a:ext uri="{FF2B5EF4-FFF2-40B4-BE49-F238E27FC236}">
                      <a16:creationId xmlns:a16="http://schemas.microsoft.com/office/drawing/2014/main" id="{58CDF7FD-9691-4C19-8575-A1AD7F7A456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38" y="2277"/>
                  <a:ext cx="52" cy="62"/>
                </a:xfrm>
                <a:custGeom>
                  <a:avLst/>
                  <a:gdLst>
                    <a:gd name="T0" fmla="*/ 20 w 22"/>
                    <a:gd name="T1" fmla="*/ 26 h 26"/>
                    <a:gd name="T2" fmla="*/ 19 w 22"/>
                    <a:gd name="T3" fmla="*/ 25 h 26"/>
                    <a:gd name="T4" fmla="*/ 1 w 22"/>
                    <a:gd name="T5" fmla="*/ 15 h 26"/>
                    <a:gd name="T6" fmla="*/ 0 w 22"/>
                    <a:gd name="T7" fmla="*/ 13 h 26"/>
                    <a:gd name="T8" fmla="*/ 1 w 22"/>
                    <a:gd name="T9" fmla="*/ 11 h 26"/>
                    <a:gd name="T10" fmla="*/ 19 w 22"/>
                    <a:gd name="T11" fmla="*/ 1 h 26"/>
                    <a:gd name="T12" fmla="*/ 21 w 22"/>
                    <a:gd name="T13" fmla="*/ 1 h 26"/>
                    <a:gd name="T14" fmla="*/ 22 w 22"/>
                    <a:gd name="T15" fmla="*/ 2 h 26"/>
                    <a:gd name="T16" fmla="*/ 22 w 22"/>
                    <a:gd name="T17" fmla="*/ 24 h 26"/>
                    <a:gd name="T18" fmla="*/ 21 w 22"/>
                    <a:gd name="T19" fmla="*/ 25 h 26"/>
                    <a:gd name="T20" fmla="*/ 20 w 22"/>
                    <a:gd name="T21" fmla="*/ 26 h 26"/>
                    <a:gd name="T22" fmla="*/ 6 w 22"/>
                    <a:gd name="T23" fmla="*/ 13 h 26"/>
                    <a:gd name="T24" fmla="*/ 18 w 22"/>
                    <a:gd name="T25" fmla="*/ 20 h 26"/>
                    <a:gd name="T26" fmla="*/ 18 w 22"/>
                    <a:gd name="T27" fmla="*/ 6 h 26"/>
                    <a:gd name="T28" fmla="*/ 6 w 22"/>
                    <a:gd name="T29" fmla="*/ 1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" h="26">
                      <a:moveTo>
                        <a:pt x="20" y="26"/>
                      </a:moveTo>
                      <a:cubicBezTo>
                        <a:pt x="20" y="26"/>
                        <a:pt x="19" y="25"/>
                        <a:pt x="19" y="25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0" y="14"/>
                        <a:pt x="0" y="14"/>
                        <a:pt x="0" y="13"/>
                      </a:cubicBezTo>
                      <a:cubicBezTo>
                        <a:pt x="0" y="12"/>
                        <a:pt x="0" y="12"/>
                        <a:pt x="1" y="11"/>
                      </a:cubicBezTo>
                      <a:cubicBezTo>
                        <a:pt x="19" y="1"/>
                        <a:pt x="19" y="1"/>
                        <a:pt x="19" y="1"/>
                      </a:cubicBezTo>
                      <a:cubicBezTo>
                        <a:pt x="20" y="0"/>
                        <a:pt x="20" y="0"/>
                        <a:pt x="21" y="1"/>
                      </a:cubicBezTo>
                      <a:cubicBezTo>
                        <a:pt x="22" y="1"/>
                        <a:pt x="22" y="2"/>
                        <a:pt x="22" y="2"/>
                      </a:cubicBezTo>
                      <a:cubicBezTo>
                        <a:pt x="22" y="24"/>
                        <a:pt x="22" y="24"/>
                        <a:pt x="22" y="24"/>
                      </a:cubicBezTo>
                      <a:cubicBezTo>
                        <a:pt x="22" y="24"/>
                        <a:pt x="22" y="25"/>
                        <a:pt x="21" y="25"/>
                      </a:cubicBezTo>
                      <a:cubicBezTo>
                        <a:pt x="21" y="25"/>
                        <a:pt x="20" y="26"/>
                        <a:pt x="20" y="26"/>
                      </a:cubicBezTo>
                      <a:close/>
                      <a:moveTo>
                        <a:pt x="6" y="13"/>
                      </a:moveTo>
                      <a:cubicBezTo>
                        <a:pt x="18" y="20"/>
                        <a:pt x="18" y="20"/>
                        <a:pt x="18" y="20"/>
                      </a:cubicBezTo>
                      <a:cubicBezTo>
                        <a:pt x="18" y="6"/>
                        <a:pt x="18" y="6"/>
                        <a:pt x="18" y="6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4" name="Freeform 686">
                  <a:extLst>
                    <a:ext uri="{FF2B5EF4-FFF2-40B4-BE49-F238E27FC236}">
                      <a16:creationId xmlns:a16="http://schemas.microsoft.com/office/drawing/2014/main" id="{5F42D943-AD01-4A0A-B83C-CCFE19A052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16" y="1947"/>
                  <a:ext cx="34" cy="37"/>
                </a:xfrm>
                <a:custGeom>
                  <a:avLst/>
                  <a:gdLst>
                    <a:gd name="T0" fmla="*/ 12 w 14"/>
                    <a:gd name="T1" fmla="*/ 16 h 16"/>
                    <a:gd name="T2" fmla="*/ 11 w 14"/>
                    <a:gd name="T3" fmla="*/ 16 h 16"/>
                    <a:gd name="T4" fmla="*/ 1 w 14"/>
                    <a:gd name="T5" fmla="*/ 10 h 16"/>
                    <a:gd name="T6" fmla="*/ 0 w 14"/>
                    <a:gd name="T7" fmla="*/ 8 h 16"/>
                    <a:gd name="T8" fmla="*/ 1 w 14"/>
                    <a:gd name="T9" fmla="*/ 6 h 16"/>
                    <a:gd name="T10" fmla="*/ 11 w 14"/>
                    <a:gd name="T11" fmla="*/ 1 h 16"/>
                    <a:gd name="T12" fmla="*/ 13 w 14"/>
                    <a:gd name="T13" fmla="*/ 1 h 16"/>
                    <a:gd name="T14" fmla="*/ 14 w 14"/>
                    <a:gd name="T15" fmla="*/ 2 h 16"/>
                    <a:gd name="T16" fmla="*/ 14 w 14"/>
                    <a:gd name="T17" fmla="*/ 14 h 16"/>
                    <a:gd name="T18" fmla="*/ 13 w 14"/>
                    <a:gd name="T19" fmla="*/ 16 h 16"/>
                    <a:gd name="T20" fmla="*/ 12 w 14"/>
                    <a:gd name="T21" fmla="*/ 16 h 16"/>
                    <a:gd name="T22" fmla="*/ 6 w 14"/>
                    <a:gd name="T23" fmla="*/ 8 h 16"/>
                    <a:gd name="T24" fmla="*/ 10 w 14"/>
                    <a:gd name="T25" fmla="*/ 11 h 16"/>
                    <a:gd name="T26" fmla="*/ 10 w 14"/>
                    <a:gd name="T27" fmla="*/ 6 h 16"/>
                    <a:gd name="T28" fmla="*/ 6 w 14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6">
                      <a:moveTo>
                        <a:pt x="12" y="16"/>
                      </a:move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8"/>
                        <a:pt x="0" y="7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13" y="1"/>
                        <a:pt x="14" y="2"/>
                        <a:pt x="14" y="2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4" y="15"/>
                        <a:pt x="13" y="16"/>
                        <a:pt x="13" y="16"/>
                      </a:cubicBezTo>
                      <a:cubicBezTo>
                        <a:pt x="13" y="16"/>
                        <a:pt x="12" y="16"/>
                        <a:pt x="12" y="16"/>
                      </a:cubicBezTo>
                      <a:close/>
                      <a:moveTo>
                        <a:pt x="6" y="8"/>
                      </a:move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5" name="Freeform 687">
                  <a:extLst>
                    <a:ext uri="{FF2B5EF4-FFF2-40B4-BE49-F238E27FC236}">
                      <a16:creationId xmlns:a16="http://schemas.microsoft.com/office/drawing/2014/main" id="{7D3F8C59-172C-4A06-9392-3CF1BB1B90D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00" y="1826"/>
                  <a:ext cx="274" cy="267"/>
                </a:xfrm>
                <a:custGeom>
                  <a:avLst/>
                  <a:gdLst>
                    <a:gd name="T0" fmla="*/ 114 w 116"/>
                    <a:gd name="T1" fmla="*/ 113 h 113"/>
                    <a:gd name="T2" fmla="*/ 113 w 116"/>
                    <a:gd name="T3" fmla="*/ 112 h 113"/>
                    <a:gd name="T4" fmla="*/ 48 w 116"/>
                    <a:gd name="T5" fmla="*/ 75 h 113"/>
                    <a:gd name="T6" fmla="*/ 39 w 116"/>
                    <a:gd name="T7" fmla="*/ 80 h 113"/>
                    <a:gd name="T8" fmla="*/ 37 w 116"/>
                    <a:gd name="T9" fmla="*/ 80 h 113"/>
                    <a:gd name="T10" fmla="*/ 36 w 116"/>
                    <a:gd name="T11" fmla="*/ 78 h 113"/>
                    <a:gd name="T12" fmla="*/ 36 w 116"/>
                    <a:gd name="T13" fmla="*/ 53 h 113"/>
                    <a:gd name="T14" fmla="*/ 1 w 116"/>
                    <a:gd name="T15" fmla="*/ 32 h 113"/>
                    <a:gd name="T16" fmla="*/ 0 w 116"/>
                    <a:gd name="T17" fmla="*/ 31 h 113"/>
                    <a:gd name="T18" fmla="*/ 1 w 116"/>
                    <a:gd name="T19" fmla="*/ 29 h 113"/>
                    <a:gd name="T20" fmla="*/ 50 w 116"/>
                    <a:gd name="T21" fmla="*/ 0 h 113"/>
                    <a:gd name="T22" fmla="*/ 52 w 116"/>
                    <a:gd name="T23" fmla="*/ 0 h 113"/>
                    <a:gd name="T24" fmla="*/ 112 w 116"/>
                    <a:gd name="T25" fmla="*/ 35 h 113"/>
                    <a:gd name="T26" fmla="*/ 113 w 116"/>
                    <a:gd name="T27" fmla="*/ 34 h 113"/>
                    <a:gd name="T28" fmla="*/ 115 w 116"/>
                    <a:gd name="T29" fmla="*/ 34 h 113"/>
                    <a:gd name="T30" fmla="*/ 116 w 116"/>
                    <a:gd name="T31" fmla="*/ 36 h 113"/>
                    <a:gd name="T32" fmla="*/ 116 w 116"/>
                    <a:gd name="T33" fmla="*/ 111 h 113"/>
                    <a:gd name="T34" fmla="*/ 115 w 116"/>
                    <a:gd name="T35" fmla="*/ 112 h 113"/>
                    <a:gd name="T36" fmla="*/ 114 w 116"/>
                    <a:gd name="T37" fmla="*/ 113 h 113"/>
                    <a:gd name="T38" fmla="*/ 48 w 116"/>
                    <a:gd name="T39" fmla="*/ 71 h 113"/>
                    <a:gd name="T40" fmla="*/ 49 w 116"/>
                    <a:gd name="T41" fmla="*/ 71 h 113"/>
                    <a:gd name="T42" fmla="*/ 112 w 116"/>
                    <a:gd name="T43" fmla="*/ 107 h 113"/>
                    <a:gd name="T44" fmla="*/ 112 w 116"/>
                    <a:gd name="T45" fmla="*/ 39 h 113"/>
                    <a:gd name="T46" fmla="*/ 111 w 116"/>
                    <a:gd name="T47" fmla="*/ 39 h 113"/>
                    <a:gd name="T48" fmla="*/ 51 w 116"/>
                    <a:gd name="T49" fmla="*/ 4 h 113"/>
                    <a:gd name="T50" fmla="*/ 6 w 116"/>
                    <a:gd name="T51" fmla="*/ 31 h 113"/>
                    <a:gd name="T52" fmla="*/ 39 w 116"/>
                    <a:gd name="T53" fmla="*/ 50 h 113"/>
                    <a:gd name="T54" fmla="*/ 40 w 116"/>
                    <a:gd name="T55" fmla="*/ 51 h 113"/>
                    <a:gd name="T56" fmla="*/ 40 w 116"/>
                    <a:gd name="T57" fmla="*/ 75 h 113"/>
                    <a:gd name="T58" fmla="*/ 47 w 116"/>
                    <a:gd name="T59" fmla="*/ 71 h 113"/>
                    <a:gd name="T60" fmla="*/ 48 w 116"/>
                    <a:gd name="T61" fmla="*/ 71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6" h="113">
                      <a:moveTo>
                        <a:pt x="114" y="113"/>
                      </a:moveTo>
                      <a:cubicBezTo>
                        <a:pt x="114" y="113"/>
                        <a:pt x="113" y="113"/>
                        <a:pt x="113" y="112"/>
                      </a:cubicBezTo>
                      <a:cubicBezTo>
                        <a:pt x="48" y="75"/>
                        <a:pt x="48" y="75"/>
                        <a:pt x="48" y="75"/>
                      </a:cubicBezTo>
                      <a:cubicBezTo>
                        <a:pt x="39" y="80"/>
                        <a:pt x="39" y="80"/>
                        <a:pt x="39" y="80"/>
                      </a:cubicBezTo>
                      <a:cubicBezTo>
                        <a:pt x="38" y="80"/>
                        <a:pt x="37" y="80"/>
                        <a:pt x="37" y="80"/>
                      </a:cubicBezTo>
                      <a:cubicBezTo>
                        <a:pt x="36" y="80"/>
                        <a:pt x="36" y="79"/>
                        <a:pt x="36" y="78"/>
                      </a:cubicBezTo>
                      <a:cubicBezTo>
                        <a:pt x="36" y="53"/>
                        <a:pt x="36" y="53"/>
                        <a:pt x="36" y="53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1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2" y="0"/>
                        <a:pt x="52" y="0"/>
                      </a:cubicBezTo>
                      <a:cubicBezTo>
                        <a:pt x="112" y="35"/>
                        <a:pt x="112" y="35"/>
                        <a:pt x="112" y="35"/>
                      </a:cubicBezTo>
                      <a:cubicBezTo>
                        <a:pt x="113" y="34"/>
                        <a:pt x="113" y="34"/>
                        <a:pt x="113" y="34"/>
                      </a:cubicBezTo>
                      <a:cubicBezTo>
                        <a:pt x="114" y="34"/>
                        <a:pt x="114" y="34"/>
                        <a:pt x="115" y="34"/>
                      </a:cubicBezTo>
                      <a:cubicBezTo>
                        <a:pt x="116" y="35"/>
                        <a:pt x="116" y="35"/>
                        <a:pt x="116" y="36"/>
                      </a:cubicBezTo>
                      <a:cubicBezTo>
                        <a:pt x="116" y="111"/>
                        <a:pt x="116" y="111"/>
                        <a:pt x="116" y="111"/>
                      </a:cubicBezTo>
                      <a:cubicBezTo>
                        <a:pt x="116" y="111"/>
                        <a:pt x="116" y="112"/>
                        <a:pt x="115" y="112"/>
                      </a:cubicBezTo>
                      <a:cubicBezTo>
                        <a:pt x="115" y="113"/>
                        <a:pt x="114" y="113"/>
                        <a:pt x="114" y="113"/>
                      </a:cubicBezTo>
                      <a:close/>
                      <a:moveTo>
                        <a:pt x="48" y="71"/>
                      </a:moveTo>
                      <a:cubicBezTo>
                        <a:pt x="48" y="71"/>
                        <a:pt x="49" y="71"/>
                        <a:pt x="49" y="71"/>
                      </a:cubicBezTo>
                      <a:cubicBezTo>
                        <a:pt x="112" y="107"/>
                        <a:pt x="112" y="107"/>
                        <a:pt x="112" y="107"/>
                      </a:cubicBezTo>
                      <a:cubicBezTo>
                        <a:pt x="112" y="39"/>
                        <a:pt x="112" y="39"/>
                        <a:pt x="112" y="39"/>
                      </a:cubicBezTo>
                      <a:cubicBezTo>
                        <a:pt x="112" y="39"/>
                        <a:pt x="112" y="39"/>
                        <a:pt x="111" y="39"/>
                      </a:cubicBezTo>
                      <a:cubicBezTo>
                        <a:pt x="51" y="4"/>
                        <a:pt x="51" y="4"/>
                        <a:pt x="51" y="4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39" y="50"/>
                        <a:pt x="39" y="50"/>
                        <a:pt x="39" y="50"/>
                      </a:cubicBezTo>
                      <a:cubicBezTo>
                        <a:pt x="39" y="50"/>
                        <a:pt x="40" y="51"/>
                        <a:pt x="40" y="51"/>
                      </a:cubicBezTo>
                      <a:cubicBezTo>
                        <a:pt x="40" y="75"/>
                        <a:pt x="40" y="75"/>
                        <a:pt x="40" y="75"/>
                      </a:cubicBezTo>
                      <a:cubicBezTo>
                        <a:pt x="47" y="71"/>
                        <a:pt x="47" y="71"/>
                        <a:pt x="47" y="71"/>
                      </a:cubicBezTo>
                      <a:cubicBezTo>
                        <a:pt x="47" y="71"/>
                        <a:pt x="48" y="71"/>
                        <a:pt x="48" y="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6" name="Freeform 688">
                  <a:extLst>
                    <a:ext uri="{FF2B5EF4-FFF2-40B4-BE49-F238E27FC236}">
                      <a16:creationId xmlns:a16="http://schemas.microsoft.com/office/drawing/2014/main" id="{FEB46F9A-FD38-459B-8F09-F638661DB6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1895"/>
                  <a:ext cx="133" cy="193"/>
                </a:xfrm>
                <a:custGeom>
                  <a:avLst/>
                  <a:gdLst>
                    <a:gd name="T0" fmla="*/ 2 w 56"/>
                    <a:gd name="T1" fmla="*/ 82 h 82"/>
                    <a:gd name="T2" fmla="*/ 1 w 56"/>
                    <a:gd name="T3" fmla="*/ 82 h 82"/>
                    <a:gd name="T4" fmla="*/ 0 w 56"/>
                    <a:gd name="T5" fmla="*/ 80 h 82"/>
                    <a:gd name="T6" fmla="*/ 0 w 56"/>
                    <a:gd name="T7" fmla="*/ 12 h 82"/>
                    <a:gd name="T8" fmla="*/ 1 w 56"/>
                    <a:gd name="T9" fmla="*/ 10 h 82"/>
                    <a:gd name="T10" fmla="*/ 17 w 56"/>
                    <a:gd name="T11" fmla="*/ 1 h 82"/>
                    <a:gd name="T12" fmla="*/ 19 w 56"/>
                    <a:gd name="T13" fmla="*/ 1 h 82"/>
                    <a:gd name="T14" fmla="*/ 55 w 56"/>
                    <a:gd name="T15" fmla="*/ 22 h 82"/>
                    <a:gd name="T16" fmla="*/ 56 w 56"/>
                    <a:gd name="T17" fmla="*/ 23 h 82"/>
                    <a:gd name="T18" fmla="*/ 56 w 56"/>
                    <a:gd name="T19" fmla="*/ 50 h 82"/>
                    <a:gd name="T20" fmla="*/ 55 w 56"/>
                    <a:gd name="T21" fmla="*/ 52 h 82"/>
                    <a:gd name="T22" fmla="*/ 3 w 56"/>
                    <a:gd name="T23" fmla="*/ 82 h 82"/>
                    <a:gd name="T24" fmla="*/ 2 w 56"/>
                    <a:gd name="T25" fmla="*/ 82 h 82"/>
                    <a:gd name="T26" fmla="*/ 4 w 56"/>
                    <a:gd name="T27" fmla="*/ 13 h 82"/>
                    <a:gd name="T28" fmla="*/ 4 w 56"/>
                    <a:gd name="T29" fmla="*/ 77 h 82"/>
                    <a:gd name="T30" fmla="*/ 52 w 56"/>
                    <a:gd name="T31" fmla="*/ 49 h 82"/>
                    <a:gd name="T32" fmla="*/ 52 w 56"/>
                    <a:gd name="T33" fmla="*/ 25 h 82"/>
                    <a:gd name="T34" fmla="*/ 18 w 56"/>
                    <a:gd name="T35" fmla="*/ 5 h 82"/>
                    <a:gd name="T36" fmla="*/ 4 w 56"/>
                    <a:gd name="T37" fmla="*/ 13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6" h="82">
                      <a:moveTo>
                        <a:pt x="2" y="82"/>
                      </a:moveTo>
                      <a:cubicBezTo>
                        <a:pt x="2" y="82"/>
                        <a:pt x="2" y="82"/>
                        <a:pt x="1" y="82"/>
                      </a:cubicBezTo>
                      <a:cubicBezTo>
                        <a:pt x="1" y="82"/>
                        <a:pt x="0" y="81"/>
                        <a:pt x="0" y="80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1"/>
                        <a:pt x="1" y="10"/>
                        <a:pt x="1" y="10"/>
                      </a:cubicBezTo>
                      <a:cubicBezTo>
                        <a:pt x="17" y="1"/>
                        <a:pt x="17" y="1"/>
                        <a:pt x="17" y="1"/>
                      </a:cubicBezTo>
                      <a:cubicBezTo>
                        <a:pt x="18" y="0"/>
                        <a:pt x="18" y="0"/>
                        <a:pt x="19" y="1"/>
                      </a:cubicBezTo>
                      <a:cubicBezTo>
                        <a:pt x="55" y="22"/>
                        <a:pt x="55" y="22"/>
                        <a:pt x="55" y="22"/>
                      </a:cubicBezTo>
                      <a:cubicBezTo>
                        <a:pt x="56" y="22"/>
                        <a:pt x="56" y="23"/>
                        <a:pt x="56" y="23"/>
                      </a:cubicBezTo>
                      <a:cubicBezTo>
                        <a:pt x="56" y="50"/>
                        <a:pt x="56" y="50"/>
                        <a:pt x="56" y="50"/>
                      </a:cubicBezTo>
                      <a:cubicBezTo>
                        <a:pt x="56" y="51"/>
                        <a:pt x="56" y="52"/>
                        <a:pt x="55" y="52"/>
                      </a:cubicBezTo>
                      <a:cubicBezTo>
                        <a:pt x="3" y="82"/>
                        <a:pt x="3" y="82"/>
                        <a:pt x="3" y="82"/>
                      </a:cubicBezTo>
                      <a:cubicBezTo>
                        <a:pt x="3" y="82"/>
                        <a:pt x="3" y="82"/>
                        <a:pt x="2" y="82"/>
                      </a:cubicBezTo>
                      <a:close/>
                      <a:moveTo>
                        <a:pt x="4" y="13"/>
                      </a:moveTo>
                      <a:cubicBezTo>
                        <a:pt x="4" y="77"/>
                        <a:pt x="4" y="77"/>
                        <a:pt x="4" y="77"/>
                      </a:cubicBezTo>
                      <a:cubicBezTo>
                        <a:pt x="52" y="49"/>
                        <a:pt x="52" y="49"/>
                        <a:pt x="52" y="49"/>
                      </a:cubicBezTo>
                      <a:cubicBezTo>
                        <a:pt x="52" y="25"/>
                        <a:pt x="52" y="25"/>
                        <a:pt x="52" y="25"/>
                      </a:cubicBezTo>
                      <a:cubicBezTo>
                        <a:pt x="18" y="5"/>
                        <a:pt x="18" y="5"/>
                        <a:pt x="18" y="5"/>
                      </a:cubicBezTo>
                      <a:lnTo>
                        <a:pt x="4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7" name="Freeform 689">
                  <a:extLst>
                    <a:ext uri="{FF2B5EF4-FFF2-40B4-BE49-F238E27FC236}">
                      <a16:creationId xmlns:a16="http://schemas.microsoft.com/office/drawing/2014/main" id="{5B50FEBF-7C73-4044-BAD0-7FBB1598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999" y="1637"/>
                  <a:ext cx="291" cy="173"/>
                </a:xfrm>
                <a:custGeom>
                  <a:avLst/>
                  <a:gdLst>
                    <a:gd name="T0" fmla="*/ 17 w 123"/>
                    <a:gd name="T1" fmla="*/ 73 h 73"/>
                    <a:gd name="T2" fmla="*/ 16 w 123"/>
                    <a:gd name="T3" fmla="*/ 72 h 73"/>
                    <a:gd name="T4" fmla="*/ 1 w 123"/>
                    <a:gd name="T5" fmla="*/ 64 h 73"/>
                    <a:gd name="T6" fmla="*/ 0 w 123"/>
                    <a:gd name="T7" fmla="*/ 62 h 73"/>
                    <a:gd name="T8" fmla="*/ 1 w 123"/>
                    <a:gd name="T9" fmla="*/ 60 h 73"/>
                    <a:gd name="T10" fmla="*/ 105 w 123"/>
                    <a:gd name="T11" fmla="*/ 0 h 73"/>
                    <a:gd name="T12" fmla="*/ 107 w 123"/>
                    <a:gd name="T13" fmla="*/ 0 h 73"/>
                    <a:gd name="T14" fmla="*/ 122 w 123"/>
                    <a:gd name="T15" fmla="*/ 9 h 73"/>
                    <a:gd name="T16" fmla="*/ 123 w 123"/>
                    <a:gd name="T17" fmla="*/ 10 h 73"/>
                    <a:gd name="T18" fmla="*/ 122 w 123"/>
                    <a:gd name="T19" fmla="*/ 12 h 73"/>
                    <a:gd name="T20" fmla="*/ 18 w 123"/>
                    <a:gd name="T21" fmla="*/ 72 h 73"/>
                    <a:gd name="T22" fmla="*/ 17 w 123"/>
                    <a:gd name="T23" fmla="*/ 73 h 73"/>
                    <a:gd name="T24" fmla="*/ 6 w 123"/>
                    <a:gd name="T25" fmla="*/ 62 h 73"/>
                    <a:gd name="T26" fmla="*/ 17 w 123"/>
                    <a:gd name="T27" fmla="*/ 68 h 73"/>
                    <a:gd name="T28" fmla="*/ 117 w 123"/>
                    <a:gd name="T29" fmla="*/ 10 h 73"/>
                    <a:gd name="T30" fmla="*/ 106 w 123"/>
                    <a:gd name="T31" fmla="*/ 4 h 73"/>
                    <a:gd name="T32" fmla="*/ 6 w 123"/>
                    <a:gd name="T33" fmla="*/ 62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3" h="73">
                      <a:moveTo>
                        <a:pt x="17" y="73"/>
                      </a:moveTo>
                      <a:cubicBezTo>
                        <a:pt x="17" y="73"/>
                        <a:pt x="17" y="72"/>
                        <a:pt x="16" y="72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3"/>
                        <a:pt x="0" y="63"/>
                        <a:pt x="0" y="62"/>
                      </a:cubicBezTo>
                      <a:cubicBezTo>
                        <a:pt x="0" y="61"/>
                        <a:pt x="1" y="61"/>
                        <a:pt x="1" y="60"/>
                      </a:cubicBezTo>
                      <a:cubicBezTo>
                        <a:pt x="105" y="0"/>
                        <a:pt x="105" y="0"/>
                        <a:pt x="105" y="0"/>
                      </a:cubicBezTo>
                      <a:cubicBezTo>
                        <a:pt x="106" y="0"/>
                        <a:pt x="107" y="0"/>
                        <a:pt x="107" y="0"/>
                      </a:cubicBezTo>
                      <a:cubicBezTo>
                        <a:pt x="122" y="9"/>
                        <a:pt x="122" y="9"/>
                        <a:pt x="122" y="9"/>
                      </a:cubicBezTo>
                      <a:cubicBezTo>
                        <a:pt x="123" y="9"/>
                        <a:pt x="123" y="10"/>
                        <a:pt x="123" y="10"/>
                      </a:cubicBezTo>
                      <a:cubicBezTo>
                        <a:pt x="123" y="11"/>
                        <a:pt x="123" y="12"/>
                        <a:pt x="122" y="12"/>
                      </a:cubicBezTo>
                      <a:cubicBezTo>
                        <a:pt x="18" y="72"/>
                        <a:pt x="18" y="72"/>
                        <a:pt x="18" y="72"/>
                      </a:cubicBezTo>
                      <a:cubicBezTo>
                        <a:pt x="18" y="72"/>
                        <a:pt x="18" y="73"/>
                        <a:pt x="17" y="73"/>
                      </a:cubicBezTo>
                      <a:close/>
                      <a:moveTo>
                        <a:pt x="6" y="62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17" y="10"/>
                        <a:pt x="117" y="10"/>
                        <a:pt x="117" y="10"/>
                      </a:cubicBezTo>
                      <a:cubicBezTo>
                        <a:pt x="106" y="4"/>
                        <a:pt x="106" y="4"/>
                        <a:pt x="106" y="4"/>
                      </a:cubicBezTo>
                      <a:lnTo>
                        <a:pt x="6" y="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8" name="Freeform 690">
                  <a:extLst>
                    <a:ext uri="{FF2B5EF4-FFF2-40B4-BE49-F238E27FC236}">
                      <a16:creationId xmlns:a16="http://schemas.microsoft.com/office/drawing/2014/main" id="{CB3BE421-8CB0-4318-8E07-448860CA57E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1250"/>
                  <a:ext cx="90" cy="101"/>
                </a:xfrm>
                <a:custGeom>
                  <a:avLst/>
                  <a:gdLst>
                    <a:gd name="T0" fmla="*/ 2 w 38"/>
                    <a:gd name="T1" fmla="*/ 43 h 43"/>
                    <a:gd name="T2" fmla="*/ 1 w 38"/>
                    <a:gd name="T3" fmla="*/ 43 h 43"/>
                    <a:gd name="T4" fmla="*/ 0 w 38"/>
                    <a:gd name="T5" fmla="*/ 41 h 43"/>
                    <a:gd name="T6" fmla="*/ 0 w 38"/>
                    <a:gd name="T7" fmla="*/ 2 h 43"/>
                    <a:gd name="T8" fmla="*/ 1 w 38"/>
                    <a:gd name="T9" fmla="*/ 1 h 43"/>
                    <a:gd name="T10" fmla="*/ 3 w 38"/>
                    <a:gd name="T11" fmla="*/ 1 h 43"/>
                    <a:gd name="T12" fmla="*/ 37 w 38"/>
                    <a:gd name="T13" fmla="*/ 20 h 43"/>
                    <a:gd name="T14" fmla="*/ 38 w 38"/>
                    <a:gd name="T15" fmla="*/ 22 h 43"/>
                    <a:gd name="T16" fmla="*/ 37 w 38"/>
                    <a:gd name="T17" fmla="*/ 23 h 43"/>
                    <a:gd name="T18" fmla="*/ 3 w 38"/>
                    <a:gd name="T19" fmla="*/ 43 h 43"/>
                    <a:gd name="T20" fmla="*/ 2 w 38"/>
                    <a:gd name="T21" fmla="*/ 43 h 43"/>
                    <a:gd name="T22" fmla="*/ 4 w 38"/>
                    <a:gd name="T23" fmla="*/ 6 h 43"/>
                    <a:gd name="T24" fmla="*/ 4 w 38"/>
                    <a:gd name="T25" fmla="*/ 37 h 43"/>
                    <a:gd name="T26" fmla="*/ 32 w 38"/>
                    <a:gd name="T27" fmla="*/ 22 h 43"/>
                    <a:gd name="T28" fmla="*/ 4 w 38"/>
                    <a:gd name="T29" fmla="*/ 6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8" h="43">
                      <a:moveTo>
                        <a:pt x="2" y="43"/>
                      </a:moveTo>
                      <a:cubicBezTo>
                        <a:pt x="2" y="43"/>
                        <a:pt x="1" y="43"/>
                        <a:pt x="1" y="43"/>
                      </a:cubicBezTo>
                      <a:cubicBezTo>
                        <a:pt x="0" y="42"/>
                        <a:pt x="0" y="42"/>
                        <a:pt x="0" y="4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2"/>
                      </a:cubicBezTo>
                      <a:cubicBezTo>
                        <a:pt x="38" y="22"/>
                        <a:pt x="37" y="23"/>
                        <a:pt x="37" y="23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3" y="43"/>
                        <a:pt x="2" y="43"/>
                        <a:pt x="2" y="43"/>
                      </a:cubicBezTo>
                      <a:close/>
                      <a:moveTo>
                        <a:pt x="4" y="6"/>
                      </a:move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9" name="Freeform 691">
                  <a:extLst>
                    <a:ext uri="{FF2B5EF4-FFF2-40B4-BE49-F238E27FC236}">
                      <a16:creationId xmlns:a16="http://schemas.microsoft.com/office/drawing/2014/main" id="{5CBBE2D3-B1F8-4A6A-A01B-407CB6575F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2095"/>
                  <a:ext cx="64" cy="43"/>
                </a:xfrm>
                <a:custGeom>
                  <a:avLst/>
                  <a:gdLst>
                    <a:gd name="T0" fmla="*/ 14 w 27"/>
                    <a:gd name="T1" fmla="*/ 18 h 18"/>
                    <a:gd name="T2" fmla="*/ 13 w 27"/>
                    <a:gd name="T3" fmla="*/ 18 h 18"/>
                    <a:gd name="T4" fmla="*/ 1 w 27"/>
                    <a:gd name="T5" fmla="*/ 11 h 18"/>
                    <a:gd name="T6" fmla="*/ 0 w 27"/>
                    <a:gd name="T7" fmla="*/ 9 h 18"/>
                    <a:gd name="T8" fmla="*/ 0 w 27"/>
                    <a:gd name="T9" fmla="*/ 7 h 18"/>
                    <a:gd name="T10" fmla="*/ 1 w 27"/>
                    <a:gd name="T11" fmla="*/ 5 h 18"/>
                    <a:gd name="T12" fmla="*/ 10 w 27"/>
                    <a:gd name="T13" fmla="*/ 0 h 18"/>
                    <a:gd name="T14" fmla="*/ 12 w 27"/>
                    <a:gd name="T15" fmla="*/ 0 h 18"/>
                    <a:gd name="T16" fmla="*/ 26 w 27"/>
                    <a:gd name="T17" fmla="*/ 8 h 18"/>
                    <a:gd name="T18" fmla="*/ 27 w 27"/>
                    <a:gd name="T19" fmla="*/ 10 h 18"/>
                    <a:gd name="T20" fmla="*/ 26 w 27"/>
                    <a:gd name="T21" fmla="*/ 11 h 18"/>
                    <a:gd name="T22" fmla="*/ 15 w 27"/>
                    <a:gd name="T23" fmla="*/ 18 h 18"/>
                    <a:gd name="T24" fmla="*/ 14 w 27"/>
                    <a:gd name="T25" fmla="*/ 18 h 18"/>
                    <a:gd name="T26" fmla="*/ 4 w 27"/>
                    <a:gd name="T27" fmla="*/ 8 h 18"/>
                    <a:gd name="T28" fmla="*/ 14 w 27"/>
                    <a:gd name="T29" fmla="*/ 14 h 18"/>
                    <a:gd name="T30" fmla="*/ 21 w 27"/>
                    <a:gd name="T31" fmla="*/ 10 h 18"/>
                    <a:gd name="T32" fmla="*/ 11 w 27"/>
                    <a:gd name="T33" fmla="*/ 4 h 18"/>
                    <a:gd name="T34" fmla="*/ 4 w 27"/>
                    <a:gd name="T35" fmla="*/ 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7" h="18">
                      <a:moveTo>
                        <a:pt x="14" y="18"/>
                      </a:moveTo>
                      <a:cubicBezTo>
                        <a:pt x="14" y="18"/>
                        <a:pt x="13" y="18"/>
                        <a:pt x="13" y="18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0"/>
                        <a:pt x="0" y="10"/>
                        <a:pt x="0" y="9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1" y="0"/>
                        <a:pt x="11" y="0"/>
                        <a:pt x="12" y="0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27" y="8"/>
                        <a:pt x="27" y="9"/>
                        <a:pt x="27" y="10"/>
                      </a:cubicBezTo>
                      <a:cubicBezTo>
                        <a:pt x="27" y="10"/>
                        <a:pt x="27" y="11"/>
                        <a:pt x="26" y="11"/>
                      </a:cubicBezTo>
                      <a:cubicBezTo>
                        <a:pt x="15" y="18"/>
                        <a:pt x="15" y="18"/>
                        <a:pt x="15" y="18"/>
                      </a:cubicBezTo>
                      <a:cubicBezTo>
                        <a:pt x="15" y="18"/>
                        <a:pt x="14" y="18"/>
                        <a:pt x="14" y="18"/>
                      </a:cubicBezTo>
                      <a:close/>
                      <a:moveTo>
                        <a:pt x="4" y="8"/>
                      </a:move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11" y="4"/>
                        <a:pt x="11" y="4"/>
                        <a:pt x="11" y="4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0" name="Freeform 692">
                  <a:extLst>
                    <a:ext uri="{FF2B5EF4-FFF2-40B4-BE49-F238E27FC236}">
                      <a16:creationId xmlns:a16="http://schemas.microsoft.com/office/drawing/2014/main" id="{A21948F1-A3DB-420F-98F4-3DC8DADFD48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85" y="1831"/>
                  <a:ext cx="654" cy="633"/>
                </a:xfrm>
                <a:custGeom>
                  <a:avLst/>
                  <a:gdLst>
                    <a:gd name="T0" fmla="*/ 80 w 277"/>
                    <a:gd name="T1" fmla="*/ 268 h 268"/>
                    <a:gd name="T2" fmla="*/ 79 w 277"/>
                    <a:gd name="T3" fmla="*/ 267 h 268"/>
                    <a:gd name="T4" fmla="*/ 1 w 277"/>
                    <a:gd name="T5" fmla="*/ 223 h 268"/>
                    <a:gd name="T6" fmla="*/ 0 w 277"/>
                    <a:gd name="T7" fmla="*/ 221 h 268"/>
                    <a:gd name="T8" fmla="*/ 0 w 277"/>
                    <a:gd name="T9" fmla="*/ 215 h 268"/>
                    <a:gd name="T10" fmla="*/ 1 w 277"/>
                    <a:gd name="T11" fmla="*/ 214 h 268"/>
                    <a:gd name="T12" fmla="*/ 3 w 277"/>
                    <a:gd name="T13" fmla="*/ 214 h 268"/>
                    <a:gd name="T14" fmla="*/ 12 w 277"/>
                    <a:gd name="T15" fmla="*/ 219 h 268"/>
                    <a:gd name="T16" fmla="*/ 61 w 277"/>
                    <a:gd name="T17" fmla="*/ 191 h 268"/>
                    <a:gd name="T18" fmla="*/ 63 w 277"/>
                    <a:gd name="T19" fmla="*/ 191 h 268"/>
                    <a:gd name="T20" fmla="*/ 126 w 277"/>
                    <a:gd name="T21" fmla="*/ 227 h 268"/>
                    <a:gd name="T22" fmla="*/ 201 w 277"/>
                    <a:gd name="T23" fmla="*/ 184 h 268"/>
                    <a:gd name="T24" fmla="*/ 144 w 277"/>
                    <a:gd name="T25" fmla="*/ 151 h 268"/>
                    <a:gd name="T26" fmla="*/ 143 w 277"/>
                    <a:gd name="T27" fmla="*/ 149 h 268"/>
                    <a:gd name="T28" fmla="*/ 143 w 277"/>
                    <a:gd name="T29" fmla="*/ 77 h 268"/>
                    <a:gd name="T30" fmla="*/ 90 w 277"/>
                    <a:gd name="T31" fmla="*/ 46 h 268"/>
                    <a:gd name="T32" fmla="*/ 89 w 277"/>
                    <a:gd name="T33" fmla="*/ 44 h 268"/>
                    <a:gd name="T34" fmla="*/ 90 w 277"/>
                    <a:gd name="T35" fmla="*/ 42 h 268"/>
                    <a:gd name="T36" fmla="*/ 145 w 277"/>
                    <a:gd name="T37" fmla="*/ 11 h 268"/>
                    <a:gd name="T38" fmla="*/ 145 w 277"/>
                    <a:gd name="T39" fmla="*/ 2 h 268"/>
                    <a:gd name="T40" fmla="*/ 146 w 277"/>
                    <a:gd name="T41" fmla="*/ 1 h 268"/>
                    <a:gd name="T42" fmla="*/ 148 w 277"/>
                    <a:gd name="T43" fmla="*/ 1 h 268"/>
                    <a:gd name="T44" fmla="*/ 208 w 277"/>
                    <a:gd name="T45" fmla="*/ 36 h 268"/>
                    <a:gd name="T46" fmla="*/ 209 w 277"/>
                    <a:gd name="T47" fmla="*/ 37 h 268"/>
                    <a:gd name="T48" fmla="*/ 208 w 277"/>
                    <a:gd name="T49" fmla="*/ 39 h 268"/>
                    <a:gd name="T50" fmla="*/ 157 w 277"/>
                    <a:gd name="T51" fmla="*/ 69 h 268"/>
                    <a:gd name="T52" fmla="*/ 157 w 277"/>
                    <a:gd name="T53" fmla="*/ 142 h 268"/>
                    <a:gd name="T54" fmla="*/ 209 w 277"/>
                    <a:gd name="T55" fmla="*/ 113 h 268"/>
                    <a:gd name="T56" fmla="*/ 211 w 277"/>
                    <a:gd name="T57" fmla="*/ 113 h 268"/>
                    <a:gd name="T58" fmla="*/ 211 w 277"/>
                    <a:gd name="T59" fmla="*/ 113 h 268"/>
                    <a:gd name="T60" fmla="*/ 276 w 277"/>
                    <a:gd name="T61" fmla="*/ 151 h 268"/>
                    <a:gd name="T62" fmla="*/ 277 w 277"/>
                    <a:gd name="T63" fmla="*/ 153 h 268"/>
                    <a:gd name="T64" fmla="*/ 276 w 277"/>
                    <a:gd name="T65" fmla="*/ 154 h 268"/>
                    <a:gd name="T66" fmla="*/ 81 w 277"/>
                    <a:gd name="T67" fmla="*/ 267 h 268"/>
                    <a:gd name="T68" fmla="*/ 80 w 277"/>
                    <a:gd name="T69" fmla="*/ 268 h 268"/>
                    <a:gd name="T70" fmla="*/ 4 w 277"/>
                    <a:gd name="T71" fmla="*/ 220 h 268"/>
                    <a:gd name="T72" fmla="*/ 80 w 277"/>
                    <a:gd name="T73" fmla="*/ 263 h 268"/>
                    <a:gd name="T74" fmla="*/ 271 w 277"/>
                    <a:gd name="T75" fmla="*/ 153 h 268"/>
                    <a:gd name="T76" fmla="*/ 209 w 277"/>
                    <a:gd name="T77" fmla="*/ 117 h 268"/>
                    <a:gd name="T78" fmla="*/ 156 w 277"/>
                    <a:gd name="T79" fmla="*/ 147 h 268"/>
                    <a:gd name="T80" fmla="*/ 154 w 277"/>
                    <a:gd name="T81" fmla="*/ 147 h 268"/>
                    <a:gd name="T82" fmla="*/ 153 w 277"/>
                    <a:gd name="T83" fmla="*/ 146 h 268"/>
                    <a:gd name="T84" fmla="*/ 153 w 277"/>
                    <a:gd name="T85" fmla="*/ 67 h 268"/>
                    <a:gd name="T86" fmla="*/ 154 w 277"/>
                    <a:gd name="T87" fmla="*/ 66 h 268"/>
                    <a:gd name="T88" fmla="*/ 203 w 277"/>
                    <a:gd name="T89" fmla="*/ 37 h 268"/>
                    <a:gd name="T90" fmla="*/ 149 w 277"/>
                    <a:gd name="T91" fmla="*/ 6 h 268"/>
                    <a:gd name="T92" fmla="*/ 149 w 277"/>
                    <a:gd name="T93" fmla="*/ 12 h 268"/>
                    <a:gd name="T94" fmla="*/ 148 w 277"/>
                    <a:gd name="T95" fmla="*/ 14 h 268"/>
                    <a:gd name="T96" fmla="*/ 95 w 277"/>
                    <a:gd name="T97" fmla="*/ 44 h 268"/>
                    <a:gd name="T98" fmla="*/ 146 w 277"/>
                    <a:gd name="T99" fmla="*/ 74 h 268"/>
                    <a:gd name="T100" fmla="*/ 147 w 277"/>
                    <a:gd name="T101" fmla="*/ 76 h 268"/>
                    <a:gd name="T102" fmla="*/ 147 w 277"/>
                    <a:gd name="T103" fmla="*/ 148 h 268"/>
                    <a:gd name="T104" fmla="*/ 206 w 277"/>
                    <a:gd name="T105" fmla="*/ 182 h 268"/>
                    <a:gd name="T106" fmla="*/ 207 w 277"/>
                    <a:gd name="T107" fmla="*/ 184 h 268"/>
                    <a:gd name="T108" fmla="*/ 206 w 277"/>
                    <a:gd name="T109" fmla="*/ 186 h 268"/>
                    <a:gd name="T110" fmla="*/ 127 w 277"/>
                    <a:gd name="T111" fmla="*/ 231 h 268"/>
                    <a:gd name="T112" fmla="*/ 125 w 277"/>
                    <a:gd name="T113" fmla="*/ 231 h 268"/>
                    <a:gd name="T114" fmla="*/ 62 w 277"/>
                    <a:gd name="T115" fmla="*/ 195 h 268"/>
                    <a:gd name="T116" fmla="*/ 13 w 277"/>
                    <a:gd name="T117" fmla="*/ 223 h 268"/>
                    <a:gd name="T118" fmla="*/ 11 w 277"/>
                    <a:gd name="T119" fmla="*/ 223 h 268"/>
                    <a:gd name="T120" fmla="*/ 4 w 277"/>
                    <a:gd name="T121" fmla="*/ 219 h 268"/>
                    <a:gd name="T122" fmla="*/ 4 w 277"/>
                    <a:gd name="T123" fmla="*/ 220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7" h="268">
                      <a:moveTo>
                        <a:pt x="80" y="268"/>
                      </a:moveTo>
                      <a:cubicBezTo>
                        <a:pt x="79" y="268"/>
                        <a:pt x="79" y="268"/>
                        <a:pt x="79" y="267"/>
                      </a:cubicBezTo>
                      <a:cubicBezTo>
                        <a:pt x="1" y="223"/>
                        <a:pt x="1" y="223"/>
                        <a:pt x="1" y="223"/>
                      </a:cubicBezTo>
                      <a:cubicBezTo>
                        <a:pt x="0" y="222"/>
                        <a:pt x="0" y="222"/>
                        <a:pt x="0" y="221"/>
                      </a:cubicBezTo>
                      <a:cubicBezTo>
                        <a:pt x="0" y="215"/>
                        <a:pt x="0" y="215"/>
                        <a:pt x="0" y="215"/>
                      </a:cubicBezTo>
                      <a:cubicBezTo>
                        <a:pt x="0" y="215"/>
                        <a:pt x="0" y="214"/>
                        <a:pt x="1" y="214"/>
                      </a:cubicBezTo>
                      <a:cubicBezTo>
                        <a:pt x="1" y="213"/>
                        <a:pt x="2" y="213"/>
                        <a:pt x="3" y="214"/>
                      </a:cubicBezTo>
                      <a:cubicBezTo>
                        <a:pt x="12" y="219"/>
                        <a:pt x="12" y="219"/>
                        <a:pt x="12" y="219"/>
                      </a:cubicBezTo>
                      <a:cubicBezTo>
                        <a:pt x="61" y="191"/>
                        <a:pt x="61" y="191"/>
                        <a:pt x="61" y="191"/>
                      </a:cubicBezTo>
                      <a:cubicBezTo>
                        <a:pt x="62" y="190"/>
                        <a:pt x="62" y="190"/>
                        <a:pt x="63" y="191"/>
                      </a:cubicBezTo>
                      <a:cubicBezTo>
                        <a:pt x="126" y="227"/>
                        <a:pt x="126" y="227"/>
                        <a:pt x="126" y="227"/>
                      </a:cubicBezTo>
                      <a:cubicBezTo>
                        <a:pt x="201" y="184"/>
                        <a:pt x="201" y="184"/>
                        <a:pt x="201" y="184"/>
                      </a:cubicBezTo>
                      <a:cubicBezTo>
                        <a:pt x="144" y="151"/>
                        <a:pt x="144" y="151"/>
                        <a:pt x="144" y="151"/>
                      </a:cubicBezTo>
                      <a:cubicBezTo>
                        <a:pt x="144" y="151"/>
                        <a:pt x="143" y="150"/>
                        <a:pt x="143" y="149"/>
                      </a:cubicBezTo>
                      <a:cubicBezTo>
                        <a:pt x="143" y="77"/>
                        <a:pt x="143" y="77"/>
                        <a:pt x="143" y="77"/>
                      </a:cubicBezTo>
                      <a:cubicBezTo>
                        <a:pt x="90" y="46"/>
                        <a:pt x="90" y="46"/>
                        <a:pt x="90" y="46"/>
                      </a:cubicBezTo>
                      <a:cubicBezTo>
                        <a:pt x="89" y="46"/>
                        <a:pt x="89" y="45"/>
                        <a:pt x="89" y="44"/>
                      </a:cubicBezTo>
                      <a:cubicBezTo>
                        <a:pt x="89" y="43"/>
                        <a:pt x="89" y="43"/>
                        <a:pt x="90" y="42"/>
                      </a:cubicBezTo>
                      <a:cubicBezTo>
                        <a:pt x="145" y="11"/>
                        <a:pt x="145" y="11"/>
                        <a:pt x="145" y="11"/>
                      </a:cubicBezTo>
                      <a:cubicBezTo>
                        <a:pt x="145" y="2"/>
                        <a:pt x="145" y="2"/>
                        <a:pt x="145" y="2"/>
                      </a:cubicBezTo>
                      <a:cubicBezTo>
                        <a:pt x="145" y="2"/>
                        <a:pt x="145" y="1"/>
                        <a:pt x="146" y="1"/>
                      </a:cubicBezTo>
                      <a:cubicBezTo>
                        <a:pt x="146" y="0"/>
                        <a:pt x="147" y="0"/>
                        <a:pt x="148" y="1"/>
                      </a:cubicBezTo>
                      <a:cubicBezTo>
                        <a:pt x="208" y="36"/>
                        <a:pt x="208" y="36"/>
                        <a:pt x="208" y="36"/>
                      </a:cubicBezTo>
                      <a:cubicBezTo>
                        <a:pt x="209" y="36"/>
                        <a:pt x="209" y="37"/>
                        <a:pt x="209" y="37"/>
                      </a:cubicBezTo>
                      <a:cubicBezTo>
                        <a:pt x="209" y="38"/>
                        <a:pt x="209" y="39"/>
                        <a:pt x="208" y="39"/>
                      </a:cubicBezTo>
                      <a:cubicBezTo>
                        <a:pt x="157" y="69"/>
                        <a:pt x="157" y="69"/>
                        <a:pt x="157" y="69"/>
                      </a:cubicBezTo>
                      <a:cubicBezTo>
                        <a:pt x="157" y="142"/>
                        <a:pt x="157" y="142"/>
                        <a:pt x="157" y="142"/>
                      </a:cubicBezTo>
                      <a:cubicBezTo>
                        <a:pt x="209" y="113"/>
                        <a:pt x="209" y="113"/>
                        <a:pt x="209" y="113"/>
                      </a:cubicBezTo>
                      <a:cubicBezTo>
                        <a:pt x="209" y="112"/>
                        <a:pt x="210" y="112"/>
                        <a:pt x="211" y="113"/>
                      </a:cubicBezTo>
                      <a:cubicBezTo>
                        <a:pt x="211" y="113"/>
                        <a:pt x="211" y="113"/>
                        <a:pt x="211" y="113"/>
                      </a:cubicBezTo>
                      <a:cubicBezTo>
                        <a:pt x="276" y="151"/>
                        <a:pt x="276" y="151"/>
                        <a:pt x="276" y="151"/>
                      </a:cubicBezTo>
                      <a:cubicBezTo>
                        <a:pt x="277" y="151"/>
                        <a:pt x="277" y="152"/>
                        <a:pt x="277" y="153"/>
                      </a:cubicBezTo>
                      <a:cubicBezTo>
                        <a:pt x="277" y="153"/>
                        <a:pt x="277" y="154"/>
                        <a:pt x="276" y="154"/>
                      </a:cubicBezTo>
                      <a:cubicBezTo>
                        <a:pt x="81" y="267"/>
                        <a:pt x="81" y="267"/>
                        <a:pt x="81" y="267"/>
                      </a:cubicBezTo>
                      <a:cubicBezTo>
                        <a:pt x="80" y="268"/>
                        <a:pt x="80" y="268"/>
                        <a:pt x="80" y="268"/>
                      </a:cubicBezTo>
                      <a:close/>
                      <a:moveTo>
                        <a:pt x="4" y="220"/>
                      </a:moveTo>
                      <a:cubicBezTo>
                        <a:pt x="80" y="263"/>
                        <a:pt x="80" y="263"/>
                        <a:pt x="80" y="263"/>
                      </a:cubicBezTo>
                      <a:cubicBezTo>
                        <a:pt x="271" y="153"/>
                        <a:pt x="271" y="153"/>
                        <a:pt x="271" y="153"/>
                      </a:cubicBezTo>
                      <a:cubicBezTo>
                        <a:pt x="209" y="117"/>
                        <a:pt x="209" y="117"/>
                        <a:pt x="209" y="117"/>
                      </a:cubicBezTo>
                      <a:cubicBezTo>
                        <a:pt x="156" y="147"/>
                        <a:pt x="156" y="147"/>
                        <a:pt x="156" y="147"/>
                      </a:cubicBezTo>
                      <a:cubicBezTo>
                        <a:pt x="156" y="148"/>
                        <a:pt x="155" y="148"/>
                        <a:pt x="154" y="147"/>
                      </a:cubicBezTo>
                      <a:cubicBezTo>
                        <a:pt x="154" y="147"/>
                        <a:pt x="153" y="146"/>
                        <a:pt x="153" y="146"/>
                      </a:cubicBezTo>
                      <a:cubicBezTo>
                        <a:pt x="153" y="67"/>
                        <a:pt x="153" y="67"/>
                        <a:pt x="153" y="67"/>
                      </a:cubicBezTo>
                      <a:cubicBezTo>
                        <a:pt x="153" y="67"/>
                        <a:pt x="154" y="66"/>
                        <a:pt x="154" y="66"/>
                      </a:cubicBezTo>
                      <a:cubicBezTo>
                        <a:pt x="203" y="37"/>
                        <a:pt x="203" y="37"/>
                        <a:pt x="203" y="37"/>
                      </a:cubicBezTo>
                      <a:cubicBezTo>
                        <a:pt x="149" y="6"/>
                        <a:pt x="149" y="6"/>
                        <a:pt x="149" y="6"/>
                      </a:cubicBezTo>
                      <a:cubicBezTo>
                        <a:pt x="149" y="12"/>
                        <a:pt x="149" y="12"/>
                        <a:pt x="149" y="12"/>
                      </a:cubicBezTo>
                      <a:cubicBezTo>
                        <a:pt x="149" y="13"/>
                        <a:pt x="148" y="13"/>
                        <a:pt x="148" y="14"/>
                      </a:cubicBezTo>
                      <a:cubicBezTo>
                        <a:pt x="95" y="44"/>
                        <a:pt x="95" y="44"/>
                        <a:pt x="95" y="44"/>
                      </a:cubicBezTo>
                      <a:cubicBezTo>
                        <a:pt x="146" y="74"/>
                        <a:pt x="146" y="74"/>
                        <a:pt x="146" y="74"/>
                      </a:cubicBezTo>
                      <a:cubicBezTo>
                        <a:pt x="147" y="74"/>
                        <a:pt x="147" y="75"/>
                        <a:pt x="147" y="76"/>
                      </a:cubicBezTo>
                      <a:cubicBezTo>
                        <a:pt x="147" y="148"/>
                        <a:pt x="147" y="148"/>
                        <a:pt x="147" y="148"/>
                      </a:cubicBezTo>
                      <a:cubicBezTo>
                        <a:pt x="206" y="182"/>
                        <a:pt x="206" y="182"/>
                        <a:pt x="206" y="182"/>
                      </a:cubicBezTo>
                      <a:cubicBezTo>
                        <a:pt x="207" y="183"/>
                        <a:pt x="207" y="183"/>
                        <a:pt x="207" y="184"/>
                      </a:cubicBezTo>
                      <a:cubicBezTo>
                        <a:pt x="207" y="185"/>
                        <a:pt x="207" y="185"/>
                        <a:pt x="206" y="186"/>
                      </a:cubicBezTo>
                      <a:cubicBezTo>
                        <a:pt x="127" y="231"/>
                        <a:pt x="127" y="231"/>
                        <a:pt x="127" y="231"/>
                      </a:cubicBezTo>
                      <a:cubicBezTo>
                        <a:pt x="127" y="232"/>
                        <a:pt x="126" y="232"/>
                        <a:pt x="125" y="231"/>
                      </a:cubicBezTo>
                      <a:cubicBezTo>
                        <a:pt x="62" y="195"/>
                        <a:pt x="62" y="195"/>
                        <a:pt x="62" y="195"/>
                      </a:cubicBezTo>
                      <a:cubicBezTo>
                        <a:pt x="13" y="223"/>
                        <a:pt x="13" y="223"/>
                        <a:pt x="13" y="223"/>
                      </a:cubicBezTo>
                      <a:cubicBezTo>
                        <a:pt x="12" y="223"/>
                        <a:pt x="12" y="223"/>
                        <a:pt x="11" y="223"/>
                      </a:cubicBezTo>
                      <a:cubicBezTo>
                        <a:pt x="4" y="219"/>
                        <a:pt x="4" y="219"/>
                        <a:pt x="4" y="219"/>
                      </a:cubicBezTo>
                      <a:lnTo>
                        <a:pt x="4" y="2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1" name="Freeform 693">
                  <a:extLst>
                    <a:ext uri="{FF2B5EF4-FFF2-40B4-BE49-F238E27FC236}">
                      <a16:creationId xmlns:a16="http://schemas.microsoft.com/office/drawing/2014/main" id="{A434962A-56E8-49E0-8E03-F5B21D73B6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1963"/>
                  <a:ext cx="74" cy="158"/>
                </a:xfrm>
                <a:custGeom>
                  <a:avLst/>
                  <a:gdLst>
                    <a:gd name="T0" fmla="*/ 27 w 31"/>
                    <a:gd name="T1" fmla="*/ 67 h 67"/>
                    <a:gd name="T2" fmla="*/ 26 w 31"/>
                    <a:gd name="T3" fmla="*/ 66 h 67"/>
                    <a:gd name="T4" fmla="*/ 11 w 31"/>
                    <a:gd name="T5" fmla="*/ 58 h 67"/>
                    <a:gd name="T6" fmla="*/ 3 w 31"/>
                    <a:gd name="T7" fmla="*/ 63 h 67"/>
                    <a:gd name="T8" fmla="*/ 1 w 31"/>
                    <a:gd name="T9" fmla="*/ 63 h 67"/>
                    <a:gd name="T10" fmla="*/ 0 w 31"/>
                    <a:gd name="T11" fmla="*/ 61 h 67"/>
                    <a:gd name="T12" fmla="*/ 0 w 31"/>
                    <a:gd name="T13" fmla="*/ 11 h 67"/>
                    <a:gd name="T14" fmla="*/ 1 w 31"/>
                    <a:gd name="T15" fmla="*/ 9 h 67"/>
                    <a:gd name="T16" fmla="*/ 16 w 31"/>
                    <a:gd name="T17" fmla="*/ 0 h 67"/>
                    <a:gd name="T18" fmla="*/ 18 w 31"/>
                    <a:gd name="T19" fmla="*/ 0 h 67"/>
                    <a:gd name="T20" fmla="*/ 30 w 31"/>
                    <a:gd name="T21" fmla="*/ 7 h 67"/>
                    <a:gd name="T22" fmla="*/ 31 w 31"/>
                    <a:gd name="T23" fmla="*/ 9 h 67"/>
                    <a:gd name="T24" fmla="*/ 31 w 31"/>
                    <a:gd name="T25" fmla="*/ 63 h 67"/>
                    <a:gd name="T26" fmla="*/ 30 w 31"/>
                    <a:gd name="T27" fmla="*/ 65 h 67"/>
                    <a:gd name="T28" fmla="*/ 28 w 31"/>
                    <a:gd name="T29" fmla="*/ 66 h 67"/>
                    <a:gd name="T30" fmla="*/ 27 w 31"/>
                    <a:gd name="T31" fmla="*/ 67 h 67"/>
                    <a:gd name="T32" fmla="*/ 11 w 31"/>
                    <a:gd name="T33" fmla="*/ 54 h 67"/>
                    <a:gd name="T34" fmla="*/ 12 w 31"/>
                    <a:gd name="T35" fmla="*/ 54 h 67"/>
                    <a:gd name="T36" fmla="*/ 27 w 31"/>
                    <a:gd name="T37" fmla="*/ 62 h 67"/>
                    <a:gd name="T38" fmla="*/ 27 w 31"/>
                    <a:gd name="T39" fmla="*/ 62 h 67"/>
                    <a:gd name="T40" fmla="*/ 27 w 31"/>
                    <a:gd name="T41" fmla="*/ 10 h 67"/>
                    <a:gd name="T42" fmla="*/ 17 w 31"/>
                    <a:gd name="T43" fmla="*/ 4 h 67"/>
                    <a:gd name="T44" fmla="*/ 4 w 31"/>
                    <a:gd name="T45" fmla="*/ 12 h 67"/>
                    <a:gd name="T46" fmla="*/ 4 w 31"/>
                    <a:gd name="T47" fmla="*/ 58 h 67"/>
                    <a:gd name="T48" fmla="*/ 10 w 31"/>
                    <a:gd name="T49" fmla="*/ 54 h 67"/>
                    <a:gd name="T50" fmla="*/ 11 w 31"/>
                    <a:gd name="T51" fmla="*/ 54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1" h="67">
                      <a:moveTo>
                        <a:pt x="27" y="67"/>
                      </a:moveTo>
                      <a:cubicBezTo>
                        <a:pt x="26" y="67"/>
                        <a:pt x="26" y="67"/>
                        <a:pt x="26" y="66"/>
                      </a:cubicBezTo>
                      <a:cubicBezTo>
                        <a:pt x="11" y="58"/>
                        <a:pt x="11" y="58"/>
                        <a:pt x="11" y="58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2" y="63"/>
                        <a:pt x="1" y="63"/>
                      </a:cubicBezTo>
                      <a:cubicBezTo>
                        <a:pt x="1" y="62"/>
                        <a:pt x="0" y="62"/>
                        <a:pt x="0" y="6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0"/>
                        <a:pt x="1" y="9"/>
                        <a:pt x="1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7" y="0"/>
                        <a:pt x="17" y="0"/>
                        <a:pt x="18" y="0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0" y="8"/>
                        <a:pt x="31" y="8"/>
                        <a:pt x="31" y="9"/>
                      </a:cubicBezTo>
                      <a:cubicBezTo>
                        <a:pt x="31" y="63"/>
                        <a:pt x="31" y="63"/>
                        <a:pt x="31" y="63"/>
                      </a:cubicBezTo>
                      <a:cubicBezTo>
                        <a:pt x="31" y="64"/>
                        <a:pt x="30" y="65"/>
                        <a:pt x="30" y="65"/>
                      </a:cubicBezTo>
                      <a:cubicBezTo>
                        <a:pt x="28" y="66"/>
                        <a:pt x="28" y="66"/>
                        <a:pt x="28" y="66"/>
                      </a:cubicBezTo>
                      <a:cubicBezTo>
                        <a:pt x="27" y="67"/>
                        <a:pt x="27" y="67"/>
                        <a:pt x="27" y="67"/>
                      </a:cubicBezTo>
                      <a:close/>
                      <a:moveTo>
                        <a:pt x="11" y="54"/>
                      </a:moveTo>
                      <a:cubicBezTo>
                        <a:pt x="11" y="54"/>
                        <a:pt x="12" y="54"/>
                        <a:pt x="12" y="54"/>
                      </a:cubicBezTo>
                      <a:cubicBezTo>
                        <a:pt x="27" y="62"/>
                        <a:pt x="27" y="62"/>
                        <a:pt x="27" y="62"/>
                      </a:cubicBezTo>
                      <a:cubicBezTo>
                        <a:pt x="27" y="62"/>
                        <a:pt x="27" y="62"/>
                        <a:pt x="27" y="62"/>
                      </a:cubicBezTo>
                      <a:cubicBezTo>
                        <a:pt x="27" y="10"/>
                        <a:pt x="27" y="10"/>
                        <a:pt x="27" y="10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4" y="12"/>
                        <a:pt x="4" y="12"/>
                        <a:pt x="4" y="12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10" y="54"/>
                        <a:pt x="11" y="54"/>
                        <a:pt x="11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2" name="Freeform 694">
                  <a:extLst>
                    <a:ext uri="{FF2B5EF4-FFF2-40B4-BE49-F238E27FC236}">
                      <a16:creationId xmlns:a16="http://schemas.microsoft.com/office/drawing/2014/main" id="{941125C7-FAA0-437C-8DE0-92588A13B6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09" y="2117"/>
                  <a:ext cx="123" cy="90"/>
                </a:xfrm>
                <a:custGeom>
                  <a:avLst/>
                  <a:gdLst>
                    <a:gd name="T0" fmla="*/ 50 w 52"/>
                    <a:gd name="T1" fmla="*/ 38 h 38"/>
                    <a:gd name="T2" fmla="*/ 49 w 52"/>
                    <a:gd name="T3" fmla="*/ 38 h 38"/>
                    <a:gd name="T4" fmla="*/ 1 w 52"/>
                    <a:gd name="T5" fmla="*/ 10 h 38"/>
                    <a:gd name="T6" fmla="*/ 0 w 52"/>
                    <a:gd name="T7" fmla="*/ 8 h 38"/>
                    <a:gd name="T8" fmla="*/ 1 w 52"/>
                    <a:gd name="T9" fmla="*/ 6 h 38"/>
                    <a:gd name="T10" fmla="*/ 12 w 52"/>
                    <a:gd name="T11" fmla="*/ 0 h 38"/>
                    <a:gd name="T12" fmla="*/ 14 w 52"/>
                    <a:gd name="T13" fmla="*/ 0 h 38"/>
                    <a:gd name="T14" fmla="*/ 51 w 52"/>
                    <a:gd name="T15" fmla="*/ 22 h 38"/>
                    <a:gd name="T16" fmla="*/ 52 w 52"/>
                    <a:gd name="T17" fmla="*/ 23 h 38"/>
                    <a:gd name="T18" fmla="*/ 52 w 52"/>
                    <a:gd name="T19" fmla="*/ 36 h 38"/>
                    <a:gd name="T20" fmla="*/ 51 w 52"/>
                    <a:gd name="T21" fmla="*/ 38 h 38"/>
                    <a:gd name="T22" fmla="*/ 50 w 52"/>
                    <a:gd name="T23" fmla="*/ 38 h 38"/>
                    <a:gd name="T24" fmla="*/ 6 w 52"/>
                    <a:gd name="T25" fmla="*/ 8 h 38"/>
                    <a:gd name="T26" fmla="*/ 48 w 52"/>
                    <a:gd name="T27" fmla="*/ 32 h 38"/>
                    <a:gd name="T28" fmla="*/ 48 w 52"/>
                    <a:gd name="T29" fmla="*/ 24 h 38"/>
                    <a:gd name="T30" fmla="*/ 13 w 52"/>
                    <a:gd name="T31" fmla="*/ 4 h 38"/>
                    <a:gd name="T32" fmla="*/ 6 w 52"/>
                    <a:gd name="T33" fmla="*/ 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38">
                      <a:moveTo>
                        <a:pt x="50" y="38"/>
                      </a:moveTo>
                      <a:cubicBezTo>
                        <a:pt x="50" y="38"/>
                        <a:pt x="49" y="38"/>
                        <a:pt x="49" y="38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9"/>
                        <a:pt x="0" y="9"/>
                        <a:pt x="0" y="8"/>
                      </a:cubicBez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51" y="22"/>
                        <a:pt x="51" y="22"/>
                        <a:pt x="51" y="22"/>
                      </a:cubicBezTo>
                      <a:cubicBezTo>
                        <a:pt x="52" y="22"/>
                        <a:pt x="52" y="23"/>
                        <a:pt x="52" y="23"/>
                      </a:cubicBezTo>
                      <a:cubicBezTo>
                        <a:pt x="52" y="36"/>
                        <a:pt x="52" y="36"/>
                        <a:pt x="52" y="36"/>
                      </a:cubicBezTo>
                      <a:cubicBezTo>
                        <a:pt x="52" y="37"/>
                        <a:pt x="52" y="37"/>
                        <a:pt x="51" y="38"/>
                      </a:cubicBezTo>
                      <a:cubicBezTo>
                        <a:pt x="51" y="38"/>
                        <a:pt x="50" y="38"/>
                        <a:pt x="50" y="38"/>
                      </a:cubicBezTo>
                      <a:close/>
                      <a:moveTo>
                        <a:pt x="6" y="8"/>
                      </a:move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13" y="4"/>
                        <a:pt x="13" y="4"/>
                        <a:pt x="13" y="4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3" name="Freeform 695">
                  <a:extLst>
                    <a:ext uri="{FF2B5EF4-FFF2-40B4-BE49-F238E27FC236}">
                      <a16:creationId xmlns:a16="http://schemas.microsoft.com/office/drawing/2014/main" id="{A4EBCD8B-873D-4CAC-AF7E-221D703136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01" y="2110"/>
                  <a:ext cx="108" cy="87"/>
                </a:xfrm>
                <a:custGeom>
                  <a:avLst/>
                  <a:gdLst>
                    <a:gd name="T0" fmla="*/ 2 w 46"/>
                    <a:gd name="T1" fmla="*/ 37 h 37"/>
                    <a:gd name="T2" fmla="*/ 1 w 46"/>
                    <a:gd name="T3" fmla="*/ 37 h 37"/>
                    <a:gd name="T4" fmla="*/ 0 w 46"/>
                    <a:gd name="T5" fmla="*/ 35 h 37"/>
                    <a:gd name="T6" fmla="*/ 0 w 46"/>
                    <a:gd name="T7" fmla="*/ 20 h 37"/>
                    <a:gd name="T8" fmla="*/ 1 w 46"/>
                    <a:gd name="T9" fmla="*/ 18 h 37"/>
                    <a:gd name="T10" fmla="*/ 32 w 46"/>
                    <a:gd name="T11" fmla="*/ 0 h 37"/>
                    <a:gd name="T12" fmla="*/ 34 w 46"/>
                    <a:gd name="T13" fmla="*/ 0 h 37"/>
                    <a:gd name="T14" fmla="*/ 35 w 46"/>
                    <a:gd name="T15" fmla="*/ 2 h 37"/>
                    <a:gd name="T16" fmla="*/ 35 w 46"/>
                    <a:gd name="T17" fmla="*/ 3 h 37"/>
                    <a:gd name="T18" fmla="*/ 45 w 46"/>
                    <a:gd name="T19" fmla="*/ 9 h 37"/>
                    <a:gd name="T20" fmla="*/ 46 w 46"/>
                    <a:gd name="T21" fmla="*/ 11 h 37"/>
                    <a:gd name="T22" fmla="*/ 45 w 46"/>
                    <a:gd name="T23" fmla="*/ 13 h 37"/>
                    <a:gd name="T24" fmla="*/ 3 w 46"/>
                    <a:gd name="T25" fmla="*/ 37 h 37"/>
                    <a:gd name="T26" fmla="*/ 2 w 46"/>
                    <a:gd name="T27" fmla="*/ 37 h 37"/>
                    <a:gd name="T28" fmla="*/ 4 w 46"/>
                    <a:gd name="T29" fmla="*/ 21 h 37"/>
                    <a:gd name="T30" fmla="*/ 4 w 46"/>
                    <a:gd name="T31" fmla="*/ 32 h 37"/>
                    <a:gd name="T32" fmla="*/ 40 w 46"/>
                    <a:gd name="T33" fmla="*/ 11 h 37"/>
                    <a:gd name="T34" fmla="*/ 32 w 46"/>
                    <a:gd name="T35" fmla="*/ 6 h 37"/>
                    <a:gd name="T36" fmla="*/ 31 w 46"/>
                    <a:gd name="T37" fmla="*/ 5 h 37"/>
                    <a:gd name="T38" fmla="*/ 4 w 46"/>
                    <a:gd name="T39" fmla="*/ 2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6" h="37">
                      <a:moveTo>
                        <a:pt x="2" y="37"/>
                      </a:moveTo>
                      <a:cubicBezTo>
                        <a:pt x="1" y="37"/>
                        <a:pt x="1" y="37"/>
                        <a:pt x="1" y="37"/>
                      </a:cubicBezTo>
                      <a:cubicBezTo>
                        <a:pt x="0" y="37"/>
                        <a:pt x="0" y="36"/>
                        <a:pt x="0" y="35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9"/>
                        <a:pt x="0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34" y="0"/>
                        <a:pt x="35" y="1"/>
                        <a:pt x="35" y="2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6" y="10"/>
                        <a:pt x="46" y="10"/>
                        <a:pt x="46" y="11"/>
                      </a:cubicBezTo>
                      <a:cubicBezTo>
                        <a:pt x="46" y="12"/>
                        <a:pt x="46" y="12"/>
                        <a:pt x="45" y="13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37"/>
                        <a:pt x="2" y="37"/>
                        <a:pt x="2" y="37"/>
                      </a:cubicBezTo>
                      <a:close/>
                      <a:moveTo>
                        <a:pt x="4" y="21"/>
                      </a:move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32" y="6"/>
                        <a:pt x="32" y="6"/>
                        <a:pt x="32" y="6"/>
                      </a:cubicBezTo>
                      <a:cubicBezTo>
                        <a:pt x="31" y="6"/>
                        <a:pt x="31" y="5"/>
                        <a:pt x="31" y="5"/>
                      </a:cubicBezTo>
                      <a:lnTo>
                        <a:pt x="4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4" name="Freeform 696">
                  <a:extLst>
                    <a:ext uri="{FF2B5EF4-FFF2-40B4-BE49-F238E27FC236}">
                      <a16:creationId xmlns:a16="http://schemas.microsoft.com/office/drawing/2014/main" id="{7C3343C5-1E66-49C2-AEB1-7042E1ECBC3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916"/>
                  <a:ext cx="340" cy="279"/>
                </a:xfrm>
                <a:custGeom>
                  <a:avLst/>
                  <a:gdLst>
                    <a:gd name="T0" fmla="*/ 56 w 144"/>
                    <a:gd name="T1" fmla="*/ 118 h 118"/>
                    <a:gd name="T2" fmla="*/ 55 w 144"/>
                    <a:gd name="T3" fmla="*/ 118 h 118"/>
                    <a:gd name="T4" fmla="*/ 54 w 144"/>
                    <a:gd name="T5" fmla="*/ 116 h 118"/>
                    <a:gd name="T6" fmla="*/ 54 w 144"/>
                    <a:gd name="T7" fmla="*/ 41 h 118"/>
                    <a:gd name="T8" fmla="*/ 1 w 144"/>
                    <a:gd name="T9" fmla="*/ 10 h 118"/>
                    <a:gd name="T10" fmla="*/ 0 w 144"/>
                    <a:gd name="T11" fmla="*/ 8 h 118"/>
                    <a:gd name="T12" fmla="*/ 0 w 144"/>
                    <a:gd name="T13" fmla="*/ 7 h 118"/>
                    <a:gd name="T14" fmla="*/ 1 w 144"/>
                    <a:gd name="T15" fmla="*/ 5 h 118"/>
                    <a:gd name="T16" fmla="*/ 3 w 144"/>
                    <a:gd name="T17" fmla="*/ 5 h 118"/>
                    <a:gd name="T18" fmla="*/ 58 w 144"/>
                    <a:gd name="T19" fmla="*/ 37 h 118"/>
                    <a:gd name="T20" fmla="*/ 119 w 144"/>
                    <a:gd name="T21" fmla="*/ 2 h 118"/>
                    <a:gd name="T22" fmla="*/ 119 w 144"/>
                    <a:gd name="T23" fmla="*/ 2 h 118"/>
                    <a:gd name="T24" fmla="*/ 121 w 144"/>
                    <a:gd name="T25" fmla="*/ 1 h 118"/>
                    <a:gd name="T26" fmla="*/ 123 w 144"/>
                    <a:gd name="T27" fmla="*/ 1 h 118"/>
                    <a:gd name="T28" fmla="*/ 143 w 144"/>
                    <a:gd name="T29" fmla="*/ 12 h 118"/>
                    <a:gd name="T30" fmla="*/ 144 w 144"/>
                    <a:gd name="T31" fmla="*/ 14 h 118"/>
                    <a:gd name="T32" fmla="*/ 143 w 144"/>
                    <a:gd name="T33" fmla="*/ 16 h 118"/>
                    <a:gd name="T34" fmla="*/ 132 w 144"/>
                    <a:gd name="T35" fmla="*/ 22 h 118"/>
                    <a:gd name="T36" fmla="*/ 130 w 144"/>
                    <a:gd name="T37" fmla="*/ 22 h 118"/>
                    <a:gd name="T38" fmla="*/ 117 w 144"/>
                    <a:gd name="T39" fmla="*/ 14 h 118"/>
                    <a:gd name="T40" fmla="*/ 117 w 144"/>
                    <a:gd name="T41" fmla="*/ 30 h 118"/>
                    <a:gd name="T42" fmla="*/ 116 w 144"/>
                    <a:gd name="T43" fmla="*/ 31 h 118"/>
                    <a:gd name="T44" fmla="*/ 84 w 144"/>
                    <a:gd name="T45" fmla="*/ 50 h 118"/>
                    <a:gd name="T46" fmla="*/ 84 w 144"/>
                    <a:gd name="T47" fmla="*/ 101 h 118"/>
                    <a:gd name="T48" fmla="*/ 83 w 144"/>
                    <a:gd name="T49" fmla="*/ 102 h 118"/>
                    <a:gd name="T50" fmla="*/ 57 w 144"/>
                    <a:gd name="T51" fmla="*/ 118 h 118"/>
                    <a:gd name="T52" fmla="*/ 56 w 144"/>
                    <a:gd name="T53" fmla="*/ 118 h 118"/>
                    <a:gd name="T54" fmla="*/ 58 w 144"/>
                    <a:gd name="T55" fmla="*/ 41 h 118"/>
                    <a:gd name="T56" fmla="*/ 58 w 144"/>
                    <a:gd name="T57" fmla="*/ 112 h 118"/>
                    <a:gd name="T58" fmla="*/ 80 w 144"/>
                    <a:gd name="T59" fmla="*/ 99 h 118"/>
                    <a:gd name="T60" fmla="*/ 80 w 144"/>
                    <a:gd name="T61" fmla="*/ 48 h 118"/>
                    <a:gd name="T62" fmla="*/ 81 w 144"/>
                    <a:gd name="T63" fmla="*/ 47 h 118"/>
                    <a:gd name="T64" fmla="*/ 113 w 144"/>
                    <a:gd name="T65" fmla="*/ 29 h 118"/>
                    <a:gd name="T66" fmla="*/ 113 w 144"/>
                    <a:gd name="T67" fmla="*/ 11 h 118"/>
                    <a:gd name="T68" fmla="*/ 113 w 144"/>
                    <a:gd name="T69" fmla="*/ 10 h 118"/>
                    <a:gd name="T70" fmla="*/ 59 w 144"/>
                    <a:gd name="T71" fmla="*/ 41 h 118"/>
                    <a:gd name="T72" fmla="*/ 58 w 144"/>
                    <a:gd name="T73" fmla="*/ 41 h 118"/>
                    <a:gd name="T74" fmla="*/ 115 w 144"/>
                    <a:gd name="T75" fmla="*/ 9 h 118"/>
                    <a:gd name="T76" fmla="*/ 116 w 144"/>
                    <a:gd name="T77" fmla="*/ 9 h 118"/>
                    <a:gd name="T78" fmla="*/ 131 w 144"/>
                    <a:gd name="T79" fmla="*/ 18 h 118"/>
                    <a:gd name="T80" fmla="*/ 138 w 144"/>
                    <a:gd name="T81" fmla="*/ 14 h 118"/>
                    <a:gd name="T82" fmla="*/ 122 w 144"/>
                    <a:gd name="T83" fmla="*/ 5 h 118"/>
                    <a:gd name="T84" fmla="*/ 121 w 144"/>
                    <a:gd name="T85" fmla="*/ 5 h 118"/>
                    <a:gd name="T86" fmla="*/ 121 w 144"/>
                    <a:gd name="T87" fmla="*/ 5 h 118"/>
                    <a:gd name="T88" fmla="*/ 115 w 144"/>
                    <a:gd name="T89" fmla="*/ 9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44" h="118">
                      <a:moveTo>
                        <a:pt x="56" y="118"/>
                      </a:moveTo>
                      <a:cubicBezTo>
                        <a:pt x="56" y="118"/>
                        <a:pt x="55" y="118"/>
                        <a:pt x="55" y="118"/>
                      </a:cubicBezTo>
                      <a:cubicBezTo>
                        <a:pt x="54" y="117"/>
                        <a:pt x="54" y="117"/>
                        <a:pt x="54" y="116"/>
                      </a:cubicBezTo>
                      <a:cubicBezTo>
                        <a:pt x="54" y="41"/>
                        <a:pt x="54" y="41"/>
                        <a:pt x="54" y="41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1" y="4"/>
                        <a:pt x="2" y="4"/>
                        <a:pt x="3" y="5"/>
                      </a:cubicBezTo>
                      <a:cubicBezTo>
                        <a:pt x="58" y="37"/>
                        <a:pt x="58" y="37"/>
                        <a:pt x="58" y="37"/>
                      </a:cubicBezTo>
                      <a:cubicBezTo>
                        <a:pt x="119" y="2"/>
                        <a:pt x="119" y="2"/>
                        <a:pt x="119" y="2"/>
                      </a:cubicBezTo>
                      <a:cubicBezTo>
                        <a:pt x="119" y="2"/>
                        <a:pt x="119" y="2"/>
                        <a:pt x="119" y="2"/>
                      </a:cubicBezTo>
                      <a:cubicBezTo>
                        <a:pt x="121" y="1"/>
                        <a:pt x="121" y="1"/>
                        <a:pt x="121" y="1"/>
                      </a:cubicBezTo>
                      <a:cubicBezTo>
                        <a:pt x="122" y="0"/>
                        <a:pt x="122" y="0"/>
                        <a:pt x="123" y="1"/>
                      </a:cubicBezTo>
                      <a:cubicBezTo>
                        <a:pt x="143" y="12"/>
                        <a:pt x="143" y="12"/>
                        <a:pt x="143" y="12"/>
                      </a:cubicBezTo>
                      <a:cubicBezTo>
                        <a:pt x="144" y="13"/>
                        <a:pt x="144" y="13"/>
                        <a:pt x="144" y="14"/>
                      </a:cubicBezTo>
                      <a:cubicBezTo>
                        <a:pt x="144" y="15"/>
                        <a:pt x="144" y="15"/>
                        <a:pt x="143" y="16"/>
                      </a:cubicBezTo>
                      <a:cubicBezTo>
                        <a:pt x="132" y="22"/>
                        <a:pt x="132" y="22"/>
                        <a:pt x="132" y="22"/>
                      </a:cubicBezTo>
                      <a:cubicBezTo>
                        <a:pt x="131" y="22"/>
                        <a:pt x="131" y="22"/>
                        <a:pt x="130" y="22"/>
                      </a:cubicBezTo>
                      <a:cubicBezTo>
                        <a:pt x="117" y="14"/>
                        <a:pt x="117" y="14"/>
                        <a:pt x="117" y="14"/>
                      </a:cubicBezTo>
                      <a:cubicBezTo>
                        <a:pt x="117" y="30"/>
                        <a:pt x="117" y="30"/>
                        <a:pt x="117" y="30"/>
                      </a:cubicBezTo>
                      <a:cubicBezTo>
                        <a:pt x="117" y="30"/>
                        <a:pt x="116" y="31"/>
                        <a:pt x="116" y="31"/>
                      </a:cubicBezTo>
                      <a:cubicBezTo>
                        <a:pt x="84" y="50"/>
                        <a:pt x="84" y="50"/>
                        <a:pt x="84" y="50"/>
                      </a:cubicBezTo>
                      <a:cubicBezTo>
                        <a:pt x="84" y="101"/>
                        <a:pt x="84" y="101"/>
                        <a:pt x="84" y="101"/>
                      </a:cubicBezTo>
                      <a:cubicBezTo>
                        <a:pt x="84" y="101"/>
                        <a:pt x="84" y="102"/>
                        <a:pt x="83" y="102"/>
                      </a:cubicBezTo>
                      <a:cubicBezTo>
                        <a:pt x="57" y="118"/>
                        <a:pt x="57" y="118"/>
                        <a:pt x="57" y="118"/>
                      </a:cubicBezTo>
                      <a:cubicBezTo>
                        <a:pt x="57" y="118"/>
                        <a:pt x="56" y="118"/>
                        <a:pt x="56" y="118"/>
                      </a:cubicBezTo>
                      <a:close/>
                      <a:moveTo>
                        <a:pt x="58" y="41"/>
                      </a:moveTo>
                      <a:cubicBezTo>
                        <a:pt x="58" y="112"/>
                        <a:pt x="58" y="112"/>
                        <a:pt x="58" y="112"/>
                      </a:cubicBezTo>
                      <a:cubicBezTo>
                        <a:pt x="80" y="99"/>
                        <a:pt x="80" y="99"/>
                        <a:pt x="80" y="99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80" y="48"/>
                        <a:pt x="81" y="47"/>
                        <a:pt x="81" y="47"/>
                      </a:cubicBezTo>
                      <a:cubicBezTo>
                        <a:pt x="113" y="29"/>
                        <a:pt x="113" y="29"/>
                        <a:pt x="113" y="29"/>
                      </a:cubicBezTo>
                      <a:cubicBezTo>
                        <a:pt x="113" y="11"/>
                        <a:pt x="113" y="11"/>
                        <a:pt x="113" y="11"/>
                      </a:cubicBezTo>
                      <a:cubicBezTo>
                        <a:pt x="113" y="11"/>
                        <a:pt x="113" y="10"/>
                        <a:pt x="113" y="10"/>
                      </a:cubicBezTo>
                      <a:cubicBezTo>
                        <a:pt x="59" y="41"/>
                        <a:pt x="59" y="41"/>
                        <a:pt x="59" y="41"/>
                      </a:cubicBezTo>
                      <a:cubicBezTo>
                        <a:pt x="59" y="41"/>
                        <a:pt x="58" y="41"/>
                        <a:pt x="58" y="41"/>
                      </a:cubicBezTo>
                      <a:close/>
                      <a:moveTo>
                        <a:pt x="115" y="9"/>
                      </a:moveTo>
                      <a:cubicBezTo>
                        <a:pt x="115" y="9"/>
                        <a:pt x="115" y="9"/>
                        <a:pt x="116" y="9"/>
                      </a:cubicBezTo>
                      <a:cubicBezTo>
                        <a:pt x="131" y="18"/>
                        <a:pt x="131" y="18"/>
                        <a:pt x="131" y="18"/>
                      </a:cubicBezTo>
                      <a:cubicBezTo>
                        <a:pt x="138" y="14"/>
                        <a:pt x="138" y="14"/>
                        <a:pt x="138" y="14"/>
                      </a:cubicBezTo>
                      <a:cubicBezTo>
                        <a:pt x="122" y="5"/>
                        <a:pt x="122" y="5"/>
                        <a:pt x="122" y="5"/>
                      </a:cubicBezTo>
                      <a:cubicBezTo>
                        <a:pt x="121" y="5"/>
                        <a:pt x="121" y="5"/>
                        <a:pt x="121" y="5"/>
                      </a:cubicBezTo>
                      <a:cubicBezTo>
                        <a:pt x="121" y="5"/>
                        <a:pt x="121" y="5"/>
                        <a:pt x="121" y="5"/>
                      </a:cubicBezTo>
                      <a:lnTo>
                        <a:pt x="115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5" name="Freeform 697">
                  <a:extLst>
                    <a:ext uri="{FF2B5EF4-FFF2-40B4-BE49-F238E27FC236}">
                      <a16:creationId xmlns:a16="http://schemas.microsoft.com/office/drawing/2014/main" id="{8455D2AE-E050-496F-BBDA-C6E16A261F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16" y="1094"/>
                  <a:ext cx="196" cy="139"/>
                </a:xfrm>
                <a:custGeom>
                  <a:avLst/>
                  <a:gdLst>
                    <a:gd name="T0" fmla="*/ 81 w 83"/>
                    <a:gd name="T1" fmla="*/ 59 h 59"/>
                    <a:gd name="T2" fmla="*/ 80 w 83"/>
                    <a:gd name="T3" fmla="*/ 59 h 59"/>
                    <a:gd name="T4" fmla="*/ 70 w 83"/>
                    <a:gd name="T5" fmla="*/ 53 h 59"/>
                    <a:gd name="T6" fmla="*/ 69 w 83"/>
                    <a:gd name="T7" fmla="*/ 51 h 59"/>
                    <a:gd name="T8" fmla="*/ 69 w 83"/>
                    <a:gd name="T9" fmla="*/ 49 h 59"/>
                    <a:gd name="T10" fmla="*/ 67 w 83"/>
                    <a:gd name="T11" fmla="*/ 50 h 59"/>
                    <a:gd name="T12" fmla="*/ 65 w 83"/>
                    <a:gd name="T13" fmla="*/ 50 h 59"/>
                    <a:gd name="T14" fmla="*/ 1 w 83"/>
                    <a:gd name="T15" fmla="*/ 13 h 59"/>
                    <a:gd name="T16" fmla="*/ 0 w 83"/>
                    <a:gd name="T17" fmla="*/ 11 h 59"/>
                    <a:gd name="T18" fmla="*/ 1 w 83"/>
                    <a:gd name="T19" fmla="*/ 10 h 59"/>
                    <a:gd name="T20" fmla="*/ 18 w 83"/>
                    <a:gd name="T21" fmla="*/ 0 h 59"/>
                    <a:gd name="T22" fmla="*/ 20 w 83"/>
                    <a:gd name="T23" fmla="*/ 0 h 59"/>
                    <a:gd name="T24" fmla="*/ 82 w 83"/>
                    <a:gd name="T25" fmla="*/ 36 h 59"/>
                    <a:gd name="T26" fmla="*/ 83 w 83"/>
                    <a:gd name="T27" fmla="*/ 38 h 59"/>
                    <a:gd name="T28" fmla="*/ 83 w 83"/>
                    <a:gd name="T29" fmla="*/ 57 h 59"/>
                    <a:gd name="T30" fmla="*/ 82 w 83"/>
                    <a:gd name="T31" fmla="*/ 59 h 59"/>
                    <a:gd name="T32" fmla="*/ 81 w 83"/>
                    <a:gd name="T33" fmla="*/ 59 h 59"/>
                    <a:gd name="T34" fmla="*/ 73 w 83"/>
                    <a:gd name="T35" fmla="*/ 50 h 59"/>
                    <a:gd name="T36" fmla="*/ 79 w 83"/>
                    <a:gd name="T37" fmla="*/ 54 h 59"/>
                    <a:gd name="T38" fmla="*/ 79 w 83"/>
                    <a:gd name="T39" fmla="*/ 39 h 59"/>
                    <a:gd name="T40" fmla="*/ 19 w 83"/>
                    <a:gd name="T41" fmla="*/ 4 h 59"/>
                    <a:gd name="T42" fmla="*/ 6 w 83"/>
                    <a:gd name="T43" fmla="*/ 11 h 59"/>
                    <a:gd name="T44" fmla="*/ 66 w 83"/>
                    <a:gd name="T45" fmla="*/ 46 h 59"/>
                    <a:gd name="T46" fmla="*/ 70 w 83"/>
                    <a:gd name="T47" fmla="*/ 44 h 59"/>
                    <a:gd name="T48" fmla="*/ 72 w 83"/>
                    <a:gd name="T49" fmla="*/ 44 h 59"/>
                    <a:gd name="T50" fmla="*/ 73 w 83"/>
                    <a:gd name="T51" fmla="*/ 45 h 59"/>
                    <a:gd name="T52" fmla="*/ 73 w 83"/>
                    <a:gd name="T53" fmla="*/ 5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3" h="59">
                      <a:moveTo>
                        <a:pt x="81" y="59"/>
                      </a:moveTo>
                      <a:cubicBezTo>
                        <a:pt x="81" y="59"/>
                        <a:pt x="81" y="59"/>
                        <a:pt x="80" y="59"/>
                      </a:cubicBezTo>
                      <a:cubicBezTo>
                        <a:pt x="70" y="53"/>
                        <a:pt x="70" y="53"/>
                        <a:pt x="70" y="53"/>
                      </a:cubicBezTo>
                      <a:cubicBezTo>
                        <a:pt x="70" y="53"/>
                        <a:pt x="69" y="52"/>
                        <a:pt x="69" y="51"/>
                      </a:cubicBezTo>
                      <a:cubicBezTo>
                        <a:pt x="69" y="49"/>
                        <a:pt x="69" y="49"/>
                        <a:pt x="69" y="49"/>
                      </a:cubicBez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6" y="50"/>
                        <a:pt x="66" y="50"/>
                        <a:pt x="65" y="50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" y="13"/>
                        <a:pt x="0" y="12"/>
                        <a:pt x="0" y="11"/>
                      </a:cubicBezTo>
                      <a:cubicBezTo>
                        <a:pt x="0" y="11"/>
                        <a:pt x="1" y="10"/>
                        <a:pt x="1" y="1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9" y="0"/>
                        <a:pt x="19" y="0"/>
                        <a:pt x="20" y="0"/>
                      </a:cubicBezTo>
                      <a:cubicBezTo>
                        <a:pt x="82" y="36"/>
                        <a:pt x="82" y="36"/>
                        <a:pt x="82" y="36"/>
                      </a:cubicBezTo>
                      <a:cubicBezTo>
                        <a:pt x="83" y="36"/>
                        <a:pt x="83" y="37"/>
                        <a:pt x="83" y="38"/>
                      </a:cubicBezTo>
                      <a:cubicBezTo>
                        <a:pt x="83" y="57"/>
                        <a:pt x="83" y="57"/>
                        <a:pt x="83" y="57"/>
                      </a:cubicBezTo>
                      <a:cubicBezTo>
                        <a:pt x="83" y="58"/>
                        <a:pt x="83" y="58"/>
                        <a:pt x="82" y="59"/>
                      </a:cubicBezTo>
                      <a:cubicBezTo>
                        <a:pt x="82" y="59"/>
                        <a:pt x="82" y="59"/>
                        <a:pt x="81" y="59"/>
                      </a:cubicBezTo>
                      <a:close/>
                      <a:moveTo>
                        <a:pt x="73" y="50"/>
                      </a:moveTo>
                      <a:cubicBezTo>
                        <a:pt x="79" y="54"/>
                        <a:pt x="79" y="54"/>
                        <a:pt x="79" y="54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66" y="46"/>
                        <a:pt x="66" y="46"/>
                        <a:pt x="66" y="46"/>
                      </a:cubicBezTo>
                      <a:cubicBezTo>
                        <a:pt x="70" y="44"/>
                        <a:pt x="70" y="44"/>
                        <a:pt x="70" y="44"/>
                      </a:cubicBezTo>
                      <a:cubicBezTo>
                        <a:pt x="71" y="43"/>
                        <a:pt x="72" y="43"/>
                        <a:pt x="72" y="44"/>
                      </a:cubicBezTo>
                      <a:cubicBezTo>
                        <a:pt x="73" y="44"/>
                        <a:pt x="73" y="45"/>
                        <a:pt x="73" y="45"/>
                      </a:cubicBezTo>
                      <a:lnTo>
                        <a:pt x="73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6" name="Freeform 698">
                  <a:extLst>
                    <a:ext uri="{FF2B5EF4-FFF2-40B4-BE49-F238E27FC236}">
                      <a16:creationId xmlns:a16="http://schemas.microsoft.com/office/drawing/2014/main" id="{CF707329-38B5-47EE-B7BF-B76B96870CA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607"/>
                  <a:ext cx="156" cy="159"/>
                </a:xfrm>
                <a:custGeom>
                  <a:avLst/>
                  <a:gdLst>
                    <a:gd name="T0" fmla="*/ 64 w 66"/>
                    <a:gd name="T1" fmla="*/ 67 h 67"/>
                    <a:gd name="T2" fmla="*/ 63 w 66"/>
                    <a:gd name="T3" fmla="*/ 67 h 67"/>
                    <a:gd name="T4" fmla="*/ 1 w 66"/>
                    <a:gd name="T5" fmla="*/ 31 h 67"/>
                    <a:gd name="T6" fmla="*/ 0 w 66"/>
                    <a:gd name="T7" fmla="*/ 29 h 67"/>
                    <a:gd name="T8" fmla="*/ 0 w 66"/>
                    <a:gd name="T9" fmla="*/ 23 h 67"/>
                    <a:gd name="T10" fmla="*/ 1 w 66"/>
                    <a:gd name="T11" fmla="*/ 22 h 67"/>
                    <a:gd name="T12" fmla="*/ 38 w 66"/>
                    <a:gd name="T13" fmla="*/ 1 h 67"/>
                    <a:gd name="T14" fmla="*/ 40 w 66"/>
                    <a:gd name="T15" fmla="*/ 1 h 67"/>
                    <a:gd name="T16" fmla="*/ 65 w 66"/>
                    <a:gd name="T17" fmla="*/ 15 h 67"/>
                    <a:gd name="T18" fmla="*/ 66 w 66"/>
                    <a:gd name="T19" fmla="*/ 17 h 67"/>
                    <a:gd name="T20" fmla="*/ 66 w 66"/>
                    <a:gd name="T21" fmla="*/ 65 h 67"/>
                    <a:gd name="T22" fmla="*/ 65 w 66"/>
                    <a:gd name="T23" fmla="*/ 67 h 67"/>
                    <a:gd name="T24" fmla="*/ 64 w 66"/>
                    <a:gd name="T25" fmla="*/ 67 h 67"/>
                    <a:gd name="T26" fmla="*/ 4 w 66"/>
                    <a:gd name="T27" fmla="*/ 28 h 67"/>
                    <a:gd name="T28" fmla="*/ 62 w 66"/>
                    <a:gd name="T29" fmla="*/ 62 h 67"/>
                    <a:gd name="T30" fmla="*/ 62 w 66"/>
                    <a:gd name="T31" fmla="*/ 18 h 67"/>
                    <a:gd name="T32" fmla="*/ 39 w 66"/>
                    <a:gd name="T33" fmla="*/ 5 h 67"/>
                    <a:gd name="T34" fmla="*/ 4 w 66"/>
                    <a:gd name="T35" fmla="*/ 24 h 67"/>
                    <a:gd name="T36" fmla="*/ 4 w 66"/>
                    <a:gd name="T37" fmla="*/ 28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6" h="67">
                      <a:moveTo>
                        <a:pt x="64" y="67"/>
                      </a:moveTo>
                      <a:cubicBezTo>
                        <a:pt x="64" y="67"/>
                        <a:pt x="63" y="67"/>
                        <a:pt x="63" y="67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29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38" y="1"/>
                        <a:pt x="38" y="1"/>
                        <a:pt x="38" y="1"/>
                      </a:cubicBezTo>
                      <a:cubicBezTo>
                        <a:pt x="38" y="0"/>
                        <a:pt x="39" y="0"/>
                        <a:pt x="40" y="1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6" y="16"/>
                        <a:pt x="66" y="16"/>
                        <a:pt x="66" y="17"/>
                      </a:cubicBezTo>
                      <a:cubicBezTo>
                        <a:pt x="66" y="65"/>
                        <a:pt x="66" y="65"/>
                        <a:pt x="66" y="65"/>
                      </a:cubicBezTo>
                      <a:cubicBezTo>
                        <a:pt x="66" y="66"/>
                        <a:pt x="66" y="66"/>
                        <a:pt x="65" y="67"/>
                      </a:cubicBezTo>
                      <a:cubicBezTo>
                        <a:pt x="65" y="67"/>
                        <a:pt x="64" y="67"/>
                        <a:pt x="64" y="67"/>
                      </a:cubicBezTo>
                      <a:close/>
                      <a:moveTo>
                        <a:pt x="4" y="28"/>
                      </a:moveTo>
                      <a:cubicBezTo>
                        <a:pt x="62" y="62"/>
                        <a:pt x="62" y="62"/>
                        <a:pt x="62" y="62"/>
                      </a:cubicBezTo>
                      <a:cubicBezTo>
                        <a:pt x="62" y="18"/>
                        <a:pt x="62" y="18"/>
                        <a:pt x="62" y="18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4" y="24"/>
                        <a:pt x="4" y="24"/>
                        <a:pt x="4" y="24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7" name="Freeform 699">
                  <a:extLst>
                    <a:ext uri="{FF2B5EF4-FFF2-40B4-BE49-F238E27FC236}">
                      <a16:creationId xmlns:a16="http://schemas.microsoft.com/office/drawing/2014/main" id="{08860EFF-6711-47D0-8FCF-445F86E4B4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55" y="3631"/>
                  <a:ext cx="57" cy="64"/>
                </a:xfrm>
                <a:custGeom>
                  <a:avLst/>
                  <a:gdLst>
                    <a:gd name="T0" fmla="*/ 22 w 24"/>
                    <a:gd name="T1" fmla="*/ 27 h 27"/>
                    <a:gd name="T2" fmla="*/ 21 w 24"/>
                    <a:gd name="T3" fmla="*/ 26 h 27"/>
                    <a:gd name="T4" fmla="*/ 1 w 24"/>
                    <a:gd name="T5" fmla="*/ 15 h 27"/>
                    <a:gd name="T6" fmla="*/ 0 w 24"/>
                    <a:gd name="T7" fmla="*/ 13 h 27"/>
                    <a:gd name="T8" fmla="*/ 1 w 24"/>
                    <a:gd name="T9" fmla="*/ 11 h 27"/>
                    <a:gd name="T10" fmla="*/ 21 w 24"/>
                    <a:gd name="T11" fmla="*/ 0 h 27"/>
                    <a:gd name="T12" fmla="*/ 23 w 24"/>
                    <a:gd name="T13" fmla="*/ 0 h 27"/>
                    <a:gd name="T14" fmla="*/ 24 w 24"/>
                    <a:gd name="T15" fmla="*/ 2 h 27"/>
                    <a:gd name="T16" fmla="*/ 24 w 24"/>
                    <a:gd name="T17" fmla="*/ 25 h 27"/>
                    <a:gd name="T18" fmla="*/ 23 w 24"/>
                    <a:gd name="T19" fmla="*/ 26 h 27"/>
                    <a:gd name="T20" fmla="*/ 22 w 24"/>
                    <a:gd name="T21" fmla="*/ 27 h 27"/>
                    <a:gd name="T22" fmla="*/ 6 w 24"/>
                    <a:gd name="T23" fmla="*/ 13 h 27"/>
                    <a:gd name="T24" fmla="*/ 20 w 24"/>
                    <a:gd name="T25" fmla="*/ 21 h 27"/>
                    <a:gd name="T26" fmla="*/ 20 w 24"/>
                    <a:gd name="T27" fmla="*/ 5 h 27"/>
                    <a:gd name="T28" fmla="*/ 6 w 24"/>
                    <a:gd name="T29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7">
                      <a:moveTo>
                        <a:pt x="22" y="27"/>
                      </a:moveTo>
                      <a:cubicBezTo>
                        <a:pt x="22" y="27"/>
                        <a:pt x="22" y="27"/>
                        <a:pt x="21" y="26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1" y="14"/>
                        <a:pt x="0" y="14"/>
                        <a:pt x="0" y="13"/>
                      </a:cubicBezTo>
                      <a:cubicBezTo>
                        <a:pt x="0" y="12"/>
                        <a:pt x="1" y="12"/>
                        <a:pt x="1" y="11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2" y="0"/>
                        <a:pt x="23" y="0"/>
                        <a:pt x="23" y="0"/>
                      </a:cubicBezTo>
                      <a:cubicBezTo>
                        <a:pt x="24" y="0"/>
                        <a:pt x="24" y="1"/>
                        <a:pt x="24" y="2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4" y="25"/>
                        <a:pt x="24" y="26"/>
                        <a:pt x="23" y="26"/>
                      </a:cubicBezTo>
                      <a:cubicBezTo>
                        <a:pt x="23" y="27"/>
                        <a:pt x="23" y="27"/>
                        <a:pt x="22" y="27"/>
                      </a:cubicBezTo>
                      <a:close/>
                      <a:moveTo>
                        <a:pt x="6" y="13"/>
                      </a:moveTo>
                      <a:cubicBezTo>
                        <a:pt x="20" y="21"/>
                        <a:pt x="20" y="21"/>
                        <a:pt x="20" y="21"/>
                      </a:cubicBezTo>
                      <a:cubicBezTo>
                        <a:pt x="20" y="5"/>
                        <a:pt x="20" y="5"/>
                        <a:pt x="20" y="5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8" name="Freeform 700">
                  <a:extLst>
                    <a:ext uri="{FF2B5EF4-FFF2-40B4-BE49-F238E27FC236}">
                      <a16:creationId xmlns:a16="http://schemas.microsoft.com/office/drawing/2014/main" id="{245701B6-57FE-4FF2-BD9D-0B5712FB536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525"/>
                  <a:ext cx="140" cy="87"/>
                </a:xfrm>
                <a:custGeom>
                  <a:avLst/>
                  <a:gdLst>
                    <a:gd name="T0" fmla="*/ 39 w 59"/>
                    <a:gd name="T1" fmla="*/ 37 h 37"/>
                    <a:gd name="T2" fmla="*/ 38 w 59"/>
                    <a:gd name="T3" fmla="*/ 37 h 37"/>
                    <a:gd name="T4" fmla="*/ 1 w 59"/>
                    <a:gd name="T5" fmla="*/ 16 h 37"/>
                    <a:gd name="T6" fmla="*/ 0 w 59"/>
                    <a:gd name="T7" fmla="*/ 14 h 37"/>
                    <a:gd name="T8" fmla="*/ 0 w 59"/>
                    <a:gd name="T9" fmla="*/ 11 h 37"/>
                    <a:gd name="T10" fmla="*/ 1 w 59"/>
                    <a:gd name="T11" fmla="*/ 10 h 37"/>
                    <a:gd name="T12" fmla="*/ 17 w 59"/>
                    <a:gd name="T13" fmla="*/ 0 h 37"/>
                    <a:gd name="T14" fmla="*/ 19 w 59"/>
                    <a:gd name="T15" fmla="*/ 0 h 37"/>
                    <a:gd name="T16" fmla="*/ 58 w 59"/>
                    <a:gd name="T17" fmla="*/ 23 h 37"/>
                    <a:gd name="T18" fmla="*/ 59 w 59"/>
                    <a:gd name="T19" fmla="*/ 25 h 37"/>
                    <a:gd name="T20" fmla="*/ 58 w 59"/>
                    <a:gd name="T21" fmla="*/ 26 h 37"/>
                    <a:gd name="T22" fmla="*/ 40 w 59"/>
                    <a:gd name="T23" fmla="*/ 37 h 37"/>
                    <a:gd name="T24" fmla="*/ 39 w 59"/>
                    <a:gd name="T25" fmla="*/ 37 h 37"/>
                    <a:gd name="T26" fmla="*/ 4 w 59"/>
                    <a:gd name="T27" fmla="*/ 13 h 37"/>
                    <a:gd name="T28" fmla="*/ 39 w 59"/>
                    <a:gd name="T29" fmla="*/ 33 h 37"/>
                    <a:gd name="T30" fmla="*/ 53 w 59"/>
                    <a:gd name="T31" fmla="*/ 25 h 37"/>
                    <a:gd name="T32" fmla="*/ 18 w 59"/>
                    <a:gd name="T33" fmla="*/ 4 h 37"/>
                    <a:gd name="T34" fmla="*/ 4 w 59"/>
                    <a:gd name="T35" fmla="*/ 1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9" h="37">
                      <a:moveTo>
                        <a:pt x="39" y="37"/>
                      </a:moveTo>
                      <a:cubicBezTo>
                        <a:pt x="38" y="37"/>
                        <a:pt x="38" y="37"/>
                        <a:pt x="38" y="37"/>
                      </a:cubicBezTo>
                      <a:cubicBezTo>
                        <a:pt x="1" y="16"/>
                        <a:pt x="1" y="16"/>
                        <a:pt x="1" y="16"/>
                      </a:cubicBezTo>
                      <a:cubicBezTo>
                        <a:pt x="0" y="16"/>
                        <a:pt x="0" y="15"/>
                        <a:pt x="0" y="14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1"/>
                        <a:pt x="0" y="10"/>
                        <a:pt x="1" y="1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8" y="0"/>
                        <a:pt x="19" y="0"/>
                        <a:pt x="19" y="0"/>
                      </a:cubicBez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59" y="23"/>
                        <a:pt x="59" y="24"/>
                        <a:pt x="59" y="25"/>
                      </a:cubicBezTo>
                      <a:cubicBezTo>
                        <a:pt x="59" y="25"/>
                        <a:pt x="59" y="26"/>
                        <a:pt x="58" y="26"/>
                      </a:cubicBezTo>
                      <a:cubicBezTo>
                        <a:pt x="40" y="37"/>
                        <a:pt x="40" y="37"/>
                        <a:pt x="40" y="37"/>
                      </a:cubicBezTo>
                      <a:cubicBezTo>
                        <a:pt x="39" y="37"/>
                        <a:pt x="39" y="37"/>
                        <a:pt x="39" y="37"/>
                      </a:cubicBezTo>
                      <a:close/>
                      <a:moveTo>
                        <a:pt x="4" y="13"/>
                      </a:move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53" y="25"/>
                        <a:pt x="53" y="25"/>
                        <a:pt x="53" y="25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4" y="13"/>
                        <a:pt x="4" y="13"/>
                        <a:pt x="4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9" name="Freeform 701">
                  <a:extLst>
                    <a:ext uri="{FF2B5EF4-FFF2-40B4-BE49-F238E27FC236}">
                      <a16:creationId xmlns:a16="http://schemas.microsoft.com/office/drawing/2014/main" id="{F3D73D13-8650-4024-87CB-A1943B5F63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515"/>
                  <a:ext cx="45" cy="36"/>
                </a:xfrm>
                <a:custGeom>
                  <a:avLst/>
                  <a:gdLst>
                    <a:gd name="T0" fmla="*/ 2 w 19"/>
                    <a:gd name="T1" fmla="*/ 15 h 15"/>
                    <a:gd name="T2" fmla="*/ 1 w 19"/>
                    <a:gd name="T3" fmla="*/ 15 h 15"/>
                    <a:gd name="T4" fmla="*/ 0 w 19"/>
                    <a:gd name="T5" fmla="*/ 13 h 15"/>
                    <a:gd name="T6" fmla="*/ 0 w 19"/>
                    <a:gd name="T7" fmla="*/ 7 h 15"/>
                    <a:gd name="T8" fmla="*/ 1 w 19"/>
                    <a:gd name="T9" fmla="*/ 5 h 15"/>
                    <a:gd name="T10" fmla="*/ 7 w 19"/>
                    <a:gd name="T11" fmla="*/ 1 h 15"/>
                    <a:gd name="T12" fmla="*/ 8 w 19"/>
                    <a:gd name="T13" fmla="*/ 1 h 15"/>
                    <a:gd name="T14" fmla="*/ 9 w 19"/>
                    <a:gd name="T15" fmla="*/ 0 h 15"/>
                    <a:gd name="T16" fmla="*/ 9 w 19"/>
                    <a:gd name="T17" fmla="*/ 0 h 15"/>
                    <a:gd name="T18" fmla="*/ 12 w 19"/>
                    <a:gd name="T19" fmla="*/ 0 h 15"/>
                    <a:gd name="T20" fmla="*/ 18 w 19"/>
                    <a:gd name="T21" fmla="*/ 3 h 15"/>
                    <a:gd name="T22" fmla="*/ 19 w 19"/>
                    <a:gd name="T23" fmla="*/ 5 h 15"/>
                    <a:gd name="T24" fmla="*/ 18 w 19"/>
                    <a:gd name="T25" fmla="*/ 7 h 15"/>
                    <a:gd name="T26" fmla="*/ 3 w 19"/>
                    <a:gd name="T27" fmla="*/ 15 h 15"/>
                    <a:gd name="T28" fmla="*/ 2 w 19"/>
                    <a:gd name="T29" fmla="*/ 15 h 15"/>
                    <a:gd name="T30" fmla="*/ 4 w 19"/>
                    <a:gd name="T31" fmla="*/ 8 h 15"/>
                    <a:gd name="T32" fmla="*/ 4 w 19"/>
                    <a:gd name="T33" fmla="*/ 10 h 15"/>
                    <a:gd name="T34" fmla="*/ 13 w 19"/>
                    <a:gd name="T35" fmla="*/ 5 h 15"/>
                    <a:gd name="T36" fmla="*/ 12 w 19"/>
                    <a:gd name="T37" fmla="*/ 5 h 15"/>
                    <a:gd name="T38" fmla="*/ 11 w 19"/>
                    <a:gd name="T39" fmla="*/ 5 h 15"/>
                    <a:gd name="T40" fmla="*/ 9 w 19"/>
                    <a:gd name="T41" fmla="*/ 5 h 15"/>
                    <a:gd name="T42" fmla="*/ 8 w 19"/>
                    <a:gd name="T43" fmla="*/ 5 h 15"/>
                    <a:gd name="T44" fmla="*/ 4 w 19"/>
                    <a:gd name="T45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9" h="15">
                      <a:moveTo>
                        <a:pt x="2" y="15"/>
                      </a:moveTo>
                      <a:cubicBezTo>
                        <a:pt x="2" y="15"/>
                        <a:pt x="1" y="15"/>
                        <a:pt x="1" y="15"/>
                      </a:cubicBezTo>
                      <a:cubicBezTo>
                        <a:pt x="0" y="15"/>
                        <a:pt x="0" y="14"/>
                        <a:pt x="0" y="13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0" y="5"/>
                        <a:pt x="1" y="5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8" y="1"/>
                        <a:pt x="9" y="0"/>
                        <a:pt x="9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2" y="0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8" y="4"/>
                        <a:pt x="19" y="4"/>
                        <a:pt x="19" y="5"/>
                      </a:cubicBezTo>
                      <a:cubicBezTo>
                        <a:pt x="19" y="6"/>
                        <a:pt x="18" y="7"/>
                        <a:pt x="18" y="7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3" y="15"/>
                        <a:pt x="2" y="15"/>
                        <a:pt x="2" y="15"/>
                      </a:cubicBezTo>
                      <a:close/>
                      <a:moveTo>
                        <a:pt x="4" y="8"/>
                      </a:move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1" y="5"/>
                        <a:pt x="11" y="5"/>
                      </a:cubicBezTo>
                      <a:cubicBezTo>
                        <a:pt x="10" y="6"/>
                        <a:pt x="10" y="6"/>
                        <a:pt x="9" y="5"/>
                      </a:cubicBezTo>
                      <a:cubicBezTo>
                        <a:pt x="8" y="5"/>
                        <a:pt x="8" y="5"/>
                        <a:pt x="8" y="5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0" name="Freeform 702">
                  <a:extLst>
                    <a:ext uri="{FF2B5EF4-FFF2-40B4-BE49-F238E27FC236}">
                      <a16:creationId xmlns:a16="http://schemas.microsoft.com/office/drawing/2014/main" id="{13F56D20-A7CC-4C60-9D0C-1418600D48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15" y="3466"/>
                  <a:ext cx="97" cy="198"/>
                </a:xfrm>
                <a:custGeom>
                  <a:avLst/>
                  <a:gdLst>
                    <a:gd name="T0" fmla="*/ 18 w 41"/>
                    <a:gd name="T1" fmla="*/ 84 h 84"/>
                    <a:gd name="T2" fmla="*/ 17 w 41"/>
                    <a:gd name="T3" fmla="*/ 84 h 84"/>
                    <a:gd name="T4" fmla="*/ 1 w 41"/>
                    <a:gd name="T5" fmla="*/ 75 h 84"/>
                    <a:gd name="T6" fmla="*/ 0 w 41"/>
                    <a:gd name="T7" fmla="*/ 73 h 84"/>
                    <a:gd name="T8" fmla="*/ 0 w 41"/>
                    <a:gd name="T9" fmla="*/ 55 h 84"/>
                    <a:gd name="T10" fmla="*/ 1 w 41"/>
                    <a:gd name="T11" fmla="*/ 54 h 84"/>
                    <a:gd name="T12" fmla="*/ 28 w 41"/>
                    <a:gd name="T13" fmla="*/ 38 h 84"/>
                    <a:gd name="T14" fmla="*/ 3 w 41"/>
                    <a:gd name="T15" fmla="*/ 24 h 84"/>
                    <a:gd name="T16" fmla="*/ 2 w 41"/>
                    <a:gd name="T17" fmla="*/ 22 h 84"/>
                    <a:gd name="T18" fmla="*/ 3 w 41"/>
                    <a:gd name="T19" fmla="*/ 20 h 84"/>
                    <a:gd name="T20" fmla="*/ 38 w 41"/>
                    <a:gd name="T21" fmla="*/ 0 h 84"/>
                    <a:gd name="T22" fmla="*/ 40 w 41"/>
                    <a:gd name="T23" fmla="*/ 0 h 84"/>
                    <a:gd name="T24" fmla="*/ 41 w 41"/>
                    <a:gd name="T25" fmla="*/ 2 h 84"/>
                    <a:gd name="T26" fmla="*/ 41 w 41"/>
                    <a:gd name="T27" fmla="*/ 70 h 84"/>
                    <a:gd name="T28" fmla="*/ 40 w 41"/>
                    <a:gd name="T29" fmla="*/ 71 h 84"/>
                    <a:gd name="T30" fmla="*/ 19 w 41"/>
                    <a:gd name="T31" fmla="*/ 84 h 84"/>
                    <a:gd name="T32" fmla="*/ 18 w 41"/>
                    <a:gd name="T33" fmla="*/ 84 h 84"/>
                    <a:gd name="T34" fmla="*/ 4 w 41"/>
                    <a:gd name="T35" fmla="*/ 72 h 84"/>
                    <a:gd name="T36" fmla="*/ 18 w 41"/>
                    <a:gd name="T37" fmla="*/ 80 h 84"/>
                    <a:gd name="T38" fmla="*/ 37 w 41"/>
                    <a:gd name="T39" fmla="*/ 69 h 84"/>
                    <a:gd name="T40" fmla="*/ 37 w 41"/>
                    <a:gd name="T41" fmla="*/ 5 h 84"/>
                    <a:gd name="T42" fmla="*/ 8 w 41"/>
                    <a:gd name="T43" fmla="*/ 22 h 84"/>
                    <a:gd name="T44" fmla="*/ 33 w 41"/>
                    <a:gd name="T45" fmla="*/ 36 h 84"/>
                    <a:gd name="T46" fmla="*/ 34 w 41"/>
                    <a:gd name="T47" fmla="*/ 38 h 84"/>
                    <a:gd name="T48" fmla="*/ 33 w 41"/>
                    <a:gd name="T49" fmla="*/ 40 h 84"/>
                    <a:gd name="T50" fmla="*/ 4 w 41"/>
                    <a:gd name="T51" fmla="*/ 57 h 84"/>
                    <a:gd name="T52" fmla="*/ 4 w 41"/>
                    <a:gd name="T53" fmla="*/ 7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1" h="84">
                      <a:moveTo>
                        <a:pt x="18" y="84"/>
                      </a:move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0" y="74"/>
                        <a:pt x="0" y="74"/>
                        <a:pt x="0" y="73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55"/>
                        <a:pt x="0" y="54"/>
                        <a:pt x="1" y="54"/>
                      </a:cubicBezTo>
                      <a:cubicBezTo>
                        <a:pt x="28" y="38"/>
                        <a:pt x="28" y="38"/>
                        <a:pt x="28" y="38"/>
                      </a:cubicBezTo>
                      <a:cubicBezTo>
                        <a:pt x="3" y="24"/>
                        <a:pt x="3" y="24"/>
                        <a:pt x="3" y="24"/>
                      </a:cubicBezTo>
                      <a:cubicBezTo>
                        <a:pt x="3" y="23"/>
                        <a:pt x="2" y="23"/>
                        <a:pt x="2" y="22"/>
                      </a:cubicBezTo>
                      <a:cubicBezTo>
                        <a:pt x="2" y="21"/>
                        <a:pt x="3" y="20"/>
                        <a:pt x="3" y="2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9" y="0"/>
                        <a:pt x="40" y="0"/>
                        <a:pt x="40" y="0"/>
                      </a:cubicBezTo>
                      <a:cubicBezTo>
                        <a:pt x="41" y="0"/>
                        <a:pt x="41" y="1"/>
                        <a:pt x="41" y="2"/>
                      </a:cubicBezTo>
                      <a:cubicBezTo>
                        <a:pt x="41" y="70"/>
                        <a:pt x="41" y="70"/>
                        <a:pt x="41" y="70"/>
                      </a:cubicBezTo>
                      <a:cubicBezTo>
                        <a:pt x="41" y="70"/>
                        <a:pt x="41" y="71"/>
                        <a:pt x="40" y="71"/>
                      </a:cubicBezTo>
                      <a:cubicBezTo>
                        <a:pt x="19" y="84"/>
                        <a:pt x="19" y="84"/>
                        <a:pt x="19" y="84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lose/>
                      <a:moveTo>
                        <a:pt x="4" y="72"/>
                      </a:moveTo>
                      <a:cubicBezTo>
                        <a:pt x="18" y="80"/>
                        <a:pt x="18" y="80"/>
                        <a:pt x="18" y="80"/>
                      </a:cubicBezTo>
                      <a:cubicBezTo>
                        <a:pt x="37" y="69"/>
                        <a:pt x="37" y="69"/>
                        <a:pt x="37" y="69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33" y="36"/>
                        <a:pt x="33" y="36"/>
                        <a:pt x="33" y="36"/>
                      </a:cubicBezTo>
                      <a:cubicBezTo>
                        <a:pt x="34" y="36"/>
                        <a:pt x="34" y="37"/>
                        <a:pt x="34" y="38"/>
                      </a:cubicBezTo>
                      <a:cubicBezTo>
                        <a:pt x="34" y="39"/>
                        <a:pt x="34" y="39"/>
                        <a:pt x="33" y="40"/>
                      </a:cubicBezTo>
                      <a:cubicBezTo>
                        <a:pt x="4" y="57"/>
                        <a:pt x="4" y="57"/>
                        <a:pt x="4" y="57"/>
                      </a:cubicBezTo>
                      <a:lnTo>
                        <a:pt x="4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1" name="Freeform 703">
                  <a:extLst>
                    <a:ext uri="{FF2B5EF4-FFF2-40B4-BE49-F238E27FC236}">
                      <a16:creationId xmlns:a16="http://schemas.microsoft.com/office/drawing/2014/main" id="{25A7DD8B-229C-4077-BDEF-C497D18812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15" y="3515"/>
                  <a:ext cx="73" cy="83"/>
                </a:xfrm>
                <a:custGeom>
                  <a:avLst/>
                  <a:gdLst>
                    <a:gd name="T0" fmla="*/ 2 w 31"/>
                    <a:gd name="T1" fmla="*/ 35 h 35"/>
                    <a:gd name="T2" fmla="*/ 1 w 31"/>
                    <a:gd name="T3" fmla="*/ 34 h 35"/>
                    <a:gd name="T4" fmla="*/ 0 w 31"/>
                    <a:gd name="T5" fmla="*/ 33 h 35"/>
                    <a:gd name="T6" fmla="*/ 0 w 31"/>
                    <a:gd name="T7" fmla="*/ 2 h 35"/>
                    <a:gd name="T8" fmla="*/ 1 w 31"/>
                    <a:gd name="T9" fmla="*/ 1 h 35"/>
                    <a:gd name="T10" fmla="*/ 2 w 31"/>
                    <a:gd name="T11" fmla="*/ 0 h 35"/>
                    <a:gd name="T12" fmla="*/ 4 w 31"/>
                    <a:gd name="T13" fmla="*/ 0 h 35"/>
                    <a:gd name="T14" fmla="*/ 30 w 31"/>
                    <a:gd name="T15" fmla="*/ 15 h 35"/>
                    <a:gd name="T16" fmla="*/ 31 w 31"/>
                    <a:gd name="T17" fmla="*/ 17 h 35"/>
                    <a:gd name="T18" fmla="*/ 30 w 31"/>
                    <a:gd name="T19" fmla="*/ 19 h 35"/>
                    <a:gd name="T20" fmla="*/ 3 w 31"/>
                    <a:gd name="T21" fmla="*/ 34 h 35"/>
                    <a:gd name="T22" fmla="*/ 2 w 31"/>
                    <a:gd name="T23" fmla="*/ 35 h 35"/>
                    <a:gd name="T24" fmla="*/ 4 w 31"/>
                    <a:gd name="T25" fmla="*/ 5 h 35"/>
                    <a:gd name="T26" fmla="*/ 4 w 31"/>
                    <a:gd name="T27" fmla="*/ 29 h 35"/>
                    <a:gd name="T28" fmla="*/ 25 w 31"/>
                    <a:gd name="T29" fmla="*/ 17 h 35"/>
                    <a:gd name="T30" fmla="*/ 4 w 31"/>
                    <a:gd name="T31" fmla="*/ 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1" h="35">
                      <a:moveTo>
                        <a:pt x="2" y="35"/>
                      </a:moveTo>
                      <a:cubicBezTo>
                        <a:pt x="1" y="35"/>
                        <a:pt x="1" y="35"/>
                        <a:pt x="1" y="34"/>
                      </a:cubicBezTo>
                      <a:cubicBezTo>
                        <a:pt x="0" y="34"/>
                        <a:pt x="0" y="33"/>
                        <a:pt x="0" y="3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3" y="0"/>
                        <a:pt x="4" y="0"/>
                      </a:cubicBezTo>
                      <a:cubicBezTo>
                        <a:pt x="30" y="15"/>
                        <a:pt x="30" y="15"/>
                        <a:pt x="30" y="15"/>
                      </a:cubicBezTo>
                      <a:cubicBezTo>
                        <a:pt x="30" y="15"/>
                        <a:pt x="31" y="16"/>
                        <a:pt x="31" y="17"/>
                      </a:cubicBezTo>
                      <a:cubicBezTo>
                        <a:pt x="31" y="18"/>
                        <a:pt x="30" y="18"/>
                        <a:pt x="30" y="19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2" y="35"/>
                        <a:pt x="2" y="35"/>
                        <a:pt x="2" y="35"/>
                      </a:cubicBezTo>
                      <a:close/>
                      <a:moveTo>
                        <a:pt x="4" y="5"/>
                      </a:move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25" y="17"/>
                        <a:pt x="25" y="17"/>
                        <a:pt x="25" y="1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2" name="Freeform 704">
                  <a:extLst>
                    <a:ext uri="{FF2B5EF4-FFF2-40B4-BE49-F238E27FC236}">
                      <a16:creationId xmlns:a16="http://schemas.microsoft.com/office/drawing/2014/main" id="{E24F0A32-D2D2-42FF-92B0-BAD6CBB52A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15" y="3638"/>
                  <a:ext cx="42" cy="47"/>
                </a:xfrm>
                <a:custGeom>
                  <a:avLst/>
                  <a:gdLst>
                    <a:gd name="T0" fmla="*/ 2 w 18"/>
                    <a:gd name="T1" fmla="*/ 20 h 20"/>
                    <a:gd name="T2" fmla="*/ 1 w 18"/>
                    <a:gd name="T3" fmla="*/ 20 h 20"/>
                    <a:gd name="T4" fmla="*/ 0 w 18"/>
                    <a:gd name="T5" fmla="*/ 18 h 20"/>
                    <a:gd name="T6" fmla="*/ 0 w 18"/>
                    <a:gd name="T7" fmla="*/ 2 h 20"/>
                    <a:gd name="T8" fmla="*/ 1 w 18"/>
                    <a:gd name="T9" fmla="*/ 0 h 20"/>
                    <a:gd name="T10" fmla="*/ 3 w 18"/>
                    <a:gd name="T11" fmla="*/ 0 h 20"/>
                    <a:gd name="T12" fmla="*/ 17 w 18"/>
                    <a:gd name="T13" fmla="*/ 8 h 20"/>
                    <a:gd name="T14" fmla="*/ 18 w 18"/>
                    <a:gd name="T15" fmla="*/ 10 h 20"/>
                    <a:gd name="T16" fmla="*/ 17 w 18"/>
                    <a:gd name="T17" fmla="*/ 12 h 20"/>
                    <a:gd name="T18" fmla="*/ 3 w 18"/>
                    <a:gd name="T19" fmla="*/ 20 h 20"/>
                    <a:gd name="T20" fmla="*/ 2 w 18"/>
                    <a:gd name="T21" fmla="*/ 20 h 20"/>
                    <a:gd name="T22" fmla="*/ 4 w 18"/>
                    <a:gd name="T23" fmla="*/ 5 h 20"/>
                    <a:gd name="T24" fmla="*/ 4 w 18"/>
                    <a:gd name="T25" fmla="*/ 15 h 20"/>
                    <a:gd name="T26" fmla="*/ 12 w 18"/>
                    <a:gd name="T27" fmla="*/ 10 h 20"/>
                    <a:gd name="T28" fmla="*/ 4 w 18"/>
                    <a:gd name="T29" fmla="*/ 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20">
                      <a:moveTo>
                        <a:pt x="2" y="20"/>
                      </a:move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0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8" y="9"/>
                        <a:pt x="18" y="9"/>
                        <a:pt x="18" y="10"/>
                      </a:cubicBezTo>
                      <a:cubicBezTo>
                        <a:pt x="18" y="11"/>
                        <a:pt x="18" y="11"/>
                        <a:pt x="17" y="12"/>
                      </a:cubicBezTo>
                      <a:cubicBezTo>
                        <a:pt x="3" y="20"/>
                        <a:pt x="3" y="20"/>
                        <a:pt x="3" y="20"/>
                      </a:cubicBezTo>
                      <a:cubicBezTo>
                        <a:pt x="2" y="20"/>
                        <a:pt x="2" y="20"/>
                        <a:pt x="2" y="20"/>
                      </a:cubicBezTo>
                      <a:close/>
                      <a:moveTo>
                        <a:pt x="4" y="5"/>
                      </a:move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3" name="Freeform 705">
                  <a:extLst>
                    <a:ext uri="{FF2B5EF4-FFF2-40B4-BE49-F238E27FC236}">
                      <a16:creationId xmlns:a16="http://schemas.microsoft.com/office/drawing/2014/main" id="{0DC99415-98E1-40BE-B352-BCFEE1DFFE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3553"/>
                  <a:ext cx="12" cy="114"/>
                </a:xfrm>
                <a:custGeom>
                  <a:avLst/>
                  <a:gdLst>
                    <a:gd name="T0" fmla="*/ 2 w 5"/>
                    <a:gd name="T1" fmla="*/ 48 h 48"/>
                    <a:gd name="T2" fmla="*/ 1 w 5"/>
                    <a:gd name="T3" fmla="*/ 48 h 48"/>
                    <a:gd name="T4" fmla="*/ 0 w 5"/>
                    <a:gd name="T5" fmla="*/ 46 h 48"/>
                    <a:gd name="T6" fmla="*/ 0 w 5"/>
                    <a:gd name="T7" fmla="*/ 2 h 48"/>
                    <a:gd name="T8" fmla="*/ 1 w 5"/>
                    <a:gd name="T9" fmla="*/ 1 h 48"/>
                    <a:gd name="T10" fmla="*/ 3 w 5"/>
                    <a:gd name="T11" fmla="*/ 1 h 48"/>
                    <a:gd name="T12" fmla="*/ 4 w 5"/>
                    <a:gd name="T13" fmla="*/ 2 h 48"/>
                    <a:gd name="T14" fmla="*/ 5 w 5"/>
                    <a:gd name="T15" fmla="*/ 3 h 48"/>
                    <a:gd name="T16" fmla="*/ 5 w 5"/>
                    <a:gd name="T17" fmla="*/ 45 h 48"/>
                    <a:gd name="T18" fmla="*/ 4 w 5"/>
                    <a:gd name="T19" fmla="*/ 47 h 48"/>
                    <a:gd name="T20" fmla="*/ 3 w 5"/>
                    <a:gd name="T21" fmla="*/ 48 h 48"/>
                    <a:gd name="T22" fmla="*/ 2 w 5"/>
                    <a:gd name="T2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48">
                      <a:moveTo>
                        <a:pt x="2" y="48"/>
                      </a:moveTo>
                      <a:cubicBezTo>
                        <a:pt x="1" y="48"/>
                        <a:pt x="1" y="48"/>
                        <a:pt x="1" y="48"/>
                      </a:cubicBezTo>
                      <a:cubicBezTo>
                        <a:pt x="0" y="48"/>
                        <a:pt x="0" y="47"/>
                        <a:pt x="0" y="4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5" y="2"/>
                        <a:pt x="5" y="3"/>
                        <a:pt x="5" y="3"/>
                      </a:cubicBezTo>
                      <a:cubicBezTo>
                        <a:pt x="5" y="45"/>
                        <a:pt x="5" y="45"/>
                        <a:pt x="5" y="45"/>
                      </a:cubicBezTo>
                      <a:cubicBezTo>
                        <a:pt x="5" y="46"/>
                        <a:pt x="5" y="47"/>
                        <a:pt x="4" y="47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4" name="Freeform 706">
                  <a:extLst>
                    <a:ext uri="{FF2B5EF4-FFF2-40B4-BE49-F238E27FC236}">
                      <a16:creationId xmlns:a16="http://schemas.microsoft.com/office/drawing/2014/main" id="{3ED8394D-FAE4-4096-B77D-B24FDFB140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95" y="3265"/>
                  <a:ext cx="135" cy="255"/>
                </a:xfrm>
                <a:custGeom>
                  <a:avLst/>
                  <a:gdLst>
                    <a:gd name="T0" fmla="*/ 3 w 57"/>
                    <a:gd name="T1" fmla="*/ 108 h 108"/>
                    <a:gd name="T2" fmla="*/ 1 w 57"/>
                    <a:gd name="T3" fmla="*/ 108 h 108"/>
                    <a:gd name="T4" fmla="*/ 1 w 57"/>
                    <a:gd name="T5" fmla="*/ 107 h 108"/>
                    <a:gd name="T6" fmla="*/ 0 w 57"/>
                    <a:gd name="T7" fmla="*/ 106 h 108"/>
                    <a:gd name="T8" fmla="*/ 0 w 57"/>
                    <a:gd name="T9" fmla="*/ 32 h 108"/>
                    <a:gd name="T10" fmla="*/ 1 w 57"/>
                    <a:gd name="T11" fmla="*/ 30 h 108"/>
                    <a:gd name="T12" fmla="*/ 54 w 57"/>
                    <a:gd name="T13" fmla="*/ 0 h 108"/>
                    <a:gd name="T14" fmla="*/ 56 w 57"/>
                    <a:gd name="T15" fmla="*/ 0 h 108"/>
                    <a:gd name="T16" fmla="*/ 57 w 57"/>
                    <a:gd name="T17" fmla="*/ 2 h 108"/>
                    <a:gd name="T18" fmla="*/ 57 w 57"/>
                    <a:gd name="T19" fmla="*/ 76 h 108"/>
                    <a:gd name="T20" fmla="*/ 56 w 57"/>
                    <a:gd name="T21" fmla="*/ 77 h 108"/>
                    <a:gd name="T22" fmla="*/ 4 w 57"/>
                    <a:gd name="T23" fmla="*/ 108 h 108"/>
                    <a:gd name="T24" fmla="*/ 3 w 57"/>
                    <a:gd name="T25" fmla="*/ 108 h 108"/>
                    <a:gd name="T26" fmla="*/ 4 w 57"/>
                    <a:gd name="T27" fmla="*/ 33 h 108"/>
                    <a:gd name="T28" fmla="*/ 4 w 57"/>
                    <a:gd name="T29" fmla="*/ 103 h 108"/>
                    <a:gd name="T30" fmla="*/ 53 w 57"/>
                    <a:gd name="T31" fmla="*/ 74 h 108"/>
                    <a:gd name="T32" fmla="*/ 53 w 57"/>
                    <a:gd name="T33" fmla="*/ 5 h 108"/>
                    <a:gd name="T34" fmla="*/ 4 w 57"/>
                    <a:gd name="T35" fmla="*/ 33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7" h="108">
                      <a:moveTo>
                        <a:pt x="3" y="108"/>
                      </a:moveTo>
                      <a:cubicBezTo>
                        <a:pt x="2" y="108"/>
                        <a:pt x="2" y="108"/>
                        <a:pt x="1" y="108"/>
                      </a:cubicBezTo>
                      <a:cubicBezTo>
                        <a:pt x="1" y="107"/>
                        <a:pt x="1" y="107"/>
                        <a:pt x="1" y="107"/>
                      </a:cubicBezTo>
                      <a:cubicBezTo>
                        <a:pt x="0" y="107"/>
                        <a:pt x="0" y="106"/>
                        <a:pt x="0" y="106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0" y="31"/>
                        <a:pt x="1" y="30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54" y="0"/>
                        <a:pt x="55" y="0"/>
                        <a:pt x="56" y="0"/>
                      </a:cubicBezTo>
                      <a:cubicBezTo>
                        <a:pt x="56" y="0"/>
                        <a:pt x="57" y="1"/>
                        <a:pt x="57" y="2"/>
                      </a:cubicBezTo>
                      <a:cubicBezTo>
                        <a:pt x="57" y="76"/>
                        <a:pt x="57" y="76"/>
                        <a:pt x="57" y="76"/>
                      </a:cubicBezTo>
                      <a:cubicBezTo>
                        <a:pt x="57" y="76"/>
                        <a:pt x="56" y="77"/>
                        <a:pt x="56" y="77"/>
                      </a:cubicBezTo>
                      <a:cubicBezTo>
                        <a:pt x="4" y="108"/>
                        <a:pt x="4" y="108"/>
                        <a:pt x="4" y="108"/>
                      </a:cubicBezTo>
                      <a:cubicBezTo>
                        <a:pt x="3" y="108"/>
                        <a:pt x="3" y="108"/>
                        <a:pt x="3" y="108"/>
                      </a:cubicBezTo>
                      <a:close/>
                      <a:moveTo>
                        <a:pt x="4" y="33"/>
                      </a:moveTo>
                      <a:cubicBezTo>
                        <a:pt x="4" y="103"/>
                        <a:pt x="4" y="103"/>
                        <a:pt x="4" y="103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5"/>
                        <a:pt x="53" y="5"/>
                        <a:pt x="53" y="5"/>
                      </a:cubicBezTo>
                      <a:lnTo>
                        <a:pt x="4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5" name="Freeform 707">
                  <a:extLst>
                    <a:ext uri="{FF2B5EF4-FFF2-40B4-BE49-F238E27FC236}">
                      <a16:creationId xmlns:a16="http://schemas.microsoft.com/office/drawing/2014/main" id="{019D9651-0EF5-4E7D-AFBF-71D815E139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3504"/>
                  <a:ext cx="12" cy="33"/>
                </a:xfrm>
                <a:custGeom>
                  <a:avLst/>
                  <a:gdLst>
                    <a:gd name="T0" fmla="*/ 2 w 5"/>
                    <a:gd name="T1" fmla="*/ 14 h 14"/>
                    <a:gd name="T2" fmla="*/ 1 w 5"/>
                    <a:gd name="T3" fmla="*/ 13 h 14"/>
                    <a:gd name="T4" fmla="*/ 0 w 5"/>
                    <a:gd name="T5" fmla="*/ 12 h 14"/>
                    <a:gd name="T6" fmla="*/ 0 w 5"/>
                    <a:gd name="T7" fmla="*/ 2 h 14"/>
                    <a:gd name="T8" fmla="*/ 1 w 5"/>
                    <a:gd name="T9" fmla="*/ 1 h 14"/>
                    <a:gd name="T10" fmla="*/ 3 w 5"/>
                    <a:gd name="T11" fmla="*/ 1 h 14"/>
                    <a:gd name="T12" fmla="*/ 4 w 5"/>
                    <a:gd name="T13" fmla="*/ 1 h 14"/>
                    <a:gd name="T14" fmla="*/ 5 w 5"/>
                    <a:gd name="T15" fmla="*/ 3 h 14"/>
                    <a:gd name="T16" fmla="*/ 5 w 5"/>
                    <a:gd name="T17" fmla="*/ 11 h 14"/>
                    <a:gd name="T18" fmla="*/ 4 w 5"/>
                    <a:gd name="T19" fmla="*/ 12 h 14"/>
                    <a:gd name="T20" fmla="*/ 3 w 5"/>
                    <a:gd name="T21" fmla="*/ 13 h 14"/>
                    <a:gd name="T22" fmla="*/ 2 w 5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4">
                      <a:moveTo>
                        <a:pt x="2" y="14"/>
                      </a:moveTo>
                      <a:cubicBezTo>
                        <a:pt x="1" y="14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2"/>
                        <a:pt x="5" y="3"/>
                        <a:pt x="5" y="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1"/>
                        <a:pt x="5" y="12"/>
                        <a:pt x="4" y="12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2" y="13"/>
                        <a:pt x="2" y="14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6" name="Freeform 708">
                  <a:extLst>
                    <a:ext uri="{FF2B5EF4-FFF2-40B4-BE49-F238E27FC236}">
                      <a16:creationId xmlns:a16="http://schemas.microsoft.com/office/drawing/2014/main" id="{6D023BE4-696A-4D58-901D-456BD67332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2" y="3548"/>
                  <a:ext cx="9" cy="12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5 h 5"/>
                    <a:gd name="T4" fmla="*/ 1 w 4"/>
                    <a:gd name="T5" fmla="*/ 5 h 5"/>
                    <a:gd name="T6" fmla="*/ 0 w 4"/>
                    <a:gd name="T7" fmla="*/ 3 h 5"/>
                    <a:gd name="T8" fmla="*/ 1 w 4"/>
                    <a:gd name="T9" fmla="*/ 1 h 5"/>
                    <a:gd name="T10" fmla="*/ 1 w 4"/>
                    <a:gd name="T11" fmla="*/ 1 h 5"/>
                    <a:gd name="T12" fmla="*/ 3 w 4"/>
                    <a:gd name="T13" fmla="*/ 1 h 5"/>
                    <a:gd name="T14" fmla="*/ 4 w 4"/>
                    <a:gd name="T15" fmla="*/ 2 h 5"/>
                    <a:gd name="T16" fmla="*/ 4 w 4"/>
                    <a:gd name="T17" fmla="*/ 3 h 5"/>
                    <a:gd name="T18" fmla="*/ 3 w 4"/>
                    <a:gd name="T19" fmla="*/ 5 h 5"/>
                    <a:gd name="T20" fmla="*/ 2 w 4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2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4"/>
                        <a:pt x="0" y="4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4"/>
                        <a:pt x="4" y="5"/>
                        <a:pt x="3" y="5"/>
                      </a:cubicBezTo>
                      <a:cubicBezTo>
                        <a:pt x="3" y="5"/>
                        <a:pt x="3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7" name="Freeform 709">
                  <a:extLst>
                    <a:ext uri="{FF2B5EF4-FFF2-40B4-BE49-F238E27FC236}">
                      <a16:creationId xmlns:a16="http://schemas.microsoft.com/office/drawing/2014/main" id="{9E97F655-485C-421D-988A-39A022AA45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69" y="3527"/>
                  <a:ext cx="12" cy="28"/>
                </a:xfrm>
                <a:custGeom>
                  <a:avLst/>
                  <a:gdLst>
                    <a:gd name="T0" fmla="*/ 2 w 5"/>
                    <a:gd name="T1" fmla="*/ 12 h 12"/>
                    <a:gd name="T2" fmla="*/ 1 w 5"/>
                    <a:gd name="T3" fmla="*/ 12 h 12"/>
                    <a:gd name="T4" fmla="*/ 0 w 5"/>
                    <a:gd name="T5" fmla="*/ 10 h 12"/>
                    <a:gd name="T6" fmla="*/ 0 w 5"/>
                    <a:gd name="T7" fmla="*/ 3 h 12"/>
                    <a:gd name="T8" fmla="*/ 1 w 5"/>
                    <a:gd name="T9" fmla="*/ 2 h 12"/>
                    <a:gd name="T10" fmla="*/ 2 w 5"/>
                    <a:gd name="T11" fmla="*/ 1 h 12"/>
                    <a:gd name="T12" fmla="*/ 4 w 5"/>
                    <a:gd name="T13" fmla="*/ 1 h 12"/>
                    <a:gd name="T14" fmla="*/ 5 w 5"/>
                    <a:gd name="T15" fmla="*/ 2 h 12"/>
                    <a:gd name="T16" fmla="*/ 5 w 5"/>
                    <a:gd name="T17" fmla="*/ 9 h 12"/>
                    <a:gd name="T18" fmla="*/ 4 w 5"/>
                    <a:gd name="T19" fmla="*/ 11 h 12"/>
                    <a:gd name="T20" fmla="*/ 3 w 5"/>
                    <a:gd name="T21" fmla="*/ 12 h 12"/>
                    <a:gd name="T22" fmla="*/ 2 w 5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2">
                      <a:moveTo>
                        <a:pt x="2" y="12"/>
                      </a:move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10"/>
                        <a:pt x="5" y="11"/>
                        <a:pt x="4" y="11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2" y="12"/>
                        <a:pt x="2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8" name="Freeform 710">
                  <a:extLst>
                    <a:ext uri="{FF2B5EF4-FFF2-40B4-BE49-F238E27FC236}">
                      <a16:creationId xmlns:a16="http://schemas.microsoft.com/office/drawing/2014/main" id="{493F9314-1813-4F8C-8F01-EBEA30622A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69" y="3338"/>
                  <a:ext cx="31" cy="180"/>
                </a:xfrm>
                <a:custGeom>
                  <a:avLst/>
                  <a:gdLst>
                    <a:gd name="T0" fmla="*/ 11 w 13"/>
                    <a:gd name="T1" fmla="*/ 76 h 76"/>
                    <a:gd name="T2" fmla="*/ 10 w 13"/>
                    <a:gd name="T3" fmla="*/ 75 h 76"/>
                    <a:gd name="T4" fmla="*/ 5 w 13"/>
                    <a:gd name="T5" fmla="*/ 72 h 76"/>
                    <a:gd name="T6" fmla="*/ 4 w 13"/>
                    <a:gd name="T7" fmla="*/ 73 h 76"/>
                    <a:gd name="T8" fmla="*/ 2 w 13"/>
                    <a:gd name="T9" fmla="*/ 73 h 76"/>
                    <a:gd name="T10" fmla="*/ 1 w 13"/>
                    <a:gd name="T11" fmla="*/ 72 h 76"/>
                    <a:gd name="T12" fmla="*/ 0 w 13"/>
                    <a:gd name="T13" fmla="*/ 70 h 76"/>
                    <a:gd name="T14" fmla="*/ 0 w 13"/>
                    <a:gd name="T15" fmla="*/ 8 h 76"/>
                    <a:gd name="T16" fmla="*/ 1 w 13"/>
                    <a:gd name="T17" fmla="*/ 6 h 76"/>
                    <a:gd name="T18" fmla="*/ 10 w 13"/>
                    <a:gd name="T19" fmla="*/ 0 h 76"/>
                    <a:gd name="T20" fmla="*/ 12 w 13"/>
                    <a:gd name="T21" fmla="*/ 0 h 76"/>
                    <a:gd name="T22" fmla="*/ 13 w 13"/>
                    <a:gd name="T23" fmla="*/ 2 h 76"/>
                    <a:gd name="T24" fmla="*/ 13 w 13"/>
                    <a:gd name="T25" fmla="*/ 74 h 76"/>
                    <a:gd name="T26" fmla="*/ 12 w 13"/>
                    <a:gd name="T27" fmla="*/ 75 h 76"/>
                    <a:gd name="T28" fmla="*/ 11 w 13"/>
                    <a:gd name="T29" fmla="*/ 76 h 76"/>
                    <a:gd name="T30" fmla="*/ 4 w 13"/>
                    <a:gd name="T31" fmla="*/ 67 h 76"/>
                    <a:gd name="T32" fmla="*/ 4 w 13"/>
                    <a:gd name="T33" fmla="*/ 67 h 76"/>
                    <a:gd name="T34" fmla="*/ 9 w 13"/>
                    <a:gd name="T35" fmla="*/ 70 h 76"/>
                    <a:gd name="T36" fmla="*/ 9 w 13"/>
                    <a:gd name="T37" fmla="*/ 6 h 76"/>
                    <a:gd name="T38" fmla="*/ 4 w 13"/>
                    <a:gd name="T39" fmla="*/ 9 h 76"/>
                    <a:gd name="T40" fmla="*/ 4 w 13"/>
                    <a:gd name="T41" fmla="*/ 67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76">
                      <a:moveTo>
                        <a:pt x="11" y="76"/>
                      </a:moveTo>
                      <a:cubicBezTo>
                        <a:pt x="11" y="76"/>
                        <a:pt x="11" y="75"/>
                        <a:pt x="10" y="75"/>
                      </a:cubicBezTo>
                      <a:cubicBezTo>
                        <a:pt x="5" y="72"/>
                        <a:pt x="5" y="72"/>
                        <a:pt x="5" y="72"/>
                      </a:cubicBezTo>
                      <a:cubicBezTo>
                        <a:pt x="5" y="73"/>
                        <a:pt x="5" y="73"/>
                        <a:pt x="4" y="73"/>
                      </a:cubicBezTo>
                      <a:cubicBezTo>
                        <a:pt x="4" y="73"/>
                        <a:pt x="3" y="73"/>
                        <a:pt x="2" y="73"/>
                      </a:cubicBezTo>
                      <a:cubicBezTo>
                        <a:pt x="1" y="72"/>
                        <a:pt x="1" y="72"/>
                        <a:pt x="1" y="72"/>
                      </a:cubicBezTo>
                      <a:cubicBezTo>
                        <a:pt x="0" y="72"/>
                        <a:pt x="0" y="71"/>
                        <a:pt x="0" y="70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7"/>
                        <a:pt x="0" y="6"/>
                        <a:pt x="1" y="6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1" y="0"/>
                        <a:pt x="12" y="0"/>
                        <a:pt x="12" y="0"/>
                      </a:cubicBezTo>
                      <a:cubicBezTo>
                        <a:pt x="13" y="1"/>
                        <a:pt x="13" y="1"/>
                        <a:pt x="13" y="2"/>
                      </a:cubicBezTo>
                      <a:cubicBezTo>
                        <a:pt x="13" y="74"/>
                        <a:pt x="13" y="74"/>
                        <a:pt x="13" y="74"/>
                      </a:cubicBezTo>
                      <a:cubicBezTo>
                        <a:pt x="13" y="74"/>
                        <a:pt x="13" y="75"/>
                        <a:pt x="12" y="75"/>
                      </a:cubicBezTo>
                      <a:cubicBezTo>
                        <a:pt x="12" y="75"/>
                        <a:pt x="12" y="76"/>
                        <a:pt x="11" y="76"/>
                      </a:cubicBezTo>
                      <a:close/>
                      <a:moveTo>
                        <a:pt x="4" y="67"/>
                      </a:moveTo>
                      <a:cubicBezTo>
                        <a:pt x="4" y="67"/>
                        <a:pt x="4" y="67"/>
                        <a:pt x="4" y="67"/>
                      </a:cubicBezTo>
                      <a:cubicBezTo>
                        <a:pt x="9" y="70"/>
                        <a:pt x="9" y="70"/>
                        <a:pt x="9" y="70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lnTo>
                        <a:pt x="4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9" name="Freeform 711">
                  <a:extLst>
                    <a:ext uri="{FF2B5EF4-FFF2-40B4-BE49-F238E27FC236}">
                      <a16:creationId xmlns:a16="http://schemas.microsoft.com/office/drawing/2014/main" id="{86CB9831-1168-4DF3-A466-31C24E6AB6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27" y="2696"/>
                  <a:ext cx="12" cy="14"/>
                </a:xfrm>
                <a:custGeom>
                  <a:avLst/>
                  <a:gdLst>
                    <a:gd name="T0" fmla="*/ 2 w 5"/>
                    <a:gd name="T1" fmla="*/ 6 h 6"/>
                    <a:gd name="T2" fmla="*/ 1 w 5"/>
                    <a:gd name="T3" fmla="*/ 6 h 6"/>
                    <a:gd name="T4" fmla="*/ 0 w 5"/>
                    <a:gd name="T5" fmla="*/ 4 h 6"/>
                    <a:gd name="T6" fmla="*/ 0 w 5"/>
                    <a:gd name="T7" fmla="*/ 2 h 6"/>
                    <a:gd name="T8" fmla="*/ 1 w 5"/>
                    <a:gd name="T9" fmla="*/ 0 h 6"/>
                    <a:gd name="T10" fmla="*/ 3 w 5"/>
                    <a:gd name="T11" fmla="*/ 0 h 6"/>
                    <a:gd name="T12" fmla="*/ 4 w 5"/>
                    <a:gd name="T13" fmla="*/ 1 h 6"/>
                    <a:gd name="T14" fmla="*/ 5 w 5"/>
                    <a:gd name="T15" fmla="*/ 3 h 6"/>
                    <a:gd name="T16" fmla="*/ 4 w 5"/>
                    <a:gd name="T17" fmla="*/ 5 h 6"/>
                    <a:gd name="T18" fmla="*/ 3 w 5"/>
                    <a:gd name="T19" fmla="*/ 6 h 6"/>
                    <a:gd name="T20" fmla="*/ 2 w 5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6">
                      <a:moveTo>
                        <a:pt x="2" y="6"/>
                      </a:moveTo>
                      <a:cubicBezTo>
                        <a:pt x="2" y="6"/>
                        <a:pt x="1" y="6"/>
                        <a:pt x="1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2"/>
                        <a:pt x="5" y="2"/>
                        <a:pt x="5" y="3"/>
                      </a:cubicBezTo>
                      <a:cubicBezTo>
                        <a:pt x="5" y="4"/>
                        <a:pt x="5" y="4"/>
                        <a:pt x="4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2" y="6"/>
                        <a:pt x="2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0" name="Freeform 712">
                  <a:extLst>
                    <a:ext uri="{FF2B5EF4-FFF2-40B4-BE49-F238E27FC236}">
                      <a16:creationId xmlns:a16="http://schemas.microsoft.com/office/drawing/2014/main" id="{E67CB8BE-C9C0-47A7-ABFE-F500A5C7503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39" y="3248"/>
                  <a:ext cx="159" cy="258"/>
                </a:xfrm>
                <a:custGeom>
                  <a:avLst/>
                  <a:gdLst>
                    <a:gd name="T0" fmla="*/ 55 w 67"/>
                    <a:gd name="T1" fmla="*/ 109 h 109"/>
                    <a:gd name="T2" fmla="*/ 54 w 67"/>
                    <a:gd name="T3" fmla="*/ 109 h 109"/>
                    <a:gd name="T4" fmla="*/ 1 w 67"/>
                    <a:gd name="T5" fmla="*/ 78 h 109"/>
                    <a:gd name="T6" fmla="*/ 0 w 67"/>
                    <a:gd name="T7" fmla="*/ 77 h 109"/>
                    <a:gd name="T8" fmla="*/ 0 w 67"/>
                    <a:gd name="T9" fmla="*/ 2 h 109"/>
                    <a:gd name="T10" fmla="*/ 1 w 67"/>
                    <a:gd name="T11" fmla="*/ 1 h 109"/>
                    <a:gd name="T12" fmla="*/ 3 w 67"/>
                    <a:gd name="T13" fmla="*/ 1 h 109"/>
                    <a:gd name="T14" fmla="*/ 66 w 67"/>
                    <a:gd name="T15" fmla="*/ 37 h 109"/>
                    <a:gd name="T16" fmla="*/ 67 w 67"/>
                    <a:gd name="T17" fmla="*/ 39 h 109"/>
                    <a:gd name="T18" fmla="*/ 66 w 67"/>
                    <a:gd name="T19" fmla="*/ 41 h 109"/>
                    <a:gd name="T20" fmla="*/ 57 w 67"/>
                    <a:gd name="T21" fmla="*/ 46 h 109"/>
                    <a:gd name="T22" fmla="*/ 57 w 67"/>
                    <a:gd name="T23" fmla="*/ 107 h 109"/>
                    <a:gd name="T24" fmla="*/ 56 w 67"/>
                    <a:gd name="T25" fmla="*/ 109 h 109"/>
                    <a:gd name="T26" fmla="*/ 55 w 67"/>
                    <a:gd name="T27" fmla="*/ 109 h 109"/>
                    <a:gd name="T28" fmla="*/ 4 w 67"/>
                    <a:gd name="T29" fmla="*/ 76 h 109"/>
                    <a:gd name="T30" fmla="*/ 53 w 67"/>
                    <a:gd name="T31" fmla="*/ 104 h 109"/>
                    <a:gd name="T32" fmla="*/ 53 w 67"/>
                    <a:gd name="T33" fmla="*/ 45 h 109"/>
                    <a:gd name="T34" fmla="*/ 54 w 67"/>
                    <a:gd name="T35" fmla="*/ 43 h 109"/>
                    <a:gd name="T36" fmla="*/ 61 w 67"/>
                    <a:gd name="T37" fmla="*/ 39 h 109"/>
                    <a:gd name="T38" fmla="*/ 4 w 67"/>
                    <a:gd name="T39" fmla="*/ 6 h 109"/>
                    <a:gd name="T40" fmla="*/ 4 w 67"/>
                    <a:gd name="T41" fmla="*/ 7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7" h="109">
                      <a:moveTo>
                        <a:pt x="55" y="109"/>
                      </a:moveTo>
                      <a:cubicBezTo>
                        <a:pt x="55" y="109"/>
                        <a:pt x="54" y="109"/>
                        <a:pt x="54" y="109"/>
                      </a:cubicBezTo>
                      <a:cubicBezTo>
                        <a:pt x="1" y="78"/>
                        <a:pt x="1" y="78"/>
                        <a:pt x="1" y="78"/>
                      </a:cubicBezTo>
                      <a:cubicBezTo>
                        <a:pt x="0" y="78"/>
                        <a:pt x="0" y="77"/>
                        <a:pt x="0" y="7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66" y="37"/>
                        <a:pt x="66" y="37"/>
                        <a:pt x="66" y="37"/>
                      </a:cubicBezTo>
                      <a:cubicBezTo>
                        <a:pt x="67" y="38"/>
                        <a:pt x="67" y="38"/>
                        <a:pt x="67" y="39"/>
                      </a:cubicBezTo>
                      <a:cubicBezTo>
                        <a:pt x="67" y="40"/>
                        <a:pt x="67" y="40"/>
                        <a:pt x="66" y="41"/>
                      </a:cubicBezTo>
                      <a:cubicBezTo>
                        <a:pt x="57" y="46"/>
                        <a:pt x="57" y="46"/>
                        <a:pt x="57" y="46"/>
                      </a:cubicBezTo>
                      <a:cubicBezTo>
                        <a:pt x="57" y="107"/>
                        <a:pt x="57" y="107"/>
                        <a:pt x="57" y="107"/>
                      </a:cubicBezTo>
                      <a:cubicBezTo>
                        <a:pt x="57" y="108"/>
                        <a:pt x="57" y="109"/>
                        <a:pt x="56" y="109"/>
                      </a:cubicBezTo>
                      <a:cubicBezTo>
                        <a:pt x="56" y="109"/>
                        <a:pt x="55" y="109"/>
                        <a:pt x="55" y="109"/>
                      </a:cubicBezTo>
                      <a:close/>
                      <a:moveTo>
                        <a:pt x="4" y="76"/>
                      </a:moveTo>
                      <a:cubicBezTo>
                        <a:pt x="53" y="104"/>
                        <a:pt x="53" y="104"/>
                        <a:pt x="53" y="104"/>
                      </a:cubicBezTo>
                      <a:cubicBezTo>
                        <a:pt x="53" y="45"/>
                        <a:pt x="53" y="45"/>
                        <a:pt x="53" y="45"/>
                      </a:cubicBezTo>
                      <a:cubicBezTo>
                        <a:pt x="53" y="44"/>
                        <a:pt x="54" y="43"/>
                        <a:pt x="54" y="43"/>
                      </a:cubicBezTo>
                      <a:cubicBezTo>
                        <a:pt x="61" y="39"/>
                        <a:pt x="61" y="39"/>
                        <a:pt x="61" y="39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7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1" name="Freeform 713">
                  <a:extLst>
                    <a:ext uri="{FF2B5EF4-FFF2-40B4-BE49-F238E27FC236}">
                      <a16:creationId xmlns:a16="http://schemas.microsoft.com/office/drawing/2014/main" id="{16D701A3-4E05-4965-975E-D87EAA1D4E6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19" y="3461"/>
                  <a:ext cx="203" cy="158"/>
                </a:xfrm>
                <a:custGeom>
                  <a:avLst/>
                  <a:gdLst>
                    <a:gd name="T0" fmla="*/ 68 w 86"/>
                    <a:gd name="T1" fmla="*/ 67 h 67"/>
                    <a:gd name="T2" fmla="*/ 67 w 86"/>
                    <a:gd name="T3" fmla="*/ 67 h 67"/>
                    <a:gd name="T4" fmla="*/ 42 w 86"/>
                    <a:gd name="T5" fmla="*/ 52 h 67"/>
                    <a:gd name="T6" fmla="*/ 40 w 86"/>
                    <a:gd name="T7" fmla="*/ 52 h 67"/>
                    <a:gd name="T8" fmla="*/ 1 w 86"/>
                    <a:gd name="T9" fmla="*/ 30 h 67"/>
                    <a:gd name="T10" fmla="*/ 0 w 86"/>
                    <a:gd name="T11" fmla="*/ 28 h 67"/>
                    <a:gd name="T12" fmla="*/ 1 w 86"/>
                    <a:gd name="T13" fmla="*/ 26 h 67"/>
                    <a:gd name="T14" fmla="*/ 46 w 86"/>
                    <a:gd name="T15" fmla="*/ 1 h 67"/>
                    <a:gd name="T16" fmla="*/ 48 w 86"/>
                    <a:gd name="T17" fmla="*/ 1 h 67"/>
                    <a:gd name="T18" fmla="*/ 85 w 86"/>
                    <a:gd name="T19" fmla="*/ 22 h 67"/>
                    <a:gd name="T20" fmla="*/ 86 w 86"/>
                    <a:gd name="T21" fmla="*/ 24 h 67"/>
                    <a:gd name="T22" fmla="*/ 85 w 86"/>
                    <a:gd name="T23" fmla="*/ 26 h 67"/>
                    <a:gd name="T24" fmla="*/ 85 w 86"/>
                    <a:gd name="T25" fmla="*/ 26 h 67"/>
                    <a:gd name="T26" fmla="*/ 85 w 86"/>
                    <a:gd name="T27" fmla="*/ 57 h 67"/>
                    <a:gd name="T28" fmla="*/ 84 w 86"/>
                    <a:gd name="T29" fmla="*/ 58 h 67"/>
                    <a:gd name="T30" fmla="*/ 69 w 86"/>
                    <a:gd name="T31" fmla="*/ 67 h 67"/>
                    <a:gd name="T32" fmla="*/ 68 w 86"/>
                    <a:gd name="T33" fmla="*/ 67 h 67"/>
                    <a:gd name="T34" fmla="*/ 42 w 86"/>
                    <a:gd name="T35" fmla="*/ 48 h 67"/>
                    <a:gd name="T36" fmla="*/ 43 w 86"/>
                    <a:gd name="T37" fmla="*/ 48 h 67"/>
                    <a:gd name="T38" fmla="*/ 68 w 86"/>
                    <a:gd name="T39" fmla="*/ 63 h 67"/>
                    <a:gd name="T40" fmla="*/ 81 w 86"/>
                    <a:gd name="T41" fmla="*/ 55 h 67"/>
                    <a:gd name="T42" fmla="*/ 81 w 86"/>
                    <a:gd name="T43" fmla="*/ 24 h 67"/>
                    <a:gd name="T44" fmla="*/ 81 w 86"/>
                    <a:gd name="T45" fmla="*/ 24 h 67"/>
                    <a:gd name="T46" fmla="*/ 47 w 86"/>
                    <a:gd name="T47" fmla="*/ 5 h 67"/>
                    <a:gd name="T48" fmla="*/ 6 w 86"/>
                    <a:gd name="T49" fmla="*/ 28 h 67"/>
                    <a:gd name="T50" fmla="*/ 41 w 86"/>
                    <a:gd name="T51" fmla="*/ 48 h 67"/>
                    <a:gd name="T52" fmla="*/ 42 w 86"/>
                    <a:gd name="T53" fmla="*/ 48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6" h="67">
                      <a:moveTo>
                        <a:pt x="68" y="67"/>
                      </a:moveTo>
                      <a:cubicBezTo>
                        <a:pt x="68" y="67"/>
                        <a:pt x="67" y="67"/>
                        <a:pt x="67" y="67"/>
                      </a:cubicBezTo>
                      <a:cubicBezTo>
                        <a:pt x="42" y="52"/>
                        <a:pt x="42" y="52"/>
                        <a:pt x="42" y="52"/>
                      </a:cubicBezTo>
                      <a:cubicBezTo>
                        <a:pt x="41" y="53"/>
                        <a:pt x="40" y="53"/>
                        <a:pt x="40" y="52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29"/>
                        <a:pt x="0" y="28"/>
                      </a:cubicBezTo>
                      <a:cubicBezTo>
                        <a:pt x="0" y="27"/>
                        <a:pt x="0" y="27"/>
                        <a:pt x="1" y="26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6" y="0"/>
                        <a:pt x="47" y="0"/>
                        <a:pt x="48" y="1"/>
                      </a:cubicBezTo>
                      <a:cubicBezTo>
                        <a:pt x="85" y="22"/>
                        <a:pt x="85" y="22"/>
                        <a:pt x="85" y="22"/>
                      </a:cubicBezTo>
                      <a:cubicBezTo>
                        <a:pt x="86" y="22"/>
                        <a:pt x="86" y="23"/>
                        <a:pt x="86" y="24"/>
                      </a:cubicBezTo>
                      <a:cubicBezTo>
                        <a:pt x="86" y="25"/>
                        <a:pt x="86" y="25"/>
                        <a:pt x="85" y="26"/>
                      </a:cubicBezTo>
                      <a:cubicBezTo>
                        <a:pt x="85" y="26"/>
                        <a:pt x="85" y="26"/>
                        <a:pt x="85" y="26"/>
                      </a:cubicBezTo>
                      <a:cubicBezTo>
                        <a:pt x="85" y="57"/>
                        <a:pt x="85" y="57"/>
                        <a:pt x="85" y="57"/>
                      </a:cubicBezTo>
                      <a:cubicBezTo>
                        <a:pt x="85" y="57"/>
                        <a:pt x="85" y="58"/>
                        <a:pt x="84" y="58"/>
                      </a:cubicBezTo>
                      <a:cubicBezTo>
                        <a:pt x="69" y="67"/>
                        <a:pt x="69" y="67"/>
                        <a:pt x="69" y="67"/>
                      </a:cubicBezTo>
                      <a:cubicBezTo>
                        <a:pt x="69" y="67"/>
                        <a:pt x="68" y="67"/>
                        <a:pt x="68" y="67"/>
                      </a:cubicBezTo>
                      <a:close/>
                      <a:moveTo>
                        <a:pt x="42" y="48"/>
                      </a:moveTo>
                      <a:cubicBezTo>
                        <a:pt x="42" y="48"/>
                        <a:pt x="42" y="48"/>
                        <a:pt x="43" y="48"/>
                      </a:cubicBezTo>
                      <a:cubicBezTo>
                        <a:pt x="68" y="63"/>
                        <a:pt x="68" y="63"/>
                        <a:pt x="68" y="6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24"/>
                        <a:pt x="81" y="24"/>
                        <a:pt x="81" y="24"/>
                      </a:cubicBezTo>
                      <a:cubicBezTo>
                        <a:pt x="81" y="24"/>
                        <a:pt x="81" y="24"/>
                        <a:pt x="81" y="24"/>
                      </a:cubicBezTo>
                      <a:cubicBezTo>
                        <a:pt x="47" y="5"/>
                        <a:pt x="47" y="5"/>
                        <a:pt x="47" y="5"/>
                      </a:cubicBezTo>
                      <a:cubicBezTo>
                        <a:pt x="6" y="28"/>
                        <a:pt x="6" y="28"/>
                        <a:pt x="6" y="28"/>
                      </a:cubicBezTo>
                      <a:cubicBezTo>
                        <a:pt x="41" y="48"/>
                        <a:pt x="41" y="48"/>
                        <a:pt x="41" y="48"/>
                      </a:cubicBezTo>
                      <a:cubicBezTo>
                        <a:pt x="41" y="48"/>
                        <a:pt x="41" y="48"/>
                        <a:pt x="42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2" name="Freeform 714">
                  <a:extLst>
                    <a:ext uri="{FF2B5EF4-FFF2-40B4-BE49-F238E27FC236}">
                      <a16:creationId xmlns:a16="http://schemas.microsoft.com/office/drawing/2014/main" id="{1393A9AE-7B11-4783-8D95-56DE29A104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803"/>
                  <a:ext cx="33" cy="45"/>
                </a:xfrm>
                <a:custGeom>
                  <a:avLst/>
                  <a:gdLst>
                    <a:gd name="T0" fmla="*/ 2 w 14"/>
                    <a:gd name="T1" fmla="*/ 19 h 19"/>
                    <a:gd name="T2" fmla="*/ 1 w 14"/>
                    <a:gd name="T3" fmla="*/ 18 h 19"/>
                    <a:gd name="T4" fmla="*/ 0 w 14"/>
                    <a:gd name="T5" fmla="*/ 17 h 19"/>
                    <a:gd name="T6" fmla="*/ 0 w 14"/>
                    <a:gd name="T7" fmla="*/ 2 h 19"/>
                    <a:gd name="T8" fmla="*/ 1 w 14"/>
                    <a:gd name="T9" fmla="*/ 0 h 19"/>
                    <a:gd name="T10" fmla="*/ 3 w 14"/>
                    <a:gd name="T11" fmla="*/ 0 h 19"/>
                    <a:gd name="T12" fmla="*/ 10 w 14"/>
                    <a:gd name="T13" fmla="*/ 4 h 19"/>
                    <a:gd name="T14" fmla="*/ 11 w 14"/>
                    <a:gd name="T15" fmla="*/ 6 h 19"/>
                    <a:gd name="T16" fmla="*/ 10 w 14"/>
                    <a:gd name="T17" fmla="*/ 8 h 19"/>
                    <a:gd name="T18" fmla="*/ 13 w 14"/>
                    <a:gd name="T19" fmla="*/ 9 h 19"/>
                    <a:gd name="T20" fmla="*/ 14 w 14"/>
                    <a:gd name="T21" fmla="*/ 11 h 19"/>
                    <a:gd name="T22" fmla="*/ 13 w 14"/>
                    <a:gd name="T23" fmla="*/ 13 h 19"/>
                    <a:gd name="T24" fmla="*/ 3 w 14"/>
                    <a:gd name="T25" fmla="*/ 18 h 19"/>
                    <a:gd name="T26" fmla="*/ 2 w 14"/>
                    <a:gd name="T27" fmla="*/ 19 h 19"/>
                    <a:gd name="T28" fmla="*/ 4 w 14"/>
                    <a:gd name="T29" fmla="*/ 6 h 19"/>
                    <a:gd name="T30" fmla="*/ 4 w 14"/>
                    <a:gd name="T31" fmla="*/ 13 h 19"/>
                    <a:gd name="T32" fmla="*/ 8 w 14"/>
                    <a:gd name="T33" fmla="*/ 11 h 19"/>
                    <a:gd name="T34" fmla="*/ 5 w 14"/>
                    <a:gd name="T35" fmla="*/ 10 h 19"/>
                    <a:gd name="T36" fmla="*/ 4 w 14"/>
                    <a:gd name="T37" fmla="*/ 8 h 19"/>
                    <a:gd name="T38" fmla="*/ 5 w 14"/>
                    <a:gd name="T39" fmla="*/ 6 h 19"/>
                    <a:gd name="T40" fmla="*/ 4 w 14"/>
                    <a:gd name="T41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4" h="19">
                      <a:moveTo>
                        <a:pt x="2" y="19"/>
                      </a:moveTo>
                      <a:cubicBezTo>
                        <a:pt x="2" y="19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5"/>
                        <a:pt x="11" y="5"/>
                        <a:pt x="11" y="6"/>
                      </a:cubicBezTo>
                      <a:cubicBezTo>
                        <a:pt x="11" y="7"/>
                        <a:pt x="11" y="7"/>
                        <a:pt x="10" y="8"/>
                      </a:cubicBezTo>
                      <a:cubicBezTo>
                        <a:pt x="13" y="9"/>
                        <a:pt x="13" y="9"/>
                        <a:pt x="13" y="9"/>
                      </a:cubicBezTo>
                      <a:cubicBezTo>
                        <a:pt x="13" y="10"/>
                        <a:pt x="14" y="10"/>
                        <a:pt x="14" y="11"/>
                      </a:cubicBezTo>
                      <a:cubicBezTo>
                        <a:pt x="14" y="12"/>
                        <a:pt x="13" y="12"/>
                        <a:pt x="13" y="13"/>
                      </a:cubicBezTo>
                      <a:cubicBezTo>
                        <a:pt x="3" y="18"/>
                        <a:pt x="3" y="18"/>
                        <a:pt x="3" y="18"/>
                      </a:cubicBezTo>
                      <a:cubicBezTo>
                        <a:pt x="3" y="18"/>
                        <a:pt x="2" y="19"/>
                        <a:pt x="2" y="19"/>
                      </a:cubicBezTo>
                      <a:close/>
                      <a:moveTo>
                        <a:pt x="4" y="6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4" y="9"/>
                        <a:pt x="4" y="9"/>
                        <a:pt x="4" y="8"/>
                      </a:cubicBezTo>
                      <a:cubicBezTo>
                        <a:pt x="4" y="7"/>
                        <a:pt x="4" y="6"/>
                        <a:pt x="5" y="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3" name="Freeform 715">
                  <a:extLst>
                    <a:ext uri="{FF2B5EF4-FFF2-40B4-BE49-F238E27FC236}">
                      <a16:creationId xmlns:a16="http://schemas.microsoft.com/office/drawing/2014/main" id="{45ACE9CD-D731-41B0-99AA-F4C1B7AD55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24" y="813"/>
                  <a:ext cx="11" cy="11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4 h 5"/>
                    <a:gd name="T4" fmla="*/ 1 w 5"/>
                    <a:gd name="T5" fmla="*/ 4 h 5"/>
                    <a:gd name="T6" fmla="*/ 0 w 5"/>
                    <a:gd name="T7" fmla="*/ 2 h 5"/>
                    <a:gd name="T8" fmla="*/ 1 w 5"/>
                    <a:gd name="T9" fmla="*/ 0 h 5"/>
                    <a:gd name="T10" fmla="*/ 2 w 5"/>
                    <a:gd name="T11" fmla="*/ 0 h 5"/>
                    <a:gd name="T12" fmla="*/ 4 w 5"/>
                    <a:gd name="T13" fmla="*/ 0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4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3" y="5"/>
                        <a:pt x="2" y="4"/>
                        <a:pt x="2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3" y="0"/>
                        <a:pt x="3" y="0"/>
                        <a:pt x="4" y="0"/>
                      </a:cubicBezTo>
                      <a:cubicBezTo>
                        <a:pt x="5" y="0"/>
                        <a:pt x="5" y="1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5" y="4"/>
                        <a:pt x="4" y="4"/>
                      </a:cubicBezTo>
                      <a:cubicBezTo>
                        <a:pt x="4" y="4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4" name="Freeform 716">
                  <a:extLst>
                    <a:ext uri="{FF2B5EF4-FFF2-40B4-BE49-F238E27FC236}">
                      <a16:creationId xmlns:a16="http://schemas.microsoft.com/office/drawing/2014/main" id="{36A703C7-BE63-4FBF-B8DB-E1498C12B9B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550"/>
                  <a:ext cx="144" cy="168"/>
                </a:xfrm>
                <a:custGeom>
                  <a:avLst/>
                  <a:gdLst>
                    <a:gd name="T0" fmla="*/ 2 w 61"/>
                    <a:gd name="T1" fmla="*/ 71 h 71"/>
                    <a:gd name="T2" fmla="*/ 1 w 61"/>
                    <a:gd name="T3" fmla="*/ 70 h 71"/>
                    <a:gd name="T4" fmla="*/ 0 w 61"/>
                    <a:gd name="T5" fmla="*/ 69 h 71"/>
                    <a:gd name="T6" fmla="*/ 0 w 61"/>
                    <a:gd name="T7" fmla="*/ 2 h 71"/>
                    <a:gd name="T8" fmla="*/ 1 w 61"/>
                    <a:gd name="T9" fmla="*/ 0 h 71"/>
                    <a:gd name="T10" fmla="*/ 3 w 61"/>
                    <a:gd name="T11" fmla="*/ 0 h 71"/>
                    <a:gd name="T12" fmla="*/ 60 w 61"/>
                    <a:gd name="T13" fmla="*/ 34 h 71"/>
                    <a:gd name="T14" fmla="*/ 61 w 61"/>
                    <a:gd name="T15" fmla="*/ 35 h 71"/>
                    <a:gd name="T16" fmla="*/ 60 w 61"/>
                    <a:gd name="T17" fmla="*/ 37 h 71"/>
                    <a:gd name="T18" fmla="*/ 3 w 61"/>
                    <a:gd name="T19" fmla="*/ 70 h 71"/>
                    <a:gd name="T20" fmla="*/ 2 w 61"/>
                    <a:gd name="T21" fmla="*/ 71 h 71"/>
                    <a:gd name="T22" fmla="*/ 4 w 61"/>
                    <a:gd name="T23" fmla="*/ 6 h 71"/>
                    <a:gd name="T24" fmla="*/ 4 w 61"/>
                    <a:gd name="T25" fmla="*/ 65 h 71"/>
                    <a:gd name="T26" fmla="*/ 55 w 61"/>
                    <a:gd name="T27" fmla="*/ 35 h 71"/>
                    <a:gd name="T28" fmla="*/ 4 w 61"/>
                    <a:gd name="T29" fmla="*/ 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71">
                      <a:moveTo>
                        <a:pt x="2" y="71"/>
                      </a:moveTo>
                      <a:cubicBezTo>
                        <a:pt x="1" y="71"/>
                        <a:pt x="1" y="71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60" y="34"/>
                        <a:pt x="60" y="34"/>
                        <a:pt x="60" y="34"/>
                      </a:cubicBezTo>
                      <a:cubicBezTo>
                        <a:pt x="61" y="34"/>
                        <a:pt x="61" y="35"/>
                        <a:pt x="61" y="35"/>
                      </a:cubicBezTo>
                      <a:cubicBezTo>
                        <a:pt x="61" y="36"/>
                        <a:pt x="61" y="37"/>
                        <a:pt x="60" y="37"/>
                      </a:cubicBez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2" y="71"/>
                        <a:pt x="2" y="71"/>
                        <a:pt x="2" y="71"/>
                      </a:cubicBezTo>
                      <a:close/>
                      <a:moveTo>
                        <a:pt x="4" y="6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55" y="35"/>
                        <a:pt x="55" y="35"/>
                        <a:pt x="55" y="35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5" name="Freeform 717">
                  <a:extLst>
                    <a:ext uri="{FF2B5EF4-FFF2-40B4-BE49-F238E27FC236}">
                      <a16:creationId xmlns:a16="http://schemas.microsoft.com/office/drawing/2014/main" id="{53BE8DD5-0F4E-435A-9EFC-66AB510C5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647"/>
                  <a:ext cx="35" cy="173"/>
                </a:xfrm>
                <a:custGeom>
                  <a:avLst/>
                  <a:gdLst>
                    <a:gd name="T0" fmla="*/ 11 w 15"/>
                    <a:gd name="T1" fmla="*/ 73 h 73"/>
                    <a:gd name="T2" fmla="*/ 10 w 15"/>
                    <a:gd name="T3" fmla="*/ 73 h 73"/>
                    <a:gd name="T4" fmla="*/ 1 w 15"/>
                    <a:gd name="T5" fmla="*/ 68 h 73"/>
                    <a:gd name="T6" fmla="*/ 0 w 15"/>
                    <a:gd name="T7" fmla="*/ 66 h 73"/>
                    <a:gd name="T8" fmla="*/ 0 w 15"/>
                    <a:gd name="T9" fmla="*/ 9 h 73"/>
                    <a:gd name="T10" fmla="*/ 1 w 15"/>
                    <a:gd name="T11" fmla="*/ 7 h 73"/>
                    <a:gd name="T12" fmla="*/ 12 w 15"/>
                    <a:gd name="T13" fmla="*/ 0 h 73"/>
                    <a:gd name="T14" fmla="*/ 14 w 15"/>
                    <a:gd name="T15" fmla="*/ 0 h 73"/>
                    <a:gd name="T16" fmla="*/ 15 w 15"/>
                    <a:gd name="T17" fmla="*/ 2 h 73"/>
                    <a:gd name="T18" fmla="*/ 15 w 15"/>
                    <a:gd name="T19" fmla="*/ 70 h 73"/>
                    <a:gd name="T20" fmla="*/ 14 w 15"/>
                    <a:gd name="T21" fmla="*/ 72 h 73"/>
                    <a:gd name="T22" fmla="*/ 12 w 15"/>
                    <a:gd name="T23" fmla="*/ 73 h 73"/>
                    <a:gd name="T24" fmla="*/ 11 w 15"/>
                    <a:gd name="T25" fmla="*/ 73 h 73"/>
                    <a:gd name="T26" fmla="*/ 4 w 15"/>
                    <a:gd name="T27" fmla="*/ 65 h 73"/>
                    <a:gd name="T28" fmla="*/ 11 w 15"/>
                    <a:gd name="T29" fmla="*/ 69 h 73"/>
                    <a:gd name="T30" fmla="*/ 11 w 15"/>
                    <a:gd name="T31" fmla="*/ 69 h 73"/>
                    <a:gd name="T32" fmla="*/ 11 w 15"/>
                    <a:gd name="T33" fmla="*/ 6 h 73"/>
                    <a:gd name="T34" fmla="*/ 4 w 15"/>
                    <a:gd name="T35" fmla="*/ 10 h 73"/>
                    <a:gd name="T36" fmla="*/ 4 w 15"/>
                    <a:gd name="T37" fmla="*/ 6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73">
                      <a:moveTo>
                        <a:pt x="11" y="73"/>
                      </a:moveTo>
                      <a:cubicBezTo>
                        <a:pt x="10" y="73"/>
                        <a:pt x="10" y="73"/>
                        <a:pt x="10" y="73"/>
                      </a:cubicBezTo>
                      <a:cubicBezTo>
                        <a:pt x="1" y="68"/>
                        <a:pt x="1" y="68"/>
                        <a:pt x="1" y="68"/>
                      </a:cubicBezTo>
                      <a:cubicBezTo>
                        <a:pt x="0" y="68"/>
                        <a:pt x="0" y="67"/>
                        <a:pt x="0" y="66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4" y="0"/>
                      </a:cubicBezTo>
                      <a:cubicBezTo>
                        <a:pt x="15" y="1"/>
                        <a:pt x="15" y="1"/>
                        <a:pt x="15" y="2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15" y="71"/>
                        <a:pt x="15" y="71"/>
                        <a:pt x="14" y="72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1" y="73"/>
                        <a:pt x="11" y="73"/>
                        <a:pt x="11" y="73"/>
                      </a:cubicBezTo>
                      <a:close/>
                      <a:moveTo>
                        <a:pt x="4" y="65"/>
                      </a:move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1" y="69"/>
                        <a:pt x="11" y="69"/>
                        <a:pt x="11" y="69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6" name="Freeform 718">
                  <a:extLst>
                    <a:ext uri="{FF2B5EF4-FFF2-40B4-BE49-F238E27FC236}">
                      <a16:creationId xmlns:a16="http://schemas.microsoft.com/office/drawing/2014/main" id="{034A3F2B-A5DD-4605-949E-8ECF0C991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04" y="732"/>
                  <a:ext cx="47" cy="38"/>
                </a:xfrm>
                <a:custGeom>
                  <a:avLst/>
                  <a:gdLst>
                    <a:gd name="T0" fmla="*/ 9 w 20"/>
                    <a:gd name="T1" fmla="*/ 16 h 16"/>
                    <a:gd name="T2" fmla="*/ 8 w 20"/>
                    <a:gd name="T3" fmla="*/ 16 h 16"/>
                    <a:gd name="T4" fmla="*/ 1 w 20"/>
                    <a:gd name="T5" fmla="*/ 12 h 16"/>
                    <a:gd name="T6" fmla="*/ 0 w 20"/>
                    <a:gd name="T7" fmla="*/ 11 h 16"/>
                    <a:gd name="T8" fmla="*/ 1 w 20"/>
                    <a:gd name="T9" fmla="*/ 9 h 16"/>
                    <a:gd name="T10" fmla="*/ 17 w 20"/>
                    <a:gd name="T11" fmla="*/ 0 h 16"/>
                    <a:gd name="T12" fmla="*/ 19 w 20"/>
                    <a:gd name="T13" fmla="*/ 0 h 16"/>
                    <a:gd name="T14" fmla="*/ 20 w 20"/>
                    <a:gd name="T15" fmla="*/ 2 h 16"/>
                    <a:gd name="T16" fmla="*/ 20 w 20"/>
                    <a:gd name="T17" fmla="*/ 10 h 16"/>
                    <a:gd name="T18" fmla="*/ 19 w 20"/>
                    <a:gd name="T19" fmla="*/ 11 h 16"/>
                    <a:gd name="T20" fmla="*/ 10 w 20"/>
                    <a:gd name="T21" fmla="*/ 16 h 16"/>
                    <a:gd name="T22" fmla="*/ 9 w 20"/>
                    <a:gd name="T23" fmla="*/ 16 h 16"/>
                    <a:gd name="T24" fmla="*/ 6 w 20"/>
                    <a:gd name="T25" fmla="*/ 11 h 16"/>
                    <a:gd name="T26" fmla="*/ 9 w 20"/>
                    <a:gd name="T27" fmla="*/ 12 h 16"/>
                    <a:gd name="T28" fmla="*/ 16 w 20"/>
                    <a:gd name="T29" fmla="*/ 8 h 16"/>
                    <a:gd name="T30" fmla="*/ 16 w 20"/>
                    <a:gd name="T31" fmla="*/ 5 h 16"/>
                    <a:gd name="T32" fmla="*/ 6 w 20"/>
                    <a:gd name="T33" fmla="*/ 1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" h="16">
                      <a:moveTo>
                        <a:pt x="9" y="16"/>
                      </a:moveTo>
                      <a:cubicBezTo>
                        <a:pt x="9" y="16"/>
                        <a:pt x="8" y="16"/>
                        <a:pt x="8" y="16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2"/>
                        <a:pt x="0" y="11"/>
                        <a:pt x="0" y="11"/>
                      </a:cubicBezTo>
                      <a:cubicBezTo>
                        <a:pt x="0" y="10"/>
                        <a:pt x="1" y="9"/>
                        <a:pt x="1" y="9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8" y="0"/>
                        <a:pt x="19" y="0"/>
                      </a:cubicBezTo>
                      <a:cubicBezTo>
                        <a:pt x="19" y="0"/>
                        <a:pt x="20" y="1"/>
                        <a:pt x="20" y="2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0" y="10"/>
                        <a:pt x="19" y="11"/>
                        <a:pt x="19" y="11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6"/>
                        <a:pt x="9" y="16"/>
                        <a:pt x="9" y="16"/>
                      </a:cubicBezTo>
                      <a:close/>
                      <a:moveTo>
                        <a:pt x="6" y="11"/>
                      </a:move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5"/>
                        <a:pt x="16" y="5"/>
                        <a:pt x="16" y="5"/>
                      </a:cubicBezTo>
                      <a:lnTo>
                        <a:pt x="6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7" name="Freeform 719">
                  <a:extLst>
                    <a:ext uri="{FF2B5EF4-FFF2-40B4-BE49-F238E27FC236}">
                      <a16:creationId xmlns:a16="http://schemas.microsoft.com/office/drawing/2014/main" id="{596C2C1E-2AA1-43B8-BD84-4A5C6D0972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76" y="1011"/>
                  <a:ext cx="29" cy="28"/>
                </a:xfrm>
                <a:custGeom>
                  <a:avLst/>
                  <a:gdLst>
                    <a:gd name="T0" fmla="*/ 2 w 12"/>
                    <a:gd name="T1" fmla="*/ 12 h 12"/>
                    <a:gd name="T2" fmla="*/ 1 w 12"/>
                    <a:gd name="T3" fmla="*/ 12 h 12"/>
                    <a:gd name="T4" fmla="*/ 0 w 12"/>
                    <a:gd name="T5" fmla="*/ 10 h 12"/>
                    <a:gd name="T6" fmla="*/ 0 w 12"/>
                    <a:gd name="T7" fmla="*/ 7 h 12"/>
                    <a:gd name="T8" fmla="*/ 1 w 12"/>
                    <a:gd name="T9" fmla="*/ 5 h 12"/>
                    <a:gd name="T10" fmla="*/ 9 w 12"/>
                    <a:gd name="T11" fmla="*/ 0 h 12"/>
                    <a:gd name="T12" fmla="*/ 11 w 12"/>
                    <a:gd name="T13" fmla="*/ 0 h 12"/>
                    <a:gd name="T14" fmla="*/ 12 w 12"/>
                    <a:gd name="T15" fmla="*/ 2 h 12"/>
                    <a:gd name="T16" fmla="*/ 12 w 12"/>
                    <a:gd name="T17" fmla="*/ 5 h 12"/>
                    <a:gd name="T18" fmla="*/ 11 w 12"/>
                    <a:gd name="T19" fmla="*/ 7 h 12"/>
                    <a:gd name="T20" fmla="*/ 3 w 12"/>
                    <a:gd name="T21" fmla="*/ 12 h 12"/>
                    <a:gd name="T22" fmla="*/ 2 w 12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2">
                      <a:moveTo>
                        <a:pt x="2" y="12"/>
                      </a:moveTo>
                      <a:cubicBezTo>
                        <a:pt x="2" y="12"/>
                        <a:pt x="2" y="12"/>
                        <a:pt x="1" y="12"/>
                      </a:cubicBezTo>
                      <a:cubicBezTo>
                        <a:pt x="1" y="11"/>
                        <a:pt x="0" y="11"/>
                        <a:pt x="0" y="1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12" y="1"/>
                        <a:pt x="12" y="1"/>
                        <a:pt x="12" y="2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6"/>
                        <a:pt x="12" y="7"/>
                        <a:pt x="11" y="7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8" name="Freeform 720">
                  <a:extLst>
                    <a:ext uri="{FF2B5EF4-FFF2-40B4-BE49-F238E27FC236}">
                      <a16:creationId xmlns:a16="http://schemas.microsoft.com/office/drawing/2014/main" id="{CF92428C-D103-4D9D-9DD0-388B511A47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902"/>
                  <a:ext cx="29" cy="126"/>
                </a:xfrm>
                <a:custGeom>
                  <a:avLst/>
                  <a:gdLst>
                    <a:gd name="T0" fmla="*/ 2 w 12"/>
                    <a:gd name="T1" fmla="*/ 53 h 53"/>
                    <a:gd name="T2" fmla="*/ 1 w 12"/>
                    <a:gd name="T3" fmla="*/ 53 h 53"/>
                    <a:gd name="T4" fmla="*/ 0 w 12"/>
                    <a:gd name="T5" fmla="*/ 51 h 53"/>
                    <a:gd name="T6" fmla="*/ 0 w 12"/>
                    <a:gd name="T7" fmla="*/ 3 h 53"/>
                    <a:gd name="T8" fmla="*/ 1 w 12"/>
                    <a:gd name="T9" fmla="*/ 1 h 53"/>
                    <a:gd name="T10" fmla="*/ 3 w 12"/>
                    <a:gd name="T11" fmla="*/ 1 h 53"/>
                    <a:gd name="T12" fmla="*/ 11 w 12"/>
                    <a:gd name="T13" fmla="*/ 5 h 53"/>
                    <a:gd name="T14" fmla="*/ 12 w 12"/>
                    <a:gd name="T15" fmla="*/ 7 h 53"/>
                    <a:gd name="T16" fmla="*/ 12 w 12"/>
                    <a:gd name="T17" fmla="*/ 46 h 53"/>
                    <a:gd name="T18" fmla="*/ 11 w 12"/>
                    <a:gd name="T19" fmla="*/ 48 h 53"/>
                    <a:gd name="T20" fmla="*/ 3 w 12"/>
                    <a:gd name="T21" fmla="*/ 53 h 53"/>
                    <a:gd name="T22" fmla="*/ 2 w 12"/>
                    <a:gd name="T23" fmla="*/ 53 h 53"/>
                    <a:gd name="T24" fmla="*/ 4 w 12"/>
                    <a:gd name="T25" fmla="*/ 6 h 53"/>
                    <a:gd name="T26" fmla="*/ 4 w 12"/>
                    <a:gd name="T27" fmla="*/ 47 h 53"/>
                    <a:gd name="T28" fmla="*/ 8 w 12"/>
                    <a:gd name="T29" fmla="*/ 45 h 53"/>
                    <a:gd name="T30" fmla="*/ 8 w 12"/>
                    <a:gd name="T31" fmla="*/ 8 h 53"/>
                    <a:gd name="T32" fmla="*/ 4 w 12"/>
                    <a:gd name="T33" fmla="*/ 6 h 53"/>
                    <a:gd name="T34" fmla="*/ 10 w 12"/>
                    <a:gd name="T35" fmla="*/ 46 h 53"/>
                    <a:gd name="T36" fmla="*/ 10 w 12"/>
                    <a:gd name="T37" fmla="*/ 46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" h="53">
                      <a:moveTo>
                        <a:pt x="2" y="53"/>
                      </a:moveTo>
                      <a:cubicBezTo>
                        <a:pt x="2" y="53"/>
                        <a:pt x="2" y="53"/>
                        <a:pt x="1" y="53"/>
                      </a:cubicBezTo>
                      <a:cubicBezTo>
                        <a:pt x="1" y="52"/>
                        <a:pt x="0" y="52"/>
                        <a:pt x="0" y="5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6"/>
                        <a:pt x="12" y="7"/>
                        <a:pt x="12" y="7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2" y="47"/>
                        <a:pt x="12" y="48"/>
                        <a:pt x="11" y="48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3"/>
                        <a:pt x="3" y="53"/>
                        <a:pt x="2" y="53"/>
                      </a:cubicBezTo>
                      <a:close/>
                      <a:moveTo>
                        <a:pt x="4" y="6"/>
                      </a:moveTo>
                      <a:cubicBezTo>
                        <a:pt x="4" y="47"/>
                        <a:pt x="4" y="47"/>
                        <a:pt x="4" y="47"/>
                      </a:cubicBezTo>
                      <a:cubicBezTo>
                        <a:pt x="8" y="45"/>
                        <a:pt x="8" y="45"/>
                        <a:pt x="8" y="4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4" y="6"/>
                      </a:lnTo>
                      <a:close/>
                      <a:moveTo>
                        <a:pt x="10" y="46"/>
                      </a:moveTo>
                      <a:cubicBezTo>
                        <a:pt x="10" y="46"/>
                        <a:pt x="10" y="46"/>
                        <a:pt x="10" y="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9" name="Freeform 721">
                  <a:extLst>
                    <a:ext uri="{FF2B5EF4-FFF2-40B4-BE49-F238E27FC236}">
                      <a16:creationId xmlns:a16="http://schemas.microsoft.com/office/drawing/2014/main" id="{E3F969AB-71C4-47B1-B4F6-44EC19FD63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608" y="829"/>
                  <a:ext cx="113" cy="130"/>
                </a:xfrm>
                <a:custGeom>
                  <a:avLst/>
                  <a:gdLst>
                    <a:gd name="T0" fmla="*/ 46 w 48"/>
                    <a:gd name="T1" fmla="*/ 55 h 55"/>
                    <a:gd name="T2" fmla="*/ 45 w 48"/>
                    <a:gd name="T3" fmla="*/ 54 h 55"/>
                    <a:gd name="T4" fmla="*/ 1 w 48"/>
                    <a:gd name="T5" fmla="*/ 29 h 55"/>
                    <a:gd name="T6" fmla="*/ 0 w 48"/>
                    <a:gd name="T7" fmla="*/ 27 h 55"/>
                    <a:gd name="T8" fmla="*/ 1 w 48"/>
                    <a:gd name="T9" fmla="*/ 25 h 55"/>
                    <a:gd name="T10" fmla="*/ 45 w 48"/>
                    <a:gd name="T11" fmla="*/ 0 h 55"/>
                    <a:gd name="T12" fmla="*/ 47 w 48"/>
                    <a:gd name="T13" fmla="*/ 0 h 55"/>
                    <a:gd name="T14" fmla="*/ 48 w 48"/>
                    <a:gd name="T15" fmla="*/ 2 h 55"/>
                    <a:gd name="T16" fmla="*/ 48 w 48"/>
                    <a:gd name="T17" fmla="*/ 53 h 55"/>
                    <a:gd name="T18" fmla="*/ 47 w 48"/>
                    <a:gd name="T19" fmla="*/ 54 h 55"/>
                    <a:gd name="T20" fmla="*/ 46 w 48"/>
                    <a:gd name="T21" fmla="*/ 55 h 55"/>
                    <a:gd name="T22" fmla="*/ 6 w 48"/>
                    <a:gd name="T23" fmla="*/ 27 h 55"/>
                    <a:gd name="T24" fmla="*/ 44 w 48"/>
                    <a:gd name="T25" fmla="*/ 49 h 55"/>
                    <a:gd name="T26" fmla="*/ 44 w 48"/>
                    <a:gd name="T27" fmla="*/ 5 h 55"/>
                    <a:gd name="T28" fmla="*/ 6 w 48"/>
                    <a:gd name="T29" fmla="*/ 27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55">
                      <a:moveTo>
                        <a:pt x="46" y="55"/>
                      </a:moveTo>
                      <a:cubicBezTo>
                        <a:pt x="46" y="55"/>
                        <a:pt x="46" y="54"/>
                        <a:pt x="45" y="54"/>
                      </a:cubicBez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1" y="29"/>
                        <a:pt x="0" y="28"/>
                        <a:pt x="0" y="27"/>
                      </a:cubicBezTo>
                      <a:cubicBezTo>
                        <a:pt x="0" y="26"/>
                        <a:pt x="1" y="26"/>
                        <a:pt x="1" y="25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6" y="0"/>
                        <a:pt x="47" y="0"/>
                        <a:pt x="47" y="0"/>
                      </a:cubicBezTo>
                      <a:cubicBezTo>
                        <a:pt x="48" y="0"/>
                        <a:pt x="48" y="1"/>
                        <a:pt x="48" y="2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48" y="53"/>
                        <a:pt x="48" y="54"/>
                        <a:pt x="47" y="54"/>
                      </a:cubicBezTo>
                      <a:cubicBezTo>
                        <a:pt x="47" y="54"/>
                        <a:pt x="47" y="55"/>
                        <a:pt x="46" y="55"/>
                      </a:cubicBezTo>
                      <a:close/>
                      <a:moveTo>
                        <a:pt x="6" y="27"/>
                      </a:moveTo>
                      <a:cubicBezTo>
                        <a:pt x="44" y="49"/>
                        <a:pt x="44" y="49"/>
                        <a:pt x="44" y="49"/>
                      </a:cubicBezTo>
                      <a:cubicBezTo>
                        <a:pt x="44" y="5"/>
                        <a:pt x="44" y="5"/>
                        <a:pt x="44" y="5"/>
                      </a:cubicBezTo>
                      <a:lnTo>
                        <a:pt x="6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0" name="Freeform 722">
                  <a:extLst>
                    <a:ext uri="{FF2B5EF4-FFF2-40B4-BE49-F238E27FC236}">
                      <a16:creationId xmlns:a16="http://schemas.microsoft.com/office/drawing/2014/main" id="{931AC5F1-7026-4EE5-B0E3-59ED6D9EDD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62" y="2750"/>
                  <a:ext cx="26" cy="28"/>
                </a:xfrm>
                <a:custGeom>
                  <a:avLst/>
                  <a:gdLst>
                    <a:gd name="T0" fmla="*/ 2 w 11"/>
                    <a:gd name="T1" fmla="*/ 12 h 12"/>
                    <a:gd name="T2" fmla="*/ 1 w 11"/>
                    <a:gd name="T3" fmla="*/ 11 h 12"/>
                    <a:gd name="T4" fmla="*/ 0 w 11"/>
                    <a:gd name="T5" fmla="*/ 10 h 12"/>
                    <a:gd name="T6" fmla="*/ 0 w 11"/>
                    <a:gd name="T7" fmla="*/ 2 h 12"/>
                    <a:gd name="T8" fmla="*/ 1 w 11"/>
                    <a:gd name="T9" fmla="*/ 0 h 12"/>
                    <a:gd name="T10" fmla="*/ 3 w 11"/>
                    <a:gd name="T11" fmla="*/ 0 h 12"/>
                    <a:gd name="T12" fmla="*/ 10 w 11"/>
                    <a:gd name="T13" fmla="*/ 4 h 12"/>
                    <a:gd name="T14" fmla="*/ 11 w 11"/>
                    <a:gd name="T15" fmla="*/ 6 h 12"/>
                    <a:gd name="T16" fmla="*/ 10 w 11"/>
                    <a:gd name="T17" fmla="*/ 7 h 12"/>
                    <a:gd name="T18" fmla="*/ 3 w 11"/>
                    <a:gd name="T19" fmla="*/ 11 h 12"/>
                    <a:gd name="T20" fmla="*/ 2 w 11"/>
                    <a:gd name="T21" fmla="*/ 12 h 12"/>
                    <a:gd name="T22" fmla="*/ 4 w 11"/>
                    <a:gd name="T23" fmla="*/ 5 h 12"/>
                    <a:gd name="T24" fmla="*/ 4 w 11"/>
                    <a:gd name="T25" fmla="*/ 6 h 12"/>
                    <a:gd name="T26" fmla="*/ 5 w 11"/>
                    <a:gd name="T27" fmla="*/ 6 h 12"/>
                    <a:gd name="T28" fmla="*/ 4 w 11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2" y="12"/>
                      </a:moveTo>
                      <a:cubicBezTo>
                        <a:pt x="2" y="12"/>
                        <a:pt x="1" y="11"/>
                        <a:pt x="1" y="11"/>
                      </a:cubicBezTo>
                      <a:cubicBezTo>
                        <a:pt x="0" y="11"/>
                        <a:pt x="0" y="10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0" y="4"/>
                        <a:pt x="11" y="5"/>
                        <a:pt x="11" y="6"/>
                      </a:cubicBezTo>
                      <a:cubicBezTo>
                        <a:pt x="11" y="6"/>
                        <a:pt x="10" y="7"/>
                        <a:pt x="10" y="7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2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1" name="Freeform 723">
                  <a:extLst>
                    <a:ext uri="{FF2B5EF4-FFF2-40B4-BE49-F238E27FC236}">
                      <a16:creationId xmlns:a16="http://schemas.microsoft.com/office/drawing/2014/main" id="{DF426A85-6614-4F50-86A5-F9DCF22FBD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27" y="1068"/>
                  <a:ext cx="50" cy="54"/>
                </a:xfrm>
                <a:custGeom>
                  <a:avLst/>
                  <a:gdLst>
                    <a:gd name="T0" fmla="*/ 2 w 21"/>
                    <a:gd name="T1" fmla="*/ 23 h 23"/>
                    <a:gd name="T2" fmla="*/ 1 w 21"/>
                    <a:gd name="T3" fmla="*/ 23 h 23"/>
                    <a:gd name="T4" fmla="*/ 0 w 21"/>
                    <a:gd name="T5" fmla="*/ 21 h 23"/>
                    <a:gd name="T6" fmla="*/ 0 w 21"/>
                    <a:gd name="T7" fmla="*/ 2 h 23"/>
                    <a:gd name="T8" fmla="*/ 1 w 21"/>
                    <a:gd name="T9" fmla="*/ 0 h 23"/>
                    <a:gd name="T10" fmla="*/ 3 w 21"/>
                    <a:gd name="T11" fmla="*/ 0 h 23"/>
                    <a:gd name="T12" fmla="*/ 20 w 21"/>
                    <a:gd name="T13" fmla="*/ 10 h 23"/>
                    <a:gd name="T14" fmla="*/ 21 w 21"/>
                    <a:gd name="T15" fmla="*/ 12 h 23"/>
                    <a:gd name="T16" fmla="*/ 20 w 21"/>
                    <a:gd name="T17" fmla="*/ 13 h 23"/>
                    <a:gd name="T18" fmla="*/ 3 w 21"/>
                    <a:gd name="T19" fmla="*/ 23 h 23"/>
                    <a:gd name="T20" fmla="*/ 2 w 21"/>
                    <a:gd name="T21" fmla="*/ 23 h 23"/>
                    <a:gd name="T22" fmla="*/ 4 w 21"/>
                    <a:gd name="T23" fmla="*/ 5 h 23"/>
                    <a:gd name="T24" fmla="*/ 4 w 21"/>
                    <a:gd name="T25" fmla="*/ 18 h 23"/>
                    <a:gd name="T26" fmla="*/ 15 w 21"/>
                    <a:gd name="T27" fmla="*/ 12 h 23"/>
                    <a:gd name="T28" fmla="*/ 4 w 21"/>
                    <a:gd name="T29" fmla="*/ 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23">
                      <a:moveTo>
                        <a:pt x="2" y="23"/>
                      </a:move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0" y="10"/>
                        <a:pt x="21" y="11"/>
                        <a:pt x="21" y="12"/>
                      </a:cubicBezTo>
                      <a:cubicBezTo>
                        <a:pt x="21" y="12"/>
                        <a:pt x="20" y="13"/>
                        <a:pt x="20" y="13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2" y="23"/>
                        <a:pt x="2" y="23"/>
                        <a:pt x="2" y="23"/>
                      </a:cubicBezTo>
                      <a:close/>
                      <a:moveTo>
                        <a:pt x="4" y="5"/>
                      </a:move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2" name="Freeform 724">
                  <a:extLst>
                    <a:ext uri="{FF2B5EF4-FFF2-40B4-BE49-F238E27FC236}">
                      <a16:creationId xmlns:a16="http://schemas.microsoft.com/office/drawing/2014/main" id="{113B53D6-5112-4D13-8149-6B62A8F9D2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83" y="2774"/>
                  <a:ext cx="12" cy="11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5 h 5"/>
                    <a:gd name="T4" fmla="*/ 1 w 5"/>
                    <a:gd name="T5" fmla="*/ 4 h 5"/>
                    <a:gd name="T6" fmla="*/ 0 w 5"/>
                    <a:gd name="T7" fmla="*/ 3 h 5"/>
                    <a:gd name="T8" fmla="*/ 1 w 5"/>
                    <a:gd name="T9" fmla="*/ 1 h 5"/>
                    <a:gd name="T10" fmla="*/ 2 w 5"/>
                    <a:gd name="T11" fmla="*/ 1 h 5"/>
                    <a:gd name="T12" fmla="*/ 4 w 5"/>
                    <a:gd name="T13" fmla="*/ 1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5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3" y="0"/>
                        <a:pt x="4" y="1"/>
                      </a:cubicBezTo>
                      <a:cubicBezTo>
                        <a:pt x="4" y="1"/>
                        <a:pt x="5" y="2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4"/>
                        <a:pt x="4" y="4"/>
                        <a:pt x="4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3" name="Freeform 725">
                  <a:extLst>
                    <a:ext uri="{FF2B5EF4-FFF2-40B4-BE49-F238E27FC236}">
                      <a16:creationId xmlns:a16="http://schemas.microsoft.com/office/drawing/2014/main" id="{CE77E01A-2845-4B3F-86EC-F5F116E9C5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2809"/>
                  <a:ext cx="19" cy="305"/>
                </a:xfrm>
                <a:custGeom>
                  <a:avLst/>
                  <a:gdLst>
                    <a:gd name="T0" fmla="*/ 2 w 8"/>
                    <a:gd name="T1" fmla="*/ 129 h 129"/>
                    <a:gd name="T2" fmla="*/ 1 w 8"/>
                    <a:gd name="T3" fmla="*/ 129 h 129"/>
                    <a:gd name="T4" fmla="*/ 0 w 8"/>
                    <a:gd name="T5" fmla="*/ 127 h 129"/>
                    <a:gd name="T6" fmla="*/ 0 w 8"/>
                    <a:gd name="T7" fmla="*/ 2 h 129"/>
                    <a:gd name="T8" fmla="*/ 1 w 8"/>
                    <a:gd name="T9" fmla="*/ 1 h 129"/>
                    <a:gd name="T10" fmla="*/ 3 w 8"/>
                    <a:gd name="T11" fmla="*/ 1 h 129"/>
                    <a:gd name="T12" fmla="*/ 7 w 8"/>
                    <a:gd name="T13" fmla="*/ 3 h 129"/>
                    <a:gd name="T14" fmla="*/ 8 w 8"/>
                    <a:gd name="T15" fmla="*/ 4 h 129"/>
                    <a:gd name="T16" fmla="*/ 8 w 8"/>
                    <a:gd name="T17" fmla="*/ 125 h 129"/>
                    <a:gd name="T18" fmla="*/ 7 w 8"/>
                    <a:gd name="T19" fmla="*/ 127 h 129"/>
                    <a:gd name="T20" fmla="*/ 3 w 8"/>
                    <a:gd name="T21" fmla="*/ 129 h 129"/>
                    <a:gd name="T22" fmla="*/ 2 w 8"/>
                    <a:gd name="T23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29">
                      <a:moveTo>
                        <a:pt x="2" y="129"/>
                      </a:moveTo>
                      <a:cubicBezTo>
                        <a:pt x="2" y="129"/>
                        <a:pt x="2" y="129"/>
                        <a:pt x="1" y="129"/>
                      </a:cubicBezTo>
                      <a:cubicBezTo>
                        <a:pt x="1" y="129"/>
                        <a:pt x="0" y="128"/>
                        <a:pt x="0" y="12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8" y="4"/>
                        <a:pt x="8" y="4"/>
                      </a:cubicBezTo>
                      <a:cubicBezTo>
                        <a:pt x="8" y="125"/>
                        <a:pt x="8" y="125"/>
                        <a:pt x="8" y="125"/>
                      </a:cubicBezTo>
                      <a:cubicBezTo>
                        <a:pt x="8" y="126"/>
                        <a:pt x="7" y="127"/>
                        <a:pt x="7" y="127"/>
                      </a:cubicBezTo>
                      <a:cubicBezTo>
                        <a:pt x="3" y="129"/>
                        <a:pt x="3" y="129"/>
                        <a:pt x="3" y="129"/>
                      </a:cubicBezTo>
                      <a:cubicBezTo>
                        <a:pt x="3" y="129"/>
                        <a:pt x="3" y="129"/>
                        <a:pt x="2" y="1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4" name="Freeform 726">
                  <a:extLst>
                    <a:ext uri="{FF2B5EF4-FFF2-40B4-BE49-F238E27FC236}">
                      <a16:creationId xmlns:a16="http://schemas.microsoft.com/office/drawing/2014/main" id="{2AC1226D-2E89-4CD0-A70F-F8617C2C08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954"/>
                  <a:ext cx="149" cy="142"/>
                </a:xfrm>
                <a:custGeom>
                  <a:avLst/>
                  <a:gdLst>
                    <a:gd name="T0" fmla="*/ 2 w 63"/>
                    <a:gd name="T1" fmla="*/ 60 h 60"/>
                    <a:gd name="T2" fmla="*/ 1 w 63"/>
                    <a:gd name="T3" fmla="*/ 60 h 60"/>
                    <a:gd name="T4" fmla="*/ 0 w 63"/>
                    <a:gd name="T5" fmla="*/ 58 h 60"/>
                    <a:gd name="T6" fmla="*/ 0 w 63"/>
                    <a:gd name="T7" fmla="*/ 36 h 60"/>
                    <a:gd name="T8" fmla="*/ 1 w 63"/>
                    <a:gd name="T9" fmla="*/ 35 h 60"/>
                    <a:gd name="T10" fmla="*/ 60 w 63"/>
                    <a:gd name="T11" fmla="*/ 1 h 60"/>
                    <a:gd name="T12" fmla="*/ 62 w 63"/>
                    <a:gd name="T13" fmla="*/ 1 h 60"/>
                    <a:gd name="T14" fmla="*/ 63 w 63"/>
                    <a:gd name="T15" fmla="*/ 2 h 60"/>
                    <a:gd name="T16" fmla="*/ 63 w 63"/>
                    <a:gd name="T17" fmla="*/ 24 h 60"/>
                    <a:gd name="T18" fmla="*/ 62 w 63"/>
                    <a:gd name="T19" fmla="*/ 26 h 60"/>
                    <a:gd name="T20" fmla="*/ 3 w 63"/>
                    <a:gd name="T21" fmla="*/ 60 h 60"/>
                    <a:gd name="T22" fmla="*/ 2 w 63"/>
                    <a:gd name="T23" fmla="*/ 60 h 60"/>
                    <a:gd name="T24" fmla="*/ 4 w 63"/>
                    <a:gd name="T25" fmla="*/ 38 h 60"/>
                    <a:gd name="T26" fmla="*/ 4 w 63"/>
                    <a:gd name="T27" fmla="*/ 55 h 60"/>
                    <a:gd name="T28" fmla="*/ 59 w 63"/>
                    <a:gd name="T29" fmla="*/ 23 h 60"/>
                    <a:gd name="T30" fmla="*/ 59 w 63"/>
                    <a:gd name="T31" fmla="*/ 6 h 60"/>
                    <a:gd name="T32" fmla="*/ 4 w 63"/>
                    <a:gd name="T33" fmla="*/ 38 h 60"/>
                    <a:gd name="T34" fmla="*/ 61 w 63"/>
                    <a:gd name="T35" fmla="*/ 24 h 60"/>
                    <a:gd name="T36" fmla="*/ 61 w 63"/>
                    <a:gd name="T37" fmla="*/ 2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3" h="60">
                      <a:moveTo>
                        <a:pt x="2" y="60"/>
                      </a:moveTo>
                      <a:cubicBezTo>
                        <a:pt x="2" y="60"/>
                        <a:pt x="2" y="60"/>
                        <a:pt x="1" y="60"/>
                      </a:cubicBezTo>
                      <a:cubicBezTo>
                        <a:pt x="1" y="59"/>
                        <a:pt x="0" y="59"/>
                        <a:pt x="0" y="58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1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1" y="0"/>
                        <a:pt x="62" y="0"/>
                        <a:pt x="62" y="1"/>
                      </a:cubicBezTo>
                      <a:cubicBezTo>
                        <a:pt x="63" y="1"/>
                        <a:pt x="63" y="2"/>
                        <a:pt x="63" y="2"/>
                      </a:cubicBezTo>
                      <a:cubicBezTo>
                        <a:pt x="63" y="24"/>
                        <a:pt x="63" y="24"/>
                        <a:pt x="63" y="24"/>
                      </a:cubicBezTo>
                      <a:cubicBezTo>
                        <a:pt x="63" y="25"/>
                        <a:pt x="63" y="25"/>
                        <a:pt x="62" y="26"/>
                      </a:cubicBezTo>
                      <a:cubicBezTo>
                        <a:pt x="3" y="60"/>
                        <a:pt x="3" y="60"/>
                        <a:pt x="3" y="60"/>
                      </a:cubicBezTo>
                      <a:cubicBezTo>
                        <a:pt x="3" y="60"/>
                        <a:pt x="3" y="60"/>
                        <a:pt x="2" y="60"/>
                      </a:cubicBezTo>
                      <a:close/>
                      <a:moveTo>
                        <a:pt x="4" y="38"/>
                      </a:moveTo>
                      <a:cubicBezTo>
                        <a:pt x="4" y="55"/>
                        <a:pt x="4" y="55"/>
                        <a:pt x="4" y="55"/>
                      </a:cubicBezTo>
                      <a:cubicBezTo>
                        <a:pt x="59" y="23"/>
                        <a:pt x="59" y="23"/>
                        <a:pt x="59" y="23"/>
                      </a:cubicBezTo>
                      <a:cubicBezTo>
                        <a:pt x="59" y="6"/>
                        <a:pt x="59" y="6"/>
                        <a:pt x="59" y="6"/>
                      </a:cubicBezTo>
                      <a:lnTo>
                        <a:pt x="4" y="38"/>
                      </a:lnTo>
                      <a:close/>
                      <a:moveTo>
                        <a:pt x="61" y="24"/>
                      </a:moveTo>
                      <a:cubicBezTo>
                        <a:pt x="61" y="24"/>
                        <a:pt x="61" y="24"/>
                        <a:pt x="61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5" name="Freeform 727">
                  <a:extLst>
                    <a:ext uri="{FF2B5EF4-FFF2-40B4-BE49-F238E27FC236}">
                      <a16:creationId xmlns:a16="http://schemas.microsoft.com/office/drawing/2014/main" id="{C0AC1457-DF05-4780-96A9-8BA1959424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1011"/>
                  <a:ext cx="149" cy="196"/>
                </a:xfrm>
                <a:custGeom>
                  <a:avLst/>
                  <a:gdLst>
                    <a:gd name="T0" fmla="*/ 2 w 63"/>
                    <a:gd name="T1" fmla="*/ 83 h 83"/>
                    <a:gd name="T2" fmla="*/ 1 w 63"/>
                    <a:gd name="T3" fmla="*/ 82 h 83"/>
                    <a:gd name="T4" fmla="*/ 0 w 63"/>
                    <a:gd name="T5" fmla="*/ 81 h 83"/>
                    <a:gd name="T6" fmla="*/ 0 w 63"/>
                    <a:gd name="T7" fmla="*/ 36 h 83"/>
                    <a:gd name="T8" fmla="*/ 1 w 63"/>
                    <a:gd name="T9" fmla="*/ 34 h 83"/>
                    <a:gd name="T10" fmla="*/ 60 w 63"/>
                    <a:gd name="T11" fmla="*/ 0 h 83"/>
                    <a:gd name="T12" fmla="*/ 62 w 63"/>
                    <a:gd name="T13" fmla="*/ 0 h 83"/>
                    <a:gd name="T14" fmla="*/ 63 w 63"/>
                    <a:gd name="T15" fmla="*/ 2 h 83"/>
                    <a:gd name="T16" fmla="*/ 63 w 63"/>
                    <a:gd name="T17" fmla="*/ 46 h 83"/>
                    <a:gd name="T18" fmla="*/ 62 w 63"/>
                    <a:gd name="T19" fmla="*/ 48 h 83"/>
                    <a:gd name="T20" fmla="*/ 3 w 63"/>
                    <a:gd name="T21" fmla="*/ 82 h 83"/>
                    <a:gd name="T22" fmla="*/ 2 w 63"/>
                    <a:gd name="T23" fmla="*/ 83 h 83"/>
                    <a:gd name="T24" fmla="*/ 4 w 63"/>
                    <a:gd name="T25" fmla="*/ 37 h 83"/>
                    <a:gd name="T26" fmla="*/ 4 w 63"/>
                    <a:gd name="T27" fmla="*/ 77 h 83"/>
                    <a:gd name="T28" fmla="*/ 59 w 63"/>
                    <a:gd name="T29" fmla="*/ 45 h 83"/>
                    <a:gd name="T30" fmla="*/ 59 w 63"/>
                    <a:gd name="T31" fmla="*/ 5 h 83"/>
                    <a:gd name="T32" fmla="*/ 4 w 63"/>
                    <a:gd name="T33" fmla="*/ 37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3" h="83">
                      <a:moveTo>
                        <a:pt x="2" y="83"/>
                      </a:moveTo>
                      <a:cubicBezTo>
                        <a:pt x="2" y="83"/>
                        <a:pt x="2" y="82"/>
                        <a:pt x="1" y="82"/>
                      </a:cubicBezTo>
                      <a:cubicBezTo>
                        <a:pt x="1" y="82"/>
                        <a:pt x="0" y="81"/>
                        <a:pt x="0" y="81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5"/>
                        <a:pt x="1" y="35"/>
                        <a:pt x="1" y="34"/>
                      </a:cubicBezTo>
                      <a:cubicBezTo>
                        <a:pt x="60" y="0"/>
                        <a:pt x="60" y="0"/>
                        <a:pt x="60" y="0"/>
                      </a:cubicBezTo>
                      <a:cubicBezTo>
                        <a:pt x="61" y="0"/>
                        <a:pt x="62" y="0"/>
                        <a:pt x="62" y="0"/>
                      </a:cubicBezTo>
                      <a:cubicBezTo>
                        <a:pt x="63" y="1"/>
                        <a:pt x="63" y="1"/>
                        <a:pt x="63" y="2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7"/>
                        <a:pt x="63" y="48"/>
                        <a:pt x="62" y="48"/>
                      </a:cubicBezTo>
                      <a:cubicBezTo>
                        <a:pt x="3" y="82"/>
                        <a:pt x="3" y="82"/>
                        <a:pt x="3" y="82"/>
                      </a:cubicBezTo>
                      <a:cubicBezTo>
                        <a:pt x="3" y="82"/>
                        <a:pt x="3" y="83"/>
                        <a:pt x="2" y="83"/>
                      </a:cubicBezTo>
                      <a:close/>
                      <a:moveTo>
                        <a:pt x="4" y="37"/>
                      </a:moveTo>
                      <a:cubicBezTo>
                        <a:pt x="4" y="77"/>
                        <a:pt x="4" y="77"/>
                        <a:pt x="4" y="77"/>
                      </a:cubicBezTo>
                      <a:cubicBezTo>
                        <a:pt x="59" y="45"/>
                        <a:pt x="59" y="45"/>
                        <a:pt x="59" y="45"/>
                      </a:cubicBezTo>
                      <a:cubicBezTo>
                        <a:pt x="59" y="5"/>
                        <a:pt x="59" y="5"/>
                        <a:pt x="59" y="5"/>
                      </a:cubicBezTo>
                      <a:lnTo>
                        <a:pt x="4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6" name="Freeform 728">
                  <a:extLst>
                    <a:ext uri="{FF2B5EF4-FFF2-40B4-BE49-F238E27FC236}">
                      <a16:creationId xmlns:a16="http://schemas.microsoft.com/office/drawing/2014/main" id="{8D13BD79-7DC3-4122-A911-9595FF636B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425"/>
                  <a:ext cx="80" cy="92"/>
                </a:xfrm>
                <a:custGeom>
                  <a:avLst/>
                  <a:gdLst>
                    <a:gd name="T0" fmla="*/ 2 w 34"/>
                    <a:gd name="T1" fmla="*/ 39 h 39"/>
                    <a:gd name="T2" fmla="*/ 1 w 34"/>
                    <a:gd name="T3" fmla="*/ 39 h 39"/>
                    <a:gd name="T4" fmla="*/ 0 w 34"/>
                    <a:gd name="T5" fmla="*/ 37 h 39"/>
                    <a:gd name="T6" fmla="*/ 0 w 34"/>
                    <a:gd name="T7" fmla="*/ 2 h 39"/>
                    <a:gd name="T8" fmla="*/ 1 w 34"/>
                    <a:gd name="T9" fmla="*/ 1 h 39"/>
                    <a:gd name="T10" fmla="*/ 3 w 34"/>
                    <a:gd name="T11" fmla="*/ 1 h 39"/>
                    <a:gd name="T12" fmla="*/ 33 w 34"/>
                    <a:gd name="T13" fmla="*/ 18 h 39"/>
                    <a:gd name="T14" fmla="*/ 34 w 34"/>
                    <a:gd name="T15" fmla="*/ 20 h 39"/>
                    <a:gd name="T16" fmla="*/ 33 w 34"/>
                    <a:gd name="T17" fmla="*/ 21 h 39"/>
                    <a:gd name="T18" fmla="*/ 3 w 34"/>
                    <a:gd name="T19" fmla="*/ 39 h 39"/>
                    <a:gd name="T20" fmla="*/ 2 w 34"/>
                    <a:gd name="T21" fmla="*/ 39 h 39"/>
                    <a:gd name="T22" fmla="*/ 4 w 34"/>
                    <a:gd name="T23" fmla="*/ 6 h 39"/>
                    <a:gd name="T24" fmla="*/ 4 w 34"/>
                    <a:gd name="T25" fmla="*/ 34 h 39"/>
                    <a:gd name="T26" fmla="*/ 28 w 34"/>
                    <a:gd name="T27" fmla="*/ 20 h 39"/>
                    <a:gd name="T28" fmla="*/ 4 w 34"/>
                    <a:gd name="T29" fmla="*/ 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9">
                      <a:moveTo>
                        <a:pt x="2" y="39"/>
                      </a:moveTo>
                      <a:cubicBezTo>
                        <a:pt x="2" y="39"/>
                        <a:pt x="2" y="39"/>
                        <a:pt x="1" y="39"/>
                      </a:cubicBezTo>
                      <a:cubicBezTo>
                        <a:pt x="1" y="38"/>
                        <a:pt x="0" y="38"/>
                        <a:pt x="0" y="3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8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3" y="21"/>
                      </a:cubicBez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9"/>
                        <a:pt x="3" y="39"/>
                        <a:pt x="2" y="39"/>
                      </a:cubicBezTo>
                      <a:close/>
                      <a:moveTo>
                        <a:pt x="4" y="6"/>
                      </a:moveTo>
                      <a:cubicBezTo>
                        <a:pt x="4" y="34"/>
                        <a:pt x="4" y="34"/>
                        <a:pt x="4" y="34"/>
                      </a:cubicBezTo>
                      <a:cubicBezTo>
                        <a:pt x="28" y="20"/>
                        <a:pt x="28" y="20"/>
                        <a:pt x="28" y="20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7" name="Freeform 729">
                  <a:extLst>
                    <a:ext uri="{FF2B5EF4-FFF2-40B4-BE49-F238E27FC236}">
                      <a16:creationId xmlns:a16="http://schemas.microsoft.com/office/drawing/2014/main" id="{FB84487C-B28C-4162-9CE7-FE6944F638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60" y="2261"/>
                  <a:ext cx="319" cy="541"/>
                </a:xfrm>
                <a:custGeom>
                  <a:avLst/>
                  <a:gdLst>
                    <a:gd name="T0" fmla="*/ 133 w 135"/>
                    <a:gd name="T1" fmla="*/ 229 h 229"/>
                    <a:gd name="T2" fmla="*/ 132 w 135"/>
                    <a:gd name="T3" fmla="*/ 229 h 229"/>
                    <a:gd name="T4" fmla="*/ 1 w 135"/>
                    <a:gd name="T5" fmla="*/ 154 h 229"/>
                    <a:gd name="T6" fmla="*/ 0 w 135"/>
                    <a:gd name="T7" fmla="*/ 152 h 229"/>
                    <a:gd name="T8" fmla="*/ 0 w 135"/>
                    <a:gd name="T9" fmla="*/ 2 h 229"/>
                    <a:gd name="T10" fmla="*/ 1 w 135"/>
                    <a:gd name="T11" fmla="*/ 0 h 229"/>
                    <a:gd name="T12" fmla="*/ 3 w 135"/>
                    <a:gd name="T13" fmla="*/ 0 h 229"/>
                    <a:gd name="T14" fmla="*/ 134 w 135"/>
                    <a:gd name="T15" fmla="*/ 75 h 229"/>
                    <a:gd name="T16" fmla="*/ 135 w 135"/>
                    <a:gd name="T17" fmla="*/ 77 h 229"/>
                    <a:gd name="T18" fmla="*/ 135 w 135"/>
                    <a:gd name="T19" fmla="*/ 227 h 229"/>
                    <a:gd name="T20" fmla="*/ 134 w 135"/>
                    <a:gd name="T21" fmla="*/ 229 h 229"/>
                    <a:gd name="T22" fmla="*/ 133 w 135"/>
                    <a:gd name="T23" fmla="*/ 229 h 229"/>
                    <a:gd name="T24" fmla="*/ 4 w 135"/>
                    <a:gd name="T25" fmla="*/ 151 h 229"/>
                    <a:gd name="T26" fmla="*/ 131 w 135"/>
                    <a:gd name="T27" fmla="*/ 224 h 229"/>
                    <a:gd name="T28" fmla="*/ 131 w 135"/>
                    <a:gd name="T29" fmla="*/ 78 h 229"/>
                    <a:gd name="T30" fmla="*/ 4 w 135"/>
                    <a:gd name="T31" fmla="*/ 5 h 229"/>
                    <a:gd name="T32" fmla="*/ 4 w 135"/>
                    <a:gd name="T33" fmla="*/ 151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5" h="229">
                      <a:moveTo>
                        <a:pt x="133" y="229"/>
                      </a:moveTo>
                      <a:cubicBezTo>
                        <a:pt x="132" y="229"/>
                        <a:pt x="132" y="229"/>
                        <a:pt x="132" y="229"/>
                      </a:cubicBezTo>
                      <a:cubicBezTo>
                        <a:pt x="1" y="154"/>
                        <a:pt x="1" y="154"/>
                        <a:pt x="1" y="154"/>
                      </a:cubicBezTo>
                      <a:cubicBezTo>
                        <a:pt x="1" y="153"/>
                        <a:pt x="0" y="153"/>
                        <a:pt x="0" y="15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4" y="75"/>
                        <a:pt x="134" y="75"/>
                        <a:pt x="134" y="75"/>
                      </a:cubicBezTo>
                      <a:cubicBezTo>
                        <a:pt x="134" y="75"/>
                        <a:pt x="135" y="76"/>
                        <a:pt x="135" y="77"/>
                      </a:cubicBezTo>
                      <a:cubicBezTo>
                        <a:pt x="135" y="227"/>
                        <a:pt x="135" y="227"/>
                        <a:pt x="135" y="227"/>
                      </a:cubicBezTo>
                      <a:cubicBezTo>
                        <a:pt x="135" y="228"/>
                        <a:pt x="134" y="229"/>
                        <a:pt x="134" y="229"/>
                      </a:cubicBezTo>
                      <a:cubicBezTo>
                        <a:pt x="133" y="229"/>
                        <a:pt x="133" y="229"/>
                        <a:pt x="133" y="229"/>
                      </a:cubicBezTo>
                      <a:close/>
                      <a:moveTo>
                        <a:pt x="4" y="151"/>
                      </a:moveTo>
                      <a:cubicBezTo>
                        <a:pt x="131" y="224"/>
                        <a:pt x="131" y="224"/>
                        <a:pt x="131" y="224"/>
                      </a:cubicBezTo>
                      <a:cubicBezTo>
                        <a:pt x="131" y="78"/>
                        <a:pt x="131" y="78"/>
                        <a:pt x="131" y="78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8" name="Freeform 730">
                  <a:extLst>
                    <a:ext uri="{FF2B5EF4-FFF2-40B4-BE49-F238E27FC236}">
                      <a16:creationId xmlns:a16="http://schemas.microsoft.com/office/drawing/2014/main" id="{4964A9CF-17B7-42CC-B059-64DC11208F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53" y="3315"/>
                  <a:ext cx="35" cy="28"/>
                </a:xfrm>
                <a:custGeom>
                  <a:avLst/>
                  <a:gdLst>
                    <a:gd name="T0" fmla="*/ 13 w 15"/>
                    <a:gd name="T1" fmla="*/ 12 h 12"/>
                    <a:gd name="T2" fmla="*/ 12 w 15"/>
                    <a:gd name="T3" fmla="*/ 11 h 12"/>
                    <a:gd name="T4" fmla="*/ 1 w 15"/>
                    <a:gd name="T5" fmla="*/ 5 h 12"/>
                    <a:gd name="T6" fmla="*/ 0 w 15"/>
                    <a:gd name="T7" fmla="*/ 3 h 12"/>
                    <a:gd name="T8" fmla="*/ 1 w 15"/>
                    <a:gd name="T9" fmla="*/ 1 h 12"/>
                    <a:gd name="T10" fmla="*/ 2 w 15"/>
                    <a:gd name="T11" fmla="*/ 1 h 12"/>
                    <a:gd name="T12" fmla="*/ 4 w 15"/>
                    <a:gd name="T13" fmla="*/ 1 h 12"/>
                    <a:gd name="T14" fmla="*/ 14 w 15"/>
                    <a:gd name="T15" fmla="*/ 6 h 12"/>
                    <a:gd name="T16" fmla="*/ 15 w 15"/>
                    <a:gd name="T17" fmla="*/ 8 h 12"/>
                    <a:gd name="T18" fmla="*/ 15 w 15"/>
                    <a:gd name="T19" fmla="*/ 10 h 12"/>
                    <a:gd name="T20" fmla="*/ 14 w 15"/>
                    <a:gd name="T21" fmla="*/ 11 h 12"/>
                    <a:gd name="T22" fmla="*/ 13 w 15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12">
                      <a:moveTo>
                        <a:pt x="13" y="12"/>
                      </a:moveTo>
                      <a:cubicBezTo>
                        <a:pt x="13" y="12"/>
                        <a:pt x="13" y="12"/>
                        <a:pt x="12" y="11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4" y="0"/>
                        <a:pt x="4" y="1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5" y="7"/>
                        <a:pt x="15" y="7"/>
                        <a:pt x="15" y="8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10"/>
                        <a:pt x="15" y="11"/>
                        <a:pt x="14" y="11"/>
                      </a:cubicBezTo>
                      <a:cubicBezTo>
                        <a:pt x="14" y="12"/>
                        <a:pt x="14" y="12"/>
                        <a:pt x="1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9" name="Freeform 731">
                  <a:extLst>
                    <a:ext uri="{FF2B5EF4-FFF2-40B4-BE49-F238E27FC236}">
                      <a16:creationId xmlns:a16="http://schemas.microsoft.com/office/drawing/2014/main" id="{71E2E419-2C2B-4704-BF88-8FE66F9C9E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29" y="3456"/>
                  <a:ext cx="36" cy="38"/>
                </a:xfrm>
                <a:custGeom>
                  <a:avLst/>
                  <a:gdLst>
                    <a:gd name="T0" fmla="*/ 13 w 15"/>
                    <a:gd name="T1" fmla="*/ 16 h 16"/>
                    <a:gd name="T2" fmla="*/ 12 w 15"/>
                    <a:gd name="T3" fmla="*/ 16 h 16"/>
                    <a:gd name="T4" fmla="*/ 1 w 15"/>
                    <a:gd name="T5" fmla="*/ 10 h 16"/>
                    <a:gd name="T6" fmla="*/ 0 w 15"/>
                    <a:gd name="T7" fmla="*/ 8 h 16"/>
                    <a:gd name="T8" fmla="*/ 1 w 15"/>
                    <a:gd name="T9" fmla="*/ 7 h 16"/>
                    <a:gd name="T10" fmla="*/ 12 w 15"/>
                    <a:gd name="T11" fmla="*/ 1 h 16"/>
                    <a:gd name="T12" fmla="*/ 14 w 15"/>
                    <a:gd name="T13" fmla="*/ 1 h 16"/>
                    <a:gd name="T14" fmla="*/ 15 w 15"/>
                    <a:gd name="T15" fmla="*/ 2 h 16"/>
                    <a:gd name="T16" fmla="*/ 15 w 15"/>
                    <a:gd name="T17" fmla="*/ 14 h 16"/>
                    <a:gd name="T18" fmla="*/ 14 w 15"/>
                    <a:gd name="T19" fmla="*/ 16 h 16"/>
                    <a:gd name="T20" fmla="*/ 13 w 15"/>
                    <a:gd name="T21" fmla="*/ 16 h 16"/>
                    <a:gd name="T22" fmla="*/ 6 w 15"/>
                    <a:gd name="T23" fmla="*/ 8 h 16"/>
                    <a:gd name="T24" fmla="*/ 11 w 15"/>
                    <a:gd name="T25" fmla="*/ 11 h 16"/>
                    <a:gd name="T26" fmla="*/ 11 w 15"/>
                    <a:gd name="T27" fmla="*/ 6 h 16"/>
                    <a:gd name="T28" fmla="*/ 6 w 15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6">
                      <a:moveTo>
                        <a:pt x="13" y="16"/>
                      </a:move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1" y="10"/>
                        <a:pt x="0" y="9"/>
                        <a:pt x="0" y="8"/>
                      </a:cubicBezTo>
                      <a:cubicBezTo>
                        <a:pt x="0" y="8"/>
                        <a:pt x="1" y="7"/>
                        <a:pt x="1" y="7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3" y="0"/>
                        <a:pt x="14" y="1"/>
                      </a:cubicBezTo>
                      <a:cubicBezTo>
                        <a:pt x="14" y="1"/>
                        <a:pt x="15" y="2"/>
                        <a:pt x="15" y="2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5"/>
                        <a:pt x="14" y="16"/>
                        <a:pt x="14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lose/>
                      <a:moveTo>
                        <a:pt x="6" y="8"/>
                      </a:moveTo>
                      <a:cubicBezTo>
                        <a:pt x="11" y="11"/>
                        <a:pt x="11" y="11"/>
                        <a:pt x="11" y="11"/>
                      </a:cubicBezTo>
                      <a:cubicBezTo>
                        <a:pt x="11" y="6"/>
                        <a:pt x="11" y="6"/>
                        <a:pt x="11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0" name="Freeform 732">
                  <a:extLst>
                    <a:ext uri="{FF2B5EF4-FFF2-40B4-BE49-F238E27FC236}">
                      <a16:creationId xmlns:a16="http://schemas.microsoft.com/office/drawing/2014/main" id="{97F9A80B-96CF-4775-93D5-556F5FD3C4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76" y="3504"/>
                  <a:ext cx="22" cy="21"/>
                </a:xfrm>
                <a:custGeom>
                  <a:avLst/>
                  <a:gdLst>
                    <a:gd name="T0" fmla="*/ 2 w 9"/>
                    <a:gd name="T1" fmla="*/ 9 h 9"/>
                    <a:gd name="T2" fmla="*/ 1 w 9"/>
                    <a:gd name="T3" fmla="*/ 9 h 9"/>
                    <a:gd name="T4" fmla="*/ 0 w 9"/>
                    <a:gd name="T5" fmla="*/ 7 h 9"/>
                    <a:gd name="T6" fmla="*/ 0 w 9"/>
                    <a:gd name="T7" fmla="*/ 2 h 9"/>
                    <a:gd name="T8" fmla="*/ 1 w 9"/>
                    <a:gd name="T9" fmla="*/ 0 h 9"/>
                    <a:gd name="T10" fmla="*/ 3 w 9"/>
                    <a:gd name="T11" fmla="*/ 0 h 9"/>
                    <a:gd name="T12" fmla="*/ 8 w 9"/>
                    <a:gd name="T13" fmla="*/ 3 h 9"/>
                    <a:gd name="T14" fmla="*/ 9 w 9"/>
                    <a:gd name="T15" fmla="*/ 4 h 9"/>
                    <a:gd name="T16" fmla="*/ 8 w 9"/>
                    <a:gd name="T17" fmla="*/ 6 h 9"/>
                    <a:gd name="T18" fmla="*/ 3 w 9"/>
                    <a:gd name="T19" fmla="*/ 9 h 9"/>
                    <a:gd name="T20" fmla="*/ 2 w 9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9">
                      <a:moveTo>
                        <a:pt x="2" y="9"/>
                      </a:moveTo>
                      <a:cubicBezTo>
                        <a:pt x="2" y="9"/>
                        <a:pt x="1" y="9"/>
                        <a:pt x="1" y="9"/>
                      </a:cubicBezTo>
                      <a:cubicBezTo>
                        <a:pt x="0" y="9"/>
                        <a:pt x="0" y="8"/>
                        <a:pt x="0" y="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3"/>
                        <a:pt x="9" y="4"/>
                        <a:pt x="9" y="4"/>
                      </a:cubicBezTo>
                      <a:cubicBezTo>
                        <a:pt x="9" y="5"/>
                        <a:pt x="8" y="6"/>
                        <a:pt x="8" y="6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2" y="9"/>
                        <a:pt x="2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1" name="Freeform 733">
                  <a:extLst>
                    <a:ext uri="{FF2B5EF4-FFF2-40B4-BE49-F238E27FC236}">
                      <a16:creationId xmlns:a16="http://schemas.microsoft.com/office/drawing/2014/main" id="{1D91D0A7-541C-4081-BFB5-BC7E26BED7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04" y="1477"/>
                  <a:ext cx="300" cy="344"/>
                </a:xfrm>
                <a:custGeom>
                  <a:avLst/>
                  <a:gdLst>
                    <a:gd name="T0" fmla="*/ 125 w 127"/>
                    <a:gd name="T1" fmla="*/ 146 h 146"/>
                    <a:gd name="T2" fmla="*/ 124 w 127"/>
                    <a:gd name="T3" fmla="*/ 145 h 146"/>
                    <a:gd name="T4" fmla="*/ 1 w 127"/>
                    <a:gd name="T5" fmla="*/ 74 h 146"/>
                    <a:gd name="T6" fmla="*/ 0 w 127"/>
                    <a:gd name="T7" fmla="*/ 73 h 146"/>
                    <a:gd name="T8" fmla="*/ 1 w 127"/>
                    <a:gd name="T9" fmla="*/ 71 h 146"/>
                    <a:gd name="T10" fmla="*/ 124 w 127"/>
                    <a:gd name="T11" fmla="*/ 0 h 146"/>
                    <a:gd name="T12" fmla="*/ 126 w 127"/>
                    <a:gd name="T13" fmla="*/ 0 h 146"/>
                    <a:gd name="T14" fmla="*/ 127 w 127"/>
                    <a:gd name="T15" fmla="*/ 2 h 146"/>
                    <a:gd name="T16" fmla="*/ 127 w 127"/>
                    <a:gd name="T17" fmla="*/ 144 h 146"/>
                    <a:gd name="T18" fmla="*/ 126 w 127"/>
                    <a:gd name="T19" fmla="*/ 145 h 146"/>
                    <a:gd name="T20" fmla="*/ 125 w 127"/>
                    <a:gd name="T21" fmla="*/ 146 h 146"/>
                    <a:gd name="T22" fmla="*/ 6 w 127"/>
                    <a:gd name="T23" fmla="*/ 73 h 146"/>
                    <a:gd name="T24" fmla="*/ 123 w 127"/>
                    <a:gd name="T25" fmla="*/ 140 h 146"/>
                    <a:gd name="T26" fmla="*/ 123 w 127"/>
                    <a:gd name="T27" fmla="*/ 5 h 146"/>
                    <a:gd name="T28" fmla="*/ 6 w 127"/>
                    <a:gd name="T29" fmla="*/ 73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7" h="146">
                      <a:moveTo>
                        <a:pt x="125" y="146"/>
                      </a:moveTo>
                      <a:cubicBezTo>
                        <a:pt x="125" y="146"/>
                        <a:pt x="124" y="146"/>
                        <a:pt x="124" y="145"/>
                      </a:cubicBezTo>
                      <a:cubicBezTo>
                        <a:pt x="1" y="74"/>
                        <a:pt x="1" y="74"/>
                        <a:pt x="1" y="74"/>
                      </a:cubicBezTo>
                      <a:cubicBezTo>
                        <a:pt x="0" y="74"/>
                        <a:pt x="0" y="73"/>
                        <a:pt x="0" y="73"/>
                      </a:cubicBezTo>
                      <a:cubicBezTo>
                        <a:pt x="0" y="72"/>
                        <a:pt x="0" y="71"/>
                        <a:pt x="1" y="71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5" y="0"/>
                        <a:pt x="126" y="0"/>
                      </a:cubicBezTo>
                      <a:cubicBezTo>
                        <a:pt x="126" y="0"/>
                        <a:pt x="127" y="1"/>
                        <a:pt x="127" y="2"/>
                      </a:cubicBezTo>
                      <a:cubicBezTo>
                        <a:pt x="127" y="144"/>
                        <a:pt x="127" y="144"/>
                        <a:pt x="127" y="144"/>
                      </a:cubicBezTo>
                      <a:cubicBezTo>
                        <a:pt x="127" y="144"/>
                        <a:pt x="126" y="145"/>
                        <a:pt x="126" y="145"/>
                      </a:cubicBezTo>
                      <a:cubicBezTo>
                        <a:pt x="126" y="146"/>
                        <a:pt x="125" y="146"/>
                        <a:pt x="125" y="146"/>
                      </a:cubicBezTo>
                      <a:close/>
                      <a:moveTo>
                        <a:pt x="6" y="73"/>
                      </a:moveTo>
                      <a:cubicBezTo>
                        <a:pt x="123" y="140"/>
                        <a:pt x="123" y="140"/>
                        <a:pt x="123" y="140"/>
                      </a:cubicBezTo>
                      <a:cubicBezTo>
                        <a:pt x="123" y="5"/>
                        <a:pt x="123" y="5"/>
                        <a:pt x="123" y="5"/>
                      </a:cubicBezTo>
                      <a:lnTo>
                        <a:pt x="6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2" name="Freeform 734">
                  <a:extLst>
                    <a:ext uri="{FF2B5EF4-FFF2-40B4-BE49-F238E27FC236}">
                      <a16:creationId xmlns:a16="http://schemas.microsoft.com/office/drawing/2014/main" id="{16534D4E-0CE0-4FDD-9DA7-49D3B008B6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3423"/>
                  <a:ext cx="93" cy="71"/>
                </a:xfrm>
                <a:custGeom>
                  <a:avLst/>
                  <a:gdLst>
                    <a:gd name="T0" fmla="*/ 2 w 39"/>
                    <a:gd name="T1" fmla="*/ 30 h 30"/>
                    <a:gd name="T2" fmla="*/ 1 w 39"/>
                    <a:gd name="T3" fmla="*/ 30 h 30"/>
                    <a:gd name="T4" fmla="*/ 0 w 39"/>
                    <a:gd name="T5" fmla="*/ 28 h 30"/>
                    <a:gd name="T6" fmla="*/ 0 w 39"/>
                    <a:gd name="T7" fmla="*/ 16 h 30"/>
                    <a:gd name="T8" fmla="*/ 1 w 39"/>
                    <a:gd name="T9" fmla="*/ 14 h 30"/>
                    <a:gd name="T10" fmla="*/ 25 w 39"/>
                    <a:gd name="T11" fmla="*/ 0 h 30"/>
                    <a:gd name="T12" fmla="*/ 27 w 39"/>
                    <a:gd name="T13" fmla="*/ 0 h 30"/>
                    <a:gd name="T14" fmla="*/ 38 w 39"/>
                    <a:gd name="T15" fmla="*/ 7 h 30"/>
                    <a:gd name="T16" fmla="*/ 39 w 39"/>
                    <a:gd name="T17" fmla="*/ 9 h 30"/>
                    <a:gd name="T18" fmla="*/ 38 w 39"/>
                    <a:gd name="T19" fmla="*/ 10 h 30"/>
                    <a:gd name="T20" fmla="*/ 3 w 39"/>
                    <a:gd name="T21" fmla="*/ 30 h 30"/>
                    <a:gd name="T22" fmla="*/ 2 w 39"/>
                    <a:gd name="T23" fmla="*/ 30 h 30"/>
                    <a:gd name="T24" fmla="*/ 4 w 39"/>
                    <a:gd name="T25" fmla="*/ 17 h 30"/>
                    <a:gd name="T26" fmla="*/ 4 w 39"/>
                    <a:gd name="T27" fmla="*/ 25 h 30"/>
                    <a:gd name="T28" fmla="*/ 33 w 39"/>
                    <a:gd name="T29" fmla="*/ 9 h 30"/>
                    <a:gd name="T30" fmla="*/ 26 w 39"/>
                    <a:gd name="T31" fmla="*/ 4 h 30"/>
                    <a:gd name="T32" fmla="*/ 4 w 39"/>
                    <a:gd name="T33" fmla="*/ 1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30">
                      <a:moveTo>
                        <a:pt x="2" y="30"/>
                      </a:moveTo>
                      <a:cubicBezTo>
                        <a:pt x="2" y="30"/>
                        <a:pt x="2" y="30"/>
                        <a:pt x="1" y="30"/>
                      </a:cubicBezTo>
                      <a:cubicBezTo>
                        <a:pt x="1" y="30"/>
                        <a:pt x="0" y="29"/>
                        <a:pt x="0" y="28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5"/>
                        <a:pt x="1" y="14"/>
                        <a:pt x="1" y="14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6" y="0"/>
                        <a:pt x="27" y="0"/>
                      </a:cubicBezTo>
                      <a:cubicBezTo>
                        <a:pt x="38" y="7"/>
                        <a:pt x="38" y="7"/>
                        <a:pt x="38" y="7"/>
                      </a:cubicBezTo>
                      <a:cubicBezTo>
                        <a:pt x="38" y="7"/>
                        <a:pt x="39" y="8"/>
                        <a:pt x="39" y="9"/>
                      </a:cubicBezTo>
                      <a:cubicBezTo>
                        <a:pt x="39" y="9"/>
                        <a:pt x="38" y="10"/>
                        <a:pt x="38" y="10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0"/>
                        <a:pt x="2" y="30"/>
                      </a:cubicBezTo>
                      <a:close/>
                      <a:moveTo>
                        <a:pt x="4" y="17"/>
                      </a:move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33" y="9"/>
                        <a:pt x="33" y="9"/>
                        <a:pt x="33" y="9"/>
                      </a:cubicBezTo>
                      <a:cubicBezTo>
                        <a:pt x="26" y="4"/>
                        <a:pt x="26" y="4"/>
                        <a:pt x="26" y="4"/>
                      </a:cubicBezTo>
                      <a:lnTo>
                        <a:pt x="4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3" name="Freeform 735">
                  <a:extLst>
                    <a:ext uri="{FF2B5EF4-FFF2-40B4-BE49-F238E27FC236}">
                      <a16:creationId xmlns:a16="http://schemas.microsoft.com/office/drawing/2014/main" id="{BC989382-6CAF-4041-A668-A4617373DF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3511"/>
                  <a:ext cx="137" cy="130"/>
                </a:xfrm>
                <a:custGeom>
                  <a:avLst/>
                  <a:gdLst>
                    <a:gd name="T0" fmla="*/ 18 w 58"/>
                    <a:gd name="T1" fmla="*/ 55 h 55"/>
                    <a:gd name="T2" fmla="*/ 17 w 58"/>
                    <a:gd name="T3" fmla="*/ 54 h 55"/>
                    <a:gd name="T4" fmla="*/ 1 w 58"/>
                    <a:gd name="T5" fmla="*/ 45 h 55"/>
                    <a:gd name="T6" fmla="*/ 0 w 58"/>
                    <a:gd name="T7" fmla="*/ 44 h 55"/>
                    <a:gd name="T8" fmla="*/ 0 w 58"/>
                    <a:gd name="T9" fmla="*/ 6 h 55"/>
                    <a:gd name="T10" fmla="*/ 1 w 58"/>
                    <a:gd name="T11" fmla="*/ 4 h 55"/>
                    <a:gd name="T12" fmla="*/ 7 w 58"/>
                    <a:gd name="T13" fmla="*/ 1 h 55"/>
                    <a:gd name="T14" fmla="*/ 9 w 58"/>
                    <a:gd name="T15" fmla="*/ 1 h 55"/>
                    <a:gd name="T16" fmla="*/ 57 w 58"/>
                    <a:gd name="T17" fmla="*/ 28 h 55"/>
                    <a:gd name="T18" fmla="*/ 58 w 58"/>
                    <a:gd name="T19" fmla="*/ 30 h 55"/>
                    <a:gd name="T20" fmla="*/ 57 w 58"/>
                    <a:gd name="T21" fmla="*/ 32 h 55"/>
                    <a:gd name="T22" fmla="*/ 19 w 58"/>
                    <a:gd name="T23" fmla="*/ 54 h 55"/>
                    <a:gd name="T24" fmla="*/ 18 w 58"/>
                    <a:gd name="T25" fmla="*/ 55 h 55"/>
                    <a:gd name="T26" fmla="*/ 4 w 58"/>
                    <a:gd name="T27" fmla="*/ 42 h 55"/>
                    <a:gd name="T28" fmla="*/ 18 w 58"/>
                    <a:gd name="T29" fmla="*/ 50 h 55"/>
                    <a:gd name="T30" fmla="*/ 52 w 58"/>
                    <a:gd name="T31" fmla="*/ 30 h 55"/>
                    <a:gd name="T32" fmla="*/ 8 w 58"/>
                    <a:gd name="T33" fmla="*/ 5 h 55"/>
                    <a:gd name="T34" fmla="*/ 4 w 58"/>
                    <a:gd name="T35" fmla="*/ 7 h 55"/>
                    <a:gd name="T36" fmla="*/ 4 w 58"/>
                    <a:gd name="T37" fmla="*/ 4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8" h="55">
                      <a:moveTo>
                        <a:pt x="18" y="55"/>
                      </a:moveTo>
                      <a:cubicBezTo>
                        <a:pt x="17" y="55"/>
                        <a:pt x="17" y="54"/>
                        <a:pt x="17" y="54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5"/>
                        <a:pt x="0" y="44"/>
                        <a:pt x="0" y="44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5"/>
                        <a:pt x="0" y="5"/>
                        <a:pt x="1" y="4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8" y="0"/>
                        <a:pt x="9" y="0"/>
                        <a:pt x="9" y="1"/>
                      </a:cubicBezTo>
                      <a:cubicBezTo>
                        <a:pt x="57" y="28"/>
                        <a:pt x="57" y="28"/>
                        <a:pt x="57" y="28"/>
                      </a:cubicBezTo>
                      <a:cubicBezTo>
                        <a:pt x="58" y="29"/>
                        <a:pt x="58" y="29"/>
                        <a:pt x="58" y="30"/>
                      </a:cubicBezTo>
                      <a:cubicBezTo>
                        <a:pt x="58" y="31"/>
                        <a:pt x="58" y="32"/>
                        <a:pt x="57" y="32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8" y="54"/>
                        <a:pt x="18" y="55"/>
                        <a:pt x="18" y="55"/>
                      </a:cubicBezTo>
                      <a:close/>
                      <a:moveTo>
                        <a:pt x="4" y="42"/>
                      </a:moveTo>
                      <a:cubicBezTo>
                        <a:pt x="18" y="50"/>
                        <a:pt x="18" y="50"/>
                        <a:pt x="18" y="5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4" y="7"/>
                        <a:pt x="4" y="7"/>
                        <a:pt x="4" y="7"/>
                      </a:cubicBezTo>
                      <a:lnTo>
                        <a:pt x="4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4" name="Freeform 736">
                  <a:extLst>
                    <a:ext uri="{FF2B5EF4-FFF2-40B4-BE49-F238E27FC236}">
                      <a16:creationId xmlns:a16="http://schemas.microsoft.com/office/drawing/2014/main" id="{8315123D-FB2B-46E7-8930-9706DC81F4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83" y="2984"/>
                  <a:ext cx="36" cy="40"/>
                </a:xfrm>
                <a:custGeom>
                  <a:avLst/>
                  <a:gdLst>
                    <a:gd name="T0" fmla="*/ 2 w 15"/>
                    <a:gd name="T1" fmla="*/ 17 h 17"/>
                    <a:gd name="T2" fmla="*/ 1 w 15"/>
                    <a:gd name="T3" fmla="*/ 17 h 17"/>
                    <a:gd name="T4" fmla="*/ 0 w 15"/>
                    <a:gd name="T5" fmla="*/ 15 h 17"/>
                    <a:gd name="T6" fmla="*/ 0 w 15"/>
                    <a:gd name="T7" fmla="*/ 2 h 17"/>
                    <a:gd name="T8" fmla="*/ 1 w 15"/>
                    <a:gd name="T9" fmla="*/ 1 h 17"/>
                    <a:gd name="T10" fmla="*/ 3 w 15"/>
                    <a:gd name="T11" fmla="*/ 1 h 17"/>
                    <a:gd name="T12" fmla="*/ 14 w 15"/>
                    <a:gd name="T13" fmla="*/ 7 h 17"/>
                    <a:gd name="T14" fmla="*/ 15 w 15"/>
                    <a:gd name="T15" fmla="*/ 9 h 17"/>
                    <a:gd name="T16" fmla="*/ 14 w 15"/>
                    <a:gd name="T17" fmla="*/ 10 h 17"/>
                    <a:gd name="T18" fmla="*/ 3 w 15"/>
                    <a:gd name="T19" fmla="*/ 17 h 17"/>
                    <a:gd name="T20" fmla="*/ 2 w 15"/>
                    <a:gd name="T21" fmla="*/ 17 h 17"/>
                    <a:gd name="T22" fmla="*/ 4 w 15"/>
                    <a:gd name="T23" fmla="*/ 6 h 17"/>
                    <a:gd name="T24" fmla="*/ 4 w 15"/>
                    <a:gd name="T25" fmla="*/ 11 h 17"/>
                    <a:gd name="T26" fmla="*/ 9 w 15"/>
                    <a:gd name="T27" fmla="*/ 9 h 17"/>
                    <a:gd name="T28" fmla="*/ 4 w 15"/>
                    <a:gd name="T29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7">
                      <a:moveTo>
                        <a:pt x="2" y="17"/>
                      </a:moveTo>
                      <a:cubicBezTo>
                        <a:pt x="2" y="17"/>
                        <a:pt x="1" y="17"/>
                        <a:pt x="1" y="17"/>
                      </a:cubicBezTo>
                      <a:cubicBezTo>
                        <a:pt x="0" y="16"/>
                        <a:pt x="0" y="16"/>
                        <a:pt x="0" y="1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5" y="7"/>
                        <a:pt x="15" y="8"/>
                        <a:pt x="15" y="9"/>
                      </a:cubicBezTo>
                      <a:cubicBezTo>
                        <a:pt x="15" y="9"/>
                        <a:pt x="15" y="10"/>
                        <a:pt x="14" y="10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2" y="17"/>
                        <a:pt x="2" y="17"/>
                      </a:cubicBezTo>
                      <a:close/>
                      <a:moveTo>
                        <a:pt x="4" y="6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9" y="9"/>
                        <a:pt x="9" y="9"/>
                        <a:pt x="9" y="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5" name="Freeform 737">
                  <a:extLst>
                    <a:ext uri="{FF2B5EF4-FFF2-40B4-BE49-F238E27FC236}">
                      <a16:creationId xmlns:a16="http://schemas.microsoft.com/office/drawing/2014/main" id="{0F0D8F95-CA9A-4AFC-BD5C-F6EA968372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61" y="1025"/>
                  <a:ext cx="122" cy="78"/>
                </a:xfrm>
                <a:custGeom>
                  <a:avLst/>
                  <a:gdLst>
                    <a:gd name="T0" fmla="*/ 4 w 52"/>
                    <a:gd name="T1" fmla="*/ 33 h 33"/>
                    <a:gd name="T2" fmla="*/ 3 w 52"/>
                    <a:gd name="T3" fmla="*/ 33 h 33"/>
                    <a:gd name="T4" fmla="*/ 1 w 52"/>
                    <a:gd name="T5" fmla="*/ 31 h 33"/>
                    <a:gd name="T6" fmla="*/ 0 w 52"/>
                    <a:gd name="T7" fmla="*/ 30 h 33"/>
                    <a:gd name="T8" fmla="*/ 1 w 52"/>
                    <a:gd name="T9" fmla="*/ 28 h 33"/>
                    <a:gd name="T10" fmla="*/ 49 w 52"/>
                    <a:gd name="T11" fmla="*/ 0 h 33"/>
                    <a:gd name="T12" fmla="*/ 51 w 52"/>
                    <a:gd name="T13" fmla="*/ 0 h 33"/>
                    <a:gd name="T14" fmla="*/ 52 w 52"/>
                    <a:gd name="T15" fmla="*/ 2 h 33"/>
                    <a:gd name="T16" fmla="*/ 52 w 52"/>
                    <a:gd name="T17" fmla="*/ 5 h 33"/>
                    <a:gd name="T18" fmla="*/ 51 w 52"/>
                    <a:gd name="T19" fmla="*/ 7 h 33"/>
                    <a:gd name="T20" fmla="*/ 5 w 52"/>
                    <a:gd name="T21" fmla="*/ 33 h 33"/>
                    <a:gd name="T22" fmla="*/ 4 w 52"/>
                    <a:gd name="T23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2" h="33">
                      <a:moveTo>
                        <a:pt x="4" y="33"/>
                      </a:moveTo>
                      <a:cubicBezTo>
                        <a:pt x="4" y="33"/>
                        <a:pt x="4" y="33"/>
                        <a:pt x="3" y="33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30"/>
                      </a:cubicBezTo>
                      <a:cubicBezTo>
                        <a:pt x="0" y="29"/>
                        <a:pt x="0" y="28"/>
                        <a:pt x="1" y="28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50" y="0"/>
                        <a:pt x="51" y="0"/>
                      </a:cubicBezTo>
                      <a:cubicBezTo>
                        <a:pt x="51" y="0"/>
                        <a:pt x="52" y="1"/>
                        <a:pt x="52" y="2"/>
                      </a:cubicBezTo>
                      <a:cubicBezTo>
                        <a:pt x="52" y="5"/>
                        <a:pt x="52" y="5"/>
                        <a:pt x="52" y="5"/>
                      </a:cubicBezTo>
                      <a:cubicBezTo>
                        <a:pt x="52" y="6"/>
                        <a:pt x="51" y="6"/>
                        <a:pt x="51" y="7"/>
                      </a:cubicBezTo>
                      <a:cubicBezTo>
                        <a:pt x="5" y="33"/>
                        <a:pt x="5" y="33"/>
                        <a:pt x="5" y="33"/>
                      </a:cubicBezTo>
                      <a:cubicBezTo>
                        <a:pt x="5" y="33"/>
                        <a:pt x="5" y="33"/>
                        <a:pt x="4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6" name="Freeform 738">
                  <a:extLst>
                    <a:ext uri="{FF2B5EF4-FFF2-40B4-BE49-F238E27FC236}">
                      <a16:creationId xmlns:a16="http://schemas.microsoft.com/office/drawing/2014/main" id="{44D63FA5-2F94-46FE-84C8-425CD0B7BB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27" y="2863"/>
                  <a:ext cx="26" cy="31"/>
                </a:xfrm>
                <a:custGeom>
                  <a:avLst/>
                  <a:gdLst>
                    <a:gd name="T0" fmla="*/ 2 w 11"/>
                    <a:gd name="T1" fmla="*/ 13 h 13"/>
                    <a:gd name="T2" fmla="*/ 1 w 11"/>
                    <a:gd name="T3" fmla="*/ 12 h 13"/>
                    <a:gd name="T4" fmla="*/ 0 w 11"/>
                    <a:gd name="T5" fmla="*/ 11 h 13"/>
                    <a:gd name="T6" fmla="*/ 0 w 11"/>
                    <a:gd name="T7" fmla="*/ 2 h 13"/>
                    <a:gd name="T8" fmla="*/ 1 w 11"/>
                    <a:gd name="T9" fmla="*/ 1 h 13"/>
                    <a:gd name="T10" fmla="*/ 3 w 11"/>
                    <a:gd name="T11" fmla="*/ 1 h 13"/>
                    <a:gd name="T12" fmla="*/ 10 w 11"/>
                    <a:gd name="T13" fmla="*/ 5 h 13"/>
                    <a:gd name="T14" fmla="*/ 11 w 11"/>
                    <a:gd name="T15" fmla="*/ 6 h 13"/>
                    <a:gd name="T16" fmla="*/ 10 w 11"/>
                    <a:gd name="T17" fmla="*/ 8 h 13"/>
                    <a:gd name="T18" fmla="*/ 3 w 11"/>
                    <a:gd name="T19" fmla="*/ 12 h 13"/>
                    <a:gd name="T20" fmla="*/ 2 w 11"/>
                    <a:gd name="T21" fmla="*/ 13 h 13"/>
                    <a:gd name="T22" fmla="*/ 4 w 11"/>
                    <a:gd name="T23" fmla="*/ 6 h 13"/>
                    <a:gd name="T24" fmla="*/ 4 w 11"/>
                    <a:gd name="T25" fmla="*/ 7 h 13"/>
                    <a:gd name="T26" fmla="*/ 5 w 11"/>
                    <a:gd name="T27" fmla="*/ 6 h 13"/>
                    <a:gd name="T28" fmla="*/ 4 w 11"/>
                    <a:gd name="T29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2" y="13"/>
                      </a:moveTo>
                      <a:cubicBezTo>
                        <a:pt x="2" y="13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1" y="5"/>
                        <a:pt x="11" y="6"/>
                        <a:pt x="11" y="6"/>
                      </a:cubicBezTo>
                      <a:cubicBezTo>
                        <a:pt x="11" y="7"/>
                        <a:pt x="11" y="8"/>
                        <a:pt x="10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2" y="13"/>
                        <a:pt x="2" y="13"/>
                      </a:cubicBezTo>
                      <a:close/>
                      <a:moveTo>
                        <a:pt x="4" y="6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7" name="Freeform 739">
                  <a:extLst>
                    <a:ext uri="{FF2B5EF4-FFF2-40B4-BE49-F238E27FC236}">
                      <a16:creationId xmlns:a16="http://schemas.microsoft.com/office/drawing/2014/main" id="{B3281728-2343-48CE-8FCC-F465E3B252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779" y="3891"/>
                  <a:ext cx="316" cy="541"/>
                </a:xfrm>
                <a:custGeom>
                  <a:avLst/>
                  <a:gdLst>
                    <a:gd name="T0" fmla="*/ 2 w 134"/>
                    <a:gd name="T1" fmla="*/ 229 h 229"/>
                    <a:gd name="T2" fmla="*/ 1 w 134"/>
                    <a:gd name="T3" fmla="*/ 229 h 229"/>
                    <a:gd name="T4" fmla="*/ 0 w 134"/>
                    <a:gd name="T5" fmla="*/ 227 h 229"/>
                    <a:gd name="T6" fmla="*/ 0 w 134"/>
                    <a:gd name="T7" fmla="*/ 77 h 229"/>
                    <a:gd name="T8" fmla="*/ 1 w 134"/>
                    <a:gd name="T9" fmla="*/ 75 h 229"/>
                    <a:gd name="T10" fmla="*/ 131 w 134"/>
                    <a:gd name="T11" fmla="*/ 0 h 229"/>
                    <a:gd name="T12" fmla="*/ 133 w 134"/>
                    <a:gd name="T13" fmla="*/ 0 h 229"/>
                    <a:gd name="T14" fmla="*/ 134 w 134"/>
                    <a:gd name="T15" fmla="*/ 2 h 229"/>
                    <a:gd name="T16" fmla="*/ 134 w 134"/>
                    <a:gd name="T17" fmla="*/ 152 h 229"/>
                    <a:gd name="T18" fmla="*/ 133 w 134"/>
                    <a:gd name="T19" fmla="*/ 154 h 229"/>
                    <a:gd name="T20" fmla="*/ 3 w 134"/>
                    <a:gd name="T21" fmla="*/ 229 h 229"/>
                    <a:gd name="T22" fmla="*/ 2 w 134"/>
                    <a:gd name="T23" fmla="*/ 229 h 229"/>
                    <a:gd name="T24" fmla="*/ 4 w 134"/>
                    <a:gd name="T25" fmla="*/ 78 h 229"/>
                    <a:gd name="T26" fmla="*/ 4 w 134"/>
                    <a:gd name="T27" fmla="*/ 223 h 229"/>
                    <a:gd name="T28" fmla="*/ 130 w 134"/>
                    <a:gd name="T29" fmla="*/ 151 h 229"/>
                    <a:gd name="T30" fmla="*/ 130 w 134"/>
                    <a:gd name="T31" fmla="*/ 6 h 229"/>
                    <a:gd name="T32" fmla="*/ 4 w 134"/>
                    <a:gd name="T33" fmla="*/ 78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4" h="229">
                      <a:moveTo>
                        <a:pt x="2" y="229"/>
                      </a:moveTo>
                      <a:cubicBezTo>
                        <a:pt x="2" y="229"/>
                        <a:pt x="1" y="229"/>
                        <a:pt x="1" y="229"/>
                      </a:cubicBezTo>
                      <a:cubicBezTo>
                        <a:pt x="1" y="228"/>
                        <a:pt x="0" y="228"/>
                        <a:pt x="0" y="227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6"/>
                        <a:pt x="1" y="76"/>
                        <a:pt x="1" y="75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2" y="0"/>
                        <a:pt x="133" y="0"/>
                      </a:cubicBezTo>
                      <a:cubicBezTo>
                        <a:pt x="134" y="1"/>
                        <a:pt x="134" y="1"/>
                        <a:pt x="134" y="2"/>
                      </a:cubicBezTo>
                      <a:cubicBezTo>
                        <a:pt x="134" y="152"/>
                        <a:pt x="134" y="152"/>
                        <a:pt x="134" y="152"/>
                      </a:cubicBezTo>
                      <a:cubicBezTo>
                        <a:pt x="134" y="153"/>
                        <a:pt x="134" y="153"/>
                        <a:pt x="133" y="154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29"/>
                        <a:pt x="3" y="229"/>
                        <a:pt x="2" y="229"/>
                      </a:cubicBezTo>
                      <a:close/>
                      <a:moveTo>
                        <a:pt x="4" y="78"/>
                      </a:moveTo>
                      <a:cubicBezTo>
                        <a:pt x="4" y="223"/>
                        <a:pt x="4" y="223"/>
                        <a:pt x="4" y="223"/>
                      </a:cubicBezTo>
                      <a:cubicBezTo>
                        <a:pt x="130" y="151"/>
                        <a:pt x="130" y="151"/>
                        <a:pt x="130" y="151"/>
                      </a:cubicBezTo>
                      <a:cubicBezTo>
                        <a:pt x="130" y="6"/>
                        <a:pt x="130" y="6"/>
                        <a:pt x="130" y="6"/>
                      </a:cubicBezTo>
                      <a:lnTo>
                        <a:pt x="4" y="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8" name="Freeform 740">
                  <a:extLst>
                    <a:ext uri="{FF2B5EF4-FFF2-40B4-BE49-F238E27FC236}">
                      <a16:creationId xmlns:a16="http://schemas.microsoft.com/office/drawing/2014/main" id="{D8A721B1-3D8E-450C-816D-B718344BE8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71" y="454"/>
                  <a:ext cx="626" cy="370"/>
                </a:xfrm>
                <a:custGeom>
                  <a:avLst/>
                  <a:gdLst>
                    <a:gd name="T0" fmla="*/ 131 w 265"/>
                    <a:gd name="T1" fmla="*/ 157 h 157"/>
                    <a:gd name="T2" fmla="*/ 130 w 265"/>
                    <a:gd name="T3" fmla="*/ 157 h 157"/>
                    <a:gd name="T4" fmla="*/ 1 w 265"/>
                    <a:gd name="T5" fmla="*/ 82 h 157"/>
                    <a:gd name="T6" fmla="*/ 0 w 265"/>
                    <a:gd name="T7" fmla="*/ 81 h 157"/>
                    <a:gd name="T8" fmla="*/ 1 w 265"/>
                    <a:gd name="T9" fmla="*/ 79 h 157"/>
                    <a:gd name="T10" fmla="*/ 115 w 265"/>
                    <a:gd name="T11" fmla="*/ 14 h 157"/>
                    <a:gd name="T12" fmla="*/ 115 w 265"/>
                    <a:gd name="T13" fmla="*/ 11 h 157"/>
                    <a:gd name="T14" fmla="*/ 116 w 265"/>
                    <a:gd name="T15" fmla="*/ 9 h 157"/>
                    <a:gd name="T16" fmla="*/ 130 w 265"/>
                    <a:gd name="T17" fmla="*/ 1 h 157"/>
                    <a:gd name="T18" fmla="*/ 132 w 265"/>
                    <a:gd name="T19" fmla="*/ 1 h 157"/>
                    <a:gd name="T20" fmla="*/ 264 w 265"/>
                    <a:gd name="T21" fmla="*/ 77 h 157"/>
                    <a:gd name="T22" fmla="*/ 265 w 265"/>
                    <a:gd name="T23" fmla="*/ 79 h 157"/>
                    <a:gd name="T24" fmla="*/ 264 w 265"/>
                    <a:gd name="T25" fmla="*/ 80 h 157"/>
                    <a:gd name="T26" fmla="*/ 132 w 265"/>
                    <a:gd name="T27" fmla="*/ 157 h 157"/>
                    <a:gd name="T28" fmla="*/ 131 w 265"/>
                    <a:gd name="T29" fmla="*/ 157 h 157"/>
                    <a:gd name="T30" fmla="*/ 6 w 265"/>
                    <a:gd name="T31" fmla="*/ 81 h 157"/>
                    <a:gd name="T32" fmla="*/ 131 w 265"/>
                    <a:gd name="T33" fmla="*/ 153 h 157"/>
                    <a:gd name="T34" fmla="*/ 259 w 265"/>
                    <a:gd name="T35" fmla="*/ 79 h 157"/>
                    <a:gd name="T36" fmla="*/ 131 w 265"/>
                    <a:gd name="T37" fmla="*/ 5 h 157"/>
                    <a:gd name="T38" fmla="*/ 119 w 265"/>
                    <a:gd name="T39" fmla="*/ 12 h 157"/>
                    <a:gd name="T40" fmla="*/ 119 w 265"/>
                    <a:gd name="T41" fmla="*/ 15 h 157"/>
                    <a:gd name="T42" fmla="*/ 118 w 265"/>
                    <a:gd name="T43" fmla="*/ 16 h 157"/>
                    <a:gd name="T44" fmla="*/ 6 w 265"/>
                    <a:gd name="T45" fmla="*/ 81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65" h="157">
                      <a:moveTo>
                        <a:pt x="131" y="157"/>
                      </a:moveTo>
                      <a:cubicBezTo>
                        <a:pt x="131" y="157"/>
                        <a:pt x="130" y="157"/>
                        <a:pt x="130" y="157"/>
                      </a:cubicBezTo>
                      <a:cubicBezTo>
                        <a:pt x="1" y="82"/>
                        <a:pt x="1" y="82"/>
                        <a:pt x="1" y="82"/>
                      </a:cubicBezTo>
                      <a:cubicBezTo>
                        <a:pt x="1" y="82"/>
                        <a:pt x="0" y="81"/>
                        <a:pt x="0" y="81"/>
                      </a:cubicBezTo>
                      <a:cubicBezTo>
                        <a:pt x="0" y="80"/>
                        <a:pt x="1" y="79"/>
                        <a:pt x="1" y="79"/>
                      </a:cubicBezTo>
                      <a:cubicBezTo>
                        <a:pt x="115" y="14"/>
                        <a:pt x="115" y="14"/>
                        <a:pt x="115" y="14"/>
                      </a:cubicBezTo>
                      <a:cubicBezTo>
                        <a:pt x="115" y="11"/>
                        <a:pt x="115" y="11"/>
                        <a:pt x="115" y="11"/>
                      </a:cubicBezTo>
                      <a:cubicBezTo>
                        <a:pt x="115" y="10"/>
                        <a:pt x="115" y="9"/>
                        <a:pt x="116" y="9"/>
                      </a:cubicBezTo>
                      <a:cubicBezTo>
                        <a:pt x="130" y="1"/>
                        <a:pt x="130" y="1"/>
                        <a:pt x="130" y="1"/>
                      </a:cubicBezTo>
                      <a:cubicBezTo>
                        <a:pt x="131" y="0"/>
                        <a:pt x="132" y="0"/>
                        <a:pt x="132" y="1"/>
                      </a:cubicBezTo>
                      <a:cubicBezTo>
                        <a:pt x="264" y="77"/>
                        <a:pt x="264" y="77"/>
                        <a:pt x="264" y="77"/>
                      </a:cubicBezTo>
                      <a:cubicBezTo>
                        <a:pt x="265" y="77"/>
                        <a:pt x="265" y="78"/>
                        <a:pt x="265" y="79"/>
                      </a:cubicBezTo>
                      <a:cubicBezTo>
                        <a:pt x="265" y="79"/>
                        <a:pt x="265" y="80"/>
                        <a:pt x="264" y="80"/>
                      </a:cubicBezTo>
                      <a:cubicBezTo>
                        <a:pt x="132" y="157"/>
                        <a:pt x="132" y="157"/>
                        <a:pt x="132" y="157"/>
                      </a:cubicBezTo>
                      <a:cubicBezTo>
                        <a:pt x="132" y="157"/>
                        <a:pt x="131" y="157"/>
                        <a:pt x="131" y="157"/>
                      </a:cubicBezTo>
                      <a:close/>
                      <a:moveTo>
                        <a:pt x="6" y="81"/>
                      </a:moveTo>
                      <a:cubicBezTo>
                        <a:pt x="131" y="153"/>
                        <a:pt x="131" y="153"/>
                        <a:pt x="131" y="153"/>
                      </a:cubicBezTo>
                      <a:cubicBezTo>
                        <a:pt x="259" y="79"/>
                        <a:pt x="259" y="79"/>
                        <a:pt x="259" y="79"/>
                      </a:cubicBezTo>
                      <a:cubicBezTo>
                        <a:pt x="131" y="5"/>
                        <a:pt x="131" y="5"/>
                        <a:pt x="131" y="5"/>
                      </a:cubicBezTo>
                      <a:cubicBezTo>
                        <a:pt x="119" y="12"/>
                        <a:pt x="119" y="12"/>
                        <a:pt x="119" y="12"/>
                      </a:cubicBezTo>
                      <a:cubicBezTo>
                        <a:pt x="119" y="15"/>
                        <a:pt x="119" y="15"/>
                        <a:pt x="119" y="15"/>
                      </a:cubicBezTo>
                      <a:cubicBezTo>
                        <a:pt x="119" y="15"/>
                        <a:pt x="118" y="16"/>
                        <a:pt x="118" y="16"/>
                      </a:cubicBezTo>
                      <a:lnTo>
                        <a:pt x="6" y="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9" name="Freeform 741">
                  <a:extLst>
                    <a:ext uri="{FF2B5EF4-FFF2-40B4-BE49-F238E27FC236}">
                      <a16:creationId xmlns:a16="http://schemas.microsoft.com/office/drawing/2014/main" id="{52019028-1AC5-4026-9432-09512A319B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128"/>
                  <a:ext cx="316" cy="541"/>
                </a:xfrm>
                <a:custGeom>
                  <a:avLst/>
                  <a:gdLst>
                    <a:gd name="T0" fmla="*/ 2 w 134"/>
                    <a:gd name="T1" fmla="*/ 229 h 229"/>
                    <a:gd name="T2" fmla="*/ 1 w 134"/>
                    <a:gd name="T3" fmla="*/ 228 h 229"/>
                    <a:gd name="T4" fmla="*/ 0 w 134"/>
                    <a:gd name="T5" fmla="*/ 227 h 229"/>
                    <a:gd name="T6" fmla="*/ 0 w 134"/>
                    <a:gd name="T7" fmla="*/ 165 h 229"/>
                    <a:gd name="T8" fmla="*/ 1 w 134"/>
                    <a:gd name="T9" fmla="*/ 163 h 229"/>
                    <a:gd name="T10" fmla="*/ 31 w 134"/>
                    <a:gd name="T11" fmla="*/ 146 h 229"/>
                    <a:gd name="T12" fmla="*/ 1 w 134"/>
                    <a:gd name="T13" fmla="*/ 128 h 229"/>
                    <a:gd name="T14" fmla="*/ 0 w 134"/>
                    <a:gd name="T15" fmla="*/ 126 h 229"/>
                    <a:gd name="T16" fmla="*/ 0 w 134"/>
                    <a:gd name="T17" fmla="*/ 77 h 229"/>
                    <a:gd name="T18" fmla="*/ 1 w 134"/>
                    <a:gd name="T19" fmla="*/ 75 h 229"/>
                    <a:gd name="T20" fmla="*/ 131 w 134"/>
                    <a:gd name="T21" fmla="*/ 0 h 229"/>
                    <a:gd name="T22" fmla="*/ 133 w 134"/>
                    <a:gd name="T23" fmla="*/ 0 h 229"/>
                    <a:gd name="T24" fmla="*/ 134 w 134"/>
                    <a:gd name="T25" fmla="*/ 2 h 229"/>
                    <a:gd name="T26" fmla="*/ 134 w 134"/>
                    <a:gd name="T27" fmla="*/ 148 h 229"/>
                    <a:gd name="T28" fmla="*/ 133 w 134"/>
                    <a:gd name="T29" fmla="*/ 150 h 229"/>
                    <a:gd name="T30" fmla="*/ 17 w 134"/>
                    <a:gd name="T31" fmla="*/ 217 h 229"/>
                    <a:gd name="T32" fmla="*/ 17 w 134"/>
                    <a:gd name="T33" fmla="*/ 217 h 229"/>
                    <a:gd name="T34" fmla="*/ 18 w 134"/>
                    <a:gd name="T35" fmla="*/ 219 h 229"/>
                    <a:gd name="T36" fmla="*/ 17 w 134"/>
                    <a:gd name="T37" fmla="*/ 220 h 229"/>
                    <a:gd name="T38" fmla="*/ 3 w 134"/>
                    <a:gd name="T39" fmla="*/ 228 h 229"/>
                    <a:gd name="T40" fmla="*/ 2 w 134"/>
                    <a:gd name="T41" fmla="*/ 229 h 229"/>
                    <a:gd name="T42" fmla="*/ 4 w 134"/>
                    <a:gd name="T43" fmla="*/ 166 h 229"/>
                    <a:gd name="T44" fmla="*/ 4 w 134"/>
                    <a:gd name="T45" fmla="*/ 223 h 229"/>
                    <a:gd name="T46" fmla="*/ 12 w 134"/>
                    <a:gd name="T47" fmla="*/ 219 h 229"/>
                    <a:gd name="T48" fmla="*/ 12 w 134"/>
                    <a:gd name="T49" fmla="*/ 218 h 229"/>
                    <a:gd name="T50" fmla="*/ 11 w 134"/>
                    <a:gd name="T51" fmla="*/ 217 h 229"/>
                    <a:gd name="T52" fmla="*/ 12 w 134"/>
                    <a:gd name="T53" fmla="*/ 215 h 229"/>
                    <a:gd name="T54" fmla="*/ 130 w 134"/>
                    <a:gd name="T55" fmla="*/ 147 h 229"/>
                    <a:gd name="T56" fmla="*/ 130 w 134"/>
                    <a:gd name="T57" fmla="*/ 5 h 229"/>
                    <a:gd name="T58" fmla="*/ 4 w 134"/>
                    <a:gd name="T59" fmla="*/ 78 h 229"/>
                    <a:gd name="T60" fmla="*/ 4 w 134"/>
                    <a:gd name="T61" fmla="*/ 125 h 229"/>
                    <a:gd name="T62" fmla="*/ 36 w 134"/>
                    <a:gd name="T63" fmla="*/ 144 h 229"/>
                    <a:gd name="T64" fmla="*/ 37 w 134"/>
                    <a:gd name="T65" fmla="*/ 146 h 229"/>
                    <a:gd name="T66" fmla="*/ 36 w 134"/>
                    <a:gd name="T67" fmla="*/ 147 h 229"/>
                    <a:gd name="T68" fmla="*/ 4 w 134"/>
                    <a:gd name="T69" fmla="*/ 166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4" h="229">
                      <a:moveTo>
                        <a:pt x="2" y="229"/>
                      </a:moveTo>
                      <a:cubicBezTo>
                        <a:pt x="2" y="229"/>
                        <a:pt x="2" y="229"/>
                        <a:pt x="1" y="228"/>
                      </a:cubicBezTo>
                      <a:cubicBezTo>
                        <a:pt x="1" y="228"/>
                        <a:pt x="0" y="227"/>
                        <a:pt x="0" y="227"/>
                      </a:cubicBezTo>
                      <a:cubicBezTo>
                        <a:pt x="0" y="165"/>
                        <a:pt x="0" y="165"/>
                        <a:pt x="0" y="165"/>
                      </a:cubicBezTo>
                      <a:cubicBezTo>
                        <a:pt x="0" y="164"/>
                        <a:pt x="1" y="163"/>
                        <a:pt x="1" y="163"/>
                      </a:cubicBezTo>
                      <a:cubicBezTo>
                        <a:pt x="31" y="146"/>
                        <a:pt x="31" y="146"/>
                        <a:pt x="31" y="146"/>
                      </a:cubicBezTo>
                      <a:cubicBezTo>
                        <a:pt x="1" y="128"/>
                        <a:pt x="1" y="128"/>
                        <a:pt x="1" y="128"/>
                      </a:cubicBezTo>
                      <a:cubicBezTo>
                        <a:pt x="1" y="128"/>
                        <a:pt x="0" y="127"/>
                        <a:pt x="0" y="126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6"/>
                        <a:pt x="1" y="75"/>
                        <a:pt x="1" y="75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2" y="0"/>
                        <a:pt x="132" y="0"/>
                        <a:pt x="133" y="0"/>
                      </a:cubicBezTo>
                      <a:cubicBezTo>
                        <a:pt x="134" y="1"/>
                        <a:pt x="134" y="1"/>
                        <a:pt x="134" y="2"/>
                      </a:cubicBezTo>
                      <a:cubicBezTo>
                        <a:pt x="134" y="148"/>
                        <a:pt x="134" y="148"/>
                        <a:pt x="134" y="148"/>
                      </a:cubicBezTo>
                      <a:cubicBezTo>
                        <a:pt x="134" y="149"/>
                        <a:pt x="134" y="149"/>
                        <a:pt x="133" y="150"/>
                      </a:cubicBezTo>
                      <a:cubicBezTo>
                        <a:pt x="17" y="217"/>
                        <a:pt x="17" y="217"/>
                        <a:pt x="17" y="217"/>
                      </a:cubicBezTo>
                      <a:cubicBezTo>
                        <a:pt x="17" y="217"/>
                        <a:pt x="17" y="217"/>
                        <a:pt x="17" y="217"/>
                      </a:cubicBezTo>
                      <a:cubicBezTo>
                        <a:pt x="18" y="217"/>
                        <a:pt x="18" y="218"/>
                        <a:pt x="18" y="219"/>
                      </a:cubicBezTo>
                      <a:cubicBezTo>
                        <a:pt x="18" y="219"/>
                        <a:pt x="18" y="220"/>
                        <a:pt x="17" y="220"/>
                      </a:cubicBezTo>
                      <a:cubicBezTo>
                        <a:pt x="3" y="228"/>
                        <a:pt x="3" y="228"/>
                        <a:pt x="3" y="228"/>
                      </a:cubicBezTo>
                      <a:cubicBezTo>
                        <a:pt x="3" y="229"/>
                        <a:pt x="3" y="229"/>
                        <a:pt x="2" y="229"/>
                      </a:cubicBezTo>
                      <a:close/>
                      <a:moveTo>
                        <a:pt x="4" y="166"/>
                      </a:moveTo>
                      <a:cubicBezTo>
                        <a:pt x="4" y="223"/>
                        <a:pt x="4" y="223"/>
                        <a:pt x="4" y="223"/>
                      </a:cubicBezTo>
                      <a:cubicBezTo>
                        <a:pt x="12" y="219"/>
                        <a:pt x="12" y="219"/>
                        <a:pt x="12" y="219"/>
                      </a:cubicBezTo>
                      <a:cubicBezTo>
                        <a:pt x="12" y="218"/>
                        <a:pt x="12" y="218"/>
                        <a:pt x="12" y="218"/>
                      </a:cubicBezTo>
                      <a:cubicBezTo>
                        <a:pt x="11" y="218"/>
                        <a:pt x="11" y="217"/>
                        <a:pt x="11" y="217"/>
                      </a:cubicBezTo>
                      <a:cubicBezTo>
                        <a:pt x="11" y="216"/>
                        <a:pt x="11" y="215"/>
                        <a:pt x="12" y="215"/>
                      </a:cubicBezTo>
                      <a:cubicBezTo>
                        <a:pt x="130" y="147"/>
                        <a:pt x="130" y="147"/>
                        <a:pt x="130" y="147"/>
                      </a:cubicBezTo>
                      <a:cubicBezTo>
                        <a:pt x="130" y="5"/>
                        <a:pt x="130" y="5"/>
                        <a:pt x="130" y="5"/>
                      </a:cubicBez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4" y="125"/>
                        <a:pt x="4" y="125"/>
                        <a:pt x="4" y="125"/>
                      </a:cubicBezTo>
                      <a:cubicBezTo>
                        <a:pt x="36" y="144"/>
                        <a:pt x="36" y="144"/>
                        <a:pt x="36" y="144"/>
                      </a:cubicBezTo>
                      <a:cubicBezTo>
                        <a:pt x="37" y="144"/>
                        <a:pt x="37" y="145"/>
                        <a:pt x="37" y="146"/>
                      </a:cubicBezTo>
                      <a:cubicBezTo>
                        <a:pt x="37" y="146"/>
                        <a:pt x="37" y="147"/>
                        <a:pt x="36" y="147"/>
                      </a:cubicBezTo>
                      <a:lnTo>
                        <a:pt x="4" y="1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0" name="Freeform 742">
                  <a:extLst>
                    <a:ext uri="{FF2B5EF4-FFF2-40B4-BE49-F238E27FC236}">
                      <a16:creationId xmlns:a16="http://schemas.microsoft.com/office/drawing/2014/main" id="{835A72A2-F6FF-4F93-90B1-4F6F91FC25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328"/>
                  <a:ext cx="66" cy="76"/>
                </a:xfrm>
                <a:custGeom>
                  <a:avLst/>
                  <a:gdLst>
                    <a:gd name="T0" fmla="*/ 2 w 28"/>
                    <a:gd name="T1" fmla="*/ 32 h 32"/>
                    <a:gd name="T2" fmla="*/ 1 w 28"/>
                    <a:gd name="T3" fmla="*/ 32 h 32"/>
                    <a:gd name="T4" fmla="*/ 0 w 28"/>
                    <a:gd name="T5" fmla="*/ 30 h 32"/>
                    <a:gd name="T6" fmla="*/ 0 w 28"/>
                    <a:gd name="T7" fmla="*/ 2 h 32"/>
                    <a:gd name="T8" fmla="*/ 1 w 28"/>
                    <a:gd name="T9" fmla="*/ 0 h 32"/>
                    <a:gd name="T10" fmla="*/ 3 w 28"/>
                    <a:gd name="T11" fmla="*/ 0 h 32"/>
                    <a:gd name="T12" fmla="*/ 27 w 28"/>
                    <a:gd name="T13" fmla="*/ 14 h 32"/>
                    <a:gd name="T14" fmla="*/ 28 w 28"/>
                    <a:gd name="T15" fmla="*/ 16 h 32"/>
                    <a:gd name="T16" fmla="*/ 27 w 28"/>
                    <a:gd name="T17" fmla="*/ 18 h 32"/>
                    <a:gd name="T18" fmla="*/ 3 w 28"/>
                    <a:gd name="T19" fmla="*/ 32 h 32"/>
                    <a:gd name="T20" fmla="*/ 2 w 28"/>
                    <a:gd name="T21" fmla="*/ 32 h 32"/>
                    <a:gd name="T22" fmla="*/ 4 w 28"/>
                    <a:gd name="T23" fmla="*/ 5 h 32"/>
                    <a:gd name="T24" fmla="*/ 4 w 28"/>
                    <a:gd name="T25" fmla="*/ 27 h 32"/>
                    <a:gd name="T26" fmla="*/ 22 w 28"/>
                    <a:gd name="T27" fmla="*/ 16 h 32"/>
                    <a:gd name="T28" fmla="*/ 4 w 28"/>
                    <a:gd name="T29" fmla="*/ 5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8" h="32">
                      <a:moveTo>
                        <a:pt x="2" y="32"/>
                      </a:move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8" y="15"/>
                        <a:pt x="28" y="15"/>
                        <a:pt x="28" y="16"/>
                      </a:cubicBezTo>
                      <a:cubicBezTo>
                        <a:pt x="28" y="17"/>
                        <a:pt x="28" y="17"/>
                        <a:pt x="27" y="18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lose/>
                      <a:moveTo>
                        <a:pt x="4" y="5"/>
                      </a:move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1" name="Freeform 743">
                  <a:extLst>
                    <a:ext uri="{FF2B5EF4-FFF2-40B4-BE49-F238E27FC236}">
                      <a16:creationId xmlns:a16="http://schemas.microsoft.com/office/drawing/2014/main" id="{06DE8762-EEFC-499C-9BF8-5F25EA8435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64" y="477"/>
                  <a:ext cx="283" cy="170"/>
                </a:xfrm>
                <a:custGeom>
                  <a:avLst/>
                  <a:gdLst>
                    <a:gd name="T0" fmla="*/ 4 w 120"/>
                    <a:gd name="T1" fmla="*/ 72 h 72"/>
                    <a:gd name="T2" fmla="*/ 3 w 120"/>
                    <a:gd name="T3" fmla="*/ 71 h 72"/>
                    <a:gd name="T4" fmla="*/ 1 w 120"/>
                    <a:gd name="T5" fmla="*/ 70 h 72"/>
                    <a:gd name="T6" fmla="*/ 0 w 120"/>
                    <a:gd name="T7" fmla="*/ 69 h 72"/>
                    <a:gd name="T8" fmla="*/ 1 w 120"/>
                    <a:gd name="T9" fmla="*/ 67 h 72"/>
                    <a:gd name="T10" fmla="*/ 117 w 120"/>
                    <a:gd name="T11" fmla="*/ 0 h 72"/>
                    <a:gd name="T12" fmla="*/ 119 w 120"/>
                    <a:gd name="T13" fmla="*/ 0 h 72"/>
                    <a:gd name="T14" fmla="*/ 120 w 120"/>
                    <a:gd name="T15" fmla="*/ 2 h 72"/>
                    <a:gd name="T16" fmla="*/ 120 w 120"/>
                    <a:gd name="T17" fmla="*/ 4 h 72"/>
                    <a:gd name="T18" fmla="*/ 119 w 120"/>
                    <a:gd name="T19" fmla="*/ 5 h 72"/>
                    <a:gd name="T20" fmla="*/ 5 w 120"/>
                    <a:gd name="T21" fmla="*/ 71 h 72"/>
                    <a:gd name="T22" fmla="*/ 4 w 120"/>
                    <a:gd name="T23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0" h="72">
                      <a:moveTo>
                        <a:pt x="4" y="72"/>
                      </a:moveTo>
                      <a:cubicBezTo>
                        <a:pt x="3" y="72"/>
                        <a:pt x="3" y="72"/>
                        <a:pt x="3" y="71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1" y="70"/>
                        <a:pt x="0" y="69"/>
                        <a:pt x="0" y="69"/>
                      </a:cubicBezTo>
                      <a:cubicBezTo>
                        <a:pt x="0" y="68"/>
                        <a:pt x="1" y="67"/>
                        <a:pt x="1" y="67"/>
                      </a:cubicBezTo>
                      <a:cubicBezTo>
                        <a:pt x="117" y="0"/>
                        <a:pt x="117" y="0"/>
                        <a:pt x="117" y="0"/>
                      </a:cubicBezTo>
                      <a:cubicBezTo>
                        <a:pt x="118" y="0"/>
                        <a:pt x="118" y="0"/>
                        <a:pt x="119" y="0"/>
                      </a:cubicBezTo>
                      <a:cubicBezTo>
                        <a:pt x="120" y="0"/>
                        <a:pt x="120" y="1"/>
                        <a:pt x="120" y="2"/>
                      </a:cubicBezTo>
                      <a:cubicBezTo>
                        <a:pt x="120" y="4"/>
                        <a:pt x="120" y="4"/>
                        <a:pt x="120" y="4"/>
                      </a:cubicBezTo>
                      <a:cubicBezTo>
                        <a:pt x="120" y="4"/>
                        <a:pt x="120" y="5"/>
                        <a:pt x="119" y="5"/>
                      </a:cubicBezTo>
                      <a:cubicBezTo>
                        <a:pt x="5" y="71"/>
                        <a:pt x="5" y="71"/>
                        <a:pt x="5" y="71"/>
                      </a:cubicBezTo>
                      <a:cubicBezTo>
                        <a:pt x="5" y="72"/>
                        <a:pt x="4" y="72"/>
                        <a:pt x="4" y="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2" name="Freeform 744">
                  <a:extLst>
                    <a:ext uri="{FF2B5EF4-FFF2-40B4-BE49-F238E27FC236}">
                      <a16:creationId xmlns:a16="http://schemas.microsoft.com/office/drawing/2014/main" id="{2F3A0CF9-B849-4D83-ADA4-EA80646F5D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6" y="3508"/>
                  <a:ext cx="22" cy="24"/>
                </a:xfrm>
                <a:custGeom>
                  <a:avLst/>
                  <a:gdLst>
                    <a:gd name="T0" fmla="*/ 2 w 9"/>
                    <a:gd name="T1" fmla="*/ 10 h 10"/>
                    <a:gd name="T2" fmla="*/ 1 w 9"/>
                    <a:gd name="T3" fmla="*/ 9 h 10"/>
                    <a:gd name="T4" fmla="*/ 0 w 9"/>
                    <a:gd name="T5" fmla="*/ 8 h 10"/>
                    <a:gd name="T6" fmla="*/ 0 w 9"/>
                    <a:gd name="T7" fmla="*/ 2 h 10"/>
                    <a:gd name="T8" fmla="*/ 1 w 9"/>
                    <a:gd name="T9" fmla="*/ 0 h 10"/>
                    <a:gd name="T10" fmla="*/ 3 w 9"/>
                    <a:gd name="T11" fmla="*/ 0 h 10"/>
                    <a:gd name="T12" fmla="*/ 8 w 9"/>
                    <a:gd name="T13" fmla="*/ 3 h 10"/>
                    <a:gd name="T14" fmla="*/ 9 w 9"/>
                    <a:gd name="T15" fmla="*/ 5 h 10"/>
                    <a:gd name="T16" fmla="*/ 8 w 9"/>
                    <a:gd name="T17" fmla="*/ 7 h 10"/>
                    <a:gd name="T18" fmla="*/ 3 w 9"/>
                    <a:gd name="T19" fmla="*/ 9 h 10"/>
                    <a:gd name="T20" fmla="*/ 2 w 9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2" y="10"/>
                        <a:pt x="1" y="10"/>
                        <a:pt x="1" y="9"/>
                      </a:cubicBezTo>
                      <a:cubicBezTo>
                        <a:pt x="0" y="9"/>
                        <a:pt x="0" y="8"/>
                        <a:pt x="0" y="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8" y="3"/>
                        <a:pt x="8" y="3"/>
                        <a:pt x="8" y="3"/>
                      </a:cubicBezTo>
                      <a:cubicBezTo>
                        <a:pt x="8" y="4"/>
                        <a:pt x="9" y="4"/>
                        <a:pt x="9" y="5"/>
                      </a:cubicBezTo>
                      <a:cubicBezTo>
                        <a:pt x="9" y="6"/>
                        <a:pt x="8" y="6"/>
                        <a:pt x="8" y="7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3" name="Freeform 745">
                  <a:extLst>
                    <a:ext uri="{FF2B5EF4-FFF2-40B4-BE49-F238E27FC236}">
                      <a16:creationId xmlns:a16="http://schemas.microsoft.com/office/drawing/2014/main" id="{993B4B50-87CA-4FCA-8E87-A632794E8B4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27" y="3586"/>
                  <a:ext cx="52" cy="62"/>
                </a:xfrm>
                <a:custGeom>
                  <a:avLst/>
                  <a:gdLst>
                    <a:gd name="T0" fmla="*/ 2 w 22"/>
                    <a:gd name="T1" fmla="*/ 26 h 26"/>
                    <a:gd name="T2" fmla="*/ 1 w 22"/>
                    <a:gd name="T3" fmla="*/ 26 h 26"/>
                    <a:gd name="T4" fmla="*/ 0 w 22"/>
                    <a:gd name="T5" fmla="*/ 24 h 26"/>
                    <a:gd name="T6" fmla="*/ 0 w 22"/>
                    <a:gd name="T7" fmla="*/ 2 h 26"/>
                    <a:gd name="T8" fmla="*/ 1 w 22"/>
                    <a:gd name="T9" fmla="*/ 1 h 26"/>
                    <a:gd name="T10" fmla="*/ 3 w 22"/>
                    <a:gd name="T11" fmla="*/ 1 h 26"/>
                    <a:gd name="T12" fmla="*/ 21 w 22"/>
                    <a:gd name="T13" fmla="*/ 11 h 26"/>
                    <a:gd name="T14" fmla="*/ 22 w 22"/>
                    <a:gd name="T15" fmla="*/ 13 h 26"/>
                    <a:gd name="T16" fmla="*/ 21 w 22"/>
                    <a:gd name="T17" fmla="*/ 15 h 26"/>
                    <a:gd name="T18" fmla="*/ 3 w 22"/>
                    <a:gd name="T19" fmla="*/ 26 h 26"/>
                    <a:gd name="T20" fmla="*/ 2 w 22"/>
                    <a:gd name="T21" fmla="*/ 26 h 26"/>
                    <a:gd name="T22" fmla="*/ 4 w 22"/>
                    <a:gd name="T23" fmla="*/ 6 h 26"/>
                    <a:gd name="T24" fmla="*/ 4 w 22"/>
                    <a:gd name="T25" fmla="*/ 20 h 26"/>
                    <a:gd name="T26" fmla="*/ 16 w 22"/>
                    <a:gd name="T27" fmla="*/ 13 h 26"/>
                    <a:gd name="T28" fmla="*/ 4 w 22"/>
                    <a:gd name="T29" fmla="*/ 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" h="26">
                      <a:moveTo>
                        <a:pt x="2" y="26"/>
                      </a:move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5"/>
                        <a:pt x="0" y="25"/>
                        <a:pt x="0" y="2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22" y="12"/>
                        <a:pt x="22" y="12"/>
                        <a:pt x="22" y="13"/>
                      </a:cubicBezTo>
                      <a:cubicBezTo>
                        <a:pt x="22" y="14"/>
                        <a:pt x="22" y="15"/>
                        <a:pt x="21" y="15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2" y="26"/>
                        <a:pt x="2" y="26"/>
                        <a:pt x="2" y="26"/>
                      </a:cubicBezTo>
                      <a:close/>
                      <a:moveTo>
                        <a:pt x="4" y="6"/>
                      </a:move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16" y="13"/>
                        <a:pt x="16" y="13"/>
                        <a:pt x="16" y="13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4" name="Freeform 746">
                  <a:extLst>
                    <a:ext uri="{FF2B5EF4-FFF2-40B4-BE49-F238E27FC236}">
                      <a16:creationId xmlns:a16="http://schemas.microsoft.com/office/drawing/2014/main" id="{869367CA-EA26-4636-B74F-83CB1E6A9F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79" y="3593"/>
                  <a:ext cx="41" cy="48"/>
                </a:xfrm>
                <a:custGeom>
                  <a:avLst/>
                  <a:gdLst>
                    <a:gd name="T0" fmla="*/ 15 w 17"/>
                    <a:gd name="T1" fmla="*/ 20 h 20"/>
                    <a:gd name="T2" fmla="*/ 14 w 17"/>
                    <a:gd name="T3" fmla="*/ 20 h 20"/>
                    <a:gd name="T4" fmla="*/ 1 w 17"/>
                    <a:gd name="T5" fmla="*/ 12 h 20"/>
                    <a:gd name="T6" fmla="*/ 0 w 17"/>
                    <a:gd name="T7" fmla="*/ 10 h 20"/>
                    <a:gd name="T8" fmla="*/ 1 w 17"/>
                    <a:gd name="T9" fmla="*/ 8 h 20"/>
                    <a:gd name="T10" fmla="*/ 14 w 17"/>
                    <a:gd name="T11" fmla="*/ 1 h 20"/>
                    <a:gd name="T12" fmla="*/ 16 w 17"/>
                    <a:gd name="T13" fmla="*/ 1 h 20"/>
                    <a:gd name="T14" fmla="*/ 17 w 17"/>
                    <a:gd name="T15" fmla="*/ 2 h 20"/>
                    <a:gd name="T16" fmla="*/ 17 w 17"/>
                    <a:gd name="T17" fmla="*/ 18 h 20"/>
                    <a:gd name="T18" fmla="*/ 16 w 17"/>
                    <a:gd name="T19" fmla="*/ 20 h 20"/>
                    <a:gd name="T20" fmla="*/ 15 w 17"/>
                    <a:gd name="T21" fmla="*/ 20 h 20"/>
                    <a:gd name="T22" fmla="*/ 6 w 17"/>
                    <a:gd name="T23" fmla="*/ 10 h 20"/>
                    <a:gd name="T24" fmla="*/ 13 w 17"/>
                    <a:gd name="T25" fmla="*/ 14 h 20"/>
                    <a:gd name="T26" fmla="*/ 13 w 17"/>
                    <a:gd name="T27" fmla="*/ 6 h 20"/>
                    <a:gd name="T28" fmla="*/ 6 w 17"/>
                    <a:gd name="T29" fmla="*/ 1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20">
                      <a:moveTo>
                        <a:pt x="15" y="20"/>
                      </a:moveTo>
                      <a:cubicBezTo>
                        <a:pt x="15" y="20"/>
                        <a:pt x="14" y="20"/>
                        <a:pt x="14" y="20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5" y="0"/>
                        <a:pt x="16" y="1"/>
                      </a:cubicBezTo>
                      <a:cubicBezTo>
                        <a:pt x="17" y="1"/>
                        <a:pt x="17" y="2"/>
                        <a:pt x="17" y="2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9"/>
                        <a:pt x="17" y="19"/>
                        <a:pt x="16" y="20"/>
                      </a:cubicBezTo>
                      <a:cubicBezTo>
                        <a:pt x="16" y="20"/>
                        <a:pt x="15" y="20"/>
                        <a:pt x="15" y="20"/>
                      </a:cubicBezTo>
                      <a:close/>
                      <a:moveTo>
                        <a:pt x="6" y="10"/>
                      </a:moveTo>
                      <a:cubicBezTo>
                        <a:pt x="13" y="14"/>
                        <a:pt x="13" y="14"/>
                        <a:pt x="13" y="14"/>
                      </a:cubicBezTo>
                      <a:cubicBezTo>
                        <a:pt x="13" y="6"/>
                        <a:pt x="13" y="6"/>
                        <a:pt x="13" y="6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5" name="Freeform 747">
                  <a:extLst>
                    <a:ext uri="{FF2B5EF4-FFF2-40B4-BE49-F238E27FC236}">
                      <a16:creationId xmlns:a16="http://schemas.microsoft.com/office/drawing/2014/main" id="{4BDE7958-7119-4BCA-8052-C166AD92347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27" y="3532"/>
                  <a:ext cx="147" cy="217"/>
                </a:xfrm>
                <a:custGeom>
                  <a:avLst/>
                  <a:gdLst>
                    <a:gd name="T0" fmla="*/ 2 w 62"/>
                    <a:gd name="T1" fmla="*/ 92 h 92"/>
                    <a:gd name="T2" fmla="*/ 1 w 62"/>
                    <a:gd name="T3" fmla="*/ 92 h 92"/>
                    <a:gd name="T4" fmla="*/ 0 w 62"/>
                    <a:gd name="T5" fmla="*/ 90 h 92"/>
                    <a:gd name="T6" fmla="*/ 0 w 62"/>
                    <a:gd name="T7" fmla="*/ 36 h 92"/>
                    <a:gd name="T8" fmla="*/ 1 w 62"/>
                    <a:gd name="T9" fmla="*/ 34 h 92"/>
                    <a:gd name="T10" fmla="*/ 59 w 62"/>
                    <a:gd name="T11" fmla="*/ 1 h 92"/>
                    <a:gd name="T12" fmla="*/ 61 w 62"/>
                    <a:gd name="T13" fmla="*/ 1 h 92"/>
                    <a:gd name="T14" fmla="*/ 62 w 62"/>
                    <a:gd name="T15" fmla="*/ 2 h 92"/>
                    <a:gd name="T16" fmla="*/ 62 w 62"/>
                    <a:gd name="T17" fmla="*/ 9 h 92"/>
                    <a:gd name="T18" fmla="*/ 62 w 62"/>
                    <a:gd name="T19" fmla="*/ 10 h 92"/>
                    <a:gd name="T20" fmla="*/ 62 w 62"/>
                    <a:gd name="T21" fmla="*/ 10 h 92"/>
                    <a:gd name="T22" fmla="*/ 62 w 62"/>
                    <a:gd name="T23" fmla="*/ 56 h 92"/>
                    <a:gd name="T24" fmla="*/ 61 w 62"/>
                    <a:gd name="T25" fmla="*/ 58 h 92"/>
                    <a:gd name="T26" fmla="*/ 3 w 62"/>
                    <a:gd name="T27" fmla="*/ 92 h 92"/>
                    <a:gd name="T28" fmla="*/ 2 w 62"/>
                    <a:gd name="T29" fmla="*/ 92 h 92"/>
                    <a:gd name="T30" fmla="*/ 4 w 62"/>
                    <a:gd name="T31" fmla="*/ 37 h 92"/>
                    <a:gd name="T32" fmla="*/ 4 w 62"/>
                    <a:gd name="T33" fmla="*/ 87 h 92"/>
                    <a:gd name="T34" fmla="*/ 58 w 62"/>
                    <a:gd name="T35" fmla="*/ 55 h 92"/>
                    <a:gd name="T36" fmla="*/ 58 w 62"/>
                    <a:gd name="T37" fmla="*/ 12 h 92"/>
                    <a:gd name="T38" fmla="*/ 57 w 62"/>
                    <a:gd name="T39" fmla="*/ 10 h 92"/>
                    <a:gd name="T40" fmla="*/ 58 w 62"/>
                    <a:gd name="T41" fmla="*/ 8 h 92"/>
                    <a:gd name="T42" fmla="*/ 58 w 62"/>
                    <a:gd name="T43" fmla="*/ 6 h 92"/>
                    <a:gd name="T44" fmla="*/ 4 w 62"/>
                    <a:gd name="T45" fmla="*/ 37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" h="92">
                      <a:moveTo>
                        <a:pt x="2" y="92"/>
                      </a:move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2"/>
                        <a:pt x="0" y="91"/>
                        <a:pt x="0" y="90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5"/>
                        <a:pt x="1" y="34"/>
                      </a:cubicBezTo>
                      <a:cubicBezTo>
                        <a:pt x="59" y="1"/>
                        <a:pt x="59" y="1"/>
                        <a:pt x="59" y="1"/>
                      </a:cubicBezTo>
                      <a:cubicBezTo>
                        <a:pt x="60" y="0"/>
                        <a:pt x="61" y="0"/>
                        <a:pt x="61" y="1"/>
                      </a:cubicBezTo>
                      <a:cubicBezTo>
                        <a:pt x="62" y="1"/>
                        <a:pt x="62" y="2"/>
                        <a:pt x="62" y="2"/>
                      </a:cubicBezTo>
                      <a:cubicBezTo>
                        <a:pt x="62" y="9"/>
                        <a:pt x="62" y="9"/>
                        <a:pt x="62" y="9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56"/>
                        <a:pt x="62" y="56"/>
                        <a:pt x="62" y="56"/>
                      </a:cubicBezTo>
                      <a:cubicBezTo>
                        <a:pt x="62" y="57"/>
                        <a:pt x="62" y="58"/>
                        <a:pt x="61" y="58"/>
                      </a:cubicBezTo>
                      <a:cubicBezTo>
                        <a:pt x="3" y="92"/>
                        <a:pt x="3" y="92"/>
                        <a:pt x="3" y="92"/>
                      </a:cubicBezTo>
                      <a:cubicBezTo>
                        <a:pt x="2" y="92"/>
                        <a:pt x="2" y="92"/>
                        <a:pt x="2" y="92"/>
                      </a:cubicBezTo>
                      <a:close/>
                      <a:moveTo>
                        <a:pt x="4" y="37"/>
                      </a:moveTo>
                      <a:cubicBezTo>
                        <a:pt x="4" y="87"/>
                        <a:pt x="4" y="87"/>
                        <a:pt x="4" y="87"/>
                      </a:cubicBezTo>
                      <a:cubicBezTo>
                        <a:pt x="58" y="55"/>
                        <a:pt x="58" y="55"/>
                        <a:pt x="58" y="55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1"/>
                        <a:pt x="57" y="11"/>
                        <a:pt x="57" y="10"/>
                      </a:cubicBezTo>
                      <a:cubicBezTo>
                        <a:pt x="57" y="9"/>
                        <a:pt x="58" y="9"/>
                        <a:pt x="58" y="8"/>
                      </a:cubicBezTo>
                      <a:cubicBezTo>
                        <a:pt x="58" y="6"/>
                        <a:pt x="58" y="6"/>
                        <a:pt x="58" y="6"/>
                      </a:cubicBezTo>
                      <a:lnTo>
                        <a:pt x="4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6" name="Freeform 748">
                  <a:extLst>
                    <a:ext uri="{FF2B5EF4-FFF2-40B4-BE49-F238E27FC236}">
                      <a16:creationId xmlns:a16="http://schemas.microsoft.com/office/drawing/2014/main" id="{B593EDE1-1C8B-4F27-BC52-4B4CFC96CE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566" y="3579"/>
                  <a:ext cx="66" cy="69"/>
                </a:xfrm>
                <a:custGeom>
                  <a:avLst/>
                  <a:gdLst>
                    <a:gd name="T0" fmla="*/ 26 w 28"/>
                    <a:gd name="T1" fmla="*/ 29 h 29"/>
                    <a:gd name="T2" fmla="*/ 25 w 28"/>
                    <a:gd name="T3" fmla="*/ 29 h 29"/>
                    <a:gd name="T4" fmla="*/ 1 w 28"/>
                    <a:gd name="T5" fmla="*/ 15 h 29"/>
                    <a:gd name="T6" fmla="*/ 0 w 28"/>
                    <a:gd name="T7" fmla="*/ 13 h 29"/>
                    <a:gd name="T8" fmla="*/ 1 w 28"/>
                    <a:gd name="T9" fmla="*/ 12 h 29"/>
                    <a:gd name="T10" fmla="*/ 20 w 28"/>
                    <a:gd name="T11" fmla="*/ 1 h 29"/>
                    <a:gd name="T12" fmla="*/ 22 w 28"/>
                    <a:gd name="T13" fmla="*/ 1 h 29"/>
                    <a:gd name="T14" fmla="*/ 27 w 28"/>
                    <a:gd name="T15" fmla="*/ 4 h 29"/>
                    <a:gd name="T16" fmla="*/ 28 w 28"/>
                    <a:gd name="T17" fmla="*/ 6 h 29"/>
                    <a:gd name="T18" fmla="*/ 28 w 28"/>
                    <a:gd name="T19" fmla="*/ 27 h 29"/>
                    <a:gd name="T20" fmla="*/ 27 w 28"/>
                    <a:gd name="T21" fmla="*/ 29 h 29"/>
                    <a:gd name="T22" fmla="*/ 26 w 28"/>
                    <a:gd name="T23" fmla="*/ 29 h 29"/>
                    <a:gd name="T24" fmla="*/ 6 w 28"/>
                    <a:gd name="T25" fmla="*/ 13 h 29"/>
                    <a:gd name="T26" fmla="*/ 24 w 28"/>
                    <a:gd name="T27" fmla="*/ 24 h 29"/>
                    <a:gd name="T28" fmla="*/ 24 w 28"/>
                    <a:gd name="T29" fmla="*/ 7 h 29"/>
                    <a:gd name="T30" fmla="*/ 21 w 28"/>
                    <a:gd name="T31" fmla="*/ 5 h 29"/>
                    <a:gd name="T32" fmla="*/ 6 w 28"/>
                    <a:gd name="T33" fmla="*/ 13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8" h="29">
                      <a:moveTo>
                        <a:pt x="26" y="29"/>
                      </a:moveTo>
                      <a:cubicBezTo>
                        <a:pt x="26" y="29"/>
                        <a:pt x="25" y="29"/>
                        <a:pt x="25" y="29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1" y="15"/>
                        <a:pt x="0" y="14"/>
                        <a:pt x="0" y="13"/>
                      </a:cubicBezTo>
                      <a:cubicBezTo>
                        <a:pt x="0" y="13"/>
                        <a:pt x="1" y="12"/>
                        <a:pt x="1" y="12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0"/>
                        <a:pt x="21" y="1"/>
                        <a:pt x="22" y="1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28" y="4"/>
                        <a:pt x="28" y="5"/>
                        <a:pt x="28" y="6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28"/>
                        <a:pt x="28" y="28"/>
                        <a:pt x="27" y="29"/>
                      </a:cubicBezTo>
                      <a:cubicBezTo>
                        <a:pt x="27" y="29"/>
                        <a:pt x="26" y="29"/>
                        <a:pt x="26" y="29"/>
                      </a:cubicBezTo>
                      <a:close/>
                      <a:moveTo>
                        <a:pt x="6" y="13"/>
                      </a:move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21" y="5"/>
                        <a:pt x="21" y="5"/>
                        <a:pt x="21" y="5"/>
                      </a:cubicBezTo>
                      <a:lnTo>
                        <a:pt x="6" y="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7" name="Freeform 749">
                  <a:extLst>
                    <a:ext uri="{FF2B5EF4-FFF2-40B4-BE49-F238E27FC236}">
                      <a16:creationId xmlns:a16="http://schemas.microsoft.com/office/drawing/2014/main" id="{A92677D8-71DD-4CFD-9886-53B1B91E83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476" y="3558"/>
                  <a:ext cx="92" cy="104"/>
                </a:xfrm>
                <a:custGeom>
                  <a:avLst/>
                  <a:gdLst>
                    <a:gd name="T0" fmla="*/ 2 w 39"/>
                    <a:gd name="T1" fmla="*/ 44 h 44"/>
                    <a:gd name="T2" fmla="*/ 1 w 39"/>
                    <a:gd name="T3" fmla="*/ 44 h 44"/>
                    <a:gd name="T4" fmla="*/ 0 w 39"/>
                    <a:gd name="T5" fmla="*/ 42 h 44"/>
                    <a:gd name="T6" fmla="*/ 0 w 39"/>
                    <a:gd name="T7" fmla="*/ 2 h 44"/>
                    <a:gd name="T8" fmla="*/ 1 w 39"/>
                    <a:gd name="T9" fmla="*/ 1 h 44"/>
                    <a:gd name="T10" fmla="*/ 3 w 39"/>
                    <a:gd name="T11" fmla="*/ 1 h 44"/>
                    <a:gd name="T12" fmla="*/ 38 w 39"/>
                    <a:gd name="T13" fmla="*/ 21 h 44"/>
                    <a:gd name="T14" fmla="*/ 39 w 39"/>
                    <a:gd name="T15" fmla="*/ 22 h 44"/>
                    <a:gd name="T16" fmla="*/ 38 w 39"/>
                    <a:gd name="T17" fmla="*/ 24 h 44"/>
                    <a:gd name="T18" fmla="*/ 3 w 39"/>
                    <a:gd name="T19" fmla="*/ 44 h 44"/>
                    <a:gd name="T20" fmla="*/ 2 w 39"/>
                    <a:gd name="T21" fmla="*/ 44 h 44"/>
                    <a:gd name="T22" fmla="*/ 4 w 39"/>
                    <a:gd name="T23" fmla="*/ 6 h 44"/>
                    <a:gd name="T24" fmla="*/ 4 w 39"/>
                    <a:gd name="T25" fmla="*/ 39 h 44"/>
                    <a:gd name="T26" fmla="*/ 33 w 39"/>
                    <a:gd name="T27" fmla="*/ 22 h 44"/>
                    <a:gd name="T28" fmla="*/ 4 w 39"/>
                    <a:gd name="T29" fmla="*/ 6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44">
                      <a:moveTo>
                        <a:pt x="2" y="44"/>
                      </a:moveTo>
                      <a:cubicBezTo>
                        <a:pt x="2" y="44"/>
                        <a:pt x="1" y="44"/>
                        <a:pt x="1" y="44"/>
                      </a:cubicBezTo>
                      <a:cubicBezTo>
                        <a:pt x="0" y="44"/>
                        <a:pt x="0" y="43"/>
                        <a:pt x="0" y="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8" y="21"/>
                        <a:pt x="38" y="21"/>
                        <a:pt x="38" y="21"/>
                      </a:cubicBezTo>
                      <a:cubicBezTo>
                        <a:pt x="39" y="21"/>
                        <a:pt x="39" y="22"/>
                        <a:pt x="39" y="22"/>
                      </a:cubicBezTo>
                      <a:cubicBezTo>
                        <a:pt x="39" y="23"/>
                        <a:pt x="39" y="24"/>
                        <a:pt x="38" y="2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2" y="44"/>
                        <a:pt x="2" y="44"/>
                      </a:cubicBezTo>
                      <a:close/>
                      <a:moveTo>
                        <a:pt x="4" y="6"/>
                      </a:moveTo>
                      <a:cubicBezTo>
                        <a:pt x="4" y="39"/>
                        <a:pt x="4" y="39"/>
                        <a:pt x="4" y="39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8" name="Freeform 750">
                  <a:extLst>
                    <a:ext uri="{FF2B5EF4-FFF2-40B4-BE49-F238E27FC236}">
                      <a16:creationId xmlns:a16="http://schemas.microsoft.com/office/drawing/2014/main" id="{7121026B-3B3E-4BE8-B957-8AA8FBC8C8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76" y="3504"/>
                  <a:ext cx="24" cy="18"/>
                </a:xfrm>
                <a:custGeom>
                  <a:avLst/>
                  <a:gdLst>
                    <a:gd name="T0" fmla="*/ 8 w 10"/>
                    <a:gd name="T1" fmla="*/ 8 h 8"/>
                    <a:gd name="T2" fmla="*/ 7 w 10"/>
                    <a:gd name="T3" fmla="*/ 8 h 8"/>
                    <a:gd name="T4" fmla="*/ 1 w 10"/>
                    <a:gd name="T5" fmla="*/ 4 h 8"/>
                    <a:gd name="T6" fmla="*/ 0 w 10"/>
                    <a:gd name="T7" fmla="*/ 2 h 8"/>
                    <a:gd name="T8" fmla="*/ 0 w 10"/>
                    <a:gd name="T9" fmla="*/ 2 h 8"/>
                    <a:gd name="T10" fmla="*/ 1 w 10"/>
                    <a:gd name="T11" fmla="*/ 0 h 8"/>
                    <a:gd name="T12" fmla="*/ 3 w 10"/>
                    <a:gd name="T13" fmla="*/ 0 h 8"/>
                    <a:gd name="T14" fmla="*/ 9 w 10"/>
                    <a:gd name="T15" fmla="*/ 4 h 8"/>
                    <a:gd name="T16" fmla="*/ 10 w 10"/>
                    <a:gd name="T17" fmla="*/ 5 h 8"/>
                    <a:gd name="T18" fmla="*/ 10 w 10"/>
                    <a:gd name="T19" fmla="*/ 6 h 8"/>
                    <a:gd name="T20" fmla="*/ 9 w 10"/>
                    <a:gd name="T21" fmla="*/ 8 h 8"/>
                    <a:gd name="T22" fmla="*/ 8 w 10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8">
                      <a:moveTo>
                        <a:pt x="8" y="8"/>
                      </a:moveTo>
                      <a:cubicBezTo>
                        <a:pt x="8" y="8"/>
                        <a:pt x="8" y="8"/>
                        <a:pt x="7" y="8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5"/>
                        <a:pt x="10" y="5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0" y="7"/>
                        <a:pt x="10" y="7"/>
                        <a:pt x="9" y="8"/>
                      </a:cubicBezTo>
                      <a:cubicBezTo>
                        <a:pt x="9" y="8"/>
                        <a:pt x="9" y="8"/>
                        <a:pt x="8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9" name="Freeform 751">
                  <a:extLst>
                    <a:ext uri="{FF2B5EF4-FFF2-40B4-BE49-F238E27FC236}">
                      <a16:creationId xmlns:a16="http://schemas.microsoft.com/office/drawing/2014/main" id="{67799CDE-1F2C-48AD-9C3E-048B8825E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3" y="3615"/>
                  <a:ext cx="19" cy="141"/>
                </a:xfrm>
                <a:custGeom>
                  <a:avLst/>
                  <a:gdLst>
                    <a:gd name="T0" fmla="*/ 2 w 8"/>
                    <a:gd name="T1" fmla="*/ 60 h 60"/>
                    <a:gd name="T2" fmla="*/ 1 w 8"/>
                    <a:gd name="T3" fmla="*/ 60 h 60"/>
                    <a:gd name="T4" fmla="*/ 0 w 8"/>
                    <a:gd name="T5" fmla="*/ 58 h 60"/>
                    <a:gd name="T6" fmla="*/ 0 w 8"/>
                    <a:gd name="T7" fmla="*/ 4 h 60"/>
                    <a:gd name="T8" fmla="*/ 1 w 8"/>
                    <a:gd name="T9" fmla="*/ 3 h 60"/>
                    <a:gd name="T10" fmla="*/ 5 w 8"/>
                    <a:gd name="T11" fmla="*/ 0 h 60"/>
                    <a:gd name="T12" fmla="*/ 7 w 8"/>
                    <a:gd name="T13" fmla="*/ 0 h 60"/>
                    <a:gd name="T14" fmla="*/ 8 w 8"/>
                    <a:gd name="T15" fmla="*/ 2 h 60"/>
                    <a:gd name="T16" fmla="*/ 8 w 8"/>
                    <a:gd name="T17" fmla="*/ 56 h 60"/>
                    <a:gd name="T18" fmla="*/ 7 w 8"/>
                    <a:gd name="T19" fmla="*/ 58 h 60"/>
                    <a:gd name="T20" fmla="*/ 3 w 8"/>
                    <a:gd name="T21" fmla="*/ 60 h 60"/>
                    <a:gd name="T22" fmla="*/ 2 w 8"/>
                    <a:gd name="T2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60">
                      <a:moveTo>
                        <a:pt x="2" y="60"/>
                      </a:moveTo>
                      <a:cubicBezTo>
                        <a:pt x="2" y="60"/>
                        <a:pt x="1" y="60"/>
                        <a:pt x="1" y="60"/>
                      </a:cubicBezTo>
                      <a:cubicBezTo>
                        <a:pt x="0" y="60"/>
                        <a:pt x="0" y="59"/>
                        <a:pt x="0" y="58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3"/>
                        <a:pt x="1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0"/>
                        <a:pt x="6" y="0"/>
                        <a:pt x="7" y="0"/>
                      </a:cubicBezTo>
                      <a:cubicBezTo>
                        <a:pt x="8" y="1"/>
                        <a:pt x="8" y="1"/>
                        <a:pt x="8" y="2"/>
                      </a:cubicBezTo>
                      <a:cubicBezTo>
                        <a:pt x="8" y="56"/>
                        <a:pt x="8" y="56"/>
                        <a:pt x="8" y="56"/>
                      </a:cubicBezTo>
                      <a:cubicBezTo>
                        <a:pt x="8" y="57"/>
                        <a:pt x="8" y="57"/>
                        <a:pt x="7" y="58"/>
                      </a:cubicBezTo>
                      <a:cubicBezTo>
                        <a:pt x="3" y="60"/>
                        <a:pt x="3" y="60"/>
                        <a:pt x="3" y="60"/>
                      </a:cubicBezTo>
                      <a:cubicBezTo>
                        <a:pt x="3" y="60"/>
                        <a:pt x="2" y="60"/>
                        <a:pt x="2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0" name="Freeform 752">
                  <a:extLst>
                    <a:ext uri="{FF2B5EF4-FFF2-40B4-BE49-F238E27FC236}">
                      <a16:creationId xmlns:a16="http://schemas.microsoft.com/office/drawing/2014/main" id="{1375360A-193C-4B67-9FF4-B8EF30953C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83" y="3331"/>
                  <a:ext cx="10" cy="12"/>
                </a:xfrm>
                <a:custGeom>
                  <a:avLst/>
                  <a:gdLst>
                    <a:gd name="T0" fmla="*/ 2 w 4"/>
                    <a:gd name="T1" fmla="*/ 5 h 5"/>
                    <a:gd name="T2" fmla="*/ 1 w 4"/>
                    <a:gd name="T3" fmla="*/ 4 h 5"/>
                    <a:gd name="T4" fmla="*/ 0 w 4"/>
                    <a:gd name="T5" fmla="*/ 3 h 5"/>
                    <a:gd name="T6" fmla="*/ 1 w 4"/>
                    <a:gd name="T7" fmla="*/ 1 h 5"/>
                    <a:gd name="T8" fmla="*/ 3 w 4"/>
                    <a:gd name="T9" fmla="*/ 0 h 5"/>
                    <a:gd name="T10" fmla="*/ 4 w 4"/>
                    <a:gd name="T11" fmla="*/ 2 h 5"/>
                    <a:gd name="T12" fmla="*/ 3 w 4"/>
                    <a:gd name="T13" fmla="*/ 4 h 5"/>
                    <a:gd name="T14" fmla="*/ 3 w 4"/>
                    <a:gd name="T15" fmla="*/ 4 h 5"/>
                    <a:gd name="T16" fmla="*/ 2 w 4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2" y="5"/>
                        <a:pt x="1" y="4"/>
                        <a:pt x="1" y="4"/>
                      </a:cubicBezTo>
                      <a:cubicBezTo>
                        <a:pt x="0" y="4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4" y="3"/>
                        <a:pt x="4" y="4"/>
                        <a:pt x="3" y="4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1" name="Freeform 753">
                  <a:extLst>
                    <a:ext uri="{FF2B5EF4-FFF2-40B4-BE49-F238E27FC236}">
                      <a16:creationId xmlns:a16="http://schemas.microsoft.com/office/drawing/2014/main" id="{6C7ED6C7-7DE8-467D-AA3D-5D6520B9F0D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93" y="3265"/>
                  <a:ext cx="125" cy="144"/>
                </a:xfrm>
                <a:custGeom>
                  <a:avLst/>
                  <a:gdLst>
                    <a:gd name="T0" fmla="*/ 51 w 53"/>
                    <a:gd name="T1" fmla="*/ 61 h 61"/>
                    <a:gd name="T2" fmla="*/ 50 w 53"/>
                    <a:gd name="T3" fmla="*/ 61 h 61"/>
                    <a:gd name="T4" fmla="*/ 1 w 53"/>
                    <a:gd name="T5" fmla="*/ 32 h 61"/>
                    <a:gd name="T6" fmla="*/ 0 w 53"/>
                    <a:gd name="T7" fmla="*/ 30 h 61"/>
                    <a:gd name="T8" fmla="*/ 1 w 53"/>
                    <a:gd name="T9" fmla="*/ 29 h 61"/>
                    <a:gd name="T10" fmla="*/ 50 w 53"/>
                    <a:gd name="T11" fmla="*/ 0 h 61"/>
                    <a:gd name="T12" fmla="*/ 52 w 53"/>
                    <a:gd name="T13" fmla="*/ 0 h 61"/>
                    <a:gd name="T14" fmla="*/ 53 w 53"/>
                    <a:gd name="T15" fmla="*/ 2 h 61"/>
                    <a:gd name="T16" fmla="*/ 53 w 53"/>
                    <a:gd name="T17" fmla="*/ 59 h 61"/>
                    <a:gd name="T18" fmla="*/ 52 w 53"/>
                    <a:gd name="T19" fmla="*/ 61 h 61"/>
                    <a:gd name="T20" fmla="*/ 51 w 53"/>
                    <a:gd name="T21" fmla="*/ 61 h 61"/>
                    <a:gd name="T22" fmla="*/ 6 w 53"/>
                    <a:gd name="T23" fmla="*/ 30 h 61"/>
                    <a:gd name="T24" fmla="*/ 49 w 53"/>
                    <a:gd name="T25" fmla="*/ 56 h 61"/>
                    <a:gd name="T26" fmla="*/ 49 w 53"/>
                    <a:gd name="T27" fmla="*/ 5 h 61"/>
                    <a:gd name="T28" fmla="*/ 6 w 53"/>
                    <a:gd name="T29" fmla="*/ 3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3" h="61">
                      <a:moveTo>
                        <a:pt x="51" y="61"/>
                      </a:moveTo>
                      <a:cubicBezTo>
                        <a:pt x="51" y="61"/>
                        <a:pt x="51" y="61"/>
                        <a:pt x="50" y="61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1" y="0"/>
                        <a:pt x="52" y="0"/>
                        <a:pt x="52" y="0"/>
                      </a:cubicBezTo>
                      <a:cubicBezTo>
                        <a:pt x="53" y="0"/>
                        <a:pt x="53" y="1"/>
                        <a:pt x="53" y="2"/>
                      </a:cubicBezTo>
                      <a:cubicBezTo>
                        <a:pt x="53" y="59"/>
                        <a:pt x="53" y="59"/>
                        <a:pt x="53" y="59"/>
                      </a:cubicBezTo>
                      <a:cubicBezTo>
                        <a:pt x="53" y="60"/>
                        <a:pt x="53" y="60"/>
                        <a:pt x="52" y="61"/>
                      </a:cubicBezTo>
                      <a:cubicBezTo>
                        <a:pt x="52" y="61"/>
                        <a:pt x="52" y="61"/>
                        <a:pt x="51" y="61"/>
                      </a:cubicBezTo>
                      <a:close/>
                      <a:moveTo>
                        <a:pt x="6" y="30"/>
                      </a:move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49" y="5"/>
                        <a:pt x="49" y="5"/>
                        <a:pt x="49" y="5"/>
                      </a:cubicBezTo>
                      <a:lnTo>
                        <a:pt x="6" y="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2" name="Freeform 754">
                  <a:extLst>
                    <a:ext uri="{FF2B5EF4-FFF2-40B4-BE49-F238E27FC236}">
                      <a16:creationId xmlns:a16="http://schemas.microsoft.com/office/drawing/2014/main" id="{2E4EAB82-A009-4758-BF7C-94652BCDB6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3333"/>
                  <a:ext cx="156" cy="128"/>
                </a:xfrm>
                <a:custGeom>
                  <a:avLst/>
                  <a:gdLst>
                    <a:gd name="T0" fmla="*/ 2 w 66"/>
                    <a:gd name="T1" fmla="*/ 54 h 54"/>
                    <a:gd name="T2" fmla="*/ 1 w 66"/>
                    <a:gd name="T3" fmla="*/ 53 h 54"/>
                    <a:gd name="T4" fmla="*/ 0 w 66"/>
                    <a:gd name="T5" fmla="*/ 52 h 54"/>
                    <a:gd name="T6" fmla="*/ 0 w 66"/>
                    <a:gd name="T7" fmla="*/ 10 h 54"/>
                    <a:gd name="T8" fmla="*/ 1 w 66"/>
                    <a:gd name="T9" fmla="*/ 8 h 54"/>
                    <a:gd name="T10" fmla="*/ 11 w 66"/>
                    <a:gd name="T11" fmla="*/ 2 h 54"/>
                    <a:gd name="T12" fmla="*/ 12 w 66"/>
                    <a:gd name="T13" fmla="*/ 2 h 54"/>
                    <a:gd name="T14" fmla="*/ 12 w 66"/>
                    <a:gd name="T15" fmla="*/ 2 h 54"/>
                    <a:gd name="T16" fmla="*/ 14 w 66"/>
                    <a:gd name="T17" fmla="*/ 1 h 54"/>
                    <a:gd name="T18" fmla="*/ 16 w 66"/>
                    <a:gd name="T19" fmla="*/ 1 h 54"/>
                    <a:gd name="T20" fmla="*/ 65 w 66"/>
                    <a:gd name="T21" fmla="*/ 29 h 54"/>
                    <a:gd name="T22" fmla="*/ 66 w 66"/>
                    <a:gd name="T23" fmla="*/ 31 h 54"/>
                    <a:gd name="T24" fmla="*/ 65 w 66"/>
                    <a:gd name="T25" fmla="*/ 32 h 54"/>
                    <a:gd name="T26" fmla="*/ 39 w 66"/>
                    <a:gd name="T27" fmla="*/ 47 h 54"/>
                    <a:gd name="T28" fmla="*/ 37 w 66"/>
                    <a:gd name="T29" fmla="*/ 47 h 54"/>
                    <a:gd name="T30" fmla="*/ 26 w 66"/>
                    <a:gd name="T31" fmla="*/ 41 h 54"/>
                    <a:gd name="T32" fmla="*/ 3 w 66"/>
                    <a:gd name="T33" fmla="*/ 53 h 54"/>
                    <a:gd name="T34" fmla="*/ 2 w 66"/>
                    <a:gd name="T35" fmla="*/ 54 h 54"/>
                    <a:gd name="T36" fmla="*/ 4 w 66"/>
                    <a:gd name="T37" fmla="*/ 11 h 54"/>
                    <a:gd name="T38" fmla="*/ 4 w 66"/>
                    <a:gd name="T39" fmla="*/ 48 h 54"/>
                    <a:gd name="T40" fmla="*/ 25 w 66"/>
                    <a:gd name="T41" fmla="*/ 36 h 54"/>
                    <a:gd name="T42" fmla="*/ 27 w 66"/>
                    <a:gd name="T43" fmla="*/ 36 h 54"/>
                    <a:gd name="T44" fmla="*/ 38 w 66"/>
                    <a:gd name="T45" fmla="*/ 43 h 54"/>
                    <a:gd name="T46" fmla="*/ 60 w 66"/>
                    <a:gd name="T47" fmla="*/ 31 h 54"/>
                    <a:gd name="T48" fmla="*/ 15 w 66"/>
                    <a:gd name="T49" fmla="*/ 5 h 54"/>
                    <a:gd name="T50" fmla="*/ 14 w 66"/>
                    <a:gd name="T51" fmla="*/ 6 h 54"/>
                    <a:gd name="T52" fmla="*/ 12 w 66"/>
                    <a:gd name="T53" fmla="*/ 6 h 54"/>
                    <a:gd name="T54" fmla="*/ 12 w 66"/>
                    <a:gd name="T55" fmla="*/ 6 h 54"/>
                    <a:gd name="T56" fmla="*/ 4 w 66"/>
                    <a:gd name="T57" fmla="*/ 1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" h="54">
                      <a:moveTo>
                        <a:pt x="2" y="54"/>
                      </a:moveTo>
                      <a:cubicBezTo>
                        <a:pt x="2" y="54"/>
                        <a:pt x="2" y="54"/>
                        <a:pt x="1" y="53"/>
                      </a:cubicBezTo>
                      <a:cubicBezTo>
                        <a:pt x="1" y="53"/>
                        <a:pt x="0" y="52"/>
                        <a:pt x="0" y="5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11" y="2"/>
                        <a:pt x="11" y="2"/>
                        <a:pt x="12" y="2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5" y="0"/>
                        <a:pt x="16" y="1"/>
                      </a:cubicBezTo>
                      <a:cubicBezTo>
                        <a:pt x="65" y="29"/>
                        <a:pt x="65" y="29"/>
                        <a:pt x="65" y="29"/>
                      </a:cubicBezTo>
                      <a:cubicBezTo>
                        <a:pt x="66" y="29"/>
                        <a:pt x="66" y="30"/>
                        <a:pt x="66" y="31"/>
                      </a:cubicBezTo>
                      <a:cubicBezTo>
                        <a:pt x="66" y="31"/>
                        <a:pt x="66" y="32"/>
                        <a:pt x="65" y="32"/>
                      </a:cubicBezTo>
                      <a:cubicBezTo>
                        <a:pt x="39" y="47"/>
                        <a:pt x="39" y="47"/>
                        <a:pt x="39" y="47"/>
                      </a:cubicBezTo>
                      <a:cubicBezTo>
                        <a:pt x="39" y="48"/>
                        <a:pt x="38" y="48"/>
                        <a:pt x="37" y="47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4"/>
                        <a:pt x="3" y="54"/>
                        <a:pt x="2" y="54"/>
                      </a:cubicBezTo>
                      <a:close/>
                      <a:moveTo>
                        <a:pt x="4" y="11"/>
                      </a:moveTo>
                      <a:cubicBezTo>
                        <a:pt x="4" y="48"/>
                        <a:pt x="4" y="48"/>
                        <a:pt x="4" y="48"/>
                      </a:cubicBezTo>
                      <a:cubicBezTo>
                        <a:pt x="25" y="36"/>
                        <a:pt x="25" y="36"/>
                        <a:pt x="25" y="36"/>
                      </a:cubicBezTo>
                      <a:cubicBezTo>
                        <a:pt x="25" y="36"/>
                        <a:pt x="26" y="36"/>
                        <a:pt x="27" y="36"/>
                      </a:cubicBezTo>
                      <a:cubicBezTo>
                        <a:pt x="38" y="43"/>
                        <a:pt x="38" y="43"/>
                        <a:pt x="38" y="43"/>
                      </a:cubicBezTo>
                      <a:cubicBezTo>
                        <a:pt x="60" y="31"/>
                        <a:pt x="60" y="31"/>
                        <a:pt x="60" y="31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5" y="5"/>
                        <a:pt x="15" y="6"/>
                        <a:pt x="14" y="6"/>
                      </a:cubicBezTo>
                      <a:cubicBezTo>
                        <a:pt x="13" y="7"/>
                        <a:pt x="13" y="7"/>
                        <a:pt x="12" y="6"/>
                      </a:cubicBezTo>
                      <a:cubicBezTo>
                        <a:pt x="12" y="6"/>
                        <a:pt x="12" y="6"/>
                        <a:pt x="12" y="6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3" name="Freeform 755">
                  <a:extLst>
                    <a:ext uri="{FF2B5EF4-FFF2-40B4-BE49-F238E27FC236}">
                      <a16:creationId xmlns:a16="http://schemas.microsoft.com/office/drawing/2014/main" id="{8E0F65C7-4312-4197-AE5A-4586774BD8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72" y="2799"/>
                  <a:ext cx="316" cy="187"/>
                </a:xfrm>
                <a:custGeom>
                  <a:avLst/>
                  <a:gdLst>
                    <a:gd name="T0" fmla="*/ 132 w 134"/>
                    <a:gd name="T1" fmla="*/ 79 h 79"/>
                    <a:gd name="T2" fmla="*/ 131 w 134"/>
                    <a:gd name="T3" fmla="*/ 79 h 79"/>
                    <a:gd name="T4" fmla="*/ 1 w 134"/>
                    <a:gd name="T5" fmla="*/ 4 h 79"/>
                    <a:gd name="T6" fmla="*/ 0 w 134"/>
                    <a:gd name="T7" fmla="*/ 2 h 79"/>
                    <a:gd name="T8" fmla="*/ 1 w 134"/>
                    <a:gd name="T9" fmla="*/ 0 h 79"/>
                    <a:gd name="T10" fmla="*/ 3 w 134"/>
                    <a:gd name="T11" fmla="*/ 0 h 79"/>
                    <a:gd name="T12" fmla="*/ 133 w 134"/>
                    <a:gd name="T13" fmla="*/ 76 h 79"/>
                    <a:gd name="T14" fmla="*/ 134 w 134"/>
                    <a:gd name="T15" fmla="*/ 77 h 79"/>
                    <a:gd name="T16" fmla="*/ 134 w 134"/>
                    <a:gd name="T17" fmla="*/ 77 h 79"/>
                    <a:gd name="T18" fmla="*/ 133 w 134"/>
                    <a:gd name="T19" fmla="*/ 79 h 79"/>
                    <a:gd name="T20" fmla="*/ 132 w 134"/>
                    <a:gd name="T21" fmla="*/ 79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4" h="79">
                      <a:moveTo>
                        <a:pt x="132" y="79"/>
                      </a:moveTo>
                      <a:cubicBezTo>
                        <a:pt x="132" y="79"/>
                        <a:pt x="132" y="79"/>
                        <a:pt x="131" y="79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2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3" y="76"/>
                        <a:pt x="133" y="76"/>
                        <a:pt x="133" y="76"/>
                      </a:cubicBezTo>
                      <a:cubicBezTo>
                        <a:pt x="134" y="76"/>
                        <a:pt x="134" y="77"/>
                        <a:pt x="134" y="77"/>
                      </a:cubicBezTo>
                      <a:cubicBezTo>
                        <a:pt x="134" y="77"/>
                        <a:pt x="134" y="77"/>
                        <a:pt x="134" y="77"/>
                      </a:cubicBezTo>
                      <a:cubicBezTo>
                        <a:pt x="134" y="78"/>
                        <a:pt x="134" y="79"/>
                        <a:pt x="133" y="79"/>
                      </a:cubicBezTo>
                      <a:cubicBezTo>
                        <a:pt x="133" y="79"/>
                        <a:pt x="133" y="79"/>
                        <a:pt x="13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4" name="Freeform 756">
                  <a:extLst>
                    <a:ext uri="{FF2B5EF4-FFF2-40B4-BE49-F238E27FC236}">
                      <a16:creationId xmlns:a16="http://schemas.microsoft.com/office/drawing/2014/main" id="{BBA0C599-A9BE-4473-844A-AA3196F5D5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95" y="3461"/>
                  <a:ext cx="206" cy="123"/>
                </a:xfrm>
                <a:custGeom>
                  <a:avLst/>
                  <a:gdLst>
                    <a:gd name="T0" fmla="*/ 50 w 87"/>
                    <a:gd name="T1" fmla="*/ 52 h 52"/>
                    <a:gd name="T2" fmla="*/ 49 w 87"/>
                    <a:gd name="T3" fmla="*/ 52 h 52"/>
                    <a:gd name="T4" fmla="*/ 1 w 87"/>
                    <a:gd name="T5" fmla="*/ 24 h 52"/>
                    <a:gd name="T6" fmla="*/ 0 w 87"/>
                    <a:gd name="T7" fmla="*/ 22 h 52"/>
                    <a:gd name="T8" fmla="*/ 1 w 87"/>
                    <a:gd name="T9" fmla="*/ 21 h 52"/>
                    <a:gd name="T10" fmla="*/ 36 w 87"/>
                    <a:gd name="T11" fmla="*/ 0 h 52"/>
                    <a:gd name="T12" fmla="*/ 38 w 87"/>
                    <a:gd name="T13" fmla="*/ 0 h 52"/>
                    <a:gd name="T14" fmla="*/ 86 w 87"/>
                    <a:gd name="T15" fmla="*/ 28 h 52"/>
                    <a:gd name="T16" fmla="*/ 87 w 87"/>
                    <a:gd name="T17" fmla="*/ 30 h 52"/>
                    <a:gd name="T18" fmla="*/ 86 w 87"/>
                    <a:gd name="T19" fmla="*/ 32 h 52"/>
                    <a:gd name="T20" fmla="*/ 51 w 87"/>
                    <a:gd name="T21" fmla="*/ 52 h 52"/>
                    <a:gd name="T22" fmla="*/ 50 w 87"/>
                    <a:gd name="T23" fmla="*/ 52 h 52"/>
                    <a:gd name="T24" fmla="*/ 6 w 87"/>
                    <a:gd name="T25" fmla="*/ 22 h 52"/>
                    <a:gd name="T26" fmla="*/ 50 w 87"/>
                    <a:gd name="T27" fmla="*/ 48 h 52"/>
                    <a:gd name="T28" fmla="*/ 81 w 87"/>
                    <a:gd name="T29" fmla="*/ 30 h 52"/>
                    <a:gd name="T30" fmla="*/ 37 w 87"/>
                    <a:gd name="T31" fmla="*/ 4 h 52"/>
                    <a:gd name="T32" fmla="*/ 6 w 87"/>
                    <a:gd name="T33" fmla="*/ 2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7" h="52">
                      <a:moveTo>
                        <a:pt x="50" y="52"/>
                      </a:moveTo>
                      <a:cubicBezTo>
                        <a:pt x="50" y="52"/>
                        <a:pt x="49" y="52"/>
                        <a:pt x="49" y="52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0" y="24"/>
                        <a:pt x="0" y="23"/>
                        <a:pt x="0" y="22"/>
                      </a:cubicBezTo>
                      <a:cubicBezTo>
                        <a:pt x="0" y="22"/>
                        <a:pt x="0" y="21"/>
                        <a:pt x="1" y="21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7" y="0"/>
                        <a:pt x="38" y="0"/>
                        <a:pt x="38" y="0"/>
                      </a:cubicBezTo>
                      <a:cubicBezTo>
                        <a:pt x="86" y="28"/>
                        <a:pt x="86" y="28"/>
                        <a:pt x="86" y="28"/>
                      </a:cubicBezTo>
                      <a:cubicBezTo>
                        <a:pt x="87" y="28"/>
                        <a:pt x="87" y="29"/>
                        <a:pt x="87" y="30"/>
                      </a:cubicBezTo>
                      <a:cubicBezTo>
                        <a:pt x="87" y="31"/>
                        <a:pt x="87" y="31"/>
                        <a:pt x="86" y="3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0" y="52"/>
                        <a:pt x="50" y="52"/>
                      </a:cubicBezTo>
                      <a:close/>
                      <a:moveTo>
                        <a:pt x="6" y="22"/>
                      </a:moveTo>
                      <a:cubicBezTo>
                        <a:pt x="50" y="48"/>
                        <a:pt x="50" y="48"/>
                        <a:pt x="50" y="48"/>
                      </a:cubicBezTo>
                      <a:cubicBezTo>
                        <a:pt x="81" y="30"/>
                        <a:pt x="81" y="30"/>
                        <a:pt x="81" y="30"/>
                      </a:cubicBezTo>
                      <a:cubicBezTo>
                        <a:pt x="37" y="4"/>
                        <a:pt x="37" y="4"/>
                        <a:pt x="37" y="4"/>
                      </a:cubicBezTo>
                      <a:lnTo>
                        <a:pt x="6" y="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5" name="Freeform 757">
                  <a:extLst>
                    <a:ext uri="{FF2B5EF4-FFF2-40B4-BE49-F238E27FC236}">
                      <a16:creationId xmlns:a16="http://schemas.microsoft.com/office/drawing/2014/main" id="{D986A98E-A810-437E-844D-E925C8AB48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47" y="3402"/>
                  <a:ext cx="71" cy="64"/>
                </a:xfrm>
                <a:custGeom>
                  <a:avLst/>
                  <a:gdLst>
                    <a:gd name="T0" fmla="*/ 15 w 30"/>
                    <a:gd name="T1" fmla="*/ 27 h 27"/>
                    <a:gd name="T2" fmla="*/ 14 w 30"/>
                    <a:gd name="T3" fmla="*/ 27 h 27"/>
                    <a:gd name="T4" fmla="*/ 1 w 30"/>
                    <a:gd name="T5" fmla="*/ 19 h 27"/>
                    <a:gd name="T6" fmla="*/ 0 w 30"/>
                    <a:gd name="T7" fmla="*/ 18 h 27"/>
                    <a:gd name="T8" fmla="*/ 1 w 30"/>
                    <a:gd name="T9" fmla="*/ 16 h 27"/>
                    <a:gd name="T10" fmla="*/ 27 w 30"/>
                    <a:gd name="T11" fmla="*/ 1 h 27"/>
                    <a:gd name="T12" fmla="*/ 29 w 30"/>
                    <a:gd name="T13" fmla="*/ 1 h 27"/>
                    <a:gd name="T14" fmla="*/ 30 w 30"/>
                    <a:gd name="T15" fmla="*/ 2 h 27"/>
                    <a:gd name="T16" fmla="*/ 30 w 30"/>
                    <a:gd name="T17" fmla="*/ 18 h 27"/>
                    <a:gd name="T18" fmla="*/ 29 w 30"/>
                    <a:gd name="T19" fmla="*/ 19 h 27"/>
                    <a:gd name="T20" fmla="*/ 16 w 30"/>
                    <a:gd name="T21" fmla="*/ 27 h 27"/>
                    <a:gd name="T22" fmla="*/ 15 w 30"/>
                    <a:gd name="T23" fmla="*/ 27 h 27"/>
                    <a:gd name="T24" fmla="*/ 6 w 30"/>
                    <a:gd name="T25" fmla="*/ 18 h 27"/>
                    <a:gd name="T26" fmla="*/ 15 w 30"/>
                    <a:gd name="T27" fmla="*/ 23 h 27"/>
                    <a:gd name="T28" fmla="*/ 26 w 30"/>
                    <a:gd name="T29" fmla="*/ 16 h 27"/>
                    <a:gd name="T30" fmla="*/ 26 w 30"/>
                    <a:gd name="T31" fmla="*/ 6 h 27"/>
                    <a:gd name="T32" fmla="*/ 6 w 30"/>
                    <a:gd name="T33" fmla="*/ 18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27">
                      <a:moveTo>
                        <a:pt x="15" y="27"/>
                      </a:moveTo>
                      <a:cubicBezTo>
                        <a:pt x="15" y="27"/>
                        <a:pt x="15" y="27"/>
                        <a:pt x="14" y="27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0" y="19"/>
                        <a:pt x="0" y="18"/>
                        <a:pt x="0" y="18"/>
                      </a:cubicBezTo>
                      <a:cubicBezTo>
                        <a:pt x="0" y="17"/>
                        <a:pt x="0" y="16"/>
                        <a:pt x="1" y="16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8" y="0"/>
                        <a:pt x="29" y="0"/>
                        <a:pt x="29" y="1"/>
                      </a:cubicBezTo>
                      <a:cubicBezTo>
                        <a:pt x="30" y="1"/>
                        <a:pt x="30" y="2"/>
                        <a:pt x="30" y="2"/>
                      </a:cubicBezTo>
                      <a:cubicBezTo>
                        <a:pt x="30" y="18"/>
                        <a:pt x="30" y="18"/>
                        <a:pt x="30" y="18"/>
                      </a:cubicBezTo>
                      <a:cubicBezTo>
                        <a:pt x="30" y="18"/>
                        <a:pt x="30" y="19"/>
                        <a:pt x="29" y="19"/>
                      </a:cubicBezTo>
                      <a:cubicBezTo>
                        <a:pt x="16" y="27"/>
                        <a:pt x="16" y="27"/>
                        <a:pt x="16" y="27"/>
                      </a:cubicBezTo>
                      <a:cubicBezTo>
                        <a:pt x="16" y="27"/>
                        <a:pt x="16" y="27"/>
                        <a:pt x="15" y="27"/>
                      </a:cubicBezTo>
                      <a:close/>
                      <a:moveTo>
                        <a:pt x="6" y="18"/>
                      </a:move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26" y="16"/>
                        <a:pt x="26" y="16"/>
                        <a:pt x="26" y="16"/>
                      </a:cubicBezTo>
                      <a:cubicBezTo>
                        <a:pt x="26" y="6"/>
                        <a:pt x="26" y="6"/>
                        <a:pt x="26" y="6"/>
                      </a:cubicBezTo>
                      <a:lnTo>
                        <a:pt x="6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6" name="Freeform 758">
                  <a:extLst>
                    <a:ext uri="{FF2B5EF4-FFF2-40B4-BE49-F238E27FC236}">
                      <a16:creationId xmlns:a16="http://schemas.microsoft.com/office/drawing/2014/main" id="{4DB7B377-B28D-45D3-9229-FDC4247DF6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3" y="3747"/>
                  <a:ext cx="19" cy="19"/>
                </a:xfrm>
                <a:custGeom>
                  <a:avLst/>
                  <a:gdLst>
                    <a:gd name="T0" fmla="*/ 6 w 8"/>
                    <a:gd name="T1" fmla="*/ 8 h 8"/>
                    <a:gd name="T2" fmla="*/ 5 w 8"/>
                    <a:gd name="T3" fmla="*/ 8 h 8"/>
                    <a:gd name="T4" fmla="*/ 1 w 8"/>
                    <a:gd name="T5" fmla="*/ 6 h 8"/>
                    <a:gd name="T6" fmla="*/ 0 w 8"/>
                    <a:gd name="T7" fmla="*/ 4 h 8"/>
                    <a:gd name="T8" fmla="*/ 1 w 8"/>
                    <a:gd name="T9" fmla="*/ 2 h 8"/>
                    <a:gd name="T10" fmla="*/ 5 w 8"/>
                    <a:gd name="T11" fmla="*/ 0 h 8"/>
                    <a:gd name="T12" fmla="*/ 7 w 8"/>
                    <a:gd name="T13" fmla="*/ 0 h 8"/>
                    <a:gd name="T14" fmla="*/ 8 w 8"/>
                    <a:gd name="T15" fmla="*/ 2 h 8"/>
                    <a:gd name="T16" fmla="*/ 8 w 8"/>
                    <a:gd name="T17" fmla="*/ 6 h 8"/>
                    <a:gd name="T18" fmla="*/ 7 w 8"/>
                    <a:gd name="T19" fmla="*/ 8 h 8"/>
                    <a:gd name="T20" fmla="*/ 6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6" y="8"/>
                      </a:moveTo>
                      <a:cubicBezTo>
                        <a:pt x="6" y="8"/>
                        <a:pt x="5" y="8"/>
                        <a:pt x="5" y="8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1" y="5"/>
                        <a:pt x="0" y="5"/>
                        <a:pt x="0" y="4"/>
                      </a:cubicBezTo>
                      <a:cubicBezTo>
                        <a:pt x="0" y="3"/>
                        <a:pt x="1" y="3"/>
                        <a:pt x="1" y="2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6" y="0"/>
                        <a:pt x="6" y="0"/>
                        <a:pt x="7" y="0"/>
                      </a:cubicBezTo>
                      <a:cubicBezTo>
                        <a:pt x="8" y="1"/>
                        <a:pt x="8" y="1"/>
                        <a:pt x="8" y="2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7"/>
                        <a:pt x="8" y="7"/>
                        <a:pt x="7" y="8"/>
                      </a:cubicBezTo>
                      <a:cubicBezTo>
                        <a:pt x="7" y="8"/>
                        <a:pt x="6" y="8"/>
                        <a:pt x="6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7" name="Freeform 759">
                  <a:extLst>
                    <a:ext uri="{FF2B5EF4-FFF2-40B4-BE49-F238E27FC236}">
                      <a16:creationId xmlns:a16="http://schemas.microsoft.com/office/drawing/2014/main" id="{E98ED46C-560D-4520-B77C-D5D9C68EACA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56" y="2443"/>
                  <a:ext cx="125" cy="113"/>
                </a:xfrm>
                <a:custGeom>
                  <a:avLst/>
                  <a:gdLst>
                    <a:gd name="T0" fmla="*/ 28 w 53"/>
                    <a:gd name="T1" fmla="*/ 48 h 48"/>
                    <a:gd name="T2" fmla="*/ 27 w 53"/>
                    <a:gd name="T3" fmla="*/ 47 h 48"/>
                    <a:gd name="T4" fmla="*/ 1 w 53"/>
                    <a:gd name="T5" fmla="*/ 32 h 48"/>
                    <a:gd name="T6" fmla="*/ 0 w 53"/>
                    <a:gd name="T7" fmla="*/ 31 h 48"/>
                    <a:gd name="T8" fmla="*/ 1 w 53"/>
                    <a:gd name="T9" fmla="*/ 29 h 48"/>
                    <a:gd name="T10" fmla="*/ 50 w 53"/>
                    <a:gd name="T11" fmla="*/ 1 h 48"/>
                    <a:gd name="T12" fmla="*/ 52 w 53"/>
                    <a:gd name="T13" fmla="*/ 1 h 48"/>
                    <a:gd name="T14" fmla="*/ 53 w 53"/>
                    <a:gd name="T15" fmla="*/ 2 h 48"/>
                    <a:gd name="T16" fmla="*/ 53 w 53"/>
                    <a:gd name="T17" fmla="*/ 33 h 48"/>
                    <a:gd name="T18" fmla="*/ 52 w 53"/>
                    <a:gd name="T19" fmla="*/ 34 h 48"/>
                    <a:gd name="T20" fmla="*/ 29 w 53"/>
                    <a:gd name="T21" fmla="*/ 47 h 48"/>
                    <a:gd name="T22" fmla="*/ 28 w 53"/>
                    <a:gd name="T23" fmla="*/ 48 h 48"/>
                    <a:gd name="T24" fmla="*/ 6 w 53"/>
                    <a:gd name="T25" fmla="*/ 31 h 48"/>
                    <a:gd name="T26" fmla="*/ 28 w 53"/>
                    <a:gd name="T27" fmla="*/ 43 h 48"/>
                    <a:gd name="T28" fmla="*/ 49 w 53"/>
                    <a:gd name="T29" fmla="*/ 31 h 48"/>
                    <a:gd name="T30" fmla="*/ 49 w 53"/>
                    <a:gd name="T31" fmla="*/ 6 h 48"/>
                    <a:gd name="T32" fmla="*/ 6 w 53"/>
                    <a:gd name="T33" fmla="*/ 31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3" h="48">
                      <a:moveTo>
                        <a:pt x="28" y="48"/>
                      </a:moveTo>
                      <a:cubicBezTo>
                        <a:pt x="28" y="48"/>
                        <a:pt x="28" y="48"/>
                        <a:pt x="27" y="47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1" y="32"/>
                        <a:pt x="0" y="31"/>
                        <a:pt x="0" y="31"/>
                      </a:cubicBezTo>
                      <a:cubicBezTo>
                        <a:pt x="0" y="30"/>
                        <a:pt x="1" y="29"/>
                        <a:pt x="1" y="29"/>
                      </a:cubicBez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51" y="0"/>
                        <a:pt x="51" y="0"/>
                        <a:pt x="52" y="1"/>
                      </a:cubicBezTo>
                      <a:cubicBezTo>
                        <a:pt x="53" y="1"/>
                        <a:pt x="53" y="2"/>
                        <a:pt x="53" y="2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3" y="33"/>
                        <a:pt x="53" y="34"/>
                        <a:pt x="52" y="34"/>
                      </a:cubicBezTo>
                      <a:cubicBezTo>
                        <a:pt x="29" y="47"/>
                        <a:pt x="29" y="47"/>
                        <a:pt x="29" y="47"/>
                      </a:cubicBezTo>
                      <a:cubicBezTo>
                        <a:pt x="29" y="48"/>
                        <a:pt x="29" y="48"/>
                        <a:pt x="28" y="48"/>
                      </a:cubicBezTo>
                      <a:close/>
                      <a:moveTo>
                        <a:pt x="6" y="31"/>
                      </a:moveTo>
                      <a:cubicBezTo>
                        <a:pt x="28" y="43"/>
                        <a:pt x="28" y="43"/>
                        <a:pt x="28" y="43"/>
                      </a:cubicBezTo>
                      <a:cubicBezTo>
                        <a:pt x="49" y="31"/>
                        <a:pt x="49" y="31"/>
                        <a:pt x="49" y="31"/>
                      </a:cubicBezTo>
                      <a:cubicBezTo>
                        <a:pt x="49" y="6"/>
                        <a:pt x="49" y="6"/>
                        <a:pt x="49" y="6"/>
                      </a:cubicBezTo>
                      <a:lnTo>
                        <a:pt x="6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8" name="Freeform 760">
                  <a:extLst>
                    <a:ext uri="{FF2B5EF4-FFF2-40B4-BE49-F238E27FC236}">
                      <a16:creationId xmlns:a16="http://schemas.microsoft.com/office/drawing/2014/main" id="{B7109A38-BC7B-4CBB-AF9B-98649FA1FB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0" y="1202"/>
                  <a:ext cx="26" cy="29"/>
                </a:xfrm>
                <a:custGeom>
                  <a:avLst/>
                  <a:gdLst>
                    <a:gd name="T0" fmla="*/ 9 w 11"/>
                    <a:gd name="T1" fmla="*/ 12 h 12"/>
                    <a:gd name="T2" fmla="*/ 8 w 11"/>
                    <a:gd name="T3" fmla="*/ 12 h 12"/>
                    <a:gd name="T4" fmla="*/ 1 w 11"/>
                    <a:gd name="T5" fmla="*/ 8 h 12"/>
                    <a:gd name="T6" fmla="*/ 0 w 11"/>
                    <a:gd name="T7" fmla="*/ 6 h 12"/>
                    <a:gd name="T8" fmla="*/ 1 w 11"/>
                    <a:gd name="T9" fmla="*/ 4 h 12"/>
                    <a:gd name="T10" fmla="*/ 8 w 11"/>
                    <a:gd name="T11" fmla="*/ 0 h 12"/>
                    <a:gd name="T12" fmla="*/ 10 w 11"/>
                    <a:gd name="T13" fmla="*/ 0 h 12"/>
                    <a:gd name="T14" fmla="*/ 11 w 11"/>
                    <a:gd name="T15" fmla="*/ 2 h 12"/>
                    <a:gd name="T16" fmla="*/ 11 w 11"/>
                    <a:gd name="T17" fmla="*/ 10 h 12"/>
                    <a:gd name="T18" fmla="*/ 10 w 11"/>
                    <a:gd name="T19" fmla="*/ 12 h 12"/>
                    <a:gd name="T20" fmla="*/ 9 w 11"/>
                    <a:gd name="T21" fmla="*/ 12 h 12"/>
                    <a:gd name="T22" fmla="*/ 6 w 11"/>
                    <a:gd name="T23" fmla="*/ 6 h 12"/>
                    <a:gd name="T24" fmla="*/ 7 w 11"/>
                    <a:gd name="T25" fmla="*/ 7 h 12"/>
                    <a:gd name="T26" fmla="*/ 7 w 11"/>
                    <a:gd name="T27" fmla="*/ 6 h 12"/>
                    <a:gd name="T28" fmla="*/ 6 w 11"/>
                    <a:gd name="T29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9" y="12"/>
                      </a:moveTo>
                      <a:cubicBezTo>
                        <a:pt x="9" y="12"/>
                        <a:pt x="8" y="12"/>
                        <a:pt x="8" y="12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1" y="7"/>
                        <a:pt x="0" y="7"/>
                        <a:pt x="0" y="6"/>
                      </a:cubicBezTo>
                      <a:cubicBezTo>
                        <a:pt x="0" y="5"/>
                        <a:pt x="1" y="5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9" y="0"/>
                        <a:pt x="10" y="0"/>
                        <a:pt x="10" y="0"/>
                      </a:cubicBezTo>
                      <a:cubicBezTo>
                        <a:pt x="11" y="1"/>
                        <a:pt x="11" y="1"/>
                        <a:pt x="11" y="2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11" y="11"/>
                        <a:pt x="11" y="11"/>
                        <a:pt x="10" y="12"/>
                      </a:cubicBezTo>
                      <a:cubicBezTo>
                        <a:pt x="10" y="12"/>
                        <a:pt x="10" y="12"/>
                        <a:pt x="9" y="12"/>
                      </a:cubicBezTo>
                      <a:close/>
                      <a:moveTo>
                        <a:pt x="6" y="6"/>
                      </a:move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9" name="Freeform 761">
                  <a:extLst>
                    <a:ext uri="{FF2B5EF4-FFF2-40B4-BE49-F238E27FC236}">
                      <a16:creationId xmlns:a16="http://schemas.microsoft.com/office/drawing/2014/main" id="{320E004A-5B8A-4A05-ABA7-BAE3EEF6A1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84" y="1084"/>
                  <a:ext cx="142" cy="88"/>
                </a:xfrm>
                <a:custGeom>
                  <a:avLst/>
                  <a:gdLst>
                    <a:gd name="T0" fmla="*/ 58 w 60"/>
                    <a:gd name="T1" fmla="*/ 37 h 37"/>
                    <a:gd name="T2" fmla="*/ 57 w 60"/>
                    <a:gd name="T3" fmla="*/ 37 h 37"/>
                    <a:gd name="T4" fmla="*/ 1 w 60"/>
                    <a:gd name="T5" fmla="*/ 5 h 37"/>
                    <a:gd name="T6" fmla="*/ 0 w 60"/>
                    <a:gd name="T7" fmla="*/ 3 h 37"/>
                    <a:gd name="T8" fmla="*/ 1 w 60"/>
                    <a:gd name="T9" fmla="*/ 1 h 37"/>
                    <a:gd name="T10" fmla="*/ 3 w 60"/>
                    <a:gd name="T11" fmla="*/ 1 h 37"/>
                    <a:gd name="T12" fmla="*/ 5 w 60"/>
                    <a:gd name="T13" fmla="*/ 1 h 37"/>
                    <a:gd name="T14" fmla="*/ 59 w 60"/>
                    <a:gd name="T15" fmla="*/ 32 h 37"/>
                    <a:gd name="T16" fmla="*/ 60 w 60"/>
                    <a:gd name="T17" fmla="*/ 34 h 37"/>
                    <a:gd name="T18" fmla="*/ 60 w 60"/>
                    <a:gd name="T19" fmla="*/ 35 h 37"/>
                    <a:gd name="T20" fmla="*/ 59 w 60"/>
                    <a:gd name="T21" fmla="*/ 37 h 37"/>
                    <a:gd name="T22" fmla="*/ 58 w 60"/>
                    <a:gd name="T23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37">
                      <a:moveTo>
                        <a:pt x="58" y="37"/>
                      </a:moveTo>
                      <a:cubicBezTo>
                        <a:pt x="58" y="37"/>
                        <a:pt x="57" y="37"/>
                        <a:pt x="57" y="3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4" y="0"/>
                        <a:pt x="5" y="1"/>
                      </a:cubicBezTo>
                      <a:cubicBezTo>
                        <a:pt x="59" y="32"/>
                        <a:pt x="59" y="32"/>
                        <a:pt x="59" y="32"/>
                      </a:cubicBezTo>
                      <a:cubicBezTo>
                        <a:pt x="60" y="32"/>
                        <a:pt x="60" y="33"/>
                        <a:pt x="60" y="34"/>
                      </a:cubicBezTo>
                      <a:cubicBezTo>
                        <a:pt x="60" y="35"/>
                        <a:pt x="60" y="35"/>
                        <a:pt x="60" y="35"/>
                      </a:cubicBezTo>
                      <a:cubicBezTo>
                        <a:pt x="60" y="36"/>
                        <a:pt x="60" y="37"/>
                        <a:pt x="59" y="37"/>
                      </a:cubicBezTo>
                      <a:cubicBezTo>
                        <a:pt x="59" y="37"/>
                        <a:pt x="59" y="37"/>
                        <a:pt x="58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0" name="Freeform 762">
                  <a:extLst>
                    <a:ext uri="{FF2B5EF4-FFF2-40B4-BE49-F238E27FC236}">
                      <a16:creationId xmlns:a16="http://schemas.microsoft.com/office/drawing/2014/main" id="{BA6DB637-8983-4141-B52D-F5724E710B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91" y="1011"/>
                  <a:ext cx="135" cy="154"/>
                </a:xfrm>
                <a:custGeom>
                  <a:avLst/>
                  <a:gdLst>
                    <a:gd name="T0" fmla="*/ 55 w 57"/>
                    <a:gd name="T1" fmla="*/ 65 h 65"/>
                    <a:gd name="T2" fmla="*/ 54 w 57"/>
                    <a:gd name="T3" fmla="*/ 65 h 65"/>
                    <a:gd name="T4" fmla="*/ 1 w 57"/>
                    <a:gd name="T5" fmla="*/ 34 h 65"/>
                    <a:gd name="T6" fmla="*/ 0 w 57"/>
                    <a:gd name="T7" fmla="*/ 32 h 65"/>
                    <a:gd name="T8" fmla="*/ 1 w 57"/>
                    <a:gd name="T9" fmla="*/ 31 h 65"/>
                    <a:gd name="T10" fmla="*/ 54 w 57"/>
                    <a:gd name="T11" fmla="*/ 0 h 65"/>
                    <a:gd name="T12" fmla="*/ 56 w 57"/>
                    <a:gd name="T13" fmla="*/ 0 h 65"/>
                    <a:gd name="T14" fmla="*/ 57 w 57"/>
                    <a:gd name="T15" fmla="*/ 2 h 65"/>
                    <a:gd name="T16" fmla="*/ 57 w 57"/>
                    <a:gd name="T17" fmla="*/ 63 h 65"/>
                    <a:gd name="T18" fmla="*/ 56 w 57"/>
                    <a:gd name="T19" fmla="*/ 65 h 65"/>
                    <a:gd name="T20" fmla="*/ 55 w 57"/>
                    <a:gd name="T21" fmla="*/ 65 h 65"/>
                    <a:gd name="T22" fmla="*/ 6 w 57"/>
                    <a:gd name="T23" fmla="*/ 32 h 65"/>
                    <a:gd name="T24" fmla="*/ 53 w 57"/>
                    <a:gd name="T25" fmla="*/ 59 h 65"/>
                    <a:gd name="T26" fmla="*/ 53 w 57"/>
                    <a:gd name="T27" fmla="*/ 5 h 65"/>
                    <a:gd name="T28" fmla="*/ 6 w 57"/>
                    <a:gd name="T29" fmla="*/ 32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" h="65">
                      <a:moveTo>
                        <a:pt x="55" y="65"/>
                      </a:moveTo>
                      <a:cubicBezTo>
                        <a:pt x="55" y="65"/>
                        <a:pt x="54" y="65"/>
                        <a:pt x="54" y="65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4"/>
                        <a:pt x="0" y="33"/>
                        <a:pt x="0" y="32"/>
                      </a:cubicBezTo>
                      <a:cubicBezTo>
                        <a:pt x="0" y="32"/>
                        <a:pt x="1" y="31"/>
                        <a:pt x="1" y="31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55" y="0"/>
                        <a:pt x="56" y="0"/>
                        <a:pt x="56" y="0"/>
                      </a:cubicBezTo>
                      <a:cubicBezTo>
                        <a:pt x="57" y="0"/>
                        <a:pt x="57" y="1"/>
                        <a:pt x="57" y="2"/>
                      </a:cubicBezTo>
                      <a:cubicBezTo>
                        <a:pt x="57" y="63"/>
                        <a:pt x="57" y="63"/>
                        <a:pt x="57" y="63"/>
                      </a:cubicBezTo>
                      <a:cubicBezTo>
                        <a:pt x="57" y="64"/>
                        <a:pt x="57" y="64"/>
                        <a:pt x="56" y="65"/>
                      </a:cubicBezTo>
                      <a:cubicBezTo>
                        <a:pt x="56" y="65"/>
                        <a:pt x="56" y="65"/>
                        <a:pt x="55" y="65"/>
                      </a:cubicBezTo>
                      <a:close/>
                      <a:moveTo>
                        <a:pt x="6" y="32"/>
                      </a:moveTo>
                      <a:cubicBezTo>
                        <a:pt x="53" y="59"/>
                        <a:pt x="53" y="59"/>
                        <a:pt x="53" y="59"/>
                      </a:cubicBezTo>
                      <a:cubicBezTo>
                        <a:pt x="53" y="5"/>
                        <a:pt x="53" y="5"/>
                        <a:pt x="53" y="5"/>
                      </a:cubicBezTo>
                      <a:lnTo>
                        <a:pt x="6" y="3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1" name="Freeform 763">
                  <a:extLst>
                    <a:ext uri="{FF2B5EF4-FFF2-40B4-BE49-F238E27FC236}">
                      <a16:creationId xmlns:a16="http://schemas.microsoft.com/office/drawing/2014/main" id="{CB55AA83-E51B-4874-9ED7-E2EAB9CF51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1569"/>
                  <a:ext cx="137" cy="106"/>
                </a:xfrm>
                <a:custGeom>
                  <a:avLst/>
                  <a:gdLst>
                    <a:gd name="T0" fmla="*/ 41 w 58"/>
                    <a:gd name="T1" fmla="*/ 45 h 45"/>
                    <a:gd name="T2" fmla="*/ 40 w 58"/>
                    <a:gd name="T3" fmla="*/ 44 h 45"/>
                    <a:gd name="T4" fmla="*/ 1 w 58"/>
                    <a:gd name="T5" fmla="*/ 22 h 45"/>
                    <a:gd name="T6" fmla="*/ 0 w 58"/>
                    <a:gd name="T7" fmla="*/ 20 h 45"/>
                    <a:gd name="T8" fmla="*/ 0 w 58"/>
                    <a:gd name="T9" fmla="*/ 2 h 45"/>
                    <a:gd name="T10" fmla="*/ 1 w 58"/>
                    <a:gd name="T11" fmla="*/ 1 h 45"/>
                    <a:gd name="T12" fmla="*/ 3 w 58"/>
                    <a:gd name="T13" fmla="*/ 1 h 45"/>
                    <a:gd name="T14" fmla="*/ 57 w 58"/>
                    <a:gd name="T15" fmla="*/ 32 h 45"/>
                    <a:gd name="T16" fmla="*/ 58 w 58"/>
                    <a:gd name="T17" fmla="*/ 34 h 45"/>
                    <a:gd name="T18" fmla="*/ 57 w 58"/>
                    <a:gd name="T19" fmla="*/ 35 h 45"/>
                    <a:gd name="T20" fmla="*/ 42 w 58"/>
                    <a:gd name="T21" fmla="*/ 44 h 45"/>
                    <a:gd name="T22" fmla="*/ 41 w 58"/>
                    <a:gd name="T23" fmla="*/ 45 h 45"/>
                    <a:gd name="T24" fmla="*/ 4 w 58"/>
                    <a:gd name="T25" fmla="*/ 19 h 45"/>
                    <a:gd name="T26" fmla="*/ 41 w 58"/>
                    <a:gd name="T27" fmla="*/ 40 h 45"/>
                    <a:gd name="T28" fmla="*/ 52 w 58"/>
                    <a:gd name="T29" fmla="*/ 34 h 45"/>
                    <a:gd name="T30" fmla="*/ 4 w 58"/>
                    <a:gd name="T31" fmla="*/ 6 h 45"/>
                    <a:gd name="T32" fmla="*/ 4 w 58"/>
                    <a:gd name="T33" fmla="*/ 19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8" h="45">
                      <a:moveTo>
                        <a:pt x="41" y="45"/>
                      </a:moveTo>
                      <a:cubicBezTo>
                        <a:pt x="40" y="45"/>
                        <a:pt x="40" y="45"/>
                        <a:pt x="40" y="44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1" y="22"/>
                        <a:pt x="0" y="21"/>
                        <a:pt x="0" y="2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57" y="32"/>
                        <a:pt x="57" y="32"/>
                        <a:pt x="57" y="32"/>
                      </a:cubicBezTo>
                      <a:cubicBezTo>
                        <a:pt x="58" y="32"/>
                        <a:pt x="58" y="33"/>
                        <a:pt x="58" y="34"/>
                      </a:cubicBezTo>
                      <a:cubicBezTo>
                        <a:pt x="58" y="34"/>
                        <a:pt x="58" y="35"/>
                        <a:pt x="57" y="35"/>
                      </a:cubicBez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lose/>
                      <a:moveTo>
                        <a:pt x="4" y="19"/>
                      </a:moveTo>
                      <a:cubicBezTo>
                        <a:pt x="41" y="40"/>
                        <a:pt x="41" y="40"/>
                        <a:pt x="41" y="40"/>
                      </a:cubicBezTo>
                      <a:cubicBezTo>
                        <a:pt x="52" y="34"/>
                        <a:pt x="52" y="34"/>
                        <a:pt x="52" y="34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2" name="Freeform 764">
                  <a:extLst>
                    <a:ext uri="{FF2B5EF4-FFF2-40B4-BE49-F238E27FC236}">
                      <a16:creationId xmlns:a16="http://schemas.microsoft.com/office/drawing/2014/main" id="{5EEA0B57-A6DE-430E-B9D0-9413BF5BCF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5" y="1571"/>
                  <a:ext cx="354" cy="232"/>
                </a:xfrm>
                <a:custGeom>
                  <a:avLst/>
                  <a:gdLst>
                    <a:gd name="T0" fmla="*/ 57 w 150"/>
                    <a:gd name="T1" fmla="*/ 98 h 98"/>
                    <a:gd name="T2" fmla="*/ 56 w 150"/>
                    <a:gd name="T3" fmla="*/ 97 h 98"/>
                    <a:gd name="T4" fmla="*/ 1 w 150"/>
                    <a:gd name="T5" fmla="*/ 66 h 98"/>
                    <a:gd name="T6" fmla="*/ 0 w 150"/>
                    <a:gd name="T7" fmla="*/ 64 h 98"/>
                    <a:gd name="T8" fmla="*/ 1 w 150"/>
                    <a:gd name="T9" fmla="*/ 62 h 98"/>
                    <a:gd name="T10" fmla="*/ 109 w 150"/>
                    <a:gd name="T11" fmla="*/ 1 h 98"/>
                    <a:gd name="T12" fmla="*/ 111 w 150"/>
                    <a:gd name="T13" fmla="*/ 1 h 98"/>
                    <a:gd name="T14" fmla="*/ 112 w 150"/>
                    <a:gd name="T15" fmla="*/ 2 h 98"/>
                    <a:gd name="T16" fmla="*/ 112 w 150"/>
                    <a:gd name="T17" fmla="*/ 19 h 98"/>
                    <a:gd name="T18" fmla="*/ 149 w 150"/>
                    <a:gd name="T19" fmla="*/ 41 h 98"/>
                    <a:gd name="T20" fmla="*/ 150 w 150"/>
                    <a:gd name="T21" fmla="*/ 43 h 98"/>
                    <a:gd name="T22" fmla="*/ 149 w 150"/>
                    <a:gd name="T23" fmla="*/ 44 h 98"/>
                    <a:gd name="T24" fmla="*/ 58 w 150"/>
                    <a:gd name="T25" fmla="*/ 97 h 98"/>
                    <a:gd name="T26" fmla="*/ 57 w 150"/>
                    <a:gd name="T27" fmla="*/ 98 h 98"/>
                    <a:gd name="T28" fmla="*/ 6 w 150"/>
                    <a:gd name="T29" fmla="*/ 64 h 98"/>
                    <a:gd name="T30" fmla="*/ 57 w 150"/>
                    <a:gd name="T31" fmla="*/ 93 h 98"/>
                    <a:gd name="T32" fmla="*/ 144 w 150"/>
                    <a:gd name="T33" fmla="*/ 43 h 98"/>
                    <a:gd name="T34" fmla="*/ 109 w 150"/>
                    <a:gd name="T35" fmla="*/ 22 h 98"/>
                    <a:gd name="T36" fmla="*/ 108 w 150"/>
                    <a:gd name="T37" fmla="*/ 20 h 98"/>
                    <a:gd name="T38" fmla="*/ 108 w 150"/>
                    <a:gd name="T39" fmla="*/ 6 h 98"/>
                    <a:gd name="T40" fmla="*/ 6 w 150"/>
                    <a:gd name="T41" fmla="*/ 6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0" h="98">
                      <a:moveTo>
                        <a:pt x="57" y="98"/>
                      </a:moveTo>
                      <a:cubicBezTo>
                        <a:pt x="56" y="98"/>
                        <a:pt x="56" y="97"/>
                        <a:pt x="56" y="97"/>
                      </a:cubicBezTo>
                      <a:cubicBezTo>
                        <a:pt x="1" y="66"/>
                        <a:pt x="1" y="66"/>
                        <a:pt x="1" y="66"/>
                      </a:cubicBezTo>
                      <a:cubicBezTo>
                        <a:pt x="1" y="66"/>
                        <a:pt x="0" y="65"/>
                        <a:pt x="0" y="64"/>
                      </a:cubicBezTo>
                      <a:cubicBezTo>
                        <a:pt x="0" y="63"/>
                        <a:pt x="1" y="63"/>
                        <a:pt x="1" y="62"/>
                      </a:cubicBezTo>
                      <a:cubicBezTo>
                        <a:pt x="109" y="1"/>
                        <a:pt x="109" y="1"/>
                        <a:pt x="109" y="1"/>
                      </a:cubicBezTo>
                      <a:cubicBezTo>
                        <a:pt x="109" y="0"/>
                        <a:pt x="110" y="0"/>
                        <a:pt x="111" y="1"/>
                      </a:cubicBezTo>
                      <a:cubicBezTo>
                        <a:pt x="111" y="1"/>
                        <a:pt x="112" y="2"/>
                        <a:pt x="112" y="2"/>
                      </a:cubicBezTo>
                      <a:cubicBezTo>
                        <a:pt x="112" y="19"/>
                        <a:pt x="112" y="19"/>
                        <a:pt x="112" y="19"/>
                      </a:cubicBezTo>
                      <a:cubicBezTo>
                        <a:pt x="149" y="41"/>
                        <a:pt x="149" y="41"/>
                        <a:pt x="149" y="41"/>
                      </a:cubicBezTo>
                      <a:cubicBezTo>
                        <a:pt x="150" y="41"/>
                        <a:pt x="150" y="42"/>
                        <a:pt x="150" y="43"/>
                      </a:cubicBezTo>
                      <a:cubicBezTo>
                        <a:pt x="150" y="43"/>
                        <a:pt x="150" y="44"/>
                        <a:pt x="149" y="44"/>
                      </a:cubicBezTo>
                      <a:cubicBezTo>
                        <a:pt x="58" y="97"/>
                        <a:pt x="58" y="97"/>
                        <a:pt x="58" y="97"/>
                      </a:cubicBezTo>
                      <a:cubicBezTo>
                        <a:pt x="57" y="97"/>
                        <a:pt x="57" y="98"/>
                        <a:pt x="57" y="98"/>
                      </a:cubicBezTo>
                      <a:close/>
                      <a:moveTo>
                        <a:pt x="6" y="64"/>
                      </a:moveTo>
                      <a:cubicBezTo>
                        <a:pt x="57" y="93"/>
                        <a:pt x="57" y="93"/>
                        <a:pt x="57" y="93"/>
                      </a:cubicBezTo>
                      <a:cubicBezTo>
                        <a:pt x="144" y="43"/>
                        <a:pt x="144" y="43"/>
                        <a:pt x="144" y="43"/>
                      </a:cubicBezTo>
                      <a:cubicBezTo>
                        <a:pt x="109" y="22"/>
                        <a:pt x="109" y="22"/>
                        <a:pt x="109" y="22"/>
                      </a:cubicBezTo>
                      <a:cubicBezTo>
                        <a:pt x="108" y="22"/>
                        <a:pt x="108" y="21"/>
                        <a:pt x="108" y="20"/>
                      </a:cubicBezTo>
                      <a:cubicBezTo>
                        <a:pt x="108" y="6"/>
                        <a:pt x="108" y="6"/>
                        <a:pt x="108" y="6"/>
                      </a:cubicBezTo>
                      <a:lnTo>
                        <a:pt x="6" y="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3" name="Freeform 765">
                  <a:extLst>
                    <a:ext uri="{FF2B5EF4-FFF2-40B4-BE49-F238E27FC236}">
                      <a16:creationId xmlns:a16="http://schemas.microsoft.com/office/drawing/2014/main" id="{3CDE7B2A-583E-4727-B4DA-DE96A954C2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1285"/>
                  <a:ext cx="24" cy="288"/>
                </a:xfrm>
                <a:custGeom>
                  <a:avLst/>
                  <a:gdLst>
                    <a:gd name="T0" fmla="*/ 2 w 10"/>
                    <a:gd name="T1" fmla="*/ 122 h 122"/>
                    <a:gd name="T2" fmla="*/ 1 w 10"/>
                    <a:gd name="T3" fmla="*/ 122 h 122"/>
                    <a:gd name="T4" fmla="*/ 0 w 10"/>
                    <a:gd name="T5" fmla="*/ 120 h 122"/>
                    <a:gd name="T6" fmla="*/ 0 w 10"/>
                    <a:gd name="T7" fmla="*/ 2 h 122"/>
                    <a:gd name="T8" fmla="*/ 1 w 10"/>
                    <a:gd name="T9" fmla="*/ 1 h 122"/>
                    <a:gd name="T10" fmla="*/ 3 w 10"/>
                    <a:gd name="T11" fmla="*/ 1 h 122"/>
                    <a:gd name="T12" fmla="*/ 9 w 10"/>
                    <a:gd name="T13" fmla="*/ 4 h 122"/>
                    <a:gd name="T14" fmla="*/ 10 w 10"/>
                    <a:gd name="T15" fmla="*/ 6 h 122"/>
                    <a:gd name="T16" fmla="*/ 10 w 10"/>
                    <a:gd name="T17" fmla="*/ 117 h 122"/>
                    <a:gd name="T18" fmla="*/ 9 w 10"/>
                    <a:gd name="T19" fmla="*/ 119 h 122"/>
                    <a:gd name="T20" fmla="*/ 3 w 10"/>
                    <a:gd name="T21" fmla="*/ 122 h 122"/>
                    <a:gd name="T22" fmla="*/ 2 w 10"/>
                    <a:gd name="T23" fmla="*/ 122 h 122"/>
                    <a:gd name="T24" fmla="*/ 4 w 10"/>
                    <a:gd name="T25" fmla="*/ 6 h 122"/>
                    <a:gd name="T26" fmla="*/ 4 w 10"/>
                    <a:gd name="T27" fmla="*/ 117 h 122"/>
                    <a:gd name="T28" fmla="*/ 6 w 10"/>
                    <a:gd name="T29" fmla="*/ 116 h 122"/>
                    <a:gd name="T30" fmla="*/ 6 w 10"/>
                    <a:gd name="T31" fmla="*/ 7 h 122"/>
                    <a:gd name="T32" fmla="*/ 4 w 10"/>
                    <a:gd name="T33" fmla="*/ 6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" h="122">
                      <a:moveTo>
                        <a:pt x="2" y="122"/>
                      </a:moveTo>
                      <a:cubicBezTo>
                        <a:pt x="2" y="122"/>
                        <a:pt x="1" y="122"/>
                        <a:pt x="1" y="122"/>
                      </a:cubicBezTo>
                      <a:cubicBezTo>
                        <a:pt x="1" y="122"/>
                        <a:pt x="0" y="121"/>
                        <a:pt x="0" y="12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5"/>
                        <a:pt x="10" y="6"/>
                      </a:cubicBezTo>
                      <a:cubicBezTo>
                        <a:pt x="10" y="117"/>
                        <a:pt x="10" y="117"/>
                        <a:pt x="10" y="117"/>
                      </a:cubicBezTo>
                      <a:cubicBezTo>
                        <a:pt x="10" y="118"/>
                        <a:pt x="10" y="118"/>
                        <a:pt x="9" y="119"/>
                      </a:cubicBezTo>
                      <a:cubicBezTo>
                        <a:pt x="3" y="122"/>
                        <a:pt x="3" y="122"/>
                        <a:pt x="3" y="122"/>
                      </a:cubicBezTo>
                      <a:cubicBezTo>
                        <a:pt x="3" y="122"/>
                        <a:pt x="3" y="122"/>
                        <a:pt x="2" y="122"/>
                      </a:cubicBezTo>
                      <a:close/>
                      <a:moveTo>
                        <a:pt x="4" y="6"/>
                      </a:moveTo>
                      <a:cubicBezTo>
                        <a:pt x="4" y="117"/>
                        <a:pt x="4" y="117"/>
                        <a:pt x="4" y="117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4" name="Freeform 766">
                  <a:extLst>
                    <a:ext uri="{FF2B5EF4-FFF2-40B4-BE49-F238E27FC236}">
                      <a16:creationId xmlns:a16="http://schemas.microsoft.com/office/drawing/2014/main" id="{36801A06-1EA4-4C38-963F-FA647062AF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640"/>
                  <a:ext cx="119" cy="137"/>
                </a:xfrm>
                <a:custGeom>
                  <a:avLst/>
                  <a:gdLst>
                    <a:gd name="T0" fmla="*/ 2 w 50"/>
                    <a:gd name="T1" fmla="*/ 58 h 58"/>
                    <a:gd name="T2" fmla="*/ 1 w 50"/>
                    <a:gd name="T3" fmla="*/ 58 h 58"/>
                    <a:gd name="T4" fmla="*/ 0 w 50"/>
                    <a:gd name="T5" fmla="*/ 56 h 58"/>
                    <a:gd name="T6" fmla="*/ 0 w 50"/>
                    <a:gd name="T7" fmla="*/ 2 h 58"/>
                    <a:gd name="T8" fmla="*/ 1 w 50"/>
                    <a:gd name="T9" fmla="*/ 0 h 58"/>
                    <a:gd name="T10" fmla="*/ 3 w 50"/>
                    <a:gd name="T11" fmla="*/ 0 h 58"/>
                    <a:gd name="T12" fmla="*/ 49 w 50"/>
                    <a:gd name="T13" fmla="*/ 28 h 58"/>
                    <a:gd name="T14" fmla="*/ 50 w 50"/>
                    <a:gd name="T15" fmla="*/ 29 h 58"/>
                    <a:gd name="T16" fmla="*/ 49 w 50"/>
                    <a:gd name="T17" fmla="*/ 31 h 58"/>
                    <a:gd name="T18" fmla="*/ 3 w 50"/>
                    <a:gd name="T19" fmla="*/ 58 h 58"/>
                    <a:gd name="T20" fmla="*/ 2 w 50"/>
                    <a:gd name="T21" fmla="*/ 58 h 58"/>
                    <a:gd name="T22" fmla="*/ 4 w 50"/>
                    <a:gd name="T23" fmla="*/ 6 h 58"/>
                    <a:gd name="T24" fmla="*/ 4 w 50"/>
                    <a:gd name="T25" fmla="*/ 53 h 58"/>
                    <a:gd name="T26" fmla="*/ 44 w 50"/>
                    <a:gd name="T27" fmla="*/ 29 h 58"/>
                    <a:gd name="T28" fmla="*/ 4 w 50"/>
                    <a:gd name="T29" fmla="*/ 6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0" h="58">
                      <a:moveTo>
                        <a:pt x="2" y="58"/>
                      </a:move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58"/>
                        <a:pt x="0" y="57"/>
                        <a:pt x="0" y="5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50" y="28"/>
                        <a:pt x="50" y="29"/>
                        <a:pt x="50" y="29"/>
                      </a:cubicBezTo>
                      <a:cubicBezTo>
                        <a:pt x="50" y="30"/>
                        <a:pt x="50" y="31"/>
                        <a:pt x="49" y="31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2" y="58"/>
                        <a:pt x="2" y="58"/>
                        <a:pt x="2" y="58"/>
                      </a:cubicBezTo>
                      <a:close/>
                      <a:moveTo>
                        <a:pt x="4" y="6"/>
                      </a:move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7" name="Group 968">
                <a:extLst>
                  <a:ext uri="{FF2B5EF4-FFF2-40B4-BE49-F238E27FC236}">
                    <a16:creationId xmlns:a16="http://schemas.microsoft.com/office/drawing/2014/main" id="{B5DCEA03-3F7A-4336-9A00-FCFE9D15CA2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480" y="120"/>
                <a:ext cx="3963" cy="4319"/>
                <a:chOff x="8480" y="120"/>
                <a:chExt cx="3963" cy="4319"/>
              </a:xfrm>
              <a:grpFill/>
            </p:grpSpPr>
            <p:sp>
              <p:nvSpPr>
                <p:cNvPr id="255" name="Freeform 768">
                  <a:extLst>
                    <a:ext uri="{FF2B5EF4-FFF2-40B4-BE49-F238E27FC236}">
                      <a16:creationId xmlns:a16="http://schemas.microsoft.com/office/drawing/2014/main" id="{EB4F109F-76E6-4D0F-A9A8-BCEDB7886E2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1720"/>
                  <a:ext cx="137" cy="106"/>
                </a:xfrm>
                <a:custGeom>
                  <a:avLst/>
                  <a:gdLst>
                    <a:gd name="T0" fmla="*/ 39 w 58"/>
                    <a:gd name="T1" fmla="*/ 45 h 45"/>
                    <a:gd name="T2" fmla="*/ 38 w 58"/>
                    <a:gd name="T3" fmla="*/ 45 h 45"/>
                    <a:gd name="T4" fmla="*/ 1 w 58"/>
                    <a:gd name="T5" fmla="*/ 23 h 45"/>
                    <a:gd name="T6" fmla="*/ 0 w 58"/>
                    <a:gd name="T7" fmla="*/ 21 h 45"/>
                    <a:gd name="T8" fmla="*/ 0 w 58"/>
                    <a:gd name="T9" fmla="*/ 2 h 45"/>
                    <a:gd name="T10" fmla="*/ 1 w 58"/>
                    <a:gd name="T11" fmla="*/ 0 h 45"/>
                    <a:gd name="T12" fmla="*/ 3 w 58"/>
                    <a:gd name="T13" fmla="*/ 0 h 45"/>
                    <a:gd name="T14" fmla="*/ 57 w 58"/>
                    <a:gd name="T15" fmla="*/ 32 h 45"/>
                    <a:gd name="T16" fmla="*/ 58 w 58"/>
                    <a:gd name="T17" fmla="*/ 34 h 45"/>
                    <a:gd name="T18" fmla="*/ 57 w 58"/>
                    <a:gd name="T19" fmla="*/ 35 h 45"/>
                    <a:gd name="T20" fmla="*/ 40 w 58"/>
                    <a:gd name="T21" fmla="*/ 45 h 45"/>
                    <a:gd name="T22" fmla="*/ 39 w 58"/>
                    <a:gd name="T23" fmla="*/ 45 h 45"/>
                    <a:gd name="T24" fmla="*/ 4 w 58"/>
                    <a:gd name="T25" fmla="*/ 20 h 45"/>
                    <a:gd name="T26" fmla="*/ 39 w 58"/>
                    <a:gd name="T27" fmla="*/ 41 h 45"/>
                    <a:gd name="T28" fmla="*/ 52 w 58"/>
                    <a:gd name="T29" fmla="*/ 34 h 45"/>
                    <a:gd name="T30" fmla="*/ 4 w 58"/>
                    <a:gd name="T31" fmla="*/ 6 h 45"/>
                    <a:gd name="T32" fmla="*/ 4 w 58"/>
                    <a:gd name="T33" fmla="*/ 2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8" h="45">
                      <a:moveTo>
                        <a:pt x="39" y="45"/>
                      </a:moveTo>
                      <a:cubicBezTo>
                        <a:pt x="39" y="45"/>
                        <a:pt x="39" y="45"/>
                        <a:pt x="38" y="45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0" y="23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57" y="32"/>
                        <a:pt x="57" y="32"/>
                        <a:pt x="57" y="32"/>
                      </a:cubicBezTo>
                      <a:cubicBezTo>
                        <a:pt x="58" y="32"/>
                        <a:pt x="58" y="33"/>
                        <a:pt x="58" y="34"/>
                      </a:cubicBezTo>
                      <a:cubicBezTo>
                        <a:pt x="58" y="34"/>
                        <a:pt x="58" y="35"/>
                        <a:pt x="57" y="35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ubicBezTo>
                        <a:pt x="40" y="45"/>
                        <a:pt x="40" y="45"/>
                        <a:pt x="39" y="45"/>
                      </a:cubicBezTo>
                      <a:close/>
                      <a:moveTo>
                        <a:pt x="4" y="20"/>
                      </a:moveTo>
                      <a:cubicBezTo>
                        <a:pt x="39" y="41"/>
                        <a:pt x="39" y="41"/>
                        <a:pt x="39" y="41"/>
                      </a:cubicBezTo>
                      <a:cubicBezTo>
                        <a:pt x="52" y="34"/>
                        <a:pt x="52" y="34"/>
                        <a:pt x="52" y="34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6" name="Freeform 769">
                  <a:extLst>
                    <a:ext uri="{FF2B5EF4-FFF2-40B4-BE49-F238E27FC236}">
                      <a16:creationId xmlns:a16="http://schemas.microsoft.com/office/drawing/2014/main" id="{78AE795A-50BF-4118-A6C4-5603739020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344"/>
                  <a:ext cx="106" cy="96"/>
                </a:xfrm>
                <a:custGeom>
                  <a:avLst/>
                  <a:gdLst>
                    <a:gd name="T0" fmla="*/ 2 w 45"/>
                    <a:gd name="T1" fmla="*/ 41 h 41"/>
                    <a:gd name="T2" fmla="*/ 1 w 45"/>
                    <a:gd name="T3" fmla="*/ 41 h 41"/>
                    <a:gd name="T4" fmla="*/ 0 w 45"/>
                    <a:gd name="T5" fmla="*/ 39 h 41"/>
                    <a:gd name="T6" fmla="*/ 0 w 45"/>
                    <a:gd name="T7" fmla="*/ 2 h 41"/>
                    <a:gd name="T8" fmla="*/ 1 w 45"/>
                    <a:gd name="T9" fmla="*/ 1 h 41"/>
                    <a:gd name="T10" fmla="*/ 3 w 45"/>
                    <a:gd name="T11" fmla="*/ 1 h 41"/>
                    <a:gd name="T12" fmla="*/ 20 w 45"/>
                    <a:gd name="T13" fmla="*/ 10 h 41"/>
                    <a:gd name="T14" fmla="*/ 28 w 45"/>
                    <a:gd name="T15" fmla="*/ 5 h 41"/>
                    <a:gd name="T16" fmla="*/ 30 w 45"/>
                    <a:gd name="T17" fmla="*/ 5 h 41"/>
                    <a:gd name="T18" fmla="*/ 31 w 45"/>
                    <a:gd name="T19" fmla="*/ 7 h 41"/>
                    <a:gd name="T20" fmla="*/ 31 w 45"/>
                    <a:gd name="T21" fmla="*/ 7 h 41"/>
                    <a:gd name="T22" fmla="*/ 44 w 45"/>
                    <a:gd name="T23" fmla="*/ 14 h 41"/>
                    <a:gd name="T24" fmla="*/ 45 w 45"/>
                    <a:gd name="T25" fmla="*/ 16 h 41"/>
                    <a:gd name="T26" fmla="*/ 44 w 45"/>
                    <a:gd name="T27" fmla="*/ 18 h 41"/>
                    <a:gd name="T28" fmla="*/ 3 w 45"/>
                    <a:gd name="T29" fmla="*/ 41 h 41"/>
                    <a:gd name="T30" fmla="*/ 2 w 45"/>
                    <a:gd name="T31" fmla="*/ 41 h 41"/>
                    <a:gd name="T32" fmla="*/ 4 w 45"/>
                    <a:gd name="T33" fmla="*/ 6 h 41"/>
                    <a:gd name="T34" fmla="*/ 4 w 45"/>
                    <a:gd name="T35" fmla="*/ 36 h 41"/>
                    <a:gd name="T36" fmla="*/ 39 w 45"/>
                    <a:gd name="T37" fmla="*/ 16 h 41"/>
                    <a:gd name="T38" fmla="*/ 28 w 45"/>
                    <a:gd name="T39" fmla="*/ 10 h 41"/>
                    <a:gd name="T40" fmla="*/ 28 w 45"/>
                    <a:gd name="T41" fmla="*/ 10 h 41"/>
                    <a:gd name="T42" fmla="*/ 21 w 45"/>
                    <a:gd name="T43" fmla="*/ 14 h 41"/>
                    <a:gd name="T44" fmla="*/ 19 w 45"/>
                    <a:gd name="T45" fmla="*/ 14 h 41"/>
                    <a:gd name="T46" fmla="*/ 4 w 45"/>
                    <a:gd name="T47" fmla="*/ 6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5" h="41">
                      <a:moveTo>
                        <a:pt x="2" y="41"/>
                      </a:moveTo>
                      <a:cubicBezTo>
                        <a:pt x="2" y="41"/>
                        <a:pt x="2" y="41"/>
                        <a:pt x="1" y="41"/>
                      </a:cubicBezTo>
                      <a:cubicBezTo>
                        <a:pt x="1" y="41"/>
                        <a:pt x="0" y="40"/>
                        <a:pt x="0" y="3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9" y="5"/>
                        <a:pt x="30" y="5"/>
                        <a:pt x="30" y="5"/>
                      </a:cubicBezTo>
                      <a:cubicBezTo>
                        <a:pt x="31" y="6"/>
                        <a:pt x="31" y="6"/>
                        <a:pt x="31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44" y="14"/>
                        <a:pt x="44" y="14"/>
                        <a:pt x="44" y="14"/>
                      </a:cubicBezTo>
                      <a:cubicBezTo>
                        <a:pt x="44" y="15"/>
                        <a:pt x="45" y="15"/>
                        <a:pt x="45" y="16"/>
                      </a:cubicBezTo>
                      <a:cubicBezTo>
                        <a:pt x="45" y="17"/>
                        <a:pt x="44" y="17"/>
                        <a:pt x="44" y="18"/>
                      </a:cubicBezTo>
                      <a:cubicBezTo>
                        <a:pt x="3" y="41"/>
                        <a:pt x="3" y="41"/>
                        <a:pt x="3" y="41"/>
                      </a:cubicBezTo>
                      <a:cubicBezTo>
                        <a:pt x="3" y="41"/>
                        <a:pt x="3" y="41"/>
                        <a:pt x="2" y="41"/>
                      </a:cubicBezTo>
                      <a:close/>
                      <a:moveTo>
                        <a:pt x="4" y="6"/>
                      </a:move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28" y="10"/>
                        <a:pt x="28" y="10"/>
                        <a:pt x="28" y="10"/>
                      </a:cubicBezTo>
                      <a:cubicBezTo>
                        <a:pt x="28" y="10"/>
                        <a:pt x="28" y="10"/>
                        <a:pt x="28" y="10"/>
                      </a:cubicBezTo>
                      <a:cubicBezTo>
                        <a:pt x="21" y="14"/>
                        <a:pt x="21" y="14"/>
                        <a:pt x="21" y="14"/>
                      </a:cubicBezTo>
                      <a:cubicBezTo>
                        <a:pt x="20" y="15"/>
                        <a:pt x="19" y="15"/>
                        <a:pt x="19" y="14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7" name="Freeform 770">
                  <a:extLst>
                    <a:ext uri="{FF2B5EF4-FFF2-40B4-BE49-F238E27FC236}">
                      <a16:creationId xmlns:a16="http://schemas.microsoft.com/office/drawing/2014/main" id="{688F4BFB-3721-414B-8B7F-E06F30DEF2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824"/>
                  <a:ext cx="38" cy="189"/>
                </a:xfrm>
                <a:custGeom>
                  <a:avLst/>
                  <a:gdLst>
                    <a:gd name="T0" fmla="*/ 2 w 16"/>
                    <a:gd name="T1" fmla="*/ 80 h 80"/>
                    <a:gd name="T2" fmla="*/ 1 w 16"/>
                    <a:gd name="T3" fmla="*/ 80 h 80"/>
                    <a:gd name="T4" fmla="*/ 0 w 16"/>
                    <a:gd name="T5" fmla="*/ 78 h 80"/>
                    <a:gd name="T6" fmla="*/ 0 w 16"/>
                    <a:gd name="T7" fmla="*/ 9 h 80"/>
                    <a:gd name="T8" fmla="*/ 1 w 16"/>
                    <a:gd name="T9" fmla="*/ 8 h 80"/>
                    <a:gd name="T10" fmla="*/ 13 w 16"/>
                    <a:gd name="T11" fmla="*/ 1 h 80"/>
                    <a:gd name="T12" fmla="*/ 15 w 16"/>
                    <a:gd name="T13" fmla="*/ 1 h 80"/>
                    <a:gd name="T14" fmla="*/ 16 w 16"/>
                    <a:gd name="T15" fmla="*/ 2 h 80"/>
                    <a:gd name="T16" fmla="*/ 16 w 16"/>
                    <a:gd name="T17" fmla="*/ 71 h 80"/>
                    <a:gd name="T18" fmla="*/ 15 w 16"/>
                    <a:gd name="T19" fmla="*/ 73 h 80"/>
                    <a:gd name="T20" fmla="*/ 3 w 16"/>
                    <a:gd name="T21" fmla="*/ 80 h 80"/>
                    <a:gd name="T22" fmla="*/ 2 w 16"/>
                    <a:gd name="T23" fmla="*/ 80 h 80"/>
                    <a:gd name="T24" fmla="*/ 4 w 16"/>
                    <a:gd name="T25" fmla="*/ 11 h 80"/>
                    <a:gd name="T26" fmla="*/ 4 w 16"/>
                    <a:gd name="T27" fmla="*/ 75 h 80"/>
                    <a:gd name="T28" fmla="*/ 12 w 16"/>
                    <a:gd name="T29" fmla="*/ 70 h 80"/>
                    <a:gd name="T30" fmla="*/ 12 w 16"/>
                    <a:gd name="T31" fmla="*/ 6 h 80"/>
                    <a:gd name="T32" fmla="*/ 4 w 16"/>
                    <a:gd name="T33" fmla="*/ 1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80">
                      <a:moveTo>
                        <a:pt x="2" y="80"/>
                      </a:moveTo>
                      <a:cubicBezTo>
                        <a:pt x="1" y="80"/>
                        <a:pt x="1" y="80"/>
                        <a:pt x="1" y="80"/>
                      </a:cubicBezTo>
                      <a:cubicBezTo>
                        <a:pt x="0" y="79"/>
                        <a:pt x="0" y="79"/>
                        <a:pt x="0" y="7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8"/>
                        <a:pt x="1" y="8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15" y="1"/>
                        <a:pt x="16" y="2"/>
                        <a:pt x="16" y="2"/>
                      </a:cubicBezTo>
                      <a:cubicBezTo>
                        <a:pt x="16" y="71"/>
                        <a:pt x="16" y="71"/>
                        <a:pt x="16" y="71"/>
                      </a:cubicBezTo>
                      <a:cubicBezTo>
                        <a:pt x="16" y="72"/>
                        <a:pt x="15" y="72"/>
                        <a:pt x="15" y="73"/>
                      </a:cubicBezTo>
                      <a:cubicBezTo>
                        <a:pt x="3" y="80"/>
                        <a:pt x="3" y="80"/>
                        <a:pt x="3" y="80"/>
                      </a:cubicBezTo>
                      <a:cubicBezTo>
                        <a:pt x="2" y="80"/>
                        <a:pt x="2" y="80"/>
                        <a:pt x="2" y="80"/>
                      </a:cubicBezTo>
                      <a:close/>
                      <a:moveTo>
                        <a:pt x="4" y="11"/>
                      </a:moveTo>
                      <a:cubicBezTo>
                        <a:pt x="4" y="75"/>
                        <a:pt x="4" y="75"/>
                        <a:pt x="4" y="75"/>
                      </a:cubicBezTo>
                      <a:cubicBezTo>
                        <a:pt x="12" y="70"/>
                        <a:pt x="12" y="70"/>
                        <a:pt x="12" y="70"/>
                      </a:cubicBezTo>
                      <a:cubicBezTo>
                        <a:pt x="12" y="6"/>
                        <a:pt x="12" y="6"/>
                        <a:pt x="12" y="6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8" name="Freeform 771">
                  <a:extLst>
                    <a:ext uri="{FF2B5EF4-FFF2-40B4-BE49-F238E27FC236}">
                      <a16:creationId xmlns:a16="http://schemas.microsoft.com/office/drawing/2014/main" id="{D7E901D2-7E19-42C3-B08A-0A3A1C7D71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80" y="2157"/>
                  <a:ext cx="97" cy="54"/>
                </a:xfrm>
                <a:custGeom>
                  <a:avLst/>
                  <a:gdLst>
                    <a:gd name="T0" fmla="*/ 32 w 41"/>
                    <a:gd name="T1" fmla="*/ 23 h 23"/>
                    <a:gd name="T2" fmla="*/ 31 w 41"/>
                    <a:gd name="T3" fmla="*/ 23 h 23"/>
                    <a:gd name="T4" fmla="*/ 24 w 41"/>
                    <a:gd name="T5" fmla="*/ 19 h 23"/>
                    <a:gd name="T6" fmla="*/ 24 w 41"/>
                    <a:gd name="T7" fmla="*/ 20 h 23"/>
                    <a:gd name="T8" fmla="*/ 23 w 41"/>
                    <a:gd name="T9" fmla="*/ 22 h 23"/>
                    <a:gd name="T10" fmla="*/ 21 w 41"/>
                    <a:gd name="T11" fmla="*/ 22 h 23"/>
                    <a:gd name="T12" fmla="*/ 1 w 41"/>
                    <a:gd name="T13" fmla="*/ 10 h 23"/>
                    <a:gd name="T14" fmla="*/ 0 w 41"/>
                    <a:gd name="T15" fmla="*/ 8 h 23"/>
                    <a:gd name="T16" fmla="*/ 1 w 41"/>
                    <a:gd name="T17" fmla="*/ 7 h 23"/>
                    <a:gd name="T18" fmla="*/ 12 w 41"/>
                    <a:gd name="T19" fmla="*/ 0 h 23"/>
                    <a:gd name="T20" fmla="*/ 14 w 41"/>
                    <a:gd name="T21" fmla="*/ 0 h 23"/>
                    <a:gd name="T22" fmla="*/ 40 w 41"/>
                    <a:gd name="T23" fmla="*/ 15 h 23"/>
                    <a:gd name="T24" fmla="*/ 41 w 41"/>
                    <a:gd name="T25" fmla="*/ 17 h 23"/>
                    <a:gd name="T26" fmla="*/ 40 w 41"/>
                    <a:gd name="T27" fmla="*/ 19 h 23"/>
                    <a:gd name="T28" fmla="*/ 33 w 41"/>
                    <a:gd name="T29" fmla="*/ 23 h 23"/>
                    <a:gd name="T30" fmla="*/ 32 w 41"/>
                    <a:gd name="T31" fmla="*/ 23 h 23"/>
                    <a:gd name="T32" fmla="*/ 22 w 41"/>
                    <a:gd name="T33" fmla="*/ 13 h 23"/>
                    <a:gd name="T34" fmla="*/ 23 w 41"/>
                    <a:gd name="T35" fmla="*/ 14 h 23"/>
                    <a:gd name="T36" fmla="*/ 32 w 41"/>
                    <a:gd name="T37" fmla="*/ 19 h 23"/>
                    <a:gd name="T38" fmla="*/ 35 w 41"/>
                    <a:gd name="T39" fmla="*/ 17 h 23"/>
                    <a:gd name="T40" fmla="*/ 13 w 41"/>
                    <a:gd name="T41" fmla="*/ 4 h 23"/>
                    <a:gd name="T42" fmla="*/ 6 w 41"/>
                    <a:gd name="T43" fmla="*/ 8 h 23"/>
                    <a:gd name="T44" fmla="*/ 20 w 41"/>
                    <a:gd name="T45" fmla="*/ 17 h 23"/>
                    <a:gd name="T46" fmla="*/ 20 w 41"/>
                    <a:gd name="T47" fmla="*/ 15 h 23"/>
                    <a:gd name="T48" fmla="*/ 21 w 41"/>
                    <a:gd name="T49" fmla="*/ 14 h 23"/>
                    <a:gd name="T50" fmla="*/ 22 w 41"/>
                    <a:gd name="T51" fmla="*/ 1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1" h="23">
                      <a:moveTo>
                        <a:pt x="32" y="23"/>
                      </a:moveTo>
                      <a:cubicBezTo>
                        <a:pt x="32" y="23"/>
                        <a:pt x="31" y="23"/>
                        <a:pt x="31" y="23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3" y="22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40" y="15"/>
                        <a:pt x="40" y="15"/>
                        <a:pt x="40" y="15"/>
                      </a:cubicBezTo>
                      <a:cubicBezTo>
                        <a:pt x="40" y="16"/>
                        <a:pt x="41" y="16"/>
                        <a:pt x="41" y="17"/>
                      </a:cubicBezTo>
                      <a:cubicBezTo>
                        <a:pt x="41" y="18"/>
                        <a:pt x="40" y="19"/>
                        <a:pt x="40" y="19"/>
                      </a:cubicBezTo>
                      <a:cubicBezTo>
                        <a:pt x="33" y="23"/>
                        <a:pt x="33" y="23"/>
                        <a:pt x="33" y="23"/>
                      </a:cubicBezTo>
                      <a:cubicBezTo>
                        <a:pt x="33" y="23"/>
                        <a:pt x="32" y="23"/>
                        <a:pt x="32" y="23"/>
                      </a:cubicBezTo>
                      <a:close/>
                      <a:moveTo>
                        <a:pt x="22" y="13"/>
                      </a:moveTo>
                      <a:cubicBezTo>
                        <a:pt x="23" y="13"/>
                        <a:pt x="23" y="14"/>
                        <a:pt x="23" y="14"/>
                      </a:cubicBezTo>
                      <a:cubicBezTo>
                        <a:pt x="32" y="19"/>
                        <a:pt x="32" y="19"/>
                        <a:pt x="32" y="19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20" y="17"/>
                        <a:pt x="20" y="17"/>
                        <a:pt x="20" y="17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20" y="15"/>
                        <a:pt x="21" y="14"/>
                        <a:pt x="21" y="14"/>
                      </a:cubicBezTo>
                      <a:cubicBezTo>
                        <a:pt x="22" y="14"/>
                        <a:pt x="22" y="13"/>
                        <a:pt x="22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9" name="Freeform 772">
                  <a:extLst>
                    <a:ext uri="{FF2B5EF4-FFF2-40B4-BE49-F238E27FC236}">
                      <a16:creationId xmlns:a16="http://schemas.microsoft.com/office/drawing/2014/main" id="{DC814FD4-4046-4042-9BFF-C5159A7ADE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221"/>
                  <a:ext cx="73" cy="153"/>
                </a:xfrm>
                <a:custGeom>
                  <a:avLst/>
                  <a:gdLst>
                    <a:gd name="T0" fmla="*/ 20 w 31"/>
                    <a:gd name="T1" fmla="*/ 65 h 65"/>
                    <a:gd name="T2" fmla="*/ 19 w 31"/>
                    <a:gd name="T3" fmla="*/ 64 h 65"/>
                    <a:gd name="T4" fmla="*/ 1 w 31"/>
                    <a:gd name="T5" fmla="*/ 54 h 65"/>
                    <a:gd name="T6" fmla="*/ 0 w 31"/>
                    <a:gd name="T7" fmla="*/ 53 h 65"/>
                    <a:gd name="T8" fmla="*/ 0 w 31"/>
                    <a:gd name="T9" fmla="*/ 17 h 65"/>
                    <a:gd name="T10" fmla="*/ 1 w 31"/>
                    <a:gd name="T11" fmla="*/ 15 h 65"/>
                    <a:gd name="T12" fmla="*/ 28 w 31"/>
                    <a:gd name="T13" fmla="*/ 0 h 65"/>
                    <a:gd name="T14" fmla="*/ 30 w 31"/>
                    <a:gd name="T15" fmla="*/ 0 h 65"/>
                    <a:gd name="T16" fmla="*/ 31 w 31"/>
                    <a:gd name="T17" fmla="*/ 2 h 65"/>
                    <a:gd name="T18" fmla="*/ 31 w 31"/>
                    <a:gd name="T19" fmla="*/ 57 h 65"/>
                    <a:gd name="T20" fmla="*/ 30 w 31"/>
                    <a:gd name="T21" fmla="*/ 59 h 65"/>
                    <a:gd name="T22" fmla="*/ 21 w 31"/>
                    <a:gd name="T23" fmla="*/ 64 h 65"/>
                    <a:gd name="T24" fmla="*/ 20 w 31"/>
                    <a:gd name="T25" fmla="*/ 65 h 65"/>
                    <a:gd name="T26" fmla="*/ 4 w 31"/>
                    <a:gd name="T27" fmla="*/ 51 h 65"/>
                    <a:gd name="T28" fmla="*/ 20 w 31"/>
                    <a:gd name="T29" fmla="*/ 60 h 65"/>
                    <a:gd name="T30" fmla="*/ 27 w 31"/>
                    <a:gd name="T31" fmla="*/ 56 h 65"/>
                    <a:gd name="T32" fmla="*/ 27 w 31"/>
                    <a:gd name="T33" fmla="*/ 5 h 65"/>
                    <a:gd name="T34" fmla="*/ 4 w 31"/>
                    <a:gd name="T35" fmla="*/ 18 h 65"/>
                    <a:gd name="T36" fmla="*/ 4 w 31"/>
                    <a:gd name="T37" fmla="*/ 5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" h="65">
                      <a:moveTo>
                        <a:pt x="20" y="65"/>
                      </a:moveTo>
                      <a:cubicBezTo>
                        <a:pt x="19" y="65"/>
                        <a:pt x="19" y="65"/>
                        <a:pt x="19" y="64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4"/>
                        <a:pt x="0" y="53"/>
                        <a:pt x="0" y="5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1" y="16"/>
                        <a:pt x="1" y="15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0"/>
                        <a:pt x="30" y="0"/>
                        <a:pt x="30" y="0"/>
                      </a:cubicBezTo>
                      <a:cubicBezTo>
                        <a:pt x="31" y="0"/>
                        <a:pt x="31" y="1"/>
                        <a:pt x="31" y="2"/>
                      </a:cubicBezTo>
                      <a:cubicBezTo>
                        <a:pt x="31" y="57"/>
                        <a:pt x="31" y="57"/>
                        <a:pt x="31" y="57"/>
                      </a:cubicBezTo>
                      <a:cubicBezTo>
                        <a:pt x="31" y="58"/>
                        <a:pt x="31" y="58"/>
                        <a:pt x="30" y="59"/>
                      </a:cubicBezTo>
                      <a:cubicBezTo>
                        <a:pt x="21" y="64"/>
                        <a:pt x="21" y="64"/>
                        <a:pt x="21" y="64"/>
                      </a:cubicBezTo>
                      <a:cubicBezTo>
                        <a:pt x="20" y="65"/>
                        <a:pt x="20" y="65"/>
                        <a:pt x="20" y="65"/>
                      </a:cubicBezTo>
                      <a:close/>
                      <a:moveTo>
                        <a:pt x="4" y="51"/>
                      </a:moveTo>
                      <a:cubicBezTo>
                        <a:pt x="20" y="60"/>
                        <a:pt x="20" y="60"/>
                        <a:pt x="20" y="60"/>
                      </a:cubicBezTo>
                      <a:cubicBezTo>
                        <a:pt x="27" y="56"/>
                        <a:pt x="27" y="56"/>
                        <a:pt x="27" y="56"/>
                      </a:cubicBezTo>
                      <a:cubicBezTo>
                        <a:pt x="27" y="5"/>
                        <a:pt x="27" y="5"/>
                        <a:pt x="27" y="5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0" name="Freeform 773">
                  <a:extLst>
                    <a:ext uri="{FF2B5EF4-FFF2-40B4-BE49-F238E27FC236}">
                      <a16:creationId xmlns:a16="http://schemas.microsoft.com/office/drawing/2014/main" id="{DAAF27BF-E330-4A8A-9E07-72778CA3FF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992"/>
                  <a:ext cx="38" cy="192"/>
                </a:xfrm>
                <a:custGeom>
                  <a:avLst/>
                  <a:gdLst>
                    <a:gd name="T0" fmla="*/ 14 w 16"/>
                    <a:gd name="T1" fmla="*/ 81 h 81"/>
                    <a:gd name="T2" fmla="*/ 13 w 16"/>
                    <a:gd name="T3" fmla="*/ 81 h 81"/>
                    <a:gd name="T4" fmla="*/ 1 w 16"/>
                    <a:gd name="T5" fmla="*/ 74 h 81"/>
                    <a:gd name="T6" fmla="*/ 0 w 16"/>
                    <a:gd name="T7" fmla="*/ 72 h 81"/>
                    <a:gd name="T8" fmla="*/ 0 w 16"/>
                    <a:gd name="T9" fmla="*/ 9 h 81"/>
                    <a:gd name="T10" fmla="*/ 1 w 16"/>
                    <a:gd name="T11" fmla="*/ 7 h 81"/>
                    <a:gd name="T12" fmla="*/ 13 w 16"/>
                    <a:gd name="T13" fmla="*/ 0 h 81"/>
                    <a:gd name="T14" fmla="*/ 15 w 16"/>
                    <a:gd name="T15" fmla="*/ 0 h 81"/>
                    <a:gd name="T16" fmla="*/ 16 w 16"/>
                    <a:gd name="T17" fmla="*/ 2 h 81"/>
                    <a:gd name="T18" fmla="*/ 16 w 16"/>
                    <a:gd name="T19" fmla="*/ 79 h 81"/>
                    <a:gd name="T20" fmla="*/ 15 w 16"/>
                    <a:gd name="T21" fmla="*/ 81 h 81"/>
                    <a:gd name="T22" fmla="*/ 14 w 16"/>
                    <a:gd name="T23" fmla="*/ 81 h 81"/>
                    <a:gd name="T24" fmla="*/ 4 w 16"/>
                    <a:gd name="T25" fmla="*/ 71 h 81"/>
                    <a:gd name="T26" fmla="*/ 12 w 16"/>
                    <a:gd name="T27" fmla="*/ 75 h 81"/>
                    <a:gd name="T28" fmla="*/ 12 w 16"/>
                    <a:gd name="T29" fmla="*/ 5 h 81"/>
                    <a:gd name="T30" fmla="*/ 4 w 16"/>
                    <a:gd name="T31" fmla="*/ 10 h 81"/>
                    <a:gd name="T32" fmla="*/ 4 w 16"/>
                    <a:gd name="T33" fmla="*/ 7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81">
                      <a:moveTo>
                        <a:pt x="14" y="81"/>
                      </a:moveTo>
                      <a:cubicBezTo>
                        <a:pt x="14" y="81"/>
                        <a:pt x="13" y="81"/>
                        <a:pt x="13" y="81"/>
                      </a:cubicBezTo>
                      <a:cubicBezTo>
                        <a:pt x="1" y="74"/>
                        <a:pt x="1" y="74"/>
                        <a:pt x="1" y="74"/>
                      </a:cubicBezTo>
                      <a:cubicBezTo>
                        <a:pt x="0" y="73"/>
                        <a:pt x="0" y="73"/>
                        <a:pt x="0" y="72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8"/>
                        <a:pt x="0" y="8"/>
                        <a:pt x="1" y="7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4" y="0"/>
                        <a:pt x="15" y="0"/>
                      </a:cubicBezTo>
                      <a:cubicBezTo>
                        <a:pt x="15" y="1"/>
                        <a:pt x="16" y="1"/>
                        <a:pt x="16" y="2"/>
                      </a:cubicBezTo>
                      <a:cubicBezTo>
                        <a:pt x="16" y="79"/>
                        <a:pt x="16" y="79"/>
                        <a:pt x="16" y="79"/>
                      </a:cubicBezTo>
                      <a:cubicBezTo>
                        <a:pt x="16" y="80"/>
                        <a:pt x="15" y="80"/>
                        <a:pt x="15" y="81"/>
                      </a:cubicBezTo>
                      <a:cubicBezTo>
                        <a:pt x="15" y="81"/>
                        <a:pt x="14" y="81"/>
                        <a:pt x="14" y="81"/>
                      </a:cubicBezTo>
                      <a:close/>
                      <a:moveTo>
                        <a:pt x="4" y="71"/>
                      </a:moveTo>
                      <a:cubicBezTo>
                        <a:pt x="12" y="75"/>
                        <a:pt x="12" y="75"/>
                        <a:pt x="12" y="75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1" name="Freeform 774">
                  <a:extLst>
                    <a:ext uri="{FF2B5EF4-FFF2-40B4-BE49-F238E27FC236}">
                      <a16:creationId xmlns:a16="http://schemas.microsoft.com/office/drawing/2014/main" id="{D853BB62-3CF6-4E0E-8A89-E8790914B52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44" y="2095"/>
                  <a:ext cx="139" cy="161"/>
                </a:xfrm>
                <a:custGeom>
                  <a:avLst/>
                  <a:gdLst>
                    <a:gd name="T0" fmla="*/ 57 w 59"/>
                    <a:gd name="T1" fmla="*/ 68 h 68"/>
                    <a:gd name="T2" fmla="*/ 56 w 59"/>
                    <a:gd name="T3" fmla="*/ 67 h 68"/>
                    <a:gd name="T4" fmla="*/ 19 w 59"/>
                    <a:gd name="T5" fmla="*/ 46 h 68"/>
                    <a:gd name="T6" fmla="*/ 18 w 59"/>
                    <a:gd name="T7" fmla="*/ 44 h 68"/>
                    <a:gd name="T8" fmla="*/ 18 w 59"/>
                    <a:gd name="T9" fmla="*/ 42 h 68"/>
                    <a:gd name="T10" fmla="*/ 16 w 59"/>
                    <a:gd name="T11" fmla="*/ 43 h 68"/>
                    <a:gd name="T12" fmla="*/ 14 w 59"/>
                    <a:gd name="T13" fmla="*/ 43 h 68"/>
                    <a:gd name="T14" fmla="*/ 1 w 59"/>
                    <a:gd name="T15" fmla="*/ 36 h 68"/>
                    <a:gd name="T16" fmla="*/ 0 w 59"/>
                    <a:gd name="T17" fmla="*/ 34 h 68"/>
                    <a:gd name="T18" fmla="*/ 1 w 59"/>
                    <a:gd name="T19" fmla="*/ 32 h 68"/>
                    <a:gd name="T20" fmla="*/ 56 w 59"/>
                    <a:gd name="T21" fmla="*/ 0 h 68"/>
                    <a:gd name="T22" fmla="*/ 58 w 59"/>
                    <a:gd name="T23" fmla="*/ 0 h 68"/>
                    <a:gd name="T24" fmla="*/ 59 w 59"/>
                    <a:gd name="T25" fmla="*/ 2 h 68"/>
                    <a:gd name="T26" fmla="*/ 59 w 59"/>
                    <a:gd name="T27" fmla="*/ 66 h 68"/>
                    <a:gd name="T28" fmla="*/ 58 w 59"/>
                    <a:gd name="T29" fmla="*/ 67 h 68"/>
                    <a:gd name="T30" fmla="*/ 57 w 59"/>
                    <a:gd name="T31" fmla="*/ 68 h 68"/>
                    <a:gd name="T32" fmla="*/ 22 w 59"/>
                    <a:gd name="T33" fmla="*/ 43 h 68"/>
                    <a:gd name="T34" fmla="*/ 55 w 59"/>
                    <a:gd name="T35" fmla="*/ 62 h 68"/>
                    <a:gd name="T36" fmla="*/ 55 w 59"/>
                    <a:gd name="T37" fmla="*/ 5 h 68"/>
                    <a:gd name="T38" fmla="*/ 6 w 59"/>
                    <a:gd name="T39" fmla="*/ 34 h 68"/>
                    <a:gd name="T40" fmla="*/ 15 w 59"/>
                    <a:gd name="T41" fmla="*/ 39 h 68"/>
                    <a:gd name="T42" fmla="*/ 19 w 59"/>
                    <a:gd name="T43" fmla="*/ 37 h 68"/>
                    <a:gd name="T44" fmla="*/ 21 w 59"/>
                    <a:gd name="T45" fmla="*/ 37 h 68"/>
                    <a:gd name="T46" fmla="*/ 22 w 59"/>
                    <a:gd name="T47" fmla="*/ 39 h 68"/>
                    <a:gd name="T48" fmla="*/ 22 w 59"/>
                    <a:gd name="T49" fmla="*/ 43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9" h="68">
                      <a:moveTo>
                        <a:pt x="57" y="68"/>
                      </a:moveTo>
                      <a:cubicBezTo>
                        <a:pt x="56" y="68"/>
                        <a:pt x="56" y="68"/>
                        <a:pt x="56" y="67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18" y="46"/>
                        <a:pt x="18" y="45"/>
                        <a:pt x="18" y="44"/>
                      </a:cubicBezTo>
                      <a:cubicBezTo>
                        <a:pt x="18" y="42"/>
                        <a:pt x="18" y="42"/>
                        <a:pt x="18" y="42"/>
                      </a:cubicBezTo>
                      <a:cubicBezTo>
                        <a:pt x="16" y="43"/>
                        <a:pt x="16" y="43"/>
                        <a:pt x="16" y="43"/>
                      </a:cubicBezTo>
                      <a:cubicBezTo>
                        <a:pt x="15" y="44"/>
                        <a:pt x="14" y="44"/>
                        <a:pt x="14" y="43"/>
                      </a:cubicBezTo>
                      <a:cubicBezTo>
                        <a:pt x="1" y="36"/>
                        <a:pt x="1" y="36"/>
                        <a:pt x="1" y="36"/>
                      </a:cubicBezTo>
                      <a:cubicBezTo>
                        <a:pt x="0" y="35"/>
                        <a:pt x="0" y="35"/>
                        <a:pt x="0" y="34"/>
                      </a:cubicBezTo>
                      <a:cubicBezTo>
                        <a:pt x="0" y="33"/>
                        <a:pt x="0" y="32"/>
                        <a:pt x="1" y="32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7" y="0"/>
                        <a:pt x="58" y="0"/>
                      </a:cubicBezTo>
                      <a:cubicBezTo>
                        <a:pt x="58" y="1"/>
                        <a:pt x="59" y="1"/>
                        <a:pt x="59" y="2"/>
                      </a:cubicBezTo>
                      <a:cubicBezTo>
                        <a:pt x="59" y="66"/>
                        <a:pt x="59" y="66"/>
                        <a:pt x="59" y="66"/>
                      </a:cubicBezTo>
                      <a:cubicBezTo>
                        <a:pt x="59" y="66"/>
                        <a:pt x="58" y="67"/>
                        <a:pt x="58" y="67"/>
                      </a:cubicBezTo>
                      <a:cubicBezTo>
                        <a:pt x="58" y="68"/>
                        <a:pt x="57" y="68"/>
                        <a:pt x="57" y="68"/>
                      </a:cubicBezTo>
                      <a:close/>
                      <a:moveTo>
                        <a:pt x="22" y="43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5"/>
                        <a:pt x="55" y="5"/>
                        <a:pt x="55" y="5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15" y="39"/>
                        <a:pt x="15" y="39"/>
                        <a:pt x="15" y="39"/>
                      </a:cubicBezTo>
                      <a:cubicBezTo>
                        <a:pt x="19" y="37"/>
                        <a:pt x="19" y="37"/>
                        <a:pt x="19" y="37"/>
                      </a:cubicBezTo>
                      <a:cubicBezTo>
                        <a:pt x="20" y="36"/>
                        <a:pt x="20" y="36"/>
                        <a:pt x="21" y="37"/>
                      </a:cubicBezTo>
                      <a:cubicBezTo>
                        <a:pt x="22" y="37"/>
                        <a:pt x="22" y="38"/>
                        <a:pt x="22" y="39"/>
                      </a:cubicBezTo>
                      <a:lnTo>
                        <a:pt x="22" y="4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2" name="Freeform 775">
                  <a:extLst>
                    <a:ext uri="{FF2B5EF4-FFF2-40B4-BE49-F238E27FC236}">
                      <a16:creationId xmlns:a16="http://schemas.microsoft.com/office/drawing/2014/main" id="{E5F6920D-0DE0-4FB0-9A32-70A6DA8499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2400"/>
                  <a:ext cx="104" cy="123"/>
                </a:xfrm>
                <a:custGeom>
                  <a:avLst/>
                  <a:gdLst>
                    <a:gd name="T0" fmla="*/ 2 w 44"/>
                    <a:gd name="T1" fmla="*/ 52 h 52"/>
                    <a:gd name="T2" fmla="*/ 1 w 44"/>
                    <a:gd name="T3" fmla="*/ 51 h 52"/>
                    <a:gd name="T4" fmla="*/ 0 w 44"/>
                    <a:gd name="T5" fmla="*/ 50 h 52"/>
                    <a:gd name="T6" fmla="*/ 0 w 44"/>
                    <a:gd name="T7" fmla="*/ 2 h 52"/>
                    <a:gd name="T8" fmla="*/ 1 w 44"/>
                    <a:gd name="T9" fmla="*/ 1 h 52"/>
                    <a:gd name="T10" fmla="*/ 3 w 44"/>
                    <a:gd name="T11" fmla="*/ 1 h 52"/>
                    <a:gd name="T12" fmla="*/ 43 w 44"/>
                    <a:gd name="T13" fmla="*/ 24 h 52"/>
                    <a:gd name="T14" fmla="*/ 44 w 44"/>
                    <a:gd name="T15" fmla="*/ 26 h 52"/>
                    <a:gd name="T16" fmla="*/ 43 w 44"/>
                    <a:gd name="T17" fmla="*/ 28 h 52"/>
                    <a:gd name="T18" fmla="*/ 3 w 44"/>
                    <a:gd name="T19" fmla="*/ 51 h 52"/>
                    <a:gd name="T20" fmla="*/ 2 w 44"/>
                    <a:gd name="T21" fmla="*/ 52 h 52"/>
                    <a:gd name="T22" fmla="*/ 4 w 44"/>
                    <a:gd name="T23" fmla="*/ 6 h 52"/>
                    <a:gd name="T24" fmla="*/ 4 w 44"/>
                    <a:gd name="T25" fmla="*/ 46 h 52"/>
                    <a:gd name="T26" fmla="*/ 38 w 44"/>
                    <a:gd name="T27" fmla="*/ 26 h 52"/>
                    <a:gd name="T28" fmla="*/ 4 w 44"/>
                    <a:gd name="T29" fmla="*/ 6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4" h="52">
                      <a:moveTo>
                        <a:pt x="2" y="52"/>
                      </a:moveTo>
                      <a:cubicBezTo>
                        <a:pt x="1" y="52"/>
                        <a:pt x="1" y="52"/>
                        <a:pt x="1" y="51"/>
                      </a:cubicBezTo>
                      <a:cubicBezTo>
                        <a:pt x="0" y="51"/>
                        <a:pt x="0" y="50"/>
                        <a:pt x="0" y="5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3" y="24"/>
                        <a:pt x="43" y="24"/>
                        <a:pt x="43" y="24"/>
                      </a:cubicBezTo>
                      <a:cubicBezTo>
                        <a:pt x="44" y="25"/>
                        <a:pt x="44" y="25"/>
                        <a:pt x="44" y="26"/>
                      </a:cubicBezTo>
                      <a:cubicBezTo>
                        <a:pt x="44" y="27"/>
                        <a:pt x="44" y="27"/>
                        <a:pt x="43" y="28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2" y="52"/>
                        <a:pt x="2" y="52"/>
                        <a:pt x="2" y="52"/>
                      </a:cubicBezTo>
                      <a:close/>
                      <a:moveTo>
                        <a:pt x="4" y="6"/>
                      </a:move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38" y="26"/>
                        <a:pt x="38" y="26"/>
                        <a:pt x="38" y="2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3" name="Freeform 776">
                  <a:extLst>
                    <a:ext uri="{FF2B5EF4-FFF2-40B4-BE49-F238E27FC236}">
                      <a16:creationId xmlns:a16="http://schemas.microsoft.com/office/drawing/2014/main" id="{47CDBBE7-AFDE-4586-BD5F-B031AFB6AEE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55" y="2393"/>
                  <a:ext cx="54" cy="50"/>
                </a:xfrm>
                <a:custGeom>
                  <a:avLst/>
                  <a:gdLst>
                    <a:gd name="T0" fmla="*/ 14 w 23"/>
                    <a:gd name="T1" fmla="*/ 21 h 21"/>
                    <a:gd name="T2" fmla="*/ 13 w 23"/>
                    <a:gd name="T3" fmla="*/ 20 h 21"/>
                    <a:gd name="T4" fmla="*/ 1 w 23"/>
                    <a:gd name="T5" fmla="*/ 14 h 21"/>
                    <a:gd name="T6" fmla="*/ 0 w 23"/>
                    <a:gd name="T7" fmla="*/ 12 h 21"/>
                    <a:gd name="T8" fmla="*/ 1 w 23"/>
                    <a:gd name="T9" fmla="*/ 10 h 21"/>
                    <a:gd name="T10" fmla="*/ 20 w 23"/>
                    <a:gd name="T11" fmla="*/ 0 h 21"/>
                    <a:gd name="T12" fmla="*/ 22 w 23"/>
                    <a:gd name="T13" fmla="*/ 0 h 21"/>
                    <a:gd name="T14" fmla="*/ 23 w 23"/>
                    <a:gd name="T15" fmla="*/ 2 h 21"/>
                    <a:gd name="T16" fmla="*/ 23 w 23"/>
                    <a:gd name="T17" fmla="*/ 15 h 21"/>
                    <a:gd name="T18" fmla="*/ 22 w 23"/>
                    <a:gd name="T19" fmla="*/ 16 h 21"/>
                    <a:gd name="T20" fmla="*/ 15 w 23"/>
                    <a:gd name="T21" fmla="*/ 20 h 21"/>
                    <a:gd name="T22" fmla="*/ 14 w 23"/>
                    <a:gd name="T23" fmla="*/ 21 h 21"/>
                    <a:gd name="T24" fmla="*/ 6 w 23"/>
                    <a:gd name="T25" fmla="*/ 12 h 21"/>
                    <a:gd name="T26" fmla="*/ 14 w 23"/>
                    <a:gd name="T27" fmla="*/ 16 h 21"/>
                    <a:gd name="T28" fmla="*/ 19 w 23"/>
                    <a:gd name="T29" fmla="*/ 13 h 21"/>
                    <a:gd name="T30" fmla="*/ 19 w 23"/>
                    <a:gd name="T31" fmla="*/ 5 h 21"/>
                    <a:gd name="T32" fmla="*/ 6 w 23"/>
                    <a:gd name="T33" fmla="*/ 12 h 21"/>
                    <a:gd name="T34" fmla="*/ 21 w 23"/>
                    <a:gd name="T35" fmla="*/ 15 h 21"/>
                    <a:gd name="T36" fmla="*/ 21 w 23"/>
                    <a:gd name="T37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" h="21">
                      <a:moveTo>
                        <a:pt x="14" y="21"/>
                      </a:moveTo>
                      <a:cubicBezTo>
                        <a:pt x="13" y="21"/>
                        <a:pt x="13" y="20"/>
                        <a:pt x="13" y="20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1" y="13"/>
                        <a:pt x="0" y="13"/>
                        <a:pt x="0" y="12"/>
                      </a:cubicBezTo>
                      <a:cubicBezTo>
                        <a:pt x="0" y="11"/>
                        <a:pt x="1" y="11"/>
                        <a:pt x="1" y="1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1" y="0"/>
                        <a:pt x="22" y="0"/>
                      </a:cubicBezTo>
                      <a:cubicBezTo>
                        <a:pt x="22" y="0"/>
                        <a:pt x="23" y="1"/>
                        <a:pt x="23" y="2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cubicBezTo>
                        <a:pt x="23" y="15"/>
                        <a:pt x="22" y="16"/>
                        <a:pt x="22" y="16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4" y="20"/>
                        <a:pt x="14" y="21"/>
                        <a:pt x="14" y="21"/>
                      </a:cubicBezTo>
                      <a:close/>
                      <a:moveTo>
                        <a:pt x="6" y="12"/>
                      </a:moveTo>
                      <a:cubicBezTo>
                        <a:pt x="14" y="16"/>
                        <a:pt x="14" y="16"/>
                        <a:pt x="14" y="16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5"/>
                        <a:pt x="19" y="5"/>
                        <a:pt x="19" y="5"/>
                      </a:cubicBezTo>
                      <a:lnTo>
                        <a:pt x="6" y="12"/>
                      </a:lnTo>
                      <a:close/>
                      <a:moveTo>
                        <a:pt x="21" y="15"/>
                      </a:moveTo>
                      <a:cubicBezTo>
                        <a:pt x="21" y="15"/>
                        <a:pt x="21" y="15"/>
                        <a:pt x="2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4" name="Freeform 777">
                  <a:extLst>
                    <a:ext uri="{FF2B5EF4-FFF2-40B4-BE49-F238E27FC236}">
                      <a16:creationId xmlns:a16="http://schemas.microsoft.com/office/drawing/2014/main" id="{383317E4-3A96-4DED-A92F-AC8EBD1058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2362"/>
                  <a:ext cx="241" cy="199"/>
                </a:xfrm>
                <a:custGeom>
                  <a:avLst/>
                  <a:gdLst>
                    <a:gd name="T0" fmla="*/ 2 w 102"/>
                    <a:gd name="T1" fmla="*/ 84 h 84"/>
                    <a:gd name="T2" fmla="*/ 1 w 102"/>
                    <a:gd name="T3" fmla="*/ 84 h 84"/>
                    <a:gd name="T4" fmla="*/ 0 w 102"/>
                    <a:gd name="T5" fmla="*/ 82 h 84"/>
                    <a:gd name="T6" fmla="*/ 0 w 102"/>
                    <a:gd name="T7" fmla="*/ 46 h 84"/>
                    <a:gd name="T8" fmla="*/ 1 w 102"/>
                    <a:gd name="T9" fmla="*/ 44 h 84"/>
                    <a:gd name="T10" fmla="*/ 5 w 102"/>
                    <a:gd name="T11" fmla="*/ 42 h 84"/>
                    <a:gd name="T12" fmla="*/ 1 w 102"/>
                    <a:gd name="T13" fmla="*/ 40 h 84"/>
                    <a:gd name="T14" fmla="*/ 0 w 102"/>
                    <a:gd name="T15" fmla="*/ 38 h 84"/>
                    <a:gd name="T16" fmla="*/ 0 w 102"/>
                    <a:gd name="T17" fmla="*/ 35 h 84"/>
                    <a:gd name="T18" fmla="*/ 1 w 102"/>
                    <a:gd name="T19" fmla="*/ 34 h 84"/>
                    <a:gd name="T20" fmla="*/ 59 w 102"/>
                    <a:gd name="T21" fmla="*/ 0 h 84"/>
                    <a:gd name="T22" fmla="*/ 61 w 102"/>
                    <a:gd name="T23" fmla="*/ 0 h 84"/>
                    <a:gd name="T24" fmla="*/ 101 w 102"/>
                    <a:gd name="T25" fmla="*/ 23 h 84"/>
                    <a:gd name="T26" fmla="*/ 102 w 102"/>
                    <a:gd name="T27" fmla="*/ 25 h 84"/>
                    <a:gd name="T28" fmla="*/ 101 w 102"/>
                    <a:gd name="T29" fmla="*/ 27 h 84"/>
                    <a:gd name="T30" fmla="*/ 3 w 102"/>
                    <a:gd name="T31" fmla="*/ 84 h 84"/>
                    <a:gd name="T32" fmla="*/ 2 w 102"/>
                    <a:gd name="T33" fmla="*/ 84 h 84"/>
                    <a:gd name="T34" fmla="*/ 4 w 102"/>
                    <a:gd name="T35" fmla="*/ 47 h 84"/>
                    <a:gd name="T36" fmla="*/ 4 w 102"/>
                    <a:gd name="T37" fmla="*/ 78 h 84"/>
                    <a:gd name="T38" fmla="*/ 96 w 102"/>
                    <a:gd name="T39" fmla="*/ 25 h 84"/>
                    <a:gd name="T40" fmla="*/ 60 w 102"/>
                    <a:gd name="T41" fmla="*/ 4 h 84"/>
                    <a:gd name="T42" fmla="*/ 4 w 102"/>
                    <a:gd name="T43" fmla="*/ 37 h 84"/>
                    <a:gd name="T44" fmla="*/ 4 w 102"/>
                    <a:gd name="T45" fmla="*/ 37 h 84"/>
                    <a:gd name="T46" fmla="*/ 10 w 102"/>
                    <a:gd name="T47" fmla="*/ 40 h 84"/>
                    <a:gd name="T48" fmla="*/ 11 w 102"/>
                    <a:gd name="T49" fmla="*/ 42 h 84"/>
                    <a:gd name="T50" fmla="*/ 10 w 102"/>
                    <a:gd name="T51" fmla="*/ 44 h 84"/>
                    <a:gd name="T52" fmla="*/ 4 w 102"/>
                    <a:gd name="T53" fmla="*/ 47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2" h="84">
                      <a:moveTo>
                        <a:pt x="2" y="84"/>
                      </a:moveTo>
                      <a:cubicBezTo>
                        <a:pt x="2" y="84"/>
                        <a:pt x="1" y="84"/>
                        <a:pt x="1" y="84"/>
                      </a:cubicBezTo>
                      <a:cubicBezTo>
                        <a:pt x="0" y="83"/>
                        <a:pt x="0" y="83"/>
                        <a:pt x="0" y="82"/>
                      </a:cubicBezTo>
                      <a:cubicBezTo>
                        <a:pt x="0" y="46"/>
                        <a:pt x="0" y="46"/>
                        <a:pt x="0" y="46"/>
                      </a:cubicBezTo>
                      <a:cubicBezTo>
                        <a:pt x="0" y="45"/>
                        <a:pt x="0" y="45"/>
                        <a:pt x="1" y="44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0" y="39"/>
                        <a:pt x="0" y="39"/>
                        <a:pt x="0" y="38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35"/>
                        <a:pt x="0" y="34"/>
                        <a:pt x="1" y="34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0" y="0"/>
                        <a:pt x="60" y="0"/>
                        <a:pt x="61" y="0"/>
                      </a:cubicBezTo>
                      <a:cubicBezTo>
                        <a:pt x="101" y="23"/>
                        <a:pt x="101" y="23"/>
                        <a:pt x="101" y="23"/>
                      </a:cubicBezTo>
                      <a:cubicBezTo>
                        <a:pt x="102" y="24"/>
                        <a:pt x="102" y="24"/>
                        <a:pt x="102" y="25"/>
                      </a:cubicBezTo>
                      <a:cubicBezTo>
                        <a:pt x="102" y="26"/>
                        <a:pt x="102" y="26"/>
                        <a:pt x="101" y="27"/>
                      </a:cubicBezTo>
                      <a:cubicBezTo>
                        <a:pt x="3" y="84"/>
                        <a:pt x="3" y="84"/>
                        <a:pt x="3" y="84"/>
                      </a:cubicBezTo>
                      <a:cubicBezTo>
                        <a:pt x="3" y="84"/>
                        <a:pt x="2" y="84"/>
                        <a:pt x="2" y="84"/>
                      </a:cubicBezTo>
                      <a:close/>
                      <a:moveTo>
                        <a:pt x="4" y="47"/>
                      </a:move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96" y="25"/>
                        <a:pt x="96" y="25"/>
                        <a:pt x="96" y="25"/>
                      </a:cubicBezTo>
                      <a:cubicBezTo>
                        <a:pt x="60" y="4"/>
                        <a:pt x="60" y="4"/>
                        <a:pt x="60" y="4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11" y="41"/>
                        <a:pt x="11" y="41"/>
                        <a:pt x="11" y="42"/>
                      </a:cubicBezTo>
                      <a:cubicBezTo>
                        <a:pt x="11" y="43"/>
                        <a:pt x="11" y="43"/>
                        <a:pt x="10" y="44"/>
                      </a:cubicBezTo>
                      <a:lnTo>
                        <a:pt x="4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5" name="Freeform 778">
                  <a:extLst>
                    <a:ext uri="{FF2B5EF4-FFF2-40B4-BE49-F238E27FC236}">
                      <a16:creationId xmlns:a16="http://schemas.microsoft.com/office/drawing/2014/main" id="{DCBB405E-8C92-4D8D-9C7E-174827D50E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35" y="2299"/>
                  <a:ext cx="113" cy="68"/>
                </a:xfrm>
                <a:custGeom>
                  <a:avLst/>
                  <a:gdLst>
                    <a:gd name="T0" fmla="*/ 10 w 48"/>
                    <a:gd name="T1" fmla="*/ 29 h 29"/>
                    <a:gd name="T2" fmla="*/ 9 w 48"/>
                    <a:gd name="T3" fmla="*/ 29 h 29"/>
                    <a:gd name="T4" fmla="*/ 1 w 48"/>
                    <a:gd name="T5" fmla="*/ 24 h 29"/>
                    <a:gd name="T6" fmla="*/ 0 w 48"/>
                    <a:gd name="T7" fmla="*/ 22 h 29"/>
                    <a:gd name="T8" fmla="*/ 1 w 48"/>
                    <a:gd name="T9" fmla="*/ 21 h 29"/>
                    <a:gd name="T10" fmla="*/ 36 w 48"/>
                    <a:gd name="T11" fmla="*/ 0 h 29"/>
                    <a:gd name="T12" fmla="*/ 38 w 48"/>
                    <a:gd name="T13" fmla="*/ 0 h 29"/>
                    <a:gd name="T14" fmla="*/ 47 w 48"/>
                    <a:gd name="T15" fmla="*/ 5 h 29"/>
                    <a:gd name="T16" fmla="*/ 48 w 48"/>
                    <a:gd name="T17" fmla="*/ 6 h 29"/>
                    <a:gd name="T18" fmla="*/ 47 w 48"/>
                    <a:gd name="T19" fmla="*/ 8 h 29"/>
                    <a:gd name="T20" fmla="*/ 11 w 48"/>
                    <a:gd name="T21" fmla="*/ 29 h 29"/>
                    <a:gd name="T22" fmla="*/ 10 w 48"/>
                    <a:gd name="T23" fmla="*/ 29 h 29"/>
                    <a:gd name="T24" fmla="*/ 6 w 48"/>
                    <a:gd name="T25" fmla="*/ 22 h 29"/>
                    <a:gd name="T26" fmla="*/ 10 w 48"/>
                    <a:gd name="T27" fmla="*/ 25 h 29"/>
                    <a:gd name="T28" fmla="*/ 42 w 48"/>
                    <a:gd name="T29" fmla="*/ 6 h 29"/>
                    <a:gd name="T30" fmla="*/ 37 w 48"/>
                    <a:gd name="T31" fmla="*/ 4 h 29"/>
                    <a:gd name="T32" fmla="*/ 6 w 48"/>
                    <a:gd name="T33" fmla="*/ 22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" h="29">
                      <a:moveTo>
                        <a:pt x="10" y="29"/>
                      </a:moveTo>
                      <a:cubicBezTo>
                        <a:pt x="10" y="29"/>
                        <a:pt x="9" y="29"/>
                        <a:pt x="9" y="29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0" y="24"/>
                        <a:pt x="0" y="23"/>
                        <a:pt x="0" y="22"/>
                      </a:cubicBezTo>
                      <a:cubicBezTo>
                        <a:pt x="0" y="22"/>
                        <a:pt x="0" y="21"/>
                        <a:pt x="1" y="21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7" y="0"/>
                        <a:pt x="38" y="0"/>
                        <a:pt x="38" y="0"/>
                      </a:cubicBezTo>
                      <a:cubicBezTo>
                        <a:pt x="47" y="5"/>
                        <a:pt x="47" y="5"/>
                        <a:pt x="47" y="5"/>
                      </a:cubicBezTo>
                      <a:cubicBezTo>
                        <a:pt x="47" y="5"/>
                        <a:pt x="48" y="6"/>
                        <a:pt x="48" y="6"/>
                      </a:cubicBezTo>
                      <a:cubicBezTo>
                        <a:pt x="48" y="7"/>
                        <a:pt x="47" y="8"/>
                        <a:pt x="47" y="8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11" y="29"/>
                        <a:pt x="10" y="29"/>
                        <a:pt x="10" y="29"/>
                      </a:cubicBezTo>
                      <a:close/>
                      <a:moveTo>
                        <a:pt x="6" y="22"/>
                      </a:moveTo>
                      <a:cubicBezTo>
                        <a:pt x="10" y="25"/>
                        <a:pt x="10" y="25"/>
                        <a:pt x="10" y="25"/>
                      </a:cubicBezTo>
                      <a:cubicBezTo>
                        <a:pt x="42" y="6"/>
                        <a:pt x="42" y="6"/>
                        <a:pt x="42" y="6"/>
                      </a:cubicBezTo>
                      <a:cubicBezTo>
                        <a:pt x="37" y="4"/>
                        <a:pt x="37" y="4"/>
                        <a:pt x="37" y="4"/>
                      </a:cubicBezTo>
                      <a:lnTo>
                        <a:pt x="6" y="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6" name="Freeform 779">
                  <a:extLst>
                    <a:ext uri="{FF2B5EF4-FFF2-40B4-BE49-F238E27FC236}">
                      <a16:creationId xmlns:a16="http://schemas.microsoft.com/office/drawing/2014/main" id="{53AAF2DD-AB74-42FF-898C-F5C97F3B9C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16" y="2452"/>
                  <a:ext cx="19" cy="19"/>
                </a:xfrm>
                <a:custGeom>
                  <a:avLst/>
                  <a:gdLst>
                    <a:gd name="T0" fmla="*/ 2 w 8"/>
                    <a:gd name="T1" fmla="*/ 8 h 8"/>
                    <a:gd name="T2" fmla="*/ 1 w 8"/>
                    <a:gd name="T3" fmla="*/ 8 h 8"/>
                    <a:gd name="T4" fmla="*/ 0 w 8"/>
                    <a:gd name="T5" fmla="*/ 6 h 8"/>
                    <a:gd name="T6" fmla="*/ 0 w 8"/>
                    <a:gd name="T7" fmla="*/ 2 h 8"/>
                    <a:gd name="T8" fmla="*/ 1 w 8"/>
                    <a:gd name="T9" fmla="*/ 0 h 8"/>
                    <a:gd name="T10" fmla="*/ 3 w 8"/>
                    <a:gd name="T11" fmla="*/ 0 h 8"/>
                    <a:gd name="T12" fmla="*/ 7 w 8"/>
                    <a:gd name="T13" fmla="*/ 2 h 8"/>
                    <a:gd name="T14" fmla="*/ 8 w 8"/>
                    <a:gd name="T15" fmla="*/ 4 h 8"/>
                    <a:gd name="T16" fmla="*/ 7 w 8"/>
                    <a:gd name="T17" fmla="*/ 6 h 8"/>
                    <a:gd name="T18" fmla="*/ 3 w 8"/>
                    <a:gd name="T19" fmla="*/ 8 h 8"/>
                    <a:gd name="T20" fmla="*/ 2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2" y="8"/>
                      </a:moveTo>
                      <a:cubicBezTo>
                        <a:pt x="2" y="8"/>
                        <a:pt x="1" y="8"/>
                        <a:pt x="1" y="8"/>
                      </a:cubicBezTo>
                      <a:cubicBezTo>
                        <a:pt x="0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7" y="3"/>
                        <a:pt x="8" y="3"/>
                        <a:pt x="8" y="4"/>
                      </a:cubicBezTo>
                      <a:cubicBezTo>
                        <a:pt x="8" y="5"/>
                        <a:pt x="7" y="5"/>
                        <a:pt x="7" y="6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2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7" name="Freeform 780">
                  <a:extLst>
                    <a:ext uri="{FF2B5EF4-FFF2-40B4-BE49-F238E27FC236}">
                      <a16:creationId xmlns:a16="http://schemas.microsoft.com/office/drawing/2014/main" id="{9018C2AD-ED42-48B4-880F-6445502B2B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2419"/>
                  <a:ext cx="293" cy="194"/>
                </a:xfrm>
                <a:custGeom>
                  <a:avLst/>
                  <a:gdLst>
                    <a:gd name="T0" fmla="*/ 111 w 124"/>
                    <a:gd name="T1" fmla="*/ 82 h 82"/>
                    <a:gd name="T2" fmla="*/ 110 w 124"/>
                    <a:gd name="T3" fmla="*/ 81 h 82"/>
                    <a:gd name="T4" fmla="*/ 50 w 124"/>
                    <a:gd name="T5" fmla="*/ 47 h 82"/>
                    <a:gd name="T6" fmla="*/ 3 w 124"/>
                    <a:gd name="T7" fmla="*/ 74 h 82"/>
                    <a:gd name="T8" fmla="*/ 1 w 124"/>
                    <a:gd name="T9" fmla="*/ 74 h 82"/>
                    <a:gd name="T10" fmla="*/ 0 w 124"/>
                    <a:gd name="T11" fmla="*/ 73 h 82"/>
                    <a:gd name="T12" fmla="*/ 0 w 124"/>
                    <a:gd name="T13" fmla="*/ 60 h 82"/>
                    <a:gd name="T14" fmla="*/ 1 w 124"/>
                    <a:gd name="T15" fmla="*/ 58 h 82"/>
                    <a:gd name="T16" fmla="*/ 101 w 124"/>
                    <a:gd name="T17" fmla="*/ 0 h 82"/>
                    <a:gd name="T18" fmla="*/ 103 w 124"/>
                    <a:gd name="T19" fmla="*/ 0 h 82"/>
                    <a:gd name="T20" fmla="*/ 115 w 124"/>
                    <a:gd name="T21" fmla="*/ 7 h 82"/>
                    <a:gd name="T22" fmla="*/ 121 w 124"/>
                    <a:gd name="T23" fmla="*/ 4 h 82"/>
                    <a:gd name="T24" fmla="*/ 123 w 124"/>
                    <a:gd name="T25" fmla="*/ 4 h 82"/>
                    <a:gd name="T26" fmla="*/ 124 w 124"/>
                    <a:gd name="T27" fmla="*/ 5 h 82"/>
                    <a:gd name="T28" fmla="*/ 124 w 124"/>
                    <a:gd name="T29" fmla="*/ 24 h 82"/>
                    <a:gd name="T30" fmla="*/ 123 w 124"/>
                    <a:gd name="T31" fmla="*/ 26 h 82"/>
                    <a:gd name="T32" fmla="*/ 121 w 124"/>
                    <a:gd name="T33" fmla="*/ 26 h 82"/>
                    <a:gd name="T34" fmla="*/ 113 w 124"/>
                    <a:gd name="T35" fmla="*/ 21 h 82"/>
                    <a:gd name="T36" fmla="*/ 113 w 124"/>
                    <a:gd name="T37" fmla="*/ 80 h 82"/>
                    <a:gd name="T38" fmla="*/ 112 w 124"/>
                    <a:gd name="T39" fmla="*/ 81 h 82"/>
                    <a:gd name="T40" fmla="*/ 111 w 124"/>
                    <a:gd name="T41" fmla="*/ 82 h 82"/>
                    <a:gd name="T42" fmla="*/ 50 w 124"/>
                    <a:gd name="T43" fmla="*/ 43 h 82"/>
                    <a:gd name="T44" fmla="*/ 51 w 124"/>
                    <a:gd name="T45" fmla="*/ 43 h 82"/>
                    <a:gd name="T46" fmla="*/ 109 w 124"/>
                    <a:gd name="T47" fmla="*/ 76 h 82"/>
                    <a:gd name="T48" fmla="*/ 109 w 124"/>
                    <a:gd name="T49" fmla="*/ 18 h 82"/>
                    <a:gd name="T50" fmla="*/ 110 w 124"/>
                    <a:gd name="T51" fmla="*/ 16 h 82"/>
                    <a:gd name="T52" fmla="*/ 112 w 124"/>
                    <a:gd name="T53" fmla="*/ 16 h 82"/>
                    <a:gd name="T54" fmla="*/ 120 w 124"/>
                    <a:gd name="T55" fmla="*/ 21 h 82"/>
                    <a:gd name="T56" fmla="*/ 120 w 124"/>
                    <a:gd name="T57" fmla="*/ 9 h 82"/>
                    <a:gd name="T58" fmla="*/ 116 w 124"/>
                    <a:gd name="T59" fmla="*/ 11 h 82"/>
                    <a:gd name="T60" fmla="*/ 114 w 124"/>
                    <a:gd name="T61" fmla="*/ 11 h 82"/>
                    <a:gd name="T62" fmla="*/ 102 w 124"/>
                    <a:gd name="T63" fmla="*/ 4 h 82"/>
                    <a:gd name="T64" fmla="*/ 4 w 124"/>
                    <a:gd name="T65" fmla="*/ 61 h 82"/>
                    <a:gd name="T66" fmla="*/ 4 w 124"/>
                    <a:gd name="T67" fmla="*/ 69 h 82"/>
                    <a:gd name="T68" fmla="*/ 49 w 124"/>
                    <a:gd name="T69" fmla="*/ 43 h 82"/>
                    <a:gd name="T70" fmla="*/ 50 w 124"/>
                    <a:gd name="T71" fmla="*/ 43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24" h="82">
                      <a:moveTo>
                        <a:pt x="111" y="82"/>
                      </a:moveTo>
                      <a:cubicBezTo>
                        <a:pt x="110" y="82"/>
                        <a:pt x="110" y="82"/>
                        <a:pt x="110" y="81"/>
                      </a:cubicBezTo>
                      <a:cubicBezTo>
                        <a:pt x="50" y="47"/>
                        <a:pt x="50" y="47"/>
                        <a:pt x="50" y="47"/>
                      </a:cubicBezTo>
                      <a:cubicBezTo>
                        <a:pt x="3" y="74"/>
                        <a:pt x="3" y="74"/>
                        <a:pt x="3" y="74"/>
                      </a:cubicBezTo>
                      <a:cubicBezTo>
                        <a:pt x="2" y="75"/>
                        <a:pt x="2" y="75"/>
                        <a:pt x="1" y="74"/>
                      </a:cubicBezTo>
                      <a:cubicBezTo>
                        <a:pt x="0" y="74"/>
                        <a:pt x="0" y="73"/>
                        <a:pt x="0" y="73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59"/>
                        <a:pt x="0" y="58"/>
                        <a:pt x="1" y="58"/>
                      </a:cubicBezTo>
                      <a:cubicBezTo>
                        <a:pt x="101" y="0"/>
                        <a:pt x="101" y="0"/>
                        <a:pt x="101" y="0"/>
                      </a:cubicBezTo>
                      <a:cubicBezTo>
                        <a:pt x="101" y="0"/>
                        <a:pt x="102" y="0"/>
                        <a:pt x="103" y="0"/>
                      </a:cubicBezTo>
                      <a:cubicBezTo>
                        <a:pt x="115" y="7"/>
                        <a:pt x="115" y="7"/>
                        <a:pt x="115" y="7"/>
                      </a:cubicBezTo>
                      <a:cubicBezTo>
                        <a:pt x="121" y="4"/>
                        <a:pt x="121" y="4"/>
                        <a:pt x="121" y="4"/>
                      </a:cubicBezTo>
                      <a:cubicBezTo>
                        <a:pt x="121" y="3"/>
                        <a:pt x="122" y="3"/>
                        <a:pt x="123" y="4"/>
                      </a:cubicBezTo>
                      <a:cubicBezTo>
                        <a:pt x="123" y="4"/>
                        <a:pt x="124" y="5"/>
                        <a:pt x="124" y="5"/>
                      </a:cubicBezTo>
                      <a:cubicBezTo>
                        <a:pt x="124" y="24"/>
                        <a:pt x="124" y="24"/>
                        <a:pt x="124" y="24"/>
                      </a:cubicBezTo>
                      <a:cubicBezTo>
                        <a:pt x="124" y="25"/>
                        <a:pt x="123" y="26"/>
                        <a:pt x="123" y="26"/>
                      </a:cubicBezTo>
                      <a:cubicBezTo>
                        <a:pt x="122" y="26"/>
                        <a:pt x="121" y="26"/>
                        <a:pt x="121" y="26"/>
                      </a:cubicBezTo>
                      <a:cubicBezTo>
                        <a:pt x="113" y="21"/>
                        <a:pt x="113" y="21"/>
                        <a:pt x="113" y="21"/>
                      </a:cubicBezTo>
                      <a:cubicBezTo>
                        <a:pt x="113" y="80"/>
                        <a:pt x="113" y="80"/>
                        <a:pt x="113" y="80"/>
                      </a:cubicBezTo>
                      <a:cubicBezTo>
                        <a:pt x="113" y="80"/>
                        <a:pt x="112" y="81"/>
                        <a:pt x="112" y="81"/>
                      </a:cubicBezTo>
                      <a:cubicBezTo>
                        <a:pt x="111" y="82"/>
                        <a:pt x="111" y="82"/>
                        <a:pt x="111" y="82"/>
                      </a:cubicBezTo>
                      <a:close/>
                      <a:moveTo>
                        <a:pt x="50" y="43"/>
                      </a:moveTo>
                      <a:cubicBezTo>
                        <a:pt x="51" y="43"/>
                        <a:pt x="51" y="43"/>
                        <a:pt x="51" y="43"/>
                      </a:cubicBezTo>
                      <a:cubicBezTo>
                        <a:pt x="109" y="76"/>
                        <a:pt x="109" y="76"/>
                        <a:pt x="109" y="76"/>
                      </a:cubicBezTo>
                      <a:cubicBezTo>
                        <a:pt x="109" y="18"/>
                        <a:pt x="109" y="18"/>
                        <a:pt x="109" y="18"/>
                      </a:cubicBezTo>
                      <a:cubicBezTo>
                        <a:pt x="109" y="17"/>
                        <a:pt x="109" y="17"/>
                        <a:pt x="110" y="16"/>
                      </a:cubicBezTo>
                      <a:cubicBezTo>
                        <a:pt x="110" y="16"/>
                        <a:pt x="111" y="16"/>
                        <a:pt x="112" y="16"/>
                      </a:cubicBezTo>
                      <a:cubicBezTo>
                        <a:pt x="120" y="21"/>
                        <a:pt x="120" y="21"/>
                        <a:pt x="120" y="21"/>
                      </a:cubicBezTo>
                      <a:cubicBezTo>
                        <a:pt x="120" y="9"/>
                        <a:pt x="120" y="9"/>
                        <a:pt x="120" y="9"/>
                      </a:cubicBezTo>
                      <a:cubicBezTo>
                        <a:pt x="116" y="11"/>
                        <a:pt x="116" y="11"/>
                        <a:pt x="116" y="11"/>
                      </a:cubicBezTo>
                      <a:cubicBezTo>
                        <a:pt x="115" y="12"/>
                        <a:pt x="114" y="12"/>
                        <a:pt x="114" y="11"/>
                      </a:cubicBezTo>
                      <a:cubicBezTo>
                        <a:pt x="102" y="4"/>
                        <a:pt x="102" y="4"/>
                        <a:pt x="102" y="4"/>
                      </a:cubicBezTo>
                      <a:cubicBezTo>
                        <a:pt x="4" y="61"/>
                        <a:pt x="4" y="61"/>
                        <a:pt x="4" y="61"/>
                      </a:cubicBezTo>
                      <a:cubicBezTo>
                        <a:pt x="4" y="69"/>
                        <a:pt x="4" y="69"/>
                        <a:pt x="4" y="69"/>
                      </a:cubicBezTo>
                      <a:cubicBezTo>
                        <a:pt x="49" y="43"/>
                        <a:pt x="49" y="43"/>
                        <a:pt x="49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8" name="Freeform 781">
                  <a:extLst>
                    <a:ext uri="{FF2B5EF4-FFF2-40B4-BE49-F238E27FC236}">
                      <a16:creationId xmlns:a16="http://schemas.microsoft.com/office/drawing/2014/main" id="{4BF2518B-F718-46F4-8B51-8CE38A02E9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2523"/>
                  <a:ext cx="461" cy="279"/>
                </a:xfrm>
                <a:custGeom>
                  <a:avLst/>
                  <a:gdLst>
                    <a:gd name="T0" fmla="*/ 2 w 195"/>
                    <a:gd name="T1" fmla="*/ 118 h 118"/>
                    <a:gd name="T2" fmla="*/ 1 w 195"/>
                    <a:gd name="T3" fmla="*/ 118 h 118"/>
                    <a:gd name="T4" fmla="*/ 0 w 195"/>
                    <a:gd name="T5" fmla="*/ 116 h 118"/>
                    <a:gd name="T6" fmla="*/ 0 w 195"/>
                    <a:gd name="T7" fmla="*/ 107 h 118"/>
                    <a:gd name="T8" fmla="*/ 1 w 195"/>
                    <a:gd name="T9" fmla="*/ 106 h 118"/>
                    <a:gd name="T10" fmla="*/ 185 w 195"/>
                    <a:gd name="T11" fmla="*/ 0 h 118"/>
                    <a:gd name="T12" fmla="*/ 187 w 195"/>
                    <a:gd name="T13" fmla="*/ 0 h 118"/>
                    <a:gd name="T14" fmla="*/ 194 w 195"/>
                    <a:gd name="T15" fmla="*/ 4 h 118"/>
                    <a:gd name="T16" fmla="*/ 195 w 195"/>
                    <a:gd name="T17" fmla="*/ 6 h 118"/>
                    <a:gd name="T18" fmla="*/ 194 w 195"/>
                    <a:gd name="T19" fmla="*/ 8 h 118"/>
                    <a:gd name="T20" fmla="*/ 3 w 195"/>
                    <a:gd name="T21" fmla="*/ 118 h 118"/>
                    <a:gd name="T22" fmla="*/ 2 w 195"/>
                    <a:gd name="T23" fmla="*/ 118 h 118"/>
                    <a:gd name="T24" fmla="*/ 4 w 195"/>
                    <a:gd name="T25" fmla="*/ 109 h 118"/>
                    <a:gd name="T26" fmla="*/ 4 w 195"/>
                    <a:gd name="T27" fmla="*/ 113 h 118"/>
                    <a:gd name="T28" fmla="*/ 189 w 195"/>
                    <a:gd name="T29" fmla="*/ 6 h 118"/>
                    <a:gd name="T30" fmla="*/ 186 w 195"/>
                    <a:gd name="T31" fmla="*/ 4 h 118"/>
                    <a:gd name="T32" fmla="*/ 4 w 195"/>
                    <a:gd name="T33" fmla="*/ 109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5" h="118">
                      <a:moveTo>
                        <a:pt x="2" y="118"/>
                      </a:moveTo>
                      <a:cubicBezTo>
                        <a:pt x="2" y="118"/>
                        <a:pt x="2" y="118"/>
                        <a:pt x="1" y="118"/>
                      </a:cubicBezTo>
                      <a:cubicBezTo>
                        <a:pt x="1" y="118"/>
                        <a:pt x="0" y="117"/>
                        <a:pt x="0" y="116"/>
                      </a:cubicBezTo>
                      <a:cubicBezTo>
                        <a:pt x="0" y="107"/>
                        <a:pt x="0" y="107"/>
                        <a:pt x="0" y="107"/>
                      </a:cubicBezTo>
                      <a:cubicBezTo>
                        <a:pt x="0" y="107"/>
                        <a:pt x="1" y="106"/>
                        <a:pt x="1" y="106"/>
                      </a:cubicBezTo>
                      <a:cubicBezTo>
                        <a:pt x="185" y="0"/>
                        <a:pt x="185" y="0"/>
                        <a:pt x="185" y="0"/>
                      </a:cubicBezTo>
                      <a:cubicBezTo>
                        <a:pt x="185" y="0"/>
                        <a:pt x="186" y="0"/>
                        <a:pt x="187" y="0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5" y="5"/>
                        <a:pt x="195" y="5"/>
                        <a:pt x="195" y="6"/>
                      </a:cubicBezTo>
                      <a:cubicBezTo>
                        <a:pt x="195" y="7"/>
                        <a:pt x="195" y="7"/>
                        <a:pt x="194" y="8"/>
                      </a:cubicBezTo>
                      <a:cubicBezTo>
                        <a:pt x="3" y="118"/>
                        <a:pt x="3" y="118"/>
                        <a:pt x="3" y="118"/>
                      </a:cubicBezTo>
                      <a:cubicBezTo>
                        <a:pt x="3" y="118"/>
                        <a:pt x="3" y="118"/>
                        <a:pt x="2" y="118"/>
                      </a:cubicBezTo>
                      <a:close/>
                      <a:moveTo>
                        <a:pt x="4" y="109"/>
                      </a:move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189" y="6"/>
                        <a:pt x="189" y="6"/>
                        <a:pt x="189" y="6"/>
                      </a:cubicBezTo>
                      <a:cubicBezTo>
                        <a:pt x="186" y="4"/>
                        <a:pt x="186" y="4"/>
                        <a:pt x="186" y="4"/>
                      </a:cubicBezTo>
                      <a:lnTo>
                        <a:pt x="4" y="10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9" name="Freeform 782">
                  <a:extLst>
                    <a:ext uri="{FF2B5EF4-FFF2-40B4-BE49-F238E27FC236}">
                      <a16:creationId xmlns:a16="http://schemas.microsoft.com/office/drawing/2014/main" id="{2ECB9DDF-A14C-4DB2-892E-B6FF91D6D8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16" y="1904"/>
                  <a:ext cx="19" cy="21"/>
                </a:xfrm>
                <a:custGeom>
                  <a:avLst/>
                  <a:gdLst>
                    <a:gd name="T0" fmla="*/ 2 w 8"/>
                    <a:gd name="T1" fmla="*/ 9 h 9"/>
                    <a:gd name="T2" fmla="*/ 1 w 8"/>
                    <a:gd name="T3" fmla="*/ 9 h 9"/>
                    <a:gd name="T4" fmla="*/ 0 w 8"/>
                    <a:gd name="T5" fmla="*/ 7 h 9"/>
                    <a:gd name="T6" fmla="*/ 0 w 8"/>
                    <a:gd name="T7" fmla="*/ 2 h 9"/>
                    <a:gd name="T8" fmla="*/ 1 w 8"/>
                    <a:gd name="T9" fmla="*/ 1 h 9"/>
                    <a:gd name="T10" fmla="*/ 3 w 8"/>
                    <a:gd name="T11" fmla="*/ 1 h 9"/>
                    <a:gd name="T12" fmla="*/ 7 w 8"/>
                    <a:gd name="T13" fmla="*/ 3 h 9"/>
                    <a:gd name="T14" fmla="*/ 8 w 8"/>
                    <a:gd name="T15" fmla="*/ 5 h 9"/>
                    <a:gd name="T16" fmla="*/ 7 w 8"/>
                    <a:gd name="T17" fmla="*/ 6 h 9"/>
                    <a:gd name="T18" fmla="*/ 3 w 8"/>
                    <a:gd name="T19" fmla="*/ 9 h 9"/>
                    <a:gd name="T20" fmla="*/ 2 w 8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9">
                      <a:moveTo>
                        <a:pt x="2" y="9"/>
                      </a:moveTo>
                      <a:cubicBezTo>
                        <a:pt x="2" y="9"/>
                        <a:pt x="1" y="9"/>
                        <a:pt x="1" y="9"/>
                      </a:cubicBezTo>
                      <a:cubicBezTo>
                        <a:pt x="0" y="8"/>
                        <a:pt x="0" y="8"/>
                        <a:pt x="0" y="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8" y="4"/>
                        <a:pt x="8" y="5"/>
                      </a:cubicBezTo>
                      <a:cubicBezTo>
                        <a:pt x="8" y="5"/>
                        <a:pt x="7" y="6"/>
                        <a:pt x="7" y="6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2" y="9"/>
                        <a:pt x="2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0" name="Freeform 783">
                  <a:extLst>
                    <a:ext uri="{FF2B5EF4-FFF2-40B4-BE49-F238E27FC236}">
                      <a16:creationId xmlns:a16="http://schemas.microsoft.com/office/drawing/2014/main" id="{C424230C-2599-4E7D-BE88-C897B32D3E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12" y="2292"/>
                  <a:ext cx="400" cy="236"/>
                </a:xfrm>
                <a:custGeom>
                  <a:avLst/>
                  <a:gdLst>
                    <a:gd name="T0" fmla="*/ 114 w 169"/>
                    <a:gd name="T1" fmla="*/ 100 h 100"/>
                    <a:gd name="T2" fmla="*/ 113 w 169"/>
                    <a:gd name="T3" fmla="*/ 100 h 100"/>
                    <a:gd name="T4" fmla="*/ 1 w 169"/>
                    <a:gd name="T5" fmla="*/ 35 h 100"/>
                    <a:gd name="T6" fmla="*/ 0 w 169"/>
                    <a:gd name="T7" fmla="*/ 34 h 100"/>
                    <a:gd name="T8" fmla="*/ 1 w 169"/>
                    <a:gd name="T9" fmla="*/ 32 h 100"/>
                    <a:gd name="T10" fmla="*/ 55 w 169"/>
                    <a:gd name="T11" fmla="*/ 1 h 100"/>
                    <a:gd name="T12" fmla="*/ 57 w 169"/>
                    <a:gd name="T13" fmla="*/ 1 h 100"/>
                    <a:gd name="T14" fmla="*/ 168 w 169"/>
                    <a:gd name="T15" fmla="*/ 65 h 100"/>
                    <a:gd name="T16" fmla="*/ 169 w 169"/>
                    <a:gd name="T17" fmla="*/ 67 h 100"/>
                    <a:gd name="T18" fmla="*/ 168 w 169"/>
                    <a:gd name="T19" fmla="*/ 68 h 100"/>
                    <a:gd name="T20" fmla="*/ 115 w 169"/>
                    <a:gd name="T21" fmla="*/ 100 h 100"/>
                    <a:gd name="T22" fmla="*/ 114 w 169"/>
                    <a:gd name="T23" fmla="*/ 100 h 100"/>
                    <a:gd name="T24" fmla="*/ 6 w 169"/>
                    <a:gd name="T25" fmla="*/ 34 h 100"/>
                    <a:gd name="T26" fmla="*/ 114 w 169"/>
                    <a:gd name="T27" fmla="*/ 95 h 100"/>
                    <a:gd name="T28" fmla="*/ 163 w 169"/>
                    <a:gd name="T29" fmla="*/ 67 h 100"/>
                    <a:gd name="T30" fmla="*/ 56 w 169"/>
                    <a:gd name="T31" fmla="*/ 5 h 100"/>
                    <a:gd name="T32" fmla="*/ 6 w 169"/>
                    <a:gd name="T33" fmla="*/ 3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" h="100">
                      <a:moveTo>
                        <a:pt x="114" y="100"/>
                      </a:moveTo>
                      <a:cubicBezTo>
                        <a:pt x="113" y="100"/>
                        <a:pt x="113" y="100"/>
                        <a:pt x="113" y="100"/>
                      </a:cubicBezTo>
                      <a:cubicBezTo>
                        <a:pt x="1" y="35"/>
                        <a:pt x="1" y="35"/>
                        <a:pt x="1" y="35"/>
                      </a:cubicBezTo>
                      <a:cubicBezTo>
                        <a:pt x="1" y="35"/>
                        <a:pt x="0" y="34"/>
                        <a:pt x="0" y="34"/>
                      </a:cubicBezTo>
                      <a:cubicBezTo>
                        <a:pt x="0" y="33"/>
                        <a:pt x="1" y="32"/>
                        <a:pt x="1" y="32"/>
                      </a:cubicBezTo>
                      <a:cubicBezTo>
                        <a:pt x="55" y="1"/>
                        <a:pt x="55" y="1"/>
                        <a:pt x="55" y="1"/>
                      </a:cubicBezTo>
                      <a:cubicBezTo>
                        <a:pt x="56" y="0"/>
                        <a:pt x="57" y="0"/>
                        <a:pt x="57" y="1"/>
                      </a:cubicBezTo>
                      <a:cubicBezTo>
                        <a:pt x="168" y="65"/>
                        <a:pt x="168" y="65"/>
                        <a:pt x="168" y="65"/>
                      </a:cubicBezTo>
                      <a:cubicBezTo>
                        <a:pt x="169" y="65"/>
                        <a:pt x="169" y="66"/>
                        <a:pt x="169" y="67"/>
                      </a:cubicBezTo>
                      <a:cubicBezTo>
                        <a:pt x="169" y="67"/>
                        <a:pt x="169" y="68"/>
                        <a:pt x="168" y="68"/>
                      </a:cubicBezTo>
                      <a:cubicBezTo>
                        <a:pt x="115" y="100"/>
                        <a:pt x="115" y="100"/>
                        <a:pt x="115" y="100"/>
                      </a:cubicBezTo>
                      <a:cubicBezTo>
                        <a:pt x="114" y="100"/>
                        <a:pt x="114" y="100"/>
                        <a:pt x="114" y="100"/>
                      </a:cubicBezTo>
                      <a:close/>
                      <a:moveTo>
                        <a:pt x="6" y="34"/>
                      </a:moveTo>
                      <a:cubicBezTo>
                        <a:pt x="114" y="95"/>
                        <a:pt x="114" y="95"/>
                        <a:pt x="114" y="95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56" y="5"/>
                        <a:pt x="56" y="5"/>
                        <a:pt x="56" y="5"/>
                      </a:cubicBezTo>
                      <a:lnTo>
                        <a:pt x="6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1" name="Freeform 784">
                  <a:extLst>
                    <a:ext uri="{FF2B5EF4-FFF2-40B4-BE49-F238E27FC236}">
                      <a16:creationId xmlns:a16="http://schemas.microsoft.com/office/drawing/2014/main" id="{0E497385-B69E-459A-BD98-6974460348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76" y="2608"/>
                  <a:ext cx="17" cy="19"/>
                </a:xfrm>
                <a:custGeom>
                  <a:avLst/>
                  <a:gdLst>
                    <a:gd name="T0" fmla="*/ 2 w 7"/>
                    <a:gd name="T1" fmla="*/ 8 h 8"/>
                    <a:gd name="T2" fmla="*/ 1 w 7"/>
                    <a:gd name="T3" fmla="*/ 7 h 8"/>
                    <a:gd name="T4" fmla="*/ 0 w 7"/>
                    <a:gd name="T5" fmla="*/ 6 h 8"/>
                    <a:gd name="T6" fmla="*/ 0 w 7"/>
                    <a:gd name="T7" fmla="*/ 2 h 8"/>
                    <a:gd name="T8" fmla="*/ 1 w 7"/>
                    <a:gd name="T9" fmla="*/ 1 h 8"/>
                    <a:gd name="T10" fmla="*/ 3 w 7"/>
                    <a:gd name="T11" fmla="*/ 1 h 8"/>
                    <a:gd name="T12" fmla="*/ 6 w 7"/>
                    <a:gd name="T13" fmla="*/ 2 h 8"/>
                    <a:gd name="T14" fmla="*/ 7 w 7"/>
                    <a:gd name="T15" fmla="*/ 4 h 8"/>
                    <a:gd name="T16" fmla="*/ 6 w 7"/>
                    <a:gd name="T17" fmla="*/ 6 h 8"/>
                    <a:gd name="T18" fmla="*/ 3 w 7"/>
                    <a:gd name="T19" fmla="*/ 7 h 8"/>
                    <a:gd name="T20" fmla="*/ 2 w 7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8">
                      <a:moveTo>
                        <a:pt x="2" y="8"/>
                      </a:moveTo>
                      <a:cubicBezTo>
                        <a:pt x="2" y="8"/>
                        <a:pt x="2" y="8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7" y="3"/>
                        <a:pt x="7" y="3"/>
                        <a:pt x="7" y="4"/>
                      </a:cubicBezTo>
                      <a:cubicBezTo>
                        <a:pt x="7" y="5"/>
                        <a:pt x="7" y="5"/>
                        <a:pt x="6" y="6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8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2" name="Freeform 785">
                  <a:extLst>
                    <a:ext uri="{FF2B5EF4-FFF2-40B4-BE49-F238E27FC236}">
                      <a16:creationId xmlns:a16="http://schemas.microsoft.com/office/drawing/2014/main" id="{344AB9B4-9E08-4D31-9BBA-49AB0EE999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32" y="2325"/>
                  <a:ext cx="59" cy="59"/>
                </a:xfrm>
                <a:custGeom>
                  <a:avLst/>
                  <a:gdLst>
                    <a:gd name="T0" fmla="*/ 15 w 25"/>
                    <a:gd name="T1" fmla="*/ 25 h 25"/>
                    <a:gd name="T2" fmla="*/ 14 w 25"/>
                    <a:gd name="T3" fmla="*/ 25 h 25"/>
                    <a:gd name="T4" fmla="*/ 1 w 25"/>
                    <a:gd name="T5" fmla="*/ 17 h 25"/>
                    <a:gd name="T6" fmla="*/ 0 w 25"/>
                    <a:gd name="T7" fmla="*/ 15 h 25"/>
                    <a:gd name="T8" fmla="*/ 0 w 25"/>
                    <a:gd name="T9" fmla="*/ 14 h 25"/>
                    <a:gd name="T10" fmla="*/ 1 w 25"/>
                    <a:gd name="T11" fmla="*/ 12 h 25"/>
                    <a:gd name="T12" fmla="*/ 22 w 25"/>
                    <a:gd name="T13" fmla="*/ 0 h 25"/>
                    <a:gd name="T14" fmla="*/ 24 w 25"/>
                    <a:gd name="T15" fmla="*/ 0 h 25"/>
                    <a:gd name="T16" fmla="*/ 25 w 25"/>
                    <a:gd name="T17" fmla="*/ 2 h 25"/>
                    <a:gd name="T18" fmla="*/ 25 w 25"/>
                    <a:gd name="T19" fmla="*/ 18 h 25"/>
                    <a:gd name="T20" fmla="*/ 24 w 25"/>
                    <a:gd name="T21" fmla="*/ 20 h 25"/>
                    <a:gd name="T22" fmla="*/ 16 w 25"/>
                    <a:gd name="T23" fmla="*/ 25 h 25"/>
                    <a:gd name="T24" fmla="*/ 15 w 25"/>
                    <a:gd name="T25" fmla="*/ 25 h 25"/>
                    <a:gd name="T26" fmla="*/ 5 w 25"/>
                    <a:gd name="T27" fmla="*/ 15 h 25"/>
                    <a:gd name="T28" fmla="*/ 15 w 25"/>
                    <a:gd name="T29" fmla="*/ 21 h 25"/>
                    <a:gd name="T30" fmla="*/ 21 w 25"/>
                    <a:gd name="T31" fmla="*/ 17 h 25"/>
                    <a:gd name="T32" fmla="*/ 21 w 25"/>
                    <a:gd name="T33" fmla="*/ 5 h 25"/>
                    <a:gd name="T34" fmla="*/ 5 w 25"/>
                    <a:gd name="T35" fmla="*/ 1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5" h="25">
                      <a:moveTo>
                        <a:pt x="15" y="25"/>
                      </a:moveTo>
                      <a:cubicBezTo>
                        <a:pt x="15" y="25"/>
                        <a:pt x="15" y="25"/>
                        <a:pt x="14" y="25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5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3"/>
                        <a:pt x="0" y="13"/>
                        <a:pt x="1" y="12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3" y="0"/>
                        <a:pt x="24" y="0"/>
                        <a:pt x="24" y="0"/>
                      </a:cubicBezTo>
                      <a:cubicBezTo>
                        <a:pt x="25" y="0"/>
                        <a:pt x="25" y="1"/>
                        <a:pt x="25" y="2"/>
                      </a:cubicBezTo>
                      <a:cubicBezTo>
                        <a:pt x="25" y="18"/>
                        <a:pt x="25" y="18"/>
                        <a:pt x="25" y="18"/>
                      </a:cubicBezTo>
                      <a:cubicBezTo>
                        <a:pt x="25" y="19"/>
                        <a:pt x="25" y="20"/>
                        <a:pt x="24" y="20"/>
                      </a:cubicBezTo>
                      <a:cubicBezTo>
                        <a:pt x="16" y="25"/>
                        <a:pt x="16" y="25"/>
                        <a:pt x="16" y="25"/>
                      </a:cubicBezTo>
                      <a:cubicBezTo>
                        <a:pt x="16" y="25"/>
                        <a:pt x="16" y="25"/>
                        <a:pt x="15" y="25"/>
                      </a:cubicBezTo>
                      <a:close/>
                      <a:moveTo>
                        <a:pt x="5" y="15"/>
                      </a:moveTo>
                      <a:cubicBezTo>
                        <a:pt x="15" y="21"/>
                        <a:pt x="15" y="21"/>
                        <a:pt x="15" y="21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5"/>
                        <a:pt x="21" y="5"/>
                        <a:pt x="21" y="5"/>
                      </a:cubicBezTo>
                      <a:lnTo>
                        <a:pt x="5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3" name="Freeform 786">
                  <a:extLst>
                    <a:ext uri="{FF2B5EF4-FFF2-40B4-BE49-F238E27FC236}">
                      <a16:creationId xmlns:a16="http://schemas.microsoft.com/office/drawing/2014/main" id="{9F7CE880-025A-4129-A747-623D57461B0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58" y="2310"/>
                  <a:ext cx="151" cy="114"/>
                </a:xfrm>
                <a:custGeom>
                  <a:avLst/>
                  <a:gdLst>
                    <a:gd name="T0" fmla="*/ 42 w 64"/>
                    <a:gd name="T1" fmla="*/ 48 h 48"/>
                    <a:gd name="T2" fmla="*/ 41 w 64"/>
                    <a:gd name="T3" fmla="*/ 48 h 48"/>
                    <a:gd name="T4" fmla="*/ 1 w 64"/>
                    <a:gd name="T5" fmla="*/ 25 h 48"/>
                    <a:gd name="T6" fmla="*/ 0 w 64"/>
                    <a:gd name="T7" fmla="*/ 23 h 48"/>
                    <a:gd name="T8" fmla="*/ 1 w 64"/>
                    <a:gd name="T9" fmla="*/ 21 h 48"/>
                    <a:gd name="T10" fmla="*/ 36 w 64"/>
                    <a:gd name="T11" fmla="*/ 1 h 48"/>
                    <a:gd name="T12" fmla="*/ 38 w 64"/>
                    <a:gd name="T13" fmla="*/ 1 h 48"/>
                    <a:gd name="T14" fmla="*/ 63 w 64"/>
                    <a:gd name="T15" fmla="*/ 15 h 48"/>
                    <a:gd name="T16" fmla="*/ 64 w 64"/>
                    <a:gd name="T17" fmla="*/ 16 h 48"/>
                    <a:gd name="T18" fmla="*/ 64 w 64"/>
                    <a:gd name="T19" fmla="*/ 35 h 48"/>
                    <a:gd name="T20" fmla="*/ 63 w 64"/>
                    <a:gd name="T21" fmla="*/ 36 h 48"/>
                    <a:gd name="T22" fmla="*/ 43 w 64"/>
                    <a:gd name="T23" fmla="*/ 48 h 48"/>
                    <a:gd name="T24" fmla="*/ 42 w 64"/>
                    <a:gd name="T25" fmla="*/ 48 h 48"/>
                    <a:gd name="T26" fmla="*/ 6 w 64"/>
                    <a:gd name="T27" fmla="*/ 23 h 48"/>
                    <a:gd name="T28" fmla="*/ 42 w 64"/>
                    <a:gd name="T29" fmla="*/ 44 h 48"/>
                    <a:gd name="T30" fmla="*/ 60 w 64"/>
                    <a:gd name="T31" fmla="*/ 34 h 48"/>
                    <a:gd name="T32" fmla="*/ 60 w 64"/>
                    <a:gd name="T33" fmla="*/ 18 h 48"/>
                    <a:gd name="T34" fmla="*/ 37 w 64"/>
                    <a:gd name="T35" fmla="*/ 5 h 48"/>
                    <a:gd name="T36" fmla="*/ 6 w 64"/>
                    <a:gd name="T37" fmla="*/ 23 h 48"/>
                    <a:gd name="T38" fmla="*/ 62 w 64"/>
                    <a:gd name="T39" fmla="*/ 35 h 48"/>
                    <a:gd name="T40" fmla="*/ 62 w 64"/>
                    <a:gd name="T41" fmla="*/ 35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4" h="48">
                      <a:moveTo>
                        <a:pt x="42" y="48"/>
                      </a:moveTo>
                      <a:cubicBezTo>
                        <a:pt x="41" y="48"/>
                        <a:pt x="41" y="48"/>
                        <a:pt x="41" y="48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0" y="24"/>
                        <a:pt x="0" y="24"/>
                        <a:pt x="0" y="23"/>
                      </a:cubicBezTo>
                      <a:cubicBezTo>
                        <a:pt x="0" y="22"/>
                        <a:pt x="0" y="22"/>
                        <a:pt x="1" y="2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7" y="0"/>
                        <a:pt x="38" y="0"/>
                        <a:pt x="38" y="1"/>
                      </a:cubicBezTo>
                      <a:cubicBezTo>
                        <a:pt x="63" y="15"/>
                        <a:pt x="63" y="15"/>
                        <a:pt x="63" y="15"/>
                      </a:cubicBezTo>
                      <a:cubicBezTo>
                        <a:pt x="63" y="15"/>
                        <a:pt x="64" y="16"/>
                        <a:pt x="64" y="16"/>
                      </a:cubicBezTo>
                      <a:cubicBezTo>
                        <a:pt x="64" y="35"/>
                        <a:pt x="64" y="35"/>
                        <a:pt x="64" y="35"/>
                      </a:cubicBezTo>
                      <a:cubicBezTo>
                        <a:pt x="64" y="35"/>
                        <a:pt x="63" y="36"/>
                        <a:pt x="63" y="36"/>
                      </a:cubicBezTo>
                      <a:cubicBezTo>
                        <a:pt x="43" y="48"/>
                        <a:pt x="43" y="48"/>
                        <a:pt x="43" y="48"/>
                      </a:cubicBezTo>
                      <a:cubicBezTo>
                        <a:pt x="43" y="48"/>
                        <a:pt x="42" y="48"/>
                        <a:pt x="42" y="48"/>
                      </a:cubicBezTo>
                      <a:close/>
                      <a:moveTo>
                        <a:pt x="6" y="23"/>
                      </a:move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60" y="34"/>
                        <a:pt x="60" y="34"/>
                        <a:pt x="60" y="34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37" y="5"/>
                        <a:pt x="37" y="5"/>
                        <a:pt x="37" y="5"/>
                      </a:cubicBezTo>
                      <a:lnTo>
                        <a:pt x="6" y="23"/>
                      </a:lnTo>
                      <a:close/>
                      <a:moveTo>
                        <a:pt x="62" y="35"/>
                      </a:moveTo>
                      <a:cubicBezTo>
                        <a:pt x="62" y="35"/>
                        <a:pt x="62" y="35"/>
                        <a:pt x="62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4" name="Freeform 787">
                  <a:extLst>
                    <a:ext uri="{FF2B5EF4-FFF2-40B4-BE49-F238E27FC236}">
                      <a16:creationId xmlns:a16="http://schemas.microsoft.com/office/drawing/2014/main" id="{1402DA33-9E80-462C-B1B5-D7D309C906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46" y="2277"/>
                  <a:ext cx="63" cy="71"/>
                </a:xfrm>
                <a:custGeom>
                  <a:avLst/>
                  <a:gdLst>
                    <a:gd name="T0" fmla="*/ 25 w 27"/>
                    <a:gd name="T1" fmla="*/ 30 h 30"/>
                    <a:gd name="T2" fmla="*/ 24 w 27"/>
                    <a:gd name="T3" fmla="*/ 30 h 30"/>
                    <a:gd name="T4" fmla="*/ 1 w 27"/>
                    <a:gd name="T5" fmla="*/ 17 h 30"/>
                    <a:gd name="T6" fmla="*/ 0 w 27"/>
                    <a:gd name="T7" fmla="*/ 15 h 30"/>
                    <a:gd name="T8" fmla="*/ 1 w 27"/>
                    <a:gd name="T9" fmla="*/ 14 h 30"/>
                    <a:gd name="T10" fmla="*/ 24 w 27"/>
                    <a:gd name="T11" fmla="*/ 1 h 30"/>
                    <a:gd name="T12" fmla="*/ 26 w 27"/>
                    <a:gd name="T13" fmla="*/ 1 h 30"/>
                    <a:gd name="T14" fmla="*/ 27 w 27"/>
                    <a:gd name="T15" fmla="*/ 2 h 30"/>
                    <a:gd name="T16" fmla="*/ 27 w 27"/>
                    <a:gd name="T17" fmla="*/ 28 h 30"/>
                    <a:gd name="T18" fmla="*/ 26 w 27"/>
                    <a:gd name="T19" fmla="*/ 30 h 30"/>
                    <a:gd name="T20" fmla="*/ 25 w 27"/>
                    <a:gd name="T21" fmla="*/ 30 h 30"/>
                    <a:gd name="T22" fmla="*/ 6 w 27"/>
                    <a:gd name="T23" fmla="*/ 15 h 30"/>
                    <a:gd name="T24" fmla="*/ 23 w 27"/>
                    <a:gd name="T25" fmla="*/ 25 h 30"/>
                    <a:gd name="T26" fmla="*/ 23 w 27"/>
                    <a:gd name="T27" fmla="*/ 6 h 30"/>
                    <a:gd name="T28" fmla="*/ 6 w 27"/>
                    <a:gd name="T29" fmla="*/ 15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7" h="30">
                      <a:moveTo>
                        <a:pt x="25" y="30"/>
                      </a:move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5"/>
                      </a:cubicBezTo>
                      <a:cubicBezTo>
                        <a:pt x="0" y="15"/>
                        <a:pt x="0" y="14"/>
                        <a:pt x="1" y="14"/>
                      </a:cubicBez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4" y="0"/>
                        <a:pt x="25" y="0"/>
                        <a:pt x="26" y="1"/>
                      </a:cubicBezTo>
                      <a:cubicBezTo>
                        <a:pt x="26" y="1"/>
                        <a:pt x="27" y="2"/>
                        <a:pt x="27" y="2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9"/>
                        <a:pt x="26" y="30"/>
                        <a:pt x="26" y="30"/>
                      </a:cubicBezTo>
                      <a:cubicBezTo>
                        <a:pt x="25" y="30"/>
                        <a:pt x="25" y="30"/>
                        <a:pt x="25" y="30"/>
                      </a:cubicBezTo>
                      <a:close/>
                      <a:moveTo>
                        <a:pt x="6" y="15"/>
                      </a:moveTo>
                      <a:cubicBezTo>
                        <a:pt x="23" y="25"/>
                        <a:pt x="23" y="25"/>
                        <a:pt x="23" y="25"/>
                      </a:cubicBezTo>
                      <a:cubicBezTo>
                        <a:pt x="23" y="6"/>
                        <a:pt x="23" y="6"/>
                        <a:pt x="23" y="6"/>
                      </a:cubicBezTo>
                      <a:lnTo>
                        <a:pt x="6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5" name="Freeform 788">
                  <a:extLst>
                    <a:ext uri="{FF2B5EF4-FFF2-40B4-BE49-F238E27FC236}">
                      <a16:creationId xmlns:a16="http://schemas.microsoft.com/office/drawing/2014/main" id="{5117BB49-12DB-4D97-B8CF-8BD388006E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464"/>
                  <a:ext cx="33" cy="156"/>
                </a:xfrm>
                <a:custGeom>
                  <a:avLst/>
                  <a:gdLst>
                    <a:gd name="T0" fmla="*/ 7 w 14"/>
                    <a:gd name="T1" fmla="*/ 66 h 66"/>
                    <a:gd name="T2" fmla="*/ 6 w 14"/>
                    <a:gd name="T3" fmla="*/ 66 h 66"/>
                    <a:gd name="T4" fmla="*/ 1 w 14"/>
                    <a:gd name="T5" fmla="*/ 63 h 66"/>
                    <a:gd name="T6" fmla="*/ 0 w 14"/>
                    <a:gd name="T7" fmla="*/ 62 h 66"/>
                    <a:gd name="T8" fmla="*/ 0 w 14"/>
                    <a:gd name="T9" fmla="*/ 2 h 66"/>
                    <a:gd name="T10" fmla="*/ 1 w 14"/>
                    <a:gd name="T11" fmla="*/ 0 h 66"/>
                    <a:gd name="T12" fmla="*/ 3 w 14"/>
                    <a:gd name="T13" fmla="*/ 0 h 66"/>
                    <a:gd name="T14" fmla="*/ 13 w 14"/>
                    <a:gd name="T15" fmla="*/ 5 h 66"/>
                    <a:gd name="T16" fmla="*/ 14 w 14"/>
                    <a:gd name="T17" fmla="*/ 7 h 66"/>
                    <a:gd name="T18" fmla="*/ 14 w 14"/>
                    <a:gd name="T19" fmla="*/ 61 h 66"/>
                    <a:gd name="T20" fmla="*/ 13 w 14"/>
                    <a:gd name="T21" fmla="*/ 63 h 66"/>
                    <a:gd name="T22" fmla="*/ 8 w 14"/>
                    <a:gd name="T23" fmla="*/ 66 h 66"/>
                    <a:gd name="T24" fmla="*/ 7 w 14"/>
                    <a:gd name="T25" fmla="*/ 66 h 66"/>
                    <a:gd name="T26" fmla="*/ 4 w 14"/>
                    <a:gd name="T27" fmla="*/ 60 h 66"/>
                    <a:gd name="T28" fmla="*/ 7 w 14"/>
                    <a:gd name="T29" fmla="*/ 62 h 66"/>
                    <a:gd name="T30" fmla="*/ 10 w 14"/>
                    <a:gd name="T31" fmla="*/ 60 h 66"/>
                    <a:gd name="T32" fmla="*/ 10 w 14"/>
                    <a:gd name="T33" fmla="*/ 8 h 66"/>
                    <a:gd name="T34" fmla="*/ 4 w 14"/>
                    <a:gd name="T35" fmla="*/ 5 h 66"/>
                    <a:gd name="T36" fmla="*/ 4 w 14"/>
                    <a:gd name="T37" fmla="*/ 6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66">
                      <a:moveTo>
                        <a:pt x="7" y="66"/>
                      </a:moveTo>
                      <a:cubicBezTo>
                        <a:pt x="6" y="66"/>
                        <a:pt x="6" y="66"/>
                        <a:pt x="6" y="66"/>
                      </a:cubicBezTo>
                      <a:cubicBezTo>
                        <a:pt x="1" y="63"/>
                        <a:pt x="1" y="63"/>
                        <a:pt x="1" y="63"/>
                      </a:cubicBezTo>
                      <a:cubicBezTo>
                        <a:pt x="1" y="63"/>
                        <a:pt x="0" y="62"/>
                        <a:pt x="0" y="6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3" y="6"/>
                        <a:pt x="14" y="6"/>
                        <a:pt x="14" y="7"/>
                      </a:cubicBezTo>
                      <a:cubicBezTo>
                        <a:pt x="14" y="61"/>
                        <a:pt x="14" y="61"/>
                        <a:pt x="14" y="61"/>
                      </a:cubicBezTo>
                      <a:cubicBezTo>
                        <a:pt x="14" y="62"/>
                        <a:pt x="13" y="63"/>
                        <a:pt x="13" y="63"/>
                      </a:cubicBezTo>
                      <a:cubicBezTo>
                        <a:pt x="8" y="66"/>
                        <a:pt x="8" y="66"/>
                        <a:pt x="8" y="66"/>
                      </a:cubicBezTo>
                      <a:cubicBezTo>
                        <a:pt x="7" y="66"/>
                        <a:pt x="7" y="66"/>
                        <a:pt x="7" y="66"/>
                      </a:cubicBezTo>
                      <a:close/>
                      <a:moveTo>
                        <a:pt x="4" y="60"/>
                      </a:move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10" y="60"/>
                        <a:pt x="10" y="60"/>
                        <a:pt x="10" y="60"/>
                      </a:cubicBezTo>
                      <a:cubicBezTo>
                        <a:pt x="10" y="8"/>
                        <a:pt x="10" y="8"/>
                        <a:pt x="10" y="8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6" name="Freeform 789">
                  <a:extLst>
                    <a:ext uri="{FF2B5EF4-FFF2-40B4-BE49-F238E27FC236}">
                      <a16:creationId xmlns:a16="http://schemas.microsoft.com/office/drawing/2014/main" id="{480CCF53-046D-4592-99B6-32265BB925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22" y="2261"/>
                  <a:ext cx="87" cy="54"/>
                </a:xfrm>
                <a:custGeom>
                  <a:avLst/>
                  <a:gdLst>
                    <a:gd name="T0" fmla="*/ 10 w 37"/>
                    <a:gd name="T1" fmla="*/ 23 h 23"/>
                    <a:gd name="T2" fmla="*/ 9 w 37"/>
                    <a:gd name="T3" fmla="*/ 23 h 23"/>
                    <a:gd name="T4" fmla="*/ 1 w 37"/>
                    <a:gd name="T5" fmla="*/ 18 h 23"/>
                    <a:gd name="T6" fmla="*/ 0 w 37"/>
                    <a:gd name="T7" fmla="*/ 17 h 23"/>
                    <a:gd name="T8" fmla="*/ 1 w 37"/>
                    <a:gd name="T9" fmla="*/ 15 h 23"/>
                    <a:gd name="T10" fmla="*/ 27 w 37"/>
                    <a:gd name="T11" fmla="*/ 0 h 23"/>
                    <a:gd name="T12" fmla="*/ 29 w 37"/>
                    <a:gd name="T13" fmla="*/ 0 h 23"/>
                    <a:gd name="T14" fmla="*/ 36 w 37"/>
                    <a:gd name="T15" fmla="*/ 4 h 23"/>
                    <a:gd name="T16" fmla="*/ 37 w 37"/>
                    <a:gd name="T17" fmla="*/ 6 h 23"/>
                    <a:gd name="T18" fmla="*/ 37 w 37"/>
                    <a:gd name="T19" fmla="*/ 7 h 23"/>
                    <a:gd name="T20" fmla="*/ 36 w 37"/>
                    <a:gd name="T21" fmla="*/ 9 h 23"/>
                    <a:gd name="T22" fmla="*/ 11 w 37"/>
                    <a:gd name="T23" fmla="*/ 23 h 23"/>
                    <a:gd name="T24" fmla="*/ 10 w 37"/>
                    <a:gd name="T25" fmla="*/ 23 h 23"/>
                    <a:gd name="T26" fmla="*/ 6 w 37"/>
                    <a:gd name="T27" fmla="*/ 17 h 23"/>
                    <a:gd name="T28" fmla="*/ 10 w 37"/>
                    <a:gd name="T29" fmla="*/ 19 h 23"/>
                    <a:gd name="T30" fmla="*/ 32 w 37"/>
                    <a:gd name="T31" fmla="*/ 7 h 23"/>
                    <a:gd name="T32" fmla="*/ 28 w 37"/>
                    <a:gd name="T33" fmla="*/ 4 h 23"/>
                    <a:gd name="T34" fmla="*/ 6 w 37"/>
                    <a:gd name="T35" fmla="*/ 17 h 23"/>
                    <a:gd name="T36" fmla="*/ 35 w 37"/>
                    <a:gd name="T37" fmla="*/ 7 h 23"/>
                    <a:gd name="T38" fmla="*/ 35 w 37"/>
                    <a:gd name="T39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7" h="23">
                      <a:moveTo>
                        <a:pt x="10" y="23"/>
                      </a:moveTo>
                      <a:cubicBezTo>
                        <a:pt x="10" y="23"/>
                        <a:pt x="10" y="23"/>
                        <a:pt x="9" y="23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8"/>
                        <a:pt x="0" y="17"/>
                        <a:pt x="0" y="17"/>
                      </a:cubicBezTo>
                      <a:cubicBezTo>
                        <a:pt x="0" y="16"/>
                        <a:pt x="1" y="15"/>
                        <a:pt x="1" y="15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7" y="0"/>
                        <a:pt x="28" y="0"/>
                        <a:pt x="29" y="0"/>
                      </a:cubicBezTo>
                      <a:cubicBezTo>
                        <a:pt x="36" y="4"/>
                        <a:pt x="36" y="4"/>
                        <a:pt x="36" y="4"/>
                      </a:cubicBezTo>
                      <a:cubicBezTo>
                        <a:pt x="36" y="5"/>
                        <a:pt x="37" y="5"/>
                        <a:pt x="37" y="6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7" y="8"/>
                        <a:pt x="36" y="9"/>
                        <a:pt x="36" y="9"/>
                      </a:cubicBezTo>
                      <a:cubicBezTo>
                        <a:pt x="11" y="23"/>
                        <a:pt x="11" y="23"/>
                        <a:pt x="11" y="23"/>
                      </a:cubicBezTo>
                      <a:cubicBezTo>
                        <a:pt x="11" y="23"/>
                        <a:pt x="11" y="23"/>
                        <a:pt x="10" y="23"/>
                      </a:cubicBezTo>
                      <a:close/>
                      <a:moveTo>
                        <a:pt x="6" y="17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32" y="7"/>
                        <a:pt x="32" y="7"/>
                        <a:pt x="32" y="7"/>
                      </a:cubicBezTo>
                      <a:cubicBezTo>
                        <a:pt x="28" y="4"/>
                        <a:pt x="28" y="4"/>
                        <a:pt x="28" y="4"/>
                      </a:cubicBezTo>
                      <a:lnTo>
                        <a:pt x="6" y="17"/>
                      </a:lnTo>
                      <a:close/>
                      <a:moveTo>
                        <a:pt x="35" y="7"/>
                      </a:moveTo>
                      <a:cubicBezTo>
                        <a:pt x="35" y="7"/>
                        <a:pt x="35" y="7"/>
                        <a:pt x="3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7" name="Freeform 790">
                  <a:extLst>
                    <a:ext uri="{FF2B5EF4-FFF2-40B4-BE49-F238E27FC236}">
                      <a16:creationId xmlns:a16="http://schemas.microsoft.com/office/drawing/2014/main" id="{CED59594-BC1F-4CFA-9BB0-662C288A4C6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2525"/>
                  <a:ext cx="267" cy="253"/>
                </a:xfrm>
                <a:custGeom>
                  <a:avLst/>
                  <a:gdLst>
                    <a:gd name="T0" fmla="*/ 2 w 113"/>
                    <a:gd name="T1" fmla="*/ 107 h 107"/>
                    <a:gd name="T2" fmla="*/ 1 w 113"/>
                    <a:gd name="T3" fmla="*/ 106 h 107"/>
                    <a:gd name="T4" fmla="*/ 0 w 113"/>
                    <a:gd name="T5" fmla="*/ 105 h 107"/>
                    <a:gd name="T6" fmla="*/ 0 w 113"/>
                    <a:gd name="T7" fmla="*/ 30 h 107"/>
                    <a:gd name="T8" fmla="*/ 1 w 113"/>
                    <a:gd name="T9" fmla="*/ 28 h 107"/>
                    <a:gd name="T10" fmla="*/ 49 w 113"/>
                    <a:gd name="T11" fmla="*/ 0 h 107"/>
                    <a:gd name="T12" fmla="*/ 51 w 113"/>
                    <a:gd name="T13" fmla="*/ 0 h 107"/>
                    <a:gd name="T14" fmla="*/ 112 w 113"/>
                    <a:gd name="T15" fmla="*/ 35 h 107"/>
                    <a:gd name="T16" fmla="*/ 113 w 113"/>
                    <a:gd name="T17" fmla="*/ 37 h 107"/>
                    <a:gd name="T18" fmla="*/ 113 w 113"/>
                    <a:gd name="T19" fmla="*/ 42 h 107"/>
                    <a:gd name="T20" fmla="*/ 112 w 113"/>
                    <a:gd name="T21" fmla="*/ 43 h 107"/>
                    <a:gd name="T22" fmla="*/ 3 w 113"/>
                    <a:gd name="T23" fmla="*/ 106 h 107"/>
                    <a:gd name="T24" fmla="*/ 2 w 113"/>
                    <a:gd name="T25" fmla="*/ 107 h 107"/>
                    <a:gd name="T26" fmla="*/ 4 w 113"/>
                    <a:gd name="T27" fmla="*/ 31 h 107"/>
                    <a:gd name="T28" fmla="*/ 4 w 113"/>
                    <a:gd name="T29" fmla="*/ 101 h 107"/>
                    <a:gd name="T30" fmla="*/ 109 w 113"/>
                    <a:gd name="T31" fmla="*/ 41 h 107"/>
                    <a:gd name="T32" fmla="*/ 109 w 113"/>
                    <a:gd name="T33" fmla="*/ 38 h 107"/>
                    <a:gd name="T34" fmla="*/ 50 w 113"/>
                    <a:gd name="T35" fmla="*/ 4 h 107"/>
                    <a:gd name="T36" fmla="*/ 4 w 113"/>
                    <a:gd name="T37" fmla="*/ 31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3" h="107">
                      <a:moveTo>
                        <a:pt x="2" y="107"/>
                      </a:moveTo>
                      <a:cubicBezTo>
                        <a:pt x="2" y="107"/>
                        <a:pt x="1" y="106"/>
                        <a:pt x="1" y="106"/>
                      </a:cubicBezTo>
                      <a:cubicBezTo>
                        <a:pt x="0" y="106"/>
                        <a:pt x="0" y="105"/>
                        <a:pt x="0" y="10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29"/>
                        <a:pt x="0" y="28"/>
                        <a:pt x="1" y="28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50" y="0"/>
                        <a:pt x="51" y="0"/>
                        <a:pt x="51" y="0"/>
                      </a:cubicBezTo>
                      <a:cubicBezTo>
                        <a:pt x="112" y="35"/>
                        <a:pt x="112" y="35"/>
                        <a:pt x="112" y="35"/>
                      </a:cubicBezTo>
                      <a:cubicBezTo>
                        <a:pt x="112" y="35"/>
                        <a:pt x="113" y="36"/>
                        <a:pt x="113" y="37"/>
                      </a:cubicBezTo>
                      <a:cubicBezTo>
                        <a:pt x="113" y="42"/>
                        <a:pt x="113" y="42"/>
                        <a:pt x="113" y="42"/>
                      </a:cubicBezTo>
                      <a:cubicBezTo>
                        <a:pt x="113" y="42"/>
                        <a:pt x="112" y="43"/>
                        <a:pt x="112" y="43"/>
                      </a:cubicBezTo>
                      <a:cubicBezTo>
                        <a:pt x="3" y="106"/>
                        <a:pt x="3" y="106"/>
                        <a:pt x="3" y="106"/>
                      </a:cubicBezTo>
                      <a:cubicBezTo>
                        <a:pt x="3" y="106"/>
                        <a:pt x="2" y="107"/>
                        <a:pt x="2" y="107"/>
                      </a:cubicBezTo>
                      <a:close/>
                      <a:moveTo>
                        <a:pt x="4" y="3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109" y="41"/>
                        <a:pt x="109" y="41"/>
                        <a:pt x="109" y="41"/>
                      </a:cubicBezTo>
                      <a:cubicBezTo>
                        <a:pt x="109" y="38"/>
                        <a:pt x="109" y="38"/>
                        <a:pt x="109" y="38"/>
                      </a:cubicBezTo>
                      <a:cubicBezTo>
                        <a:pt x="50" y="4"/>
                        <a:pt x="50" y="4"/>
                        <a:pt x="50" y="4"/>
                      </a:cubicBezTo>
                      <a:lnTo>
                        <a:pt x="4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8" name="Freeform 791">
                  <a:extLst>
                    <a:ext uri="{FF2B5EF4-FFF2-40B4-BE49-F238E27FC236}">
                      <a16:creationId xmlns:a16="http://schemas.microsoft.com/office/drawing/2014/main" id="{00B4638C-D748-4B2D-BFCD-2AB43066A1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2" y="2207"/>
                  <a:ext cx="17" cy="16"/>
                </a:xfrm>
                <a:custGeom>
                  <a:avLst/>
                  <a:gdLst>
                    <a:gd name="T0" fmla="*/ 2 w 7"/>
                    <a:gd name="T1" fmla="*/ 7 h 7"/>
                    <a:gd name="T2" fmla="*/ 1 w 7"/>
                    <a:gd name="T3" fmla="*/ 6 h 7"/>
                    <a:gd name="T4" fmla="*/ 0 w 7"/>
                    <a:gd name="T5" fmla="*/ 5 h 7"/>
                    <a:gd name="T6" fmla="*/ 0 w 7"/>
                    <a:gd name="T7" fmla="*/ 2 h 7"/>
                    <a:gd name="T8" fmla="*/ 1 w 7"/>
                    <a:gd name="T9" fmla="*/ 0 h 7"/>
                    <a:gd name="T10" fmla="*/ 3 w 7"/>
                    <a:gd name="T11" fmla="*/ 0 h 7"/>
                    <a:gd name="T12" fmla="*/ 6 w 7"/>
                    <a:gd name="T13" fmla="*/ 2 h 7"/>
                    <a:gd name="T14" fmla="*/ 7 w 7"/>
                    <a:gd name="T15" fmla="*/ 3 h 7"/>
                    <a:gd name="T16" fmla="*/ 6 w 7"/>
                    <a:gd name="T17" fmla="*/ 5 h 7"/>
                    <a:gd name="T18" fmla="*/ 3 w 7"/>
                    <a:gd name="T19" fmla="*/ 6 h 7"/>
                    <a:gd name="T20" fmla="*/ 2 w 7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2" y="7"/>
                        <a:pt x="1" y="7"/>
                        <a:pt x="1" y="6"/>
                      </a:cubicBezTo>
                      <a:cubicBezTo>
                        <a:pt x="0" y="6"/>
                        <a:pt x="0" y="5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6" y="2"/>
                        <a:pt x="7" y="3"/>
                        <a:pt x="7" y="3"/>
                      </a:cubicBezTo>
                      <a:cubicBezTo>
                        <a:pt x="7" y="4"/>
                        <a:pt x="6" y="5"/>
                        <a:pt x="6" y="5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7"/>
                        <a:pt x="2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9" name="Freeform 792">
                  <a:extLst>
                    <a:ext uri="{FF2B5EF4-FFF2-40B4-BE49-F238E27FC236}">
                      <a16:creationId xmlns:a16="http://schemas.microsoft.com/office/drawing/2014/main" id="{ED422A1D-9A55-4594-A0B6-077D58F2FF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1918"/>
                  <a:ext cx="57" cy="340"/>
                </a:xfrm>
                <a:custGeom>
                  <a:avLst/>
                  <a:gdLst>
                    <a:gd name="T0" fmla="*/ 19 w 24"/>
                    <a:gd name="T1" fmla="*/ 144 h 144"/>
                    <a:gd name="T2" fmla="*/ 18 w 24"/>
                    <a:gd name="T3" fmla="*/ 144 h 144"/>
                    <a:gd name="T4" fmla="*/ 1 w 24"/>
                    <a:gd name="T5" fmla="*/ 134 h 144"/>
                    <a:gd name="T6" fmla="*/ 0 w 24"/>
                    <a:gd name="T7" fmla="*/ 132 h 144"/>
                    <a:gd name="T8" fmla="*/ 0 w 24"/>
                    <a:gd name="T9" fmla="*/ 13 h 144"/>
                    <a:gd name="T10" fmla="*/ 1 w 24"/>
                    <a:gd name="T11" fmla="*/ 12 h 144"/>
                    <a:gd name="T12" fmla="*/ 21 w 24"/>
                    <a:gd name="T13" fmla="*/ 0 h 144"/>
                    <a:gd name="T14" fmla="*/ 23 w 24"/>
                    <a:gd name="T15" fmla="*/ 0 h 144"/>
                    <a:gd name="T16" fmla="*/ 24 w 24"/>
                    <a:gd name="T17" fmla="*/ 2 h 144"/>
                    <a:gd name="T18" fmla="*/ 24 w 24"/>
                    <a:gd name="T19" fmla="*/ 140 h 144"/>
                    <a:gd name="T20" fmla="*/ 23 w 24"/>
                    <a:gd name="T21" fmla="*/ 142 h 144"/>
                    <a:gd name="T22" fmla="*/ 20 w 24"/>
                    <a:gd name="T23" fmla="*/ 144 h 144"/>
                    <a:gd name="T24" fmla="*/ 19 w 24"/>
                    <a:gd name="T25" fmla="*/ 144 h 144"/>
                    <a:gd name="T26" fmla="*/ 4 w 24"/>
                    <a:gd name="T27" fmla="*/ 131 h 144"/>
                    <a:gd name="T28" fmla="*/ 19 w 24"/>
                    <a:gd name="T29" fmla="*/ 140 h 144"/>
                    <a:gd name="T30" fmla="*/ 20 w 24"/>
                    <a:gd name="T31" fmla="*/ 139 h 144"/>
                    <a:gd name="T32" fmla="*/ 20 w 24"/>
                    <a:gd name="T33" fmla="*/ 5 h 144"/>
                    <a:gd name="T34" fmla="*/ 4 w 24"/>
                    <a:gd name="T35" fmla="*/ 15 h 144"/>
                    <a:gd name="T36" fmla="*/ 4 w 24"/>
                    <a:gd name="T37" fmla="*/ 131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144">
                      <a:moveTo>
                        <a:pt x="19" y="144"/>
                      </a:moveTo>
                      <a:cubicBezTo>
                        <a:pt x="18" y="144"/>
                        <a:pt x="18" y="144"/>
                        <a:pt x="18" y="144"/>
                      </a:cubicBezTo>
                      <a:cubicBezTo>
                        <a:pt x="1" y="134"/>
                        <a:pt x="1" y="134"/>
                        <a:pt x="1" y="134"/>
                      </a:cubicBezTo>
                      <a:cubicBezTo>
                        <a:pt x="1" y="134"/>
                        <a:pt x="0" y="133"/>
                        <a:pt x="0" y="132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3"/>
                        <a:pt x="1" y="12"/>
                        <a:pt x="1" y="12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1"/>
                        <a:pt x="24" y="1"/>
                        <a:pt x="24" y="2"/>
                      </a:cubicBezTo>
                      <a:cubicBezTo>
                        <a:pt x="24" y="140"/>
                        <a:pt x="24" y="140"/>
                        <a:pt x="24" y="140"/>
                      </a:cubicBezTo>
                      <a:cubicBezTo>
                        <a:pt x="24" y="141"/>
                        <a:pt x="23" y="141"/>
                        <a:pt x="23" y="142"/>
                      </a:cubicBezTo>
                      <a:cubicBezTo>
                        <a:pt x="20" y="144"/>
                        <a:pt x="20" y="144"/>
                        <a:pt x="20" y="144"/>
                      </a:cubicBezTo>
                      <a:cubicBezTo>
                        <a:pt x="19" y="144"/>
                        <a:pt x="19" y="144"/>
                        <a:pt x="19" y="144"/>
                      </a:cubicBezTo>
                      <a:close/>
                      <a:moveTo>
                        <a:pt x="4" y="131"/>
                      </a:moveTo>
                      <a:cubicBezTo>
                        <a:pt x="19" y="140"/>
                        <a:pt x="19" y="140"/>
                        <a:pt x="19" y="140"/>
                      </a:cubicBezTo>
                      <a:cubicBezTo>
                        <a:pt x="20" y="139"/>
                        <a:pt x="20" y="139"/>
                        <a:pt x="20" y="139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4" y="15"/>
                        <a:pt x="4" y="15"/>
                        <a:pt x="4" y="15"/>
                      </a:cubicBezTo>
                      <a:lnTo>
                        <a:pt x="4" y="1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0" name="Freeform 793">
                  <a:extLst>
                    <a:ext uri="{FF2B5EF4-FFF2-40B4-BE49-F238E27FC236}">
                      <a16:creationId xmlns:a16="http://schemas.microsoft.com/office/drawing/2014/main" id="{B4D2D491-F38B-4BB6-9B10-4CD4075F99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2230"/>
                  <a:ext cx="45" cy="50"/>
                </a:xfrm>
                <a:custGeom>
                  <a:avLst/>
                  <a:gdLst>
                    <a:gd name="T0" fmla="*/ 3 w 19"/>
                    <a:gd name="T1" fmla="*/ 21 h 21"/>
                    <a:gd name="T2" fmla="*/ 2 w 19"/>
                    <a:gd name="T3" fmla="*/ 20 h 21"/>
                    <a:gd name="T4" fmla="*/ 1 w 19"/>
                    <a:gd name="T5" fmla="*/ 20 h 21"/>
                    <a:gd name="T6" fmla="*/ 0 w 19"/>
                    <a:gd name="T7" fmla="*/ 18 h 21"/>
                    <a:gd name="T8" fmla="*/ 0 w 19"/>
                    <a:gd name="T9" fmla="*/ 2 h 21"/>
                    <a:gd name="T10" fmla="*/ 1 w 19"/>
                    <a:gd name="T11" fmla="*/ 1 h 21"/>
                    <a:gd name="T12" fmla="*/ 3 w 19"/>
                    <a:gd name="T13" fmla="*/ 1 h 21"/>
                    <a:gd name="T14" fmla="*/ 18 w 19"/>
                    <a:gd name="T15" fmla="*/ 9 h 21"/>
                    <a:gd name="T16" fmla="*/ 19 w 19"/>
                    <a:gd name="T17" fmla="*/ 11 h 21"/>
                    <a:gd name="T18" fmla="*/ 18 w 19"/>
                    <a:gd name="T19" fmla="*/ 13 h 21"/>
                    <a:gd name="T20" fmla="*/ 4 w 19"/>
                    <a:gd name="T21" fmla="*/ 20 h 21"/>
                    <a:gd name="T22" fmla="*/ 3 w 19"/>
                    <a:gd name="T23" fmla="*/ 21 h 21"/>
                    <a:gd name="T24" fmla="*/ 4 w 19"/>
                    <a:gd name="T25" fmla="*/ 6 h 21"/>
                    <a:gd name="T26" fmla="*/ 4 w 19"/>
                    <a:gd name="T27" fmla="*/ 16 h 21"/>
                    <a:gd name="T28" fmla="*/ 13 w 19"/>
                    <a:gd name="T29" fmla="*/ 11 h 21"/>
                    <a:gd name="T30" fmla="*/ 4 w 19"/>
                    <a:gd name="T31" fmla="*/ 6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" h="21">
                      <a:moveTo>
                        <a:pt x="3" y="21"/>
                      </a:moveTo>
                      <a:cubicBezTo>
                        <a:pt x="3" y="21"/>
                        <a:pt x="3" y="21"/>
                        <a:pt x="2" y="20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19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8" y="9"/>
                        <a:pt x="18" y="9"/>
                        <a:pt x="18" y="9"/>
                      </a:cubicBezTo>
                      <a:cubicBezTo>
                        <a:pt x="19" y="10"/>
                        <a:pt x="19" y="10"/>
                        <a:pt x="19" y="11"/>
                      </a:cubicBezTo>
                      <a:cubicBezTo>
                        <a:pt x="19" y="12"/>
                        <a:pt x="19" y="12"/>
                        <a:pt x="18" y="13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4" y="21"/>
                        <a:pt x="4" y="21"/>
                        <a:pt x="3" y="21"/>
                      </a:cubicBezTo>
                      <a:close/>
                      <a:moveTo>
                        <a:pt x="4" y="6"/>
                      </a:moveTo>
                      <a:cubicBezTo>
                        <a:pt x="4" y="16"/>
                        <a:pt x="4" y="16"/>
                        <a:pt x="4" y="16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1" name="Freeform 794">
                  <a:extLst>
                    <a:ext uri="{FF2B5EF4-FFF2-40B4-BE49-F238E27FC236}">
                      <a16:creationId xmlns:a16="http://schemas.microsoft.com/office/drawing/2014/main" id="{B0716795-9472-4A78-B814-650113FA10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68" y="2280"/>
                  <a:ext cx="113" cy="125"/>
                </a:xfrm>
                <a:custGeom>
                  <a:avLst/>
                  <a:gdLst>
                    <a:gd name="T0" fmla="*/ 46 w 48"/>
                    <a:gd name="T1" fmla="*/ 53 h 53"/>
                    <a:gd name="T2" fmla="*/ 45 w 48"/>
                    <a:gd name="T3" fmla="*/ 52 h 53"/>
                    <a:gd name="T4" fmla="*/ 23 w 48"/>
                    <a:gd name="T5" fmla="*/ 40 h 53"/>
                    <a:gd name="T6" fmla="*/ 9 w 48"/>
                    <a:gd name="T7" fmla="*/ 48 h 53"/>
                    <a:gd name="T8" fmla="*/ 7 w 48"/>
                    <a:gd name="T9" fmla="*/ 48 h 53"/>
                    <a:gd name="T10" fmla="*/ 1 w 48"/>
                    <a:gd name="T11" fmla="*/ 45 h 53"/>
                    <a:gd name="T12" fmla="*/ 0 w 48"/>
                    <a:gd name="T13" fmla="*/ 43 h 53"/>
                    <a:gd name="T14" fmla="*/ 1 w 48"/>
                    <a:gd name="T15" fmla="*/ 41 h 53"/>
                    <a:gd name="T16" fmla="*/ 8 w 48"/>
                    <a:gd name="T17" fmla="*/ 37 h 53"/>
                    <a:gd name="T18" fmla="*/ 8 w 48"/>
                    <a:gd name="T19" fmla="*/ 20 h 53"/>
                    <a:gd name="T20" fmla="*/ 9 w 48"/>
                    <a:gd name="T21" fmla="*/ 18 h 53"/>
                    <a:gd name="T22" fmla="*/ 40 w 48"/>
                    <a:gd name="T23" fmla="*/ 0 h 53"/>
                    <a:gd name="T24" fmla="*/ 42 w 48"/>
                    <a:gd name="T25" fmla="*/ 0 h 53"/>
                    <a:gd name="T26" fmla="*/ 47 w 48"/>
                    <a:gd name="T27" fmla="*/ 3 h 53"/>
                    <a:gd name="T28" fmla="*/ 48 w 48"/>
                    <a:gd name="T29" fmla="*/ 5 h 53"/>
                    <a:gd name="T30" fmla="*/ 48 w 48"/>
                    <a:gd name="T31" fmla="*/ 51 h 53"/>
                    <a:gd name="T32" fmla="*/ 47 w 48"/>
                    <a:gd name="T33" fmla="*/ 52 h 53"/>
                    <a:gd name="T34" fmla="*/ 46 w 48"/>
                    <a:gd name="T35" fmla="*/ 53 h 53"/>
                    <a:gd name="T36" fmla="*/ 23 w 48"/>
                    <a:gd name="T37" fmla="*/ 36 h 53"/>
                    <a:gd name="T38" fmla="*/ 24 w 48"/>
                    <a:gd name="T39" fmla="*/ 36 h 53"/>
                    <a:gd name="T40" fmla="*/ 44 w 48"/>
                    <a:gd name="T41" fmla="*/ 47 h 53"/>
                    <a:gd name="T42" fmla="*/ 44 w 48"/>
                    <a:gd name="T43" fmla="*/ 6 h 53"/>
                    <a:gd name="T44" fmla="*/ 41 w 48"/>
                    <a:gd name="T45" fmla="*/ 4 h 53"/>
                    <a:gd name="T46" fmla="*/ 12 w 48"/>
                    <a:gd name="T47" fmla="*/ 21 h 53"/>
                    <a:gd name="T48" fmla="*/ 12 w 48"/>
                    <a:gd name="T49" fmla="*/ 38 h 53"/>
                    <a:gd name="T50" fmla="*/ 11 w 48"/>
                    <a:gd name="T51" fmla="*/ 40 h 53"/>
                    <a:gd name="T52" fmla="*/ 6 w 48"/>
                    <a:gd name="T53" fmla="*/ 43 h 53"/>
                    <a:gd name="T54" fmla="*/ 8 w 48"/>
                    <a:gd name="T55" fmla="*/ 44 h 53"/>
                    <a:gd name="T56" fmla="*/ 22 w 48"/>
                    <a:gd name="T57" fmla="*/ 36 h 53"/>
                    <a:gd name="T58" fmla="*/ 23 w 48"/>
                    <a:gd name="T59" fmla="*/ 36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8" h="53">
                      <a:moveTo>
                        <a:pt x="46" y="53"/>
                      </a:moveTo>
                      <a:cubicBezTo>
                        <a:pt x="46" y="53"/>
                        <a:pt x="45" y="53"/>
                        <a:pt x="45" y="52"/>
                      </a:cubicBezTo>
                      <a:cubicBezTo>
                        <a:pt x="23" y="40"/>
                        <a:pt x="23" y="40"/>
                        <a:pt x="23" y="40"/>
                      </a:cubicBezTo>
                      <a:cubicBezTo>
                        <a:pt x="9" y="48"/>
                        <a:pt x="9" y="48"/>
                        <a:pt x="9" y="48"/>
                      </a:cubicBezTo>
                      <a:cubicBezTo>
                        <a:pt x="8" y="49"/>
                        <a:pt x="7" y="49"/>
                        <a:pt x="7" y="4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4"/>
                        <a:pt x="0" y="44"/>
                        <a:pt x="0" y="43"/>
                      </a:cubicBezTo>
                      <a:cubicBezTo>
                        <a:pt x="0" y="42"/>
                        <a:pt x="0" y="42"/>
                        <a:pt x="1" y="41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8" y="19"/>
                        <a:pt x="8" y="18"/>
                        <a:pt x="9" y="18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0" y="0"/>
                        <a:pt x="41" y="0"/>
                        <a:pt x="42" y="0"/>
                      </a:cubicBezTo>
                      <a:cubicBezTo>
                        <a:pt x="47" y="3"/>
                        <a:pt x="47" y="3"/>
                        <a:pt x="47" y="3"/>
                      </a:cubicBezTo>
                      <a:cubicBezTo>
                        <a:pt x="48" y="4"/>
                        <a:pt x="48" y="4"/>
                        <a:pt x="48" y="5"/>
                      </a:cubicBezTo>
                      <a:cubicBezTo>
                        <a:pt x="48" y="51"/>
                        <a:pt x="48" y="51"/>
                        <a:pt x="48" y="51"/>
                      </a:cubicBezTo>
                      <a:cubicBezTo>
                        <a:pt x="48" y="51"/>
                        <a:pt x="48" y="52"/>
                        <a:pt x="47" y="52"/>
                      </a:cubicBezTo>
                      <a:cubicBezTo>
                        <a:pt x="47" y="53"/>
                        <a:pt x="46" y="53"/>
                        <a:pt x="46" y="53"/>
                      </a:cubicBezTo>
                      <a:close/>
                      <a:moveTo>
                        <a:pt x="23" y="36"/>
                      </a:move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4" y="6"/>
                        <a:pt x="44" y="6"/>
                        <a:pt x="44" y="6"/>
                      </a:cubicBezTo>
                      <a:cubicBezTo>
                        <a:pt x="41" y="4"/>
                        <a:pt x="41" y="4"/>
                        <a:pt x="41" y="4"/>
                      </a:cubicBezTo>
                      <a:cubicBezTo>
                        <a:pt x="12" y="21"/>
                        <a:pt x="12" y="21"/>
                        <a:pt x="12" y="21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2" y="39"/>
                        <a:pt x="12" y="40"/>
                        <a:pt x="11" y="40"/>
                      </a:cubicBezTo>
                      <a:cubicBezTo>
                        <a:pt x="6" y="43"/>
                        <a:pt x="6" y="43"/>
                        <a:pt x="6" y="43"/>
                      </a:cubicBezTo>
                      <a:cubicBezTo>
                        <a:pt x="8" y="44"/>
                        <a:pt x="8" y="44"/>
                        <a:pt x="8" y="44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6"/>
                        <a:pt x="23" y="36"/>
                        <a:pt x="23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2" name="Freeform 795">
                  <a:extLst>
                    <a:ext uri="{FF2B5EF4-FFF2-40B4-BE49-F238E27FC236}">
                      <a16:creationId xmlns:a16="http://schemas.microsoft.com/office/drawing/2014/main" id="{B4860F43-9D8F-4207-888B-17C3056C0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1774"/>
                  <a:ext cx="17" cy="17"/>
                </a:xfrm>
                <a:custGeom>
                  <a:avLst/>
                  <a:gdLst>
                    <a:gd name="T0" fmla="*/ 2 w 7"/>
                    <a:gd name="T1" fmla="*/ 7 h 7"/>
                    <a:gd name="T2" fmla="*/ 1 w 7"/>
                    <a:gd name="T3" fmla="*/ 7 h 7"/>
                    <a:gd name="T4" fmla="*/ 0 w 7"/>
                    <a:gd name="T5" fmla="*/ 5 h 7"/>
                    <a:gd name="T6" fmla="*/ 0 w 7"/>
                    <a:gd name="T7" fmla="*/ 2 h 7"/>
                    <a:gd name="T8" fmla="*/ 1 w 7"/>
                    <a:gd name="T9" fmla="*/ 1 h 7"/>
                    <a:gd name="T10" fmla="*/ 3 w 7"/>
                    <a:gd name="T11" fmla="*/ 1 h 7"/>
                    <a:gd name="T12" fmla="*/ 6 w 7"/>
                    <a:gd name="T13" fmla="*/ 2 h 7"/>
                    <a:gd name="T14" fmla="*/ 7 w 7"/>
                    <a:gd name="T15" fmla="*/ 4 h 7"/>
                    <a:gd name="T16" fmla="*/ 6 w 7"/>
                    <a:gd name="T17" fmla="*/ 6 h 7"/>
                    <a:gd name="T18" fmla="*/ 3 w 7"/>
                    <a:gd name="T19" fmla="*/ 7 h 7"/>
                    <a:gd name="T20" fmla="*/ 2 w 7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2" y="7"/>
                        <a:pt x="2" y="7"/>
                        <a:pt x="1" y="7"/>
                      </a:cubicBezTo>
                      <a:cubicBezTo>
                        <a:pt x="1" y="7"/>
                        <a:pt x="0" y="6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7" y="3"/>
                        <a:pt x="7" y="3"/>
                        <a:pt x="7" y="4"/>
                      </a:cubicBezTo>
                      <a:cubicBezTo>
                        <a:pt x="7" y="5"/>
                        <a:pt x="7" y="5"/>
                        <a:pt x="6" y="6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7"/>
                        <a:pt x="3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3" name="Freeform 796">
                  <a:extLst>
                    <a:ext uri="{FF2B5EF4-FFF2-40B4-BE49-F238E27FC236}">
                      <a16:creationId xmlns:a16="http://schemas.microsoft.com/office/drawing/2014/main" id="{A647A647-236D-41B7-A691-1C4A154F67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2325"/>
                  <a:ext cx="40" cy="118"/>
                </a:xfrm>
                <a:custGeom>
                  <a:avLst/>
                  <a:gdLst>
                    <a:gd name="T0" fmla="*/ 15 w 17"/>
                    <a:gd name="T1" fmla="*/ 50 h 50"/>
                    <a:gd name="T2" fmla="*/ 14 w 17"/>
                    <a:gd name="T3" fmla="*/ 50 h 50"/>
                    <a:gd name="T4" fmla="*/ 1 w 17"/>
                    <a:gd name="T5" fmla="*/ 42 h 50"/>
                    <a:gd name="T6" fmla="*/ 0 w 17"/>
                    <a:gd name="T7" fmla="*/ 41 h 50"/>
                    <a:gd name="T8" fmla="*/ 0 w 17"/>
                    <a:gd name="T9" fmla="*/ 2 h 50"/>
                    <a:gd name="T10" fmla="*/ 1 w 17"/>
                    <a:gd name="T11" fmla="*/ 1 h 50"/>
                    <a:gd name="T12" fmla="*/ 3 w 17"/>
                    <a:gd name="T13" fmla="*/ 1 h 50"/>
                    <a:gd name="T14" fmla="*/ 16 w 17"/>
                    <a:gd name="T15" fmla="*/ 8 h 50"/>
                    <a:gd name="T16" fmla="*/ 17 w 17"/>
                    <a:gd name="T17" fmla="*/ 10 h 50"/>
                    <a:gd name="T18" fmla="*/ 17 w 17"/>
                    <a:gd name="T19" fmla="*/ 48 h 50"/>
                    <a:gd name="T20" fmla="*/ 16 w 17"/>
                    <a:gd name="T21" fmla="*/ 50 h 50"/>
                    <a:gd name="T22" fmla="*/ 15 w 17"/>
                    <a:gd name="T23" fmla="*/ 50 h 50"/>
                    <a:gd name="T24" fmla="*/ 4 w 17"/>
                    <a:gd name="T25" fmla="*/ 40 h 50"/>
                    <a:gd name="T26" fmla="*/ 13 w 17"/>
                    <a:gd name="T27" fmla="*/ 44 h 50"/>
                    <a:gd name="T28" fmla="*/ 13 w 17"/>
                    <a:gd name="T29" fmla="*/ 11 h 50"/>
                    <a:gd name="T30" fmla="*/ 4 w 17"/>
                    <a:gd name="T31" fmla="*/ 6 h 50"/>
                    <a:gd name="T32" fmla="*/ 4 w 17"/>
                    <a:gd name="T33" fmla="*/ 4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" h="50">
                      <a:moveTo>
                        <a:pt x="15" y="50"/>
                      </a:move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" y="42"/>
                        <a:pt x="1" y="42"/>
                        <a:pt x="1" y="42"/>
                      </a:cubicBezTo>
                      <a:cubicBezTo>
                        <a:pt x="1" y="42"/>
                        <a:pt x="0" y="41"/>
                        <a:pt x="0" y="4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8"/>
                        <a:pt x="17" y="9"/>
                        <a:pt x="17" y="10"/>
                      </a:cubicBezTo>
                      <a:cubicBezTo>
                        <a:pt x="17" y="48"/>
                        <a:pt x="17" y="48"/>
                        <a:pt x="17" y="48"/>
                      </a:cubicBezTo>
                      <a:cubicBezTo>
                        <a:pt x="17" y="49"/>
                        <a:pt x="16" y="49"/>
                        <a:pt x="16" y="50"/>
                      </a:cubicBezTo>
                      <a:cubicBezTo>
                        <a:pt x="15" y="50"/>
                        <a:pt x="15" y="50"/>
                        <a:pt x="15" y="50"/>
                      </a:cubicBezTo>
                      <a:close/>
                      <a:moveTo>
                        <a:pt x="4" y="40"/>
                      </a:move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4" name="Freeform 797">
                  <a:extLst>
                    <a:ext uri="{FF2B5EF4-FFF2-40B4-BE49-F238E27FC236}">
                      <a16:creationId xmlns:a16="http://schemas.microsoft.com/office/drawing/2014/main" id="{1A3015F6-02E4-41DA-A613-A1603A2D26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2422"/>
                  <a:ext cx="35" cy="37"/>
                </a:xfrm>
                <a:custGeom>
                  <a:avLst/>
                  <a:gdLst>
                    <a:gd name="T0" fmla="*/ 2 w 15"/>
                    <a:gd name="T1" fmla="*/ 16 h 16"/>
                    <a:gd name="T2" fmla="*/ 1 w 15"/>
                    <a:gd name="T3" fmla="*/ 16 h 16"/>
                    <a:gd name="T4" fmla="*/ 0 w 15"/>
                    <a:gd name="T5" fmla="*/ 14 h 16"/>
                    <a:gd name="T6" fmla="*/ 0 w 15"/>
                    <a:gd name="T7" fmla="*/ 2 h 16"/>
                    <a:gd name="T8" fmla="*/ 1 w 15"/>
                    <a:gd name="T9" fmla="*/ 0 h 16"/>
                    <a:gd name="T10" fmla="*/ 3 w 15"/>
                    <a:gd name="T11" fmla="*/ 0 h 16"/>
                    <a:gd name="T12" fmla="*/ 14 w 15"/>
                    <a:gd name="T13" fmla="*/ 6 h 16"/>
                    <a:gd name="T14" fmla="*/ 15 w 15"/>
                    <a:gd name="T15" fmla="*/ 8 h 16"/>
                    <a:gd name="T16" fmla="*/ 14 w 15"/>
                    <a:gd name="T17" fmla="*/ 10 h 16"/>
                    <a:gd name="T18" fmla="*/ 3 w 15"/>
                    <a:gd name="T19" fmla="*/ 16 h 16"/>
                    <a:gd name="T20" fmla="*/ 2 w 15"/>
                    <a:gd name="T21" fmla="*/ 16 h 16"/>
                    <a:gd name="T22" fmla="*/ 4 w 15"/>
                    <a:gd name="T23" fmla="*/ 5 h 16"/>
                    <a:gd name="T24" fmla="*/ 4 w 15"/>
                    <a:gd name="T25" fmla="*/ 11 h 16"/>
                    <a:gd name="T26" fmla="*/ 9 w 15"/>
                    <a:gd name="T27" fmla="*/ 8 h 16"/>
                    <a:gd name="T28" fmla="*/ 4 w 15"/>
                    <a:gd name="T29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16">
                      <a:moveTo>
                        <a:pt x="2" y="16"/>
                      </a:moveTo>
                      <a:cubicBezTo>
                        <a:pt x="2" y="16"/>
                        <a:pt x="2" y="16"/>
                        <a:pt x="1" y="16"/>
                      </a:cubicBezTo>
                      <a:cubicBezTo>
                        <a:pt x="1" y="16"/>
                        <a:pt x="0" y="15"/>
                        <a:pt x="0" y="1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5" y="7"/>
                        <a:pt x="15" y="7"/>
                        <a:pt x="15" y="8"/>
                      </a:cubicBezTo>
                      <a:cubicBezTo>
                        <a:pt x="15" y="9"/>
                        <a:pt x="15" y="9"/>
                        <a:pt x="14" y="10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6"/>
                        <a:pt x="3" y="16"/>
                        <a:pt x="2" y="16"/>
                      </a:cubicBezTo>
                      <a:close/>
                      <a:moveTo>
                        <a:pt x="4" y="5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9" y="8"/>
                        <a:pt x="9" y="8"/>
                        <a:pt x="9" y="8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5" name="Freeform 798">
                  <a:extLst>
                    <a:ext uri="{FF2B5EF4-FFF2-40B4-BE49-F238E27FC236}">
                      <a16:creationId xmlns:a16="http://schemas.microsoft.com/office/drawing/2014/main" id="{E1AAE56A-874D-478E-B411-61CBD1938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1769"/>
                  <a:ext cx="19" cy="17"/>
                </a:xfrm>
                <a:custGeom>
                  <a:avLst/>
                  <a:gdLst>
                    <a:gd name="T0" fmla="*/ 6 w 8"/>
                    <a:gd name="T1" fmla="*/ 7 h 7"/>
                    <a:gd name="T2" fmla="*/ 5 w 8"/>
                    <a:gd name="T3" fmla="*/ 6 h 7"/>
                    <a:gd name="T4" fmla="*/ 1 w 8"/>
                    <a:gd name="T5" fmla="*/ 4 h 7"/>
                    <a:gd name="T6" fmla="*/ 0 w 8"/>
                    <a:gd name="T7" fmla="*/ 3 h 7"/>
                    <a:gd name="T8" fmla="*/ 1 w 8"/>
                    <a:gd name="T9" fmla="*/ 1 h 7"/>
                    <a:gd name="T10" fmla="*/ 3 w 8"/>
                    <a:gd name="T11" fmla="*/ 1 h 7"/>
                    <a:gd name="T12" fmla="*/ 7 w 8"/>
                    <a:gd name="T13" fmla="*/ 3 h 7"/>
                    <a:gd name="T14" fmla="*/ 8 w 8"/>
                    <a:gd name="T15" fmla="*/ 4 h 7"/>
                    <a:gd name="T16" fmla="*/ 8 w 8"/>
                    <a:gd name="T17" fmla="*/ 5 h 7"/>
                    <a:gd name="T18" fmla="*/ 7 w 8"/>
                    <a:gd name="T19" fmla="*/ 6 h 7"/>
                    <a:gd name="T20" fmla="*/ 6 w 8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6" y="7"/>
                      </a:moveTo>
                      <a:cubicBezTo>
                        <a:pt x="5" y="7"/>
                        <a:pt x="5" y="6"/>
                        <a:pt x="5" y="6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8" y="4"/>
                        <a:pt x="8" y="4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5"/>
                        <a:pt x="7" y="6"/>
                        <a:pt x="7" y="6"/>
                      </a:cubicBezTo>
                      <a:cubicBezTo>
                        <a:pt x="6" y="6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6" name="Freeform 799">
                  <a:extLst>
                    <a:ext uri="{FF2B5EF4-FFF2-40B4-BE49-F238E27FC236}">
                      <a16:creationId xmlns:a16="http://schemas.microsoft.com/office/drawing/2014/main" id="{14C58478-7B8B-4925-B73C-CF09145BDA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90" y="1117"/>
                  <a:ext cx="42" cy="50"/>
                </a:xfrm>
                <a:custGeom>
                  <a:avLst/>
                  <a:gdLst>
                    <a:gd name="T0" fmla="*/ 16 w 18"/>
                    <a:gd name="T1" fmla="*/ 21 h 21"/>
                    <a:gd name="T2" fmla="*/ 15 w 18"/>
                    <a:gd name="T3" fmla="*/ 20 h 21"/>
                    <a:gd name="T4" fmla="*/ 1 w 18"/>
                    <a:gd name="T5" fmla="*/ 12 h 21"/>
                    <a:gd name="T6" fmla="*/ 0 w 18"/>
                    <a:gd name="T7" fmla="*/ 10 h 21"/>
                    <a:gd name="T8" fmla="*/ 1 w 18"/>
                    <a:gd name="T9" fmla="*/ 9 h 21"/>
                    <a:gd name="T10" fmla="*/ 15 w 18"/>
                    <a:gd name="T11" fmla="*/ 0 h 21"/>
                    <a:gd name="T12" fmla="*/ 17 w 18"/>
                    <a:gd name="T13" fmla="*/ 0 h 21"/>
                    <a:gd name="T14" fmla="*/ 18 w 18"/>
                    <a:gd name="T15" fmla="*/ 2 h 21"/>
                    <a:gd name="T16" fmla="*/ 18 w 18"/>
                    <a:gd name="T17" fmla="*/ 19 h 21"/>
                    <a:gd name="T18" fmla="*/ 17 w 18"/>
                    <a:gd name="T19" fmla="*/ 20 h 21"/>
                    <a:gd name="T20" fmla="*/ 16 w 18"/>
                    <a:gd name="T21" fmla="*/ 21 h 21"/>
                    <a:gd name="T22" fmla="*/ 6 w 18"/>
                    <a:gd name="T23" fmla="*/ 10 h 21"/>
                    <a:gd name="T24" fmla="*/ 14 w 18"/>
                    <a:gd name="T25" fmla="*/ 15 h 21"/>
                    <a:gd name="T26" fmla="*/ 14 w 18"/>
                    <a:gd name="T27" fmla="*/ 6 h 21"/>
                    <a:gd name="T28" fmla="*/ 6 w 18"/>
                    <a:gd name="T29" fmla="*/ 1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21">
                      <a:moveTo>
                        <a:pt x="16" y="21"/>
                      </a:moveTo>
                      <a:cubicBezTo>
                        <a:pt x="16" y="21"/>
                        <a:pt x="15" y="21"/>
                        <a:pt x="15" y="20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6" y="0"/>
                        <a:pt x="16" y="0"/>
                        <a:pt x="17" y="0"/>
                      </a:cubicBezTo>
                      <a:cubicBezTo>
                        <a:pt x="18" y="1"/>
                        <a:pt x="18" y="1"/>
                        <a:pt x="18" y="2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8" y="19"/>
                        <a:pt x="18" y="20"/>
                        <a:pt x="17" y="20"/>
                      </a:cubicBezTo>
                      <a:cubicBezTo>
                        <a:pt x="17" y="21"/>
                        <a:pt x="16" y="21"/>
                        <a:pt x="16" y="21"/>
                      </a:cubicBezTo>
                      <a:close/>
                      <a:moveTo>
                        <a:pt x="6" y="10"/>
                      </a:moveTo>
                      <a:cubicBezTo>
                        <a:pt x="14" y="15"/>
                        <a:pt x="14" y="15"/>
                        <a:pt x="14" y="15"/>
                      </a:cubicBezTo>
                      <a:cubicBezTo>
                        <a:pt x="14" y="6"/>
                        <a:pt x="14" y="6"/>
                        <a:pt x="14" y="6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7" name="Freeform 800">
                  <a:extLst>
                    <a:ext uri="{FF2B5EF4-FFF2-40B4-BE49-F238E27FC236}">
                      <a16:creationId xmlns:a16="http://schemas.microsoft.com/office/drawing/2014/main" id="{F43DA844-A954-432B-97F2-3714E1805D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1002"/>
                  <a:ext cx="156" cy="144"/>
                </a:xfrm>
                <a:custGeom>
                  <a:avLst/>
                  <a:gdLst>
                    <a:gd name="T0" fmla="*/ 49 w 66"/>
                    <a:gd name="T1" fmla="*/ 61 h 61"/>
                    <a:gd name="T2" fmla="*/ 48 w 66"/>
                    <a:gd name="T3" fmla="*/ 61 h 61"/>
                    <a:gd name="T4" fmla="*/ 1 w 66"/>
                    <a:gd name="T5" fmla="*/ 34 h 61"/>
                    <a:gd name="T6" fmla="*/ 0 w 66"/>
                    <a:gd name="T7" fmla="*/ 32 h 61"/>
                    <a:gd name="T8" fmla="*/ 0 w 66"/>
                    <a:gd name="T9" fmla="*/ 16 h 61"/>
                    <a:gd name="T10" fmla="*/ 1 w 66"/>
                    <a:gd name="T11" fmla="*/ 14 h 61"/>
                    <a:gd name="T12" fmla="*/ 10 w 66"/>
                    <a:gd name="T13" fmla="*/ 9 h 61"/>
                    <a:gd name="T14" fmla="*/ 10 w 66"/>
                    <a:gd name="T15" fmla="*/ 5 h 61"/>
                    <a:gd name="T16" fmla="*/ 11 w 66"/>
                    <a:gd name="T17" fmla="*/ 3 h 61"/>
                    <a:gd name="T18" fmla="*/ 17 w 66"/>
                    <a:gd name="T19" fmla="*/ 0 h 61"/>
                    <a:gd name="T20" fmla="*/ 19 w 66"/>
                    <a:gd name="T21" fmla="*/ 0 h 61"/>
                    <a:gd name="T22" fmla="*/ 65 w 66"/>
                    <a:gd name="T23" fmla="*/ 27 h 61"/>
                    <a:gd name="T24" fmla="*/ 66 w 66"/>
                    <a:gd name="T25" fmla="*/ 29 h 61"/>
                    <a:gd name="T26" fmla="*/ 66 w 66"/>
                    <a:gd name="T27" fmla="*/ 50 h 61"/>
                    <a:gd name="T28" fmla="*/ 65 w 66"/>
                    <a:gd name="T29" fmla="*/ 52 h 61"/>
                    <a:gd name="T30" fmla="*/ 50 w 66"/>
                    <a:gd name="T31" fmla="*/ 61 h 61"/>
                    <a:gd name="T32" fmla="*/ 49 w 66"/>
                    <a:gd name="T33" fmla="*/ 61 h 61"/>
                    <a:gd name="T34" fmla="*/ 4 w 66"/>
                    <a:gd name="T35" fmla="*/ 31 h 61"/>
                    <a:gd name="T36" fmla="*/ 49 w 66"/>
                    <a:gd name="T37" fmla="*/ 57 h 61"/>
                    <a:gd name="T38" fmla="*/ 62 w 66"/>
                    <a:gd name="T39" fmla="*/ 49 h 61"/>
                    <a:gd name="T40" fmla="*/ 62 w 66"/>
                    <a:gd name="T41" fmla="*/ 30 h 61"/>
                    <a:gd name="T42" fmla="*/ 18 w 66"/>
                    <a:gd name="T43" fmla="*/ 4 h 61"/>
                    <a:gd name="T44" fmla="*/ 14 w 66"/>
                    <a:gd name="T45" fmla="*/ 6 h 61"/>
                    <a:gd name="T46" fmla="*/ 14 w 66"/>
                    <a:gd name="T47" fmla="*/ 10 h 61"/>
                    <a:gd name="T48" fmla="*/ 13 w 66"/>
                    <a:gd name="T49" fmla="*/ 12 h 61"/>
                    <a:gd name="T50" fmla="*/ 4 w 66"/>
                    <a:gd name="T51" fmla="*/ 17 h 61"/>
                    <a:gd name="T52" fmla="*/ 4 w 66"/>
                    <a:gd name="T53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6" h="61">
                      <a:moveTo>
                        <a:pt x="49" y="61"/>
                      </a:moveTo>
                      <a:cubicBezTo>
                        <a:pt x="49" y="61"/>
                        <a:pt x="48" y="61"/>
                        <a:pt x="48" y="61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3"/>
                        <a:pt x="0" y="33"/>
                        <a:pt x="0" y="32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5"/>
                        <a:pt x="1" y="15"/>
                        <a:pt x="1" y="14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4"/>
                        <a:pt x="10" y="4"/>
                        <a:pt x="11" y="3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8" y="0"/>
                        <a:pt x="19" y="0"/>
                      </a:cubicBezTo>
                      <a:cubicBezTo>
                        <a:pt x="65" y="27"/>
                        <a:pt x="65" y="27"/>
                        <a:pt x="65" y="27"/>
                      </a:cubicBezTo>
                      <a:cubicBezTo>
                        <a:pt x="66" y="27"/>
                        <a:pt x="66" y="28"/>
                        <a:pt x="66" y="29"/>
                      </a:cubicBezTo>
                      <a:cubicBezTo>
                        <a:pt x="66" y="50"/>
                        <a:pt x="66" y="50"/>
                        <a:pt x="66" y="50"/>
                      </a:cubicBezTo>
                      <a:cubicBezTo>
                        <a:pt x="66" y="51"/>
                        <a:pt x="66" y="52"/>
                        <a:pt x="65" y="52"/>
                      </a:cubicBezTo>
                      <a:cubicBezTo>
                        <a:pt x="50" y="61"/>
                        <a:pt x="50" y="61"/>
                        <a:pt x="50" y="61"/>
                      </a:cubicBezTo>
                      <a:cubicBezTo>
                        <a:pt x="50" y="61"/>
                        <a:pt x="49" y="61"/>
                        <a:pt x="49" y="61"/>
                      </a:cubicBezTo>
                      <a:close/>
                      <a:moveTo>
                        <a:pt x="4" y="31"/>
                      </a:moveTo>
                      <a:cubicBezTo>
                        <a:pt x="49" y="57"/>
                        <a:pt x="49" y="57"/>
                        <a:pt x="49" y="57"/>
                      </a:cubicBezTo>
                      <a:cubicBezTo>
                        <a:pt x="62" y="49"/>
                        <a:pt x="62" y="49"/>
                        <a:pt x="62" y="49"/>
                      </a:cubicBezTo>
                      <a:cubicBezTo>
                        <a:pt x="62" y="30"/>
                        <a:pt x="62" y="30"/>
                        <a:pt x="62" y="30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4" y="11"/>
                        <a:pt x="14" y="12"/>
                        <a:pt x="13" y="12"/>
                      </a:cubicBezTo>
                      <a:cubicBezTo>
                        <a:pt x="4" y="17"/>
                        <a:pt x="4" y="17"/>
                        <a:pt x="4" y="17"/>
                      </a:cubicBezTo>
                      <a:lnTo>
                        <a:pt x="4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8" name="Freeform 801">
                  <a:extLst>
                    <a:ext uri="{FF2B5EF4-FFF2-40B4-BE49-F238E27FC236}">
                      <a16:creationId xmlns:a16="http://schemas.microsoft.com/office/drawing/2014/main" id="{72BD505D-0F87-41FA-9909-34CDC8EE9B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2282"/>
                  <a:ext cx="118" cy="137"/>
                </a:xfrm>
                <a:custGeom>
                  <a:avLst/>
                  <a:gdLst>
                    <a:gd name="T0" fmla="*/ 2 w 50"/>
                    <a:gd name="T1" fmla="*/ 58 h 58"/>
                    <a:gd name="T2" fmla="*/ 1 w 50"/>
                    <a:gd name="T3" fmla="*/ 58 h 58"/>
                    <a:gd name="T4" fmla="*/ 0 w 50"/>
                    <a:gd name="T5" fmla="*/ 56 h 58"/>
                    <a:gd name="T6" fmla="*/ 0 w 50"/>
                    <a:gd name="T7" fmla="*/ 43 h 58"/>
                    <a:gd name="T8" fmla="*/ 1 w 50"/>
                    <a:gd name="T9" fmla="*/ 42 h 58"/>
                    <a:gd name="T10" fmla="*/ 8 w 50"/>
                    <a:gd name="T11" fmla="*/ 38 h 58"/>
                    <a:gd name="T12" fmla="*/ 1 w 50"/>
                    <a:gd name="T13" fmla="*/ 34 h 58"/>
                    <a:gd name="T14" fmla="*/ 0 w 50"/>
                    <a:gd name="T15" fmla="*/ 32 h 58"/>
                    <a:gd name="T16" fmla="*/ 0 w 50"/>
                    <a:gd name="T17" fmla="*/ 2 h 58"/>
                    <a:gd name="T18" fmla="*/ 1 w 50"/>
                    <a:gd name="T19" fmla="*/ 1 h 58"/>
                    <a:gd name="T20" fmla="*/ 3 w 50"/>
                    <a:gd name="T21" fmla="*/ 1 h 58"/>
                    <a:gd name="T22" fmla="*/ 49 w 50"/>
                    <a:gd name="T23" fmla="*/ 28 h 58"/>
                    <a:gd name="T24" fmla="*/ 50 w 50"/>
                    <a:gd name="T25" fmla="*/ 29 h 58"/>
                    <a:gd name="T26" fmla="*/ 49 w 50"/>
                    <a:gd name="T27" fmla="*/ 31 h 58"/>
                    <a:gd name="T28" fmla="*/ 3 w 50"/>
                    <a:gd name="T29" fmla="*/ 58 h 58"/>
                    <a:gd name="T30" fmla="*/ 2 w 50"/>
                    <a:gd name="T31" fmla="*/ 58 h 58"/>
                    <a:gd name="T32" fmla="*/ 4 w 50"/>
                    <a:gd name="T33" fmla="*/ 44 h 58"/>
                    <a:gd name="T34" fmla="*/ 4 w 50"/>
                    <a:gd name="T35" fmla="*/ 53 h 58"/>
                    <a:gd name="T36" fmla="*/ 44 w 50"/>
                    <a:gd name="T37" fmla="*/ 29 h 58"/>
                    <a:gd name="T38" fmla="*/ 4 w 50"/>
                    <a:gd name="T39" fmla="*/ 6 h 58"/>
                    <a:gd name="T40" fmla="*/ 4 w 50"/>
                    <a:gd name="T41" fmla="*/ 31 h 58"/>
                    <a:gd name="T42" fmla="*/ 13 w 50"/>
                    <a:gd name="T43" fmla="*/ 36 h 58"/>
                    <a:gd name="T44" fmla="*/ 14 w 50"/>
                    <a:gd name="T45" fmla="*/ 38 h 58"/>
                    <a:gd name="T46" fmla="*/ 13 w 50"/>
                    <a:gd name="T47" fmla="*/ 39 h 58"/>
                    <a:gd name="T48" fmla="*/ 4 w 50"/>
                    <a:gd name="T49" fmla="*/ 44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" h="58">
                      <a:moveTo>
                        <a:pt x="2" y="58"/>
                      </a:moveTo>
                      <a:cubicBezTo>
                        <a:pt x="1" y="58"/>
                        <a:pt x="1" y="58"/>
                        <a:pt x="1" y="58"/>
                      </a:cubicBezTo>
                      <a:cubicBezTo>
                        <a:pt x="0" y="58"/>
                        <a:pt x="0" y="57"/>
                        <a:pt x="0" y="56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3"/>
                        <a:pt x="0" y="42"/>
                        <a:pt x="1" y="42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3"/>
                        <a:pt x="0" y="33"/>
                        <a:pt x="0" y="3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49" y="28"/>
                        <a:pt x="49" y="28"/>
                        <a:pt x="49" y="28"/>
                      </a:cubicBezTo>
                      <a:cubicBezTo>
                        <a:pt x="50" y="28"/>
                        <a:pt x="50" y="29"/>
                        <a:pt x="50" y="29"/>
                      </a:cubicBezTo>
                      <a:cubicBezTo>
                        <a:pt x="50" y="30"/>
                        <a:pt x="50" y="31"/>
                        <a:pt x="49" y="31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2" y="58"/>
                        <a:pt x="2" y="58"/>
                        <a:pt x="2" y="58"/>
                      </a:cubicBezTo>
                      <a:close/>
                      <a:moveTo>
                        <a:pt x="4" y="44"/>
                      </a:moveTo>
                      <a:cubicBezTo>
                        <a:pt x="4" y="53"/>
                        <a:pt x="4" y="53"/>
                        <a:pt x="4" y="53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31"/>
                        <a:pt x="4" y="31"/>
                        <a:pt x="4" y="31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3" y="36"/>
                        <a:pt x="14" y="37"/>
                        <a:pt x="14" y="38"/>
                      </a:cubicBezTo>
                      <a:cubicBezTo>
                        <a:pt x="14" y="38"/>
                        <a:pt x="13" y="39"/>
                        <a:pt x="13" y="39"/>
                      </a:cubicBez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9" name="Freeform 802">
                  <a:extLst>
                    <a:ext uri="{FF2B5EF4-FFF2-40B4-BE49-F238E27FC236}">
                      <a16:creationId xmlns:a16="http://schemas.microsoft.com/office/drawing/2014/main" id="{90223EAA-B2BF-4206-90DB-C5770989752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917"/>
                  <a:ext cx="132" cy="153"/>
                </a:xfrm>
                <a:custGeom>
                  <a:avLst/>
                  <a:gdLst>
                    <a:gd name="T0" fmla="*/ 54 w 56"/>
                    <a:gd name="T1" fmla="*/ 65 h 65"/>
                    <a:gd name="T2" fmla="*/ 53 w 56"/>
                    <a:gd name="T3" fmla="*/ 65 h 65"/>
                    <a:gd name="T4" fmla="*/ 8 w 56"/>
                    <a:gd name="T5" fmla="*/ 38 h 65"/>
                    <a:gd name="T6" fmla="*/ 3 w 56"/>
                    <a:gd name="T7" fmla="*/ 41 h 65"/>
                    <a:gd name="T8" fmla="*/ 1 w 56"/>
                    <a:gd name="T9" fmla="*/ 41 h 65"/>
                    <a:gd name="T10" fmla="*/ 0 w 56"/>
                    <a:gd name="T11" fmla="*/ 39 h 65"/>
                    <a:gd name="T12" fmla="*/ 0 w 56"/>
                    <a:gd name="T13" fmla="*/ 2 h 65"/>
                    <a:gd name="T14" fmla="*/ 1 w 56"/>
                    <a:gd name="T15" fmla="*/ 0 h 65"/>
                    <a:gd name="T16" fmla="*/ 3 w 56"/>
                    <a:gd name="T17" fmla="*/ 0 h 65"/>
                    <a:gd name="T18" fmla="*/ 55 w 56"/>
                    <a:gd name="T19" fmla="*/ 31 h 65"/>
                    <a:gd name="T20" fmla="*/ 56 w 56"/>
                    <a:gd name="T21" fmla="*/ 32 h 65"/>
                    <a:gd name="T22" fmla="*/ 56 w 56"/>
                    <a:gd name="T23" fmla="*/ 63 h 65"/>
                    <a:gd name="T24" fmla="*/ 55 w 56"/>
                    <a:gd name="T25" fmla="*/ 65 h 65"/>
                    <a:gd name="T26" fmla="*/ 54 w 56"/>
                    <a:gd name="T27" fmla="*/ 65 h 65"/>
                    <a:gd name="T28" fmla="*/ 8 w 56"/>
                    <a:gd name="T29" fmla="*/ 34 h 65"/>
                    <a:gd name="T30" fmla="*/ 9 w 56"/>
                    <a:gd name="T31" fmla="*/ 34 h 65"/>
                    <a:gd name="T32" fmla="*/ 52 w 56"/>
                    <a:gd name="T33" fmla="*/ 59 h 65"/>
                    <a:gd name="T34" fmla="*/ 52 w 56"/>
                    <a:gd name="T35" fmla="*/ 33 h 65"/>
                    <a:gd name="T36" fmla="*/ 4 w 56"/>
                    <a:gd name="T37" fmla="*/ 6 h 65"/>
                    <a:gd name="T38" fmla="*/ 4 w 56"/>
                    <a:gd name="T39" fmla="*/ 36 h 65"/>
                    <a:gd name="T40" fmla="*/ 7 w 56"/>
                    <a:gd name="T41" fmla="*/ 34 h 65"/>
                    <a:gd name="T42" fmla="*/ 8 w 56"/>
                    <a:gd name="T43" fmla="*/ 34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6" h="65">
                      <a:moveTo>
                        <a:pt x="54" y="65"/>
                      </a:moveTo>
                      <a:cubicBezTo>
                        <a:pt x="54" y="65"/>
                        <a:pt x="53" y="65"/>
                        <a:pt x="53" y="65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3" y="41"/>
                        <a:pt x="3" y="41"/>
                        <a:pt x="3" y="41"/>
                      </a:cubicBezTo>
                      <a:cubicBezTo>
                        <a:pt x="2" y="41"/>
                        <a:pt x="2" y="41"/>
                        <a:pt x="1" y="41"/>
                      </a:cubicBezTo>
                      <a:cubicBezTo>
                        <a:pt x="0" y="41"/>
                        <a:pt x="0" y="40"/>
                        <a:pt x="0" y="3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55" y="31"/>
                        <a:pt x="55" y="31"/>
                        <a:pt x="55" y="31"/>
                      </a:cubicBezTo>
                      <a:cubicBezTo>
                        <a:pt x="56" y="31"/>
                        <a:pt x="56" y="32"/>
                        <a:pt x="56" y="32"/>
                      </a:cubicBezTo>
                      <a:cubicBezTo>
                        <a:pt x="56" y="63"/>
                        <a:pt x="56" y="63"/>
                        <a:pt x="56" y="63"/>
                      </a:cubicBezTo>
                      <a:cubicBezTo>
                        <a:pt x="56" y="64"/>
                        <a:pt x="56" y="64"/>
                        <a:pt x="55" y="65"/>
                      </a:cubicBezTo>
                      <a:cubicBezTo>
                        <a:pt x="55" y="65"/>
                        <a:pt x="54" y="65"/>
                        <a:pt x="54" y="65"/>
                      </a:cubicBezTo>
                      <a:close/>
                      <a:moveTo>
                        <a:pt x="8" y="34"/>
                      </a:moveTo>
                      <a:cubicBezTo>
                        <a:pt x="8" y="34"/>
                        <a:pt x="8" y="34"/>
                        <a:pt x="9" y="34"/>
                      </a:cubicBezTo>
                      <a:cubicBezTo>
                        <a:pt x="52" y="59"/>
                        <a:pt x="52" y="59"/>
                        <a:pt x="52" y="59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7" y="34"/>
                        <a:pt x="7" y="34"/>
                        <a:pt x="8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0" name="Freeform 803">
                  <a:extLst>
                    <a:ext uri="{FF2B5EF4-FFF2-40B4-BE49-F238E27FC236}">
                      <a16:creationId xmlns:a16="http://schemas.microsoft.com/office/drawing/2014/main" id="{BDA82467-600D-40F3-A87F-5005FADCD1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92" y="1120"/>
                  <a:ext cx="40" cy="47"/>
                </a:xfrm>
                <a:custGeom>
                  <a:avLst/>
                  <a:gdLst>
                    <a:gd name="T0" fmla="*/ 15 w 17"/>
                    <a:gd name="T1" fmla="*/ 20 h 20"/>
                    <a:gd name="T2" fmla="*/ 14 w 17"/>
                    <a:gd name="T3" fmla="*/ 19 h 20"/>
                    <a:gd name="T4" fmla="*/ 1 w 17"/>
                    <a:gd name="T5" fmla="*/ 12 h 20"/>
                    <a:gd name="T6" fmla="*/ 0 w 17"/>
                    <a:gd name="T7" fmla="*/ 10 h 20"/>
                    <a:gd name="T8" fmla="*/ 1 w 17"/>
                    <a:gd name="T9" fmla="*/ 8 h 20"/>
                    <a:gd name="T10" fmla="*/ 14 w 17"/>
                    <a:gd name="T11" fmla="*/ 1 h 20"/>
                    <a:gd name="T12" fmla="*/ 16 w 17"/>
                    <a:gd name="T13" fmla="*/ 1 h 20"/>
                    <a:gd name="T14" fmla="*/ 17 w 17"/>
                    <a:gd name="T15" fmla="*/ 2 h 20"/>
                    <a:gd name="T16" fmla="*/ 17 w 17"/>
                    <a:gd name="T17" fmla="*/ 18 h 20"/>
                    <a:gd name="T18" fmla="*/ 16 w 17"/>
                    <a:gd name="T19" fmla="*/ 19 h 20"/>
                    <a:gd name="T20" fmla="*/ 15 w 17"/>
                    <a:gd name="T21" fmla="*/ 20 h 20"/>
                    <a:gd name="T22" fmla="*/ 6 w 17"/>
                    <a:gd name="T23" fmla="*/ 10 h 20"/>
                    <a:gd name="T24" fmla="*/ 13 w 17"/>
                    <a:gd name="T25" fmla="*/ 14 h 20"/>
                    <a:gd name="T26" fmla="*/ 13 w 17"/>
                    <a:gd name="T27" fmla="*/ 6 h 20"/>
                    <a:gd name="T28" fmla="*/ 6 w 17"/>
                    <a:gd name="T29" fmla="*/ 1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20">
                      <a:moveTo>
                        <a:pt x="15" y="20"/>
                      </a:moveTo>
                      <a:cubicBezTo>
                        <a:pt x="15" y="20"/>
                        <a:pt x="14" y="20"/>
                        <a:pt x="14" y="19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1"/>
                        <a:pt x="0" y="11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6" y="0"/>
                        <a:pt x="16" y="1"/>
                      </a:cubicBezTo>
                      <a:cubicBezTo>
                        <a:pt x="17" y="1"/>
                        <a:pt x="17" y="2"/>
                        <a:pt x="17" y="2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8"/>
                        <a:pt x="17" y="19"/>
                        <a:pt x="16" y="19"/>
                      </a:cubicBezTo>
                      <a:cubicBezTo>
                        <a:pt x="16" y="20"/>
                        <a:pt x="15" y="20"/>
                        <a:pt x="15" y="20"/>
                      </a:cubicBezTo>
                      <a:close/>
                      <a:moveTo>
                        <a:pt x="6" y="10"/>
                      </a:moveTo>
                      <a:cubicBezTo>
                        <a:pt x="13" y="14"/>
                        <a:pt x="13" y="14"/>
                        <a:pt x="13" y="14"/>
                      </a:cubicBezTo>
                      <a:cubicBezTo>
                        <a:pt x="13" y="6"/>
                        <a:pt x="13" y="6"/>
                        <a:pt x="13" y="6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1" name="Freeform 804">
                  <a:extLst>
                    <a:ext uri="{FF2B5EF4-FFF2-40B4-BE49-F238E27FC236}">
                      <a16:creationId xmlns:a16="http://schemas.microsoft.com/office/drawing/2014/main" id="{9AA3BFD5-A31D-4B3F-86D2-75BF6588ED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0" y="1037"/>
                  <a:ext cx="222" cy="151"/>
                </a:xfrm>
                <a:custGeom>
                  <a:avLst/>
                  <a:gdLst>
                    <a:gd name="T0" fmla="*/ 63 w 94"/>
                    <a:gd name="T1" fmla="*/ 64 h 64"/>
                    <a:gd name="T2" fmla="*/ 62 w 94"/>
                    <a:gd name="T3" fmla="*/ 64 h 64"/>
                    <a:gd name="T4" fmla="*/ 1 w 94"/>
                    <a:gd name="T5" fmla="*/ 29 h 64"/>
                    <a:gd name="T6" fmla="*/ 0 w 94"/>
                    <a:gd name="T7" fmla="*/ 27 h 64"/>
                    <a:gd name="T8" fmla="*/ 1 w 94"/>
                    <a:gd name="T9" fmla="*/ 25 h 64"/>
                    <a:gd name="T10" fmla="*/ 45 w 94"/>
                    <a:gd name="T11" fmla="*/ 0 h 64"/>
                    <a:gd name="T12" fmla="*/ 47 w 94"/>
                    <a:gd name="T13" fmla="*/ 0 h 64"/>
                    <a:gd name="T14" fmla="*/ 48 w 94"/>
                    <a:gd name="T15" fmla="*/ 2 h 64"/>
                    <a:gd name="T16" fmla="*/ 48 w 94"/>
                    <a:gd name="T17" fmla="*/ 17 h 64"/>
                    <a:gd name="T18" fmla="*/ 93 w 94"/>
                    <a:gd name="T19" fmla="*/ 43 h 64"/>
                    <a:gd name="T20" fmla="*/ 94 w 94"/>
                    <a:gd name="T21" fmla="*/ 45 h 64"/>
                    <a:gd name="T22" fmla="*/ 93 w 94"/>
                    <a:gd name="T23" fmla="*/ 47 h 64"/>
                    <a:gd name="T24" fmla="*/ 64 w 94"/>
                    <a:gd name="T25" fmla="*/ 64 h 64"/>
                    <a:gd name="T26" fmla="*/ 63 w 94"/>
                    <a:gd name="T27" fmla="*/ 64 h 64"/>
                    <a:gd name="T28" fmla="*/ 6 w 94"/>
                    <a:gd name="T29" fmla="*/ 27 h 64"/>
                    <a:gd name="T30" fmla="*/ 63 w 94"/>
                    <a:gd name="T31" fmla="*/ 60 h 64"/>
                    <a:gd name="T32" fmla="*/ 88 w 94"/>
                    <a:gd name="T33" fmla="*/ 45 h 64"/>
                    <a:gd name="T34" fmla="*/ 45 w 94"/>
                    <a:gd name="T35" fmla="*/ 20 h 64"/>
                    <a:gd name="T36" fmla="*/ 44 w 94"/>
                    <a:gd name="T37" fmla="*/ 18 h 64"/>
                    <a:gd name="T38" fmla="*/ 44 w 94"/>
                    <a:gd name="T39" fmla="*/ 5 h 64"/>
                    <a:gd name="T40" fmla="*/ 6 w 94"/>
                    <a:gd name="T41" fmla="*/ 27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4" h="64">
                      <a:moveTo>
                        <a:pt x="63" y="64"/>
                      </a:move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0" y="28"/>
                        <a:pt x="0" y="28"/>
                        <a:pt x="0" y="27"/>
                      </a:cubicBezTo>
                      <a:cubicBezTo>
                        <a:pt x="0" y="26"/>
                        <a:pt x="0" y="26"/>
                        <a:pt x="1" y="25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5" y="0"/>
                        <a:pt x="46" y="0"/>
                        <a:pt x="47" y="0"/>
                      </a:cubicBezTo>
                      <a:cubicBezTo>
                        <a:pt x="47" y="0"/>
                        <a:pt x="48" y="1"/>
                        <a:pt x="48" y="2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93" y="43"/>
                        <a:pt x="93" y="43"/>
                        <a:pt x="93" y="43"/>
                      </a:cubicBezTo>
                      <a:cubicBezTo>
                        <a:pt x="94" y="44"/>
                        <a:pt x="94" y="44"/>
                        <a:pt x="94" y="45"/>
                      </a:cubicBezTo>
                      <a:cubicBezTo>
                        <a:pt x="94" y="46"/>
                        <a:pt x="94" y="46"/>
                        <a:pt x="93" y="47"/>
                      </a:cubicBezTo>
                      <a:cubicBezTo>
                        <a:pt x="64" y="64"/>
                        <a:pt x="64" y="64"/>
                        <a:pt x="64" y="64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lose/>
                      <a:moveTo>
                        <a:pt x="6" y="27"/>
                      </a:moveTo>
                      <a:cubicBezTo>
                        <a:pt x="63" y="60"/>
                        <a:pt x="63" y="60"/>
                        <a:pt x="63" y="60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4" y="19"/>
                        <a:pt x="44" y="19"/>
                        <a:pt x="44" y="18"/>
                      </a:cubicBezTo>
                      <a:cubicBezTo>
                        <a:pt x="44" y="5"/>
                        <a:pt x="44" y="5"/>
                        <a:pt x="44" y="5"/>
                      </a:cubicBezTo>
                      <a:lnTo>
                        <a:pt x="6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2" name="Freeform 805">
                  <a:extLst>
                    <a:ext uri="{FF2B5EF4-FFF2-40B4-BE49-F238E27FC236}">
                      <a16:creationId xmlns:a16="http://schemas.microsoft.com/office/drawing/2014/main" id="{A6B15800-9121-44DC-AD68-FD7AABC855D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2358"/>
                  <a:ext cx="24" cy="26"/>
                </a:xfrm>
                <a:custGeom>
                  <a:avLst/>
                  <a:gdLst>
                    <a:gd name="T0" fmla="*/ 2 w 10"/>
                    <a:gd name="T1" fmla="*/ 11 h 11"/>
                    <a:gd name="T2" fmla="*/ 1 w 10"/>
                    <a:gd name="T3" fmla="*/ 11 h 11"/>
                    <a:gd name="T4" fmla="*/ 0 w 10"/>
                    <a:gd name="T5" fmla="*/ 9 h 11"/>
                    <a:gd name="T6" fmla="*/ 0 w 10"/>
                    <a:gd name="T7" fmla="*/ 2 h 11"/>
                    <a:gd name="T8" fmla="*/ 1 w 10"/>
                    <a:gd name="T9" fmla="*/ 0 h 11"/>
                    <a:gd name="T10" fmla="*/ 3 w 10"/>
                    <a:gd name="T11" fmla="*/ 0 h 11"/>
                    <a:gd name="T12" fmla="*/ 9 w 10"/>
                    <a:gd name="T13" fmla="*/ 4 h 11"/>
                    <a:gd name="T14" fmla="*/ 10 w 10"/>
                    <a:gd name="T15" fmla="*/ 6 h 11"/>
                    <a:gd name="T16" fmla="*/ 9 w 10"/>
                    <a:gd name="T17" fmla="*/ 7 h 11"/>
                    <a:gd name="T18" fmla="*/ 3 w 10"/>
                    <a:gd name="T19" fmla="*/ 11 h 11"/>
                    <a:gd name="T20" fmla="*/ 2 w 10"/>
                    <a:gd name="T21" fmla="*/ 11 h 11"/>
                    <a:gd name="T22" fmla="*/ 4 w 10"/>
                    <a:gd name="T23" fmla="*/ 5 h 11"/>
                    <a:gd name="T24" fmla="*/ 4 w 10"/>
                    <a:gd name="T25" fmla="*/ 6 h 11"/>
                    <a:gd name="T26" fmla="*/ 4 w 10"/>
                    <a:gd name="T27" fmla="*/ 6 h 11"/>
                    <a:gd name="T28" fmla="*/ 4 w 10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" h="11">
                      <a:moveTo>
                        <a:pt x="2" y="11"/>
                      </a:move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0" y="11"/>
                        <a:pt x="0" y="10"/>
                        <a:pt x="0" y="9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4"/>
                        <a:pt x="10" y="5"/>
                        <a:pt x="10" y="6"/>
                      </a:cubicBezTo>
                      <a:cubicBezTo>
                        <a:pt x="10" y="6"/>
                        <a:pt x="10" y="7"/>
                        <a:pt x="9" y="7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2" y="11"/>
                        <a:pt x="2" y="11"/>
                        <a:pt x="2" y="11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3" name="Freeform 806">
                  <a:extLst>
                    <a:ext uri="{FF2B5EF4-FFF2-40B4-BE49-F238E27FC236}">
                      <a16:creationId xmlns:a16="http://schemas.microsoft.com/office/drawing/2014/main" id="{B55E18B9-051F-4ECC-9434-625A8188C2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31" y="2258"/>
                  <a:ext cx="40" cy="90"/>
                </a:xfrm>
                <a:custGeom>
                  <a:avLst/>
                  <a:gdLst>
                    <a:gd name="T0" fmla="*/ 15 w 17"/>
                    <a:gd name="T1" fmla="*/ 38 h 38"/>
                    <a:gd name="T2" fmla="*/ 14 w 17"/>
                    <a:gd name="T3" fmla="*/ 37 h 38"/>
                    <a:gd name="T4" fmla="*/ 1 w 17"/>
                    <a:gd name="T5" fmla="*/ 30 h 38"/>
                    <a:gd name="T6" fmla="*/ 0 w 17"/>
                    <a:gd name="T7" fmla="*/ 28 h 38"/>
                    <a:gd name="T8" fmla="*/ 0 w 17"/>
                    <a:gd name="T9" fmla="*/ 9 h 38"/>
                    <a:gd name="T10" fmla="*/ 1 w 17"/>
                    <a:gd name="T11" fmla="*/ 8 h 38"/>
                    <a:gd name="T12" fmla="*/ 14 w 17"/>
                    <a:gd name="T13" fmla="*/ 0 h 38"/>
                    <a:gd name="T14" fmla="*/ 16 w 17"/>
                    <a:gd name="T15" fmla="*/ 0 h 38"/>
                    <a:gd name="T16" fmla="*/ 17 w 17"/>
                    <a:gd name="T17" fmla="*/ 2 h 38"/>
                    <a:gd name="T18" fmla="*/ 17 w 17"/>
                    <a:gd name="T19" fmla="*/ 36 h 38"/>
                    <a:gd name="T20" fmla="*/ 16 w 17"/>
                    <a:gd name="T21" fmla="*/ 37 h 38"/>
                    <a:gd name="T22" fmla="*/ 15 w 17"/>
                    <a:gd name="T23" fmla="*/ 38 h 38"/>
                    <a:gd name="T24" fmla="*/ 4 w 17"/>
                    <a:gd name="T25" fmla="*/ 27 h 38"/>
                    <a:gd name="T26" fmla="*/ 13 w 17"/>
                    <a:gd name="T27" fmla="*/ 32 h 38"/>
                    <a:gd name="T28" fmla="*/ 13 w 17"/>
                    <a:gd name="T29" fmla="*/ 6 h 38"/>
                    <a:gd name="T30" fmla="*/ 4 w 17"/>
                    <a:gd name="T31" fmla="*/ 11 h 38"/>
                    <a:gd name="T32" fmla="*/ 4 w 17"/>
                    <a:gd name="T33" fmla="*/ 2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" h="38">
                      <a:moveTo>
                        <a:pt x="15" y="38"/>
                      </a:moveTo>
                      <a:cubicBezTo>
                        <a:pt x="14" y="38"/>
                        <a:pt x="14" y="38"/>
                        <a:pt x="14" y="37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1" y="30"/>
                        <a:pt x="0" y="29"/>
                        <a:pt x="0" y="28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5" y="0"/>
                        <a:pt x="16" y="0"/>
                      </a:cubicBezTo>
                      <a:cubicBezTo>
                        <a:pt x="16" y="1"/>
                        <a:pt x="17" y="1"/>
                        <a:pt x="17" y="2"/>
                      </a:cubicBezTo>
                      <a:cubicBezTo>
                        <a:pt x="17" y="36"/>
                        <a:pt x="17" y="36"/>
                        <a:pt x="17" y="36"/>
                      </a:cubicBezTo>
                      <a:cubicBezTo>
                        <a:pt x="17" y="36"/>
                        <a:pt x="16" y="37"/>
                        <a:pt x="16" y="37"/>
                      </a:cubicBezTo>
                      <a:cubicBezTo>
                        <a:pt x="15" y="38"/>
                        <a:pt x="15" y="38"/>
                        <a:pt x="15" y="38"/>
                      </a:cubicBezTo>
                      <a:close/>
                      <a:moveTo>
                        <a:pt x="4" y="27"/>
                      </a:moveTo>
                      <a:cubicBezTo>
                        <a:pt x="13" y="32"/>
                        <a:pt x="13" y="32"/>
                        <a:pt x="13" y="32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" y="11"/>
                        <a:pt x="4" y="11"/>
                        <a:pt x="4" y="11"/>
                      </a:cubicBezTo>
                      <a:lnTo>
                        <a:pt x="4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4" name="Freeform 807">
                  <a:extLst>
                    <a:ext uri="{FF2B5EF4-FFF2-40B4-BE49-F238E27FC236}">
                      <a16:creationId xmlns:a16="http://schemas.microsoft.com/office/drawing/2014/main" id="{227339CA-27AA-444E-8460-33F0FB62C2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45" y="2249"/>
                  <a:ext cx="14" cy="14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1 h 6"/>
                    <a:gd name="T10" fmla="*/ 3 w 6"/>
                    <a:gd name="T11" fmla="*/ 0 h 6"/>
                    <a:gd name="T12" fmla="*/ 5 w 6"/>
                    <a:gd name="T13" fmla="*/ 0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4" y="6"/>
                        <a:pt x="3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5" y="1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5" y="5"/>
                        <a:pt x="5" y="6"/>
                      </a:cubicBezTo>
                      <a:cubicBezTo>
                        <a:pt x="5" y="6"/>
                        <a:pt x="4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5" name="Freeform 808">
                  <a:extLst>
                    <a:ext uri="{FF2B5EF4-FFF2-40B4-BE49-F238E27FC236}">
                      <a16:creationId xmlns:a16="http://schemas.microsoft.com/office/drawing/2014/main" id="{440809A2-5A87-404C-A151-D55E1B94DB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86" y="2204"/>
                  <a:ext cx="97" cy="76"/>
                </a:xfrm>
                <a:custGeom>
                  <a:avLst/>
                  <a:gdLst>
                    <a:gd name="T0" fmla="*/ 37 w 41"/>
                    <a:gd name="T1" fmla="*/ 32 h 32"/>
                    <a:gd name="T2" fmla="*/ 36 w 41"/>
                    <a:gd name="T3" fmla="*/ 32 h 32"/>
                    <a:gd name="T4" fmla="*/ 1 w 41"/>
                    <a:gd name="T5" fmla="*/ 11 h 32"/>
                    <a:gd name="T6" fmla="*/ 0 w 41"/>
                    <a:gd name="T7" fmla="*/ 10 h 32"/>
                    <a:gd name="T8" fmla="*/ 0 w 41"/>
                    <a:gd name="T9" fmla="*/ 2 h 32"/>
                    <a:gd name="T10" fmla="*/ 1 w 41"/>
                    <a:gd name="T11" fmla="*/ 0 h 32"/>
                    <a:gd name="T12" fmla="*/ 3 w 41"/>
                    <a:gd name="T13" fmla="*/ 0 h 32"/>
                    <a:gd name="T14" fmla="*/ 40 w 41"/>
                    <a:gd name="T15" fmla="*/ 21 h 32"/>
                    <a:gd name="T16" fmla="*/ 41 w 41"/>
                    <a:gd name="T17" fmla="*/ 23 h 32"/>
                    <a:gd name="T18" fmla="*/ 41 w 41"/>
                    <a:gd name="T19" fmla="*/ 29 h 32"/>
                    <a:gd name="T20" fmla="*/ 40 w 41"/>
                    <a:gd name="T21" fmla="*/ 30 h 32"/>
                    <a:gd name="T22" fmla="*/ 38 w 41"/>
                    <a:gd name="T23" fmla="*/ 32 h 32"/>
                    <a:gd name="T24" fmla="*/ 37 w 41"/>
                    <a:gd name="T25" fmla="*/ 32 h 32"/>
                    <a:gd name="T26" fmla="*/ 39 w 41"/>
                    <a:gd name="T27" fmla="*/ 29 h 32"/>
                    <a:gd name="T28" fmla="*/ 39 w 41"/>
                    <a:gd name="T29" fmla="*/ 29 h 32"/>
                    <a:gd name="T30" fmla="*/ 4 w 41"/>
                    <a:gd name="T31" fmla="*/ 8 h 32"/>
                    <a:gd name="T32" fmla="*/ 37 w 41"/>
                    <a:gd name="T33" fmla="*/ 27 h 32"/>
                    <a:gd name="T34" fmla="*/ 37 w 41"/>
                    <a:gd name="T35" fmla="*/ 27 h 32"/>
                    <a:gd name="T36" fmla="*/ 37 w 41"/>
                    <a:gd name="T37" fmla="*/ 24 h 32"/>
                    <a:gd name="T38" fmla="*/ 4 w 41"/>
                    <a:gd name="T39" fmla="*/ 5 h 32"/>
                    <a:gd name="T40" fmla="*/ 4 w 41"/>
                    <a:gd name="T41" fmla="*/ 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1" h="32">
                      <a:moveTo>
                        <a:pt x="37" y="32"/>
                      </a:moveTo>
                      <a:cubicBezTo>
                        <a:pt x="36" y="32"/>
                        <a:pt x="36" y="32"/>
                        <a:pt x="36" y="32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0" y="11"/>
                        <a:pt x="0" y="10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22"/>
                        <a:pt x="41" y="22"/>
                        <a:pt x="41" y="23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1" y="29"/>
                        <a:pt x="40" y="30"/>
                        <a:pt x="40" y="30"/>
                      </a:cubicBezTo>
                      <a:cubicBezTo>
                        <a:pt x="38" y="32"/>
                        <a:pt x="38" y="32"/>
                        <a:pt x="38" y="3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lose/>
                      <a:moveTo>
                        <a:pt x="39" y="29"/>
                      </a:moveTo>
                      <a:cubicBezTo>
                        <a:pt x="39" y="29"/>
                        <a:pt x="39" y="29"/>
                        <a:pt x="39" y="29"/>
                      </a:cubicBezTo>
                      <a:close/>
                      <a:moveTo>
                        <a:pt x="4" y="8"/>
                      </a:move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7" y="24"/>
                        <a:pt x="37" y="24"/>
                        <a:pt x="37" y="24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6" name="Freeform 809">
                  <a:extLst>
                    <a:ext uri="{FF2B5EF4-FFF2-40B4-BE49-F238E27FC236}">
                      <a16:creationId xmlns:a16="http://schemas.microsoft.com/office/drawing/2014/main" id="{E06FD3DE-90D1-4394-8769-2386CAC7B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62" y="2275"/>
                  <a:ext cx="19" cy="17"/>
                </a:xfrm>
                <a:custGeom>
                  <a:avLst/>
                  <a:gdLst>
                    <a:gd name="T0" fmla="*/ 6 w 8"/>
                    <a:gd name="T1" fmla="*/ 7 h 7"/>
                    <a:gd name="T2" fmla="*/ 5 w 8"/>
                    <a:gd name="T3" fmla="*/ 7 h 7"/>
                    <a:gd name="T4" fmla="*/ 1 w 8"/>
                    <a:gd name="T5" fmla="*/ 5 h 7"/>
                    <a:gd name="T6" fmla="*/ 0 w 8"/>
                    <a:gd name="T7" fmla="*/ 3 h 7"/>
                    <a:gd name="T8" fmla="*/ 1 w 8"/>
                    <a:gd name="T9" fmla="*/ 1 h 7"/>
                    <a:gd name="T10" fmla="*/ 4 w 8"/>
                    <a:gd name="T11" fmla="*/ 0 h 7"/>
                    <a:gd name="T12" fmla="*/ 6 w 8"/>
                    <a:gd name="T13" fmla="*/ 0 h 7"/>
                    <a:gd name="T14" fmla="*/ 7 w 8"/>
                    <a:gd name="T15" fmla="*/ 1 h 7"/>
                    <a:gd name="T16" fmla="*/ 8 w 8"/>
                    <a:gd name="T17" fmla="*/ 2 h 7"/>
                    <a:gd name="T18" fmla="*/ 8 w 8"/>
                    <a:gd name="T19" fmla="*/ 5 h 7"/>
                    <a:gd name="T20" fmla="*/ 7 w 8"/>
                    <a:gd name="T21" fmla="*/ 7 h 7"/>
                    <a:gd name="T22" fmla="*/ 6 w 8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7">
                      <a:moveTo>
                        <a:pt x="6" y="7"/>
                      </a:moveTo>
                      <a:cubicBezTo>
                        <a:pt x="6" y="7"/>
                        <a:pt x="5" y="7"/>
                        <a:pt x="5" y="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2"/>
                        <a:pt x="1" y="1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8" y="1"/>
                        <a:pt x="8" y="2"/>
                        <a:pt x="8" y="2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6"/>
                        <a:pt x="8" y="6"/>
                        <a:pt x="7" y="7"/>
                      </a:cubicBezTo>
                      <a:cubicBezTo>
                        <a:pt x="7" y="7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7" name="Freeform 810">
                  <a:extLst>
                    <a:ext uri="{FF2B5EF4-FFF2-40B4-BE49-F238E27FC236}">
                      <a16:creationId xmlns:a16="http://schemas.microsoft.com/office/drawing/2014/main" id="{FF385187-B9AD-4395-BEB6-9A1B6D9550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71" y="2270"/>
                  <a:ext cx="12" cy="12"/>
                </a:xfrm>
                <a:custGeom>
                  <a:avLst/>
                  <a:gdLst>
                    <a:gd name="T0" fmla="*/ 3 w 5"/>
                    <a:gd name="T1" fmla="*/ 5 h 5"/>
                    <a:gd name="T2" fmla="*/ 2 w 5"/>
                    <a:gd name="T3" fmla="*/ 5 h 5"/>
                    <a:gd name="T4" fmla="*/ 1 w 5"/>
                    <a:gd name="T5" fmla="*/ 4 h 5"/>
                    <a:gd name="T6" fmla="*/ 0 w 5"/>
                    <a:gd name="T7" fmla="*/ 3 h 5"/>
                    <a:gd name="T8" fmla="*/ 1 w 5"/>
                    <a:gd name="T9" fmla="*/ 1 h 5"/>
                    <a:gd name="T10" fmla="*/ 2 w 5"/>
                    <a:gd name="T11" fmla="*/ 1 h 5"/>
                    <a:gd name="T12" fmla="*/ 4 w 5"/>
                    <a:gd name="T13" fmla="*/ 1 h 5"/>
                    <a:gd name="T14" fmla="*/ 5 w 5"/>
                    <a:gd name="T15" fmla="*/ 2 h 5"/>
                    <a:gd name="T16" fmla="*/ 5 w 5"/>
                    <a:gd name="T17" fmla="*/ 3 h 5"/>
                    <a:gd name="T18" fmla="*/ 4 w 5"/>
                    <a:gd name="T19" fmla="*/ 5 h 5"/>
                    <a:gd name="T20" fmla="*/ 3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1" y="4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3" y="0"/>
                        <a:pt x="4" y="1"/>
                      </a:cubicBezTo>
                      <a:cubicBezTo>
                        <a:pt x="4" y="1"/>
                        <a:pt x="5" y="2"/>
                        <a:pt x="5" y="2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4"/>
                        <a:pt x="4" y="4"/>
                        <a:pt x="4" y="5"/>
                      </a:cubicBezTo>
                      <a:cubicBezTo>
                        <a:pt x="4" y="5"/>
                        <a:pt x="3" y="5"/>
                        <a:pt x="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8" name="Freeform 811">
                  <a:extLst>
                    <a:ext uri="{FF2B5EF4-FFF2-40B4-BE49-F238E27FC236}">
                      <a16:creationId xmlns:a16="http://schemas.microsoft.com/office/drawing/2014/main" id="{A9D41177-B71F-4DE1-AA99-65DD4DCA05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06" y="1651"/>
                  <a:ext cx="45" cy="50"/>
                </a:xfrm>
                <a:custGeom>
                  <a:avLst/>
                  <a:gdLst>
                    <a:gd name="T0" fmla="*/ 17 w 19"/>
                    <a:gd name="T1" fmla="*/ 21 h 21"/>
                    <a:gd name="T2" fmla="*/ 16 w 19"/>
                    <a:gd name="T3" fmla="*/ 21 h 21"/>
                    <a:gd name="T4" fmla="*/ 1 w 19"/>
                    <a:gd name="T5" fmla="*/ 12 h 21"/>
                    <a:gd name="T6" fmla="*/ 0 w 19"/>
                    <a:gd name="T7" fmla="*/ 10 h 21"/>
                    <a:gd name="T8" fmla="*/ 1 w 19"/>
                    <a:gd name="T9" fmla="*/ 9 h 21"/>
                    <a:gd name="T10" fmla="*/ 16 w 19"/>
                    <a:gd name="T11" fmla="*/ 0 h 21"/>
                    <a:gd name="T12" fmla="*/ 18 w 19"/>
                    <a:gd name="T13" fmla="*/ 0 h 21"/>
                    <a:gd name="T14" fmla="*/ 19 w 19"/>
                    <a:gd name="T15" fmla="*/ 2 h 21"/>
                    <a:gd name="T16" fmla="*/ 19 w 19"/>
                    <a:gd name="T17" fmla="*/ 19 h 21"/>
                    <a:gd name="T18" fmla="*/ 18 w 19"/>
                    <a:gd name="T19" fmla="*/ 21 h 21"/>
                    <a:gd name="T20" fmla="*/ 17 w 19"/>
                    <a:gd name="T21" fmla="*/ 21 h 21"/>
                    <a:gd name="T22" fmla="*/ 6 w 19"/>
                    <a:gd name="T23" fmla="*/ 10 h 21"/>
                    <a:gd name="T24" fmla="*/ 15 w 19"/>
                    <a:gd name="T25" fmla="*/ 15 h 21"/>
                    <a:gd name="T26" fmla="*/ 15 w 19"/>
                    <a:gd name="T27" fmla="*/ 5 h 21"/>
                    <a:gd name="T28" fmla="*/ 6 w 19"/>
                    <a:gd name="T29" fmla="*/ 1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9" h="21">
                      <a:moveTo>
                        <a:pt x="17" y="21"/>
                      </a:move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7" y="0"/>
                        <a:pt x="18" y="0"/>
                      </a:cubicBezTo>
                      <a:cubicBezTo>
                        <a:pt x="18" y="0"/>
                        <a:pt x="19" y="1"/>
                        <a:pt x="19" y="2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20"/>
                        <a:pt x="18" y="20"/>
                        <a:pt x="18" y="21"/>
                      </a:cubicBezTo>
                      <a:cubicBezTo>
                        <a:pt x="17" y="21"/>
                        <a:pt x="17" y="21"/>
                        <a:pt x="17" y="21"/>
                      </a:cubicBezTo>
                      <a:close/>
                      <a:moveTo>
                        <a:pt x="6" y="10"/>
                      </a:moveTo>
                      <a:cubicBezTo>
                        <a:pt x="15" y="15"/>
                        <a:pt x="15" y="15"/>
                        <a:pt x="15" y="15"/>
                      </a:cubicBezTo>
                      <a:cubicBezTo>
                        <a:pt x="15" y="5"/>
                        <a:pt x="15" y="5"/>
                        <a:pt x="15" y="5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9" name="Freeform 812">
                  <a:extLst>
                    <a:ext uri="{FF2B5EF4-FFF2-40B4-BE49-F238E27FC236}">
                      <a16:creationId xmlns:a16="http://schemas.microsoft.com/office/drawing/2014/main" id="{EB86C37F-4517-41BD-A67F-1FDD007D80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84" y="2367"/>
                  <a:ext cx="97" cy="80"/>
                </a:xfrm>
                <a:custGeom>
                  <a:avLst/>
                  <a:gdLst>
                    <a:gd name="T0" fmla="*/ 39 w 41"/>
                    <a:gd name="T1" fmla="*/ 34 h 34"/>
                    <a:gd name="T2" fmla="*/ 38 w 41"/>
                    <a:gd name="T3" fmla="*/ 33 h 34"/>
                    <a:gd name="T4" fmla="*/ 1 w 41"/>
                    <a:gd name="T5" fmla="*/ 12 h 34"/>
                    <a:gd name="T6" fmla="*/ 0 w 41"/>
                    <a:gd name="T7" fmla="*/ 10 h 34"/>
                    <a:gd name="T8" fmla="*/ 1 w 41"/>
                    <a:gd name="T9" fmla="*/ 9 h 34"/>
                    <a:gd name="T10" fmla="*/ 15 w 41"/>
                    <a:gd name="T11" fmla="*/ 1 h 34"/>
                    <a:gd name="T12" fmla="*/ 17 w 41"/>
                    <a:gd name="T13" fmla="*/ 1 h 34"/>
                    <a:gd name="T14" fmla="*/ 40 w 41"/>
                    <a:gd name="T15" fmla="*/ 14 h 34"/>
                    <a:gd name="T16" fmla="*/ 41 w 41"/>
                    <a:gd name="T17" fmla="*/ 16 h 34"/>
                    <a:gd name="T18" fmla="*/ 41 w 41"/>
                    <a:gd name="T19" fmla="*/ 32 h 34"/>
                    <a:gd name="T20" fmla="*/ 40 w 41"/>
                    <a:gd name="T21" fmla="*/ 33 h 34"/>
                    <a:gd name="T22" fmla="*/ 39 w 41"/>
                    <a:gd name="T23" fmla="*/ 34 h 34"/>
                    <a:gd name="T24" fmla="*/ 6 w 41"/>
                    <a:gd name="T25" fmla="*/ 10 h 34"/>
                    <a:gd name="T26" fmla="*/ 37 w 41"/>
                    <a:gd name="T27" fmla="*/ 28 h 34"/>
                    <a:gd name="T28" fmla="*/ 37 w 41"/>
                    <a:gd name="T29" fmla="*/ 17 h 34"/>
                    <a:gd name="T30" fmla="*/ 16 w 41"/>
                    <a:gd name="T31" fmla="*/ 5 h 34"/>
                    <a:gd name="T32" fmla="*/ 6 w 41"/>
                    <a:gd name="T33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1" h="34">
                      <a:moveTo>
                        <a:pt x="39" y="34"/>
                      </a:moveTo>
                      <a:cubicBezTo>
                        <a:pt x="39" y="34"/>
                        <a:pt x="38" y="33"/>
                        <a:pt x="38" y="33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10"/>
                        <a:pt x="1" y="9"/>
                        <a:pt x="1" y="9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6" y="0"/>
                        <a:pt x="17" y="0"/>
                        <a:pt x="17" y="1"/>
                      </a:cubicBezTo>
                      <a:cubicBezTo>
                        <a:pt x="40" y="14"/>
                        <a:pt x="40" y="14"/>
                        <a:pt x="40" y="14"/>
                      </a:cubicBezTo>
                      <a:cubicBezTo>
                        <a:pt x="41" y="14"/>
                        <a:pt x="41" y="15"/>
                        <a:pt x="41" y="16"/>
                      </a:cubicBezTo>
                      <a:cubicBezTo>
                        <a:pt x="41" y="32"/>
                        <a:pt x="41" y="32"/>
                        <a:pt x="41" y="32"/>
                      </a:cubicBezTo>
                      <a:cubicBezTo>
                        <a:pt x="41" y="32"/>
                        <a:pt x="41" y="33"/>
                        <a:pt x="40" y="33"/>
                      </a:cubicBezTo>
                      <a:cubicBezTo>
                        <a:pt x="40" y="33"/>
                        <a:pt x="39" y="34"/>
                        <a:pt x="39" y="34"/>
                      </a:cubicBezTo>
                      <a:close/>
                      <a:moveTo>
                        <a:pt x="6" y="10"/>
                      </a:moveTo>
                      <a:cubicBezTo>
                        <a:pt x="37" y="28"/>
                        <a:pt x="37" y="28"/>
                        <a:pt x="37" y="28"/>
                      </a:cubicBezTo>
                      <a:cubicBezTo>
                        <a:pt x="37" y="17"/>
                        <a:pt x="37" y="17"/>
                        <a:pt x="37" y="17"/>
                      </a:cubicBezTo>
                      <a:cubicBezTo>
                        <a:pt x="16" y="5"/>
                        <a:pt x="16" y="5"/>
                        <a:pt x="16" y="5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0" name="Freeform 813">
                  <a:extLst>
                    <a:ext uri="{FF2B5EF4-FFF2-40B4-BE49-F238E27FC236}">
                      <a16:creationId xmlns:a16="http://schemas.microsoft.com/office/drawing/2014/main" id="{2431572F-C012-4D9E-B228-951678F7E3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32" y="2211"/>
                  <a:ext cx="59" cy="147"/>
                </a:xfrm>
                <a:custGeom>
                  <a:avLst/>
                  <a:gdLst>
                    <a:gd name="T0" fmla="*/ 2 w 25"/>
                    <a:gd name="T1" fmla="*/ 62 h 62"/>
                    <a:gd name="T2" fmla="*/ 1 w 25"/>
                    <a:gd name="T3" fmla="*/ 62 h 62"/>
                    <a:gd name="T4" fmla="*/ 0 w 25"/>
                    <a:gd name="T5" fmla="*/ 60 h 62"/>
                    <a:gd name="T6" fmla="*/ 0 w 25"/>
                    <a:gd name="T7" fmla="*/ 5 h 62"/>
                    <a:gd name="T8" fmla="*/ 1 w 25"/>
                    <a:gd name="T9" fmla="*/ 3 h 62"/>
                    <a:gd name="T10" fmla="*/ 5 w 25"/>
                    <a:gd name="T11" fmla="*/ 1 h 62"/>
                    <a:gd name="T12" fmla="*/ 7 w 25"/>
                    <a:gd name="T13" fmla="*/ 1 h 62"/>
                    <a:gd name="T14" fmla="*/ 24 w 25"/>
                    <a:gd name="T15" fmla="*/ 10 h 62"/>
                    <a:gd name="T16" fmla="*/ 25 w 25"/>
                    <a:gd name="T17" fmla="*/ 12 h 62"/>
                    <a:gd name="T18" fmla="*/ 25 w 25"/>
                    <a:gd name="T19" fmla="*/ 48 h 62"/>
                    <a:gd name="T20" fmla="*/ 24 w 25"/>
                    <a:gd name="T21" fmla="*/ 50 h 62"/>
                    <a:gd name="T22" fmla="*/ 3 w 25"/>
                    <a:gd name="T23" fmla="*/ 62 h 62"/>
                    <a:gd name="T24" fmla="*/ 2 w 25"/>
                    <a:gd name="T25" fmla="*/ 62 h 62"/>
                    <a:gd name="T26" fmla="*/ 4 w 25"/>
                    <a:gd name="T27" fmla="*/ 6 h 62"/>
                    <a:gd name="T28" fmla="*/ 4 w 25"/>
                    <a:gd name="T29" fmla="*/ 57 h 62"/>
                    <a:gd name="T30" fmla="*/ 21 w 25"/>
                    <a:gd name="T31" fmla="*/ 47 h 62"/>
                    <a:gd name="T32" fmla="*/ 21 w 25"/>
                    <a:gd name="T33" fmla="*/ 13 h 62"/>
                    <a:gd name="T34" fmla="*/ 6 w 25"/>
                    <a:gd name="T35" fmla="*/ 5 h 62"/>
                    <a:gd name="T36" fmla="*/ 4 w 25"/>
                    <a:gd name="T37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" h="62">
                      <a:moveTo>
                        <a:pt x="2" y="62"/>
                      </a:moveTo>
                      <a:cubicBezTo>
                        <a:pt x="2" y="62"/>
                        <a:pt x="1" y="62"/>
                        <a:pt x="1" y="62"/>
                      </a:cubicBezTo>
                      <a:cubicBezTo>
                        <a:pt x="0" y="62"/>
                        <a:pt x="0" y="61"/>
                        <a:pt x="0" y="6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4"/>
                        <a:pt x="0" y="3"/>
                        <a:pt x="1" y="3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6" y="0"/>
                        <a:pt x="7" y="0"/>
                        <a:pt x="7" y="1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5" y="11"/>
                        <a:pt x="25" y="11"/>
                        <a:pt x="25" y="12"/>
                      </a:cubicBezTo>
                      <a:cubicBezTo>
                        <a:pt x="25" y="48"/>
                        <a:pt x="25" y="48"/>
                        <a:pt x="25" y="48"/>
                      </a:cubicBezTo>
                      <a:cubicBezTo>
                        <a:pt x="25" y="49"/>
                        <a:pt x="25" y="49"/>
                        <a:pt x="24" y="50"/>
                      </a:cubicBezTo>
                      <a:cubicBezTo>
                        <a:pt x="3" y="62"/>
                        <a:pt x="3" y="62"/>
                        <a:pt x="3" y="62"/>
                      </a:cubicBezTo>
                      <a:cubicBezTo>
                        <a:pt x="3" y="62"/>
                        <a:pt x="2" y="62"/>
                        <a:pt x="2" y="62"/>
                      </a:cubicBezTo>
                      <a:close/>
                      <a:moveTo>
                        <a:pt x="4" y="6"/>
                      </a:moveTo>
                      <a:cubicBezTo>
                        <a:pt x="4" y="57"/>
                        <a:pt x="4" y="57"/>
                        <a:pt x="4" y="5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6" y="5"/>
                        <a:pt x="6" y="5"/>
                        <a:pt x="6" y="5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1" name="Freeform 814">
                  <a:extLst>
                    <a:ext uri="{FF2B5EF4-FFF2-40B4-BE49-F238E27FC236}">
                      <a16:creationId xmlns:a16="http://schemas.microsoft.com/office/drawing/2014/main" id="{CD463A7D-EB17-4BD7-BED2-519B9C5151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86" y="2225"/>
                  <a:ext cx="88" cy="59"/>
                </a:xfrm>
                <a:custGeom>
                  <a:avLst/>
                  <a:gdLst>
                    <a:gd name="T0" fmla="*/ 33 w 37"/>
                    <a:gd name="T1" fmla="*/ 25 h 25"/>
                    <a:gd name="T2" fmla="*/ 32 w 37"/>
                    <a:gd name="T3" fmla="*/ 25 h 25"/>
                    <a:gd name="T4" fmla="*/ 1 w 37"/>
                    <a:gd name="T5" fmla="*/ 7 h 25"/>
                    <a:gd name="T6" fmla="*/ 0 w 37"/>
                    <a:gd name="T7" fmla="*/ 5 h 25"/>
                    <a:gd name="T8" fmla="*/ 0 w 37"/>
                    <a:gd name="T9" fmla="*/ 3 h 25"/>
                    <a:gd name="T10" fmla="*/ 1 w 37"/>
                    <a:gd name="T11" fmla="*/ 1 h 25"/>
                    <a:gd name="T12" fmla="*/ 3 w 37"/>
                    <a:gd name="T13" fmla="*/ 1 h 25"/>
                    <a:gd name="T14" fmla="*/ 36 w 37"/>
                    <a:gd name="T15" fmla="*/ 20 h 25"/>
                    <a:gd name="T16" fmla="*/ 37 w 37"/>
                    <a:gd name="T17" fmla="*/ 22 h 25"/>
                    <a:gd name="T18" fmla="*/ 36 w 37"/>
                    <a:gd name="T19" fmla="*/ 23 h 25"/>
                    <a:gd name="T20" fmla="*/ 34 w 37"/>
                    <a:gd name="T21" fmla="*/ 25 h 25"/>
                    <a:gd name="T22" fmla="*/ 33 w 37"/>
                    <a:gd name="T2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7" h="25">
                      <a:moveTo>
                        <a:pt x="33" y="25"/>
                      </a:move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7"/>
                        <a:pt x="0" y="6"/>
                        <a:pt x="0" y="5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6" y="20"/>
                        <a:pt x="36" y="20"/>
                        <a:pt x="36" y="20"/>
                      </a:cubicBezTo>
                      <a:cubicBezTo>
                        <a:pt x="37" y="20"/>
                        <a:pt x="37" y="21"/>
                        <a:pt x="37" y="22"/>
                      </a:cubicBezTo>
                      <a:cubicBezTo>
                        <a:pt x="37" y="22"/>
                        <a:pt x="37" y="23"/>
                        <a:pt x="36" y="23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34" y="25"/>
                        <a:pt x="33" y="25"/>
                        <a:pt x="33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2" name="Freeform 815">
                  <a:extLst>
                    <a:ext uri="{FF2B5EF4-FFF2-40B4-BE49-F238E27FC236}">
                      <a16:creationId xmlns:a16="http://schemas.microsoft.com/office/drawing/2014/main" id="{36AE20A5-C1C6-4104-A7D4-54F2485B3B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388"/>
                  <a:ext cx="215" cy="130"/>
                </a:xfrm>
                <a:custGeom>
                  <a:avLst/>
                  <a:gdLst>
                    <a:gd name="T0" fmla="*/ 39 w 91"/>
                    <a:gd name="T1" fmla="*/ 55 h 55"/>
                    <a:gd name="T2" fmla="*/ 38 w 91"/>
                    <a:gd name="T3" fmla="*/ 54 h 55"/>
                    <a:gd name="T4" fmla="*/ 1 w 91"/>
                    <a:gd name="T5" fmla="*/ 33 h 55"/>
                    <a:gd name="T6" fmla="*/ 0 w 91"/>
                    <a:gd name="T7" fmla="*/ 31 h 55"/>
                    <a:gd name="T8" fmla="*/ 1 w 91"/>
                    <a:gd name="T9" fmla="*/ 29 h 55"/>
                    <a:gd name="T10" fmla="*/ 51 w 91"/>
                    <a:gd name="T11" fmla="*/ 1 h 55"/>
                    <a:gd name="T12" fmla="*/ 53 w 91"/>
                    <a:gd name="T13" fmla="*/ 1 h 55"/>
                    <a:gd name="T14" fmla="*/ 90 w 91"/>
                    <a:gd name="T15" fmla="*/ 22 h 55"/>
                    <a:gd name="T16" fmla="*/ 91 w 91"/>
                    <a:gd name="T17" fmla="*/ 24 h 55"/>
                    <a:gd name="T18" fmla="*/ 90 w 91"/>
                    <a:gd name="T19" fmla="*/ 26 h 55"/>
                    <a:gd name="T20" fmla="*/ 40 w 91"/>
                    <a:gd name="T21" fmla="*/ 54 h 55"/>
                    <a:gd name="T22" fmla="*/ 39 w 91"/>
                    <a:gd name="T23" fmla="*/ 55 h 55"/>
                    <a:gd name="T24" fmla="*/ 6 w 91"/>
                    <a:gd name="T25" fmla="*/ 31 h 55"/>
                    <a:gd name="T26" fmla="*/ 39 w 91"/>
                    <a:gd name="T27" fmla="*/ 50 h 55"/>
                    <a:gd name="T28" fmla="*/ 85 w 91"/>
                    <a:gd name="T29" fmla="*/ 24 h 55"/>
                    <a:gd name="T30" fmla="*/ 52 w 91"/>
                    <a:gd name="T31" fmla="*/ 5 h 55"/>
                    <a:gd name="T32" fmla="*/ 6 w 91"/>
                    <a:gd name="T33" fmla="*/ 31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55">
                      <a:moveTo>
                        <a:pt x="39" y="55"/>
                      </a:moveTo>
                      <a:cubicBezTo>
                        <a:pt x="39" y="55"/>
                        <a:pt x="39" y="55"/>
                        <a:pt x="38" y="54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2"/>
                        <a:pt x="0" y="32"/>
                        <a:pt x="0" y="31"/>
                      </a:cubicBezTo>
                      <a:cubicBezTo>
                        <a:pt x="0" y="30"/>
                        <a:pt x="1" y="30"/>
                        <a:pt x="1" y="29"/>
                      </a:cubicBezTo>
                      <a:cubicBezTo>
                        <a:pt x="51" y="1"/>
                        <a:pt x="51" y="1"/>
                        <a:pt x="51" y="1"/>
                      </a:cubicBezTo>
                      <a:cubicBezTo>
                        <a:pt x="51" y="0"/>
                        <a:pt x="52" y="0"/>
                        <a:pt x="53" y="1"/>
                      </a:cubicBezTo>
                      <a:cubicBezTo>
                        <a:pt x="90" y="22"/>
                        <a:pt x="90" y="22"/>
                        <a:pt x="90" y="22"/>
                      </a:cubicBezTo>
                      <a:cubicBezTo>
                        <a:pt x="91" y="23"/>
                        <a:pt x="91" y="23"/>
                        <a:pt x="91" y="24"/>
                      </a:cubicBezTo>
                      <a:cubicBezTo>
                        <a:pt x="91" y="25"/>
                        <a:pt x="91" y="25"/>
                        <a:pt x="90" y="26"/>
                      </a:cubicBezTo>
                      <a:cubicBezTo>
                        <a:pt x="40" y="54"/>
                        <a:pt x="40" y="54"/>
                        <a:pt x="40" y="54"/>
                      </a:cubicBezTo>
                      <a:cubicBezTo>
                        <a:pt x="40" y="55"/>
                        <a:pt x="40" y="55"/>
                        <a:pt x="39" y="55"/>
                      </a:cubicBezTo>
                      <a:close/>
                      <a:moveTo>
                        <a:pt x="6" y="31"/>
                      </a:moveTo>
                      <a:cubicBezTo>
                        <a:pt x="39" y="50"/>
                        <a:pt x="39" y="50"/>
                        <a:pt x="39" y="50"/>
                      </a:cubicBezTo>
                      <a:cubicBezTo>
                        <a:pt x="85" y="24"/>
                        <a:pt x="85" y="24"/>
                        <a:pt x="85" y="24"/>
                      </a:cubicBezTo>
                      <a:cubicBezTo>
                        <a:pt x="52" y="5"/>
                        <a:pt x="52" y="5"/>
                        <a:pt x="52" y="5"/>
                      </a:cubicBezTo>
                      <a:lnTo>
                        <a:pt x="6" y="3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3" name="Freeform 816">
                  <a:extLst>
                    <a:ext uri="{FF2B5EF4-FFF2-40B4-BE49-F238E27FC236}">
                      <a16:creationId xmlns:a16="http://schemas.microsoft.com/office/drawing/2014/main" id="{DF976C59-3A6A-4F05-A3C6-0A20F5F39F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86" y="2237"/>
                  <a:ext cx="78" cy="90"/>
                </a:xfrm>
                <a:custGeom>
                  <a:avLst/>
                  <a:gdLst>
                    <a:gd name="T0" fmla="*/ 2 w 33"/>
                    <a:gd name="T1" fmla="*/ 38 h 38"/>
                    <a:gd name="T2" fmla="*/ 1 w 33"/>
                    <a:gd name="T3" fmla="*/ 38 h 38"/>
                    <a:gd name="T4" fmla="*/ 0 w 33"/>
                    <a:gd name="T5" fmla="*/ 36 h 38"/>
                    <a:gd name="T6" fmla="*/ 0 w 33"/>
                    <a:gd name="T7" fmla="*/ 2 h 38"/>
                    <a:gd name="T8" fmla="*/ 1 w 33"/>
                    <a:gd name="T9" fmla="*/ 0 h 38"/>
                    <a:gd name="T10" fmla="*/ 3 w 33"/>
                    <a:gd name="T11" fmla="*/ 0 h 38"/>
                    <a:gd name="T12" fmla="*/ 32 w 33"/>
                    <a:gd name="T13" fmla="*/ 17 h 38"/>
                    <a:gd name="T14" fmla="*/ 33 w 33"/>
                    <a:gd name="T15" fmla="*/ 19 h 38"/>
                    <a:gd name="T16" fmla="*/ 32 w 33"/>
                    <a:gd name="T17" fmla="*/ 21 h 38"/>
                    <a:gd name="T18" fmla="*/ 3 w 33"/>
                    <a:gd name="T19" fmla="*/ 38 h 38"/>
                    <a:gd name="T20" fmla="*/ 2 w 33"/>
                    <a:gd name="T21" fmla="*/ 38 h 38"/>
                    <a:gd name="T22" fmla="*/ 4 w 33"/>
                    <a:gd name="T23" fmla="*/ 6 h 38"/>
                    <a:gd name="T24" fmla="*/ 4 w 33"/>
                    <a:gd name="T25" fmla="*/ 32 h 38"/>
                    <a:gd name="T26" fmla="*/ 27 w 33"/>
                    <a:gd name="T27" fmla="*/ 19 h 38"/>
                    <a:gd name="T28" fmla="*/ 4 w 33"/>
                    <a:gd name="T29" fmla="*/ 6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3" h="38">
                      <a:moveTo>
                        <a:pt x="2" y="38"/>
                      </a:moveTo>
                      <a:cubicBezTo>
                        <a:pt x="2" y="38"/>
                        <a:pt x="1" y="38"/>
                        <a:pt x="1" y="38"/>
                      </a:cubicBezTo>
                      <a:cubicBezTo>
                        <a:pt x="0" y="37"/>
                        <a:pt x="0" y="37"/>
                        <a:pt x="0" y="3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32" y="17"/>
                        <a:pt x="32" y="17"/>
                        <a:pt x="32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3" y="20"/>
                        <a:pt x="32" y="21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2" y="38"/>
                        <a:pt x="2" y="38"/>
                      </a:cubicBezTo>
                      <a:close/>
                      <a:moveTo>
                        <a:pt x="4" y="6"/>
                      </a:move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4" name="Freeform 817">
                  <a:extLst>
                    <a:ext uri="{FF2B5EF4-FFF2-40B4-BE49-F238E27FC236}">
                      <a16:creationId xmlns:a16="http://schemas.microsoft.com/office/drawing/2014/main" id="{189A442C-DB1C-47EB-BDFA-63C87F3D1B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32" y="2195"/>
                  <a:ext cx="24" cy="21"/>
                </a:xfrm>
                <a:custGeom>
                  <a:avLst/>
                  <a:gdLst>
                    <a:gd name="T0" fmla="*/ 6 w 10"/>
                    <a:gd name="T1" fmla="*/ 9 h 9"/>
                    <a:gd name="T2" fmla="*/ 5 w 10"/>
                    <a:gd name="T3" fmla="*/ 9 h 9"/>
                    <a:gd name="T4" fmla="*/ 1 w 10"/>
                    <a:gd name="T5" fmla="*/ 7 h 9"/>
                    <a:gd name="T6" fmla="*/ 0 w 10"/>
                    <a:gd name="T7" fmla="*/ 5 h 9"/>
                    <a:gd name="T8" fmla="*/ 0 w 10"/>
                    <a:gd name="T9" fmla="*/ 2 h 9"/>
                    <a:gd name="T10" fmla="*/ 1 w 10"/>
                    <a:gd name="T11" fmla="*/ 1 h 9"/>
                    <a:gd name="T12" fmla="*/ 3 w 10"/>
                    <a:gd name="T13" fmla="*/ 1 h 9"/>
                    <a:gd name="T14" fmla="*/ 9 w 10"/>
                    <a:gd name="T15" fmla="*/ 4 h 9"/>
                    <a:gd name="T16" fmla="*/ 10 w 10"/>
                    <a:gd name="T17" fmla="*/ 6 h 9"/>
                    <a:gd name="T18" fmla="*/ 9 w 10"/>
                    <a:gd name="T19" fmla="*/ 8 h 9"/>
                    <a:gd name="T20" fmla="*/ 7 w 10"/>
                    <a:gd name="T21" fmla="*/ 9 h 9"/>
                    <a:gd name="T22" fmla="*/ 6 w 10"/>
                    <a:gd name="T2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9">
                      <a:moveTo>
                        <a:pt x="6" y="9"/>
                      </a:moveTo>
                      <a:cubicBezTo>
                        <a:pt x="6" y="9"/>
                        <a:pt x="5" y="9"/>
                        <a:pt x="5" y="9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0" y="6"/>
                        <a:pt x="0" y="6"/>
                        <a:pt x="0" y="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10" y="5"/>
                        <a:pt x="10" y="5"/>
                        <a:pt x="10" y="6"/>
                      </a:cubicBezTo>
                      <a:cubicBezTo>
                        <a:pt x="10" y="7"/>
                        <a:pt x="10" y="7"/>
                        <a:pt x="9" y="8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7" y="9"/>
                        <a:pt x="7" y="9"/>
                        <a:pt x="6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5" name="Freeform 818">
                  <a:extLst>
                    <a:ext uri="{FF2B5EF4-FFF2-40B4-BE49-F238E27FC236}">
                      <a16:creationId xmlns:a16="http://schemas.microsoft.com/office/drawing/2014/main" id="{C4135855-C9F3-4641-B802-97B8FB0BD6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44" y="843"/>
                  <a:ext cx="161" cy="272"/>
                </a:xfrm>
                <a:custGeom>
                  <a:avLst/>
                  <a:gdLst>
                    <a:gd name="T0" fmla="*/ 2 w 68"/>
                    <a:gd name="T1" fmla="*/ 115 h 115"/>
                    <a:gd name="T2" fmla="*/ 1 w 68"/>
                    <a:gd name="T3" fmla="*/ 115 h 115"/>
                    <a:gd name="T4" fmla="*/ 0 w 68"/>
                    <a:gd name="T5" fmla="*/ 113 h 115"/>
                    <a:gd name="T6" fmla="*/ 0 w 68"/>
                    <a:gd name="T7" fmla="*/ 39 h 115"/>
                    <a:gd name="T8" fmla="*/ 1 w 68"/>
                    <a:gd name="T9" fmla="*/ 38 h 115"/>
                    <a:gd name="T10" fmla="*/ 65 w 68"/>
                    <a:gd name="T11" fmla="*/ 1 h 115"/>
                    <a:gd name="T12" fmla="*/ 67 w 68"/>
                    <a:gd name="T13" fmla="*/ 1 h 115"/>
                    <a:gd name="T14" fmla="*/ 68 w 68"/>
                    <a:gd name="T15" fmla="*/ 2 h 115"/>
                    <a:gd name="T16" fmla="*/ 68 w 68"/>
                    <a:gd name="T17" fmla="*/ 30 h 115"/>
                    <a:gd name="T18" fmla="*/ 67 w 68"/>
                    <a:gd name="T19" fmla="*/ 32 h 115"/>
                    <a:gd name="T20" fmla="*/ 65 w 68"/>
                    <a:gd name="T21" fmla="*/ 32 h 115"/>
                    <a:gd name="T22" fmla="*/ 59 w 68"/>
                    <a:gd name="T23" fmla="*/ 28 h 115"/>
                    <a:gd name="T24" fmla="*/ 59 w 68"/>
                    <a:gd name="T25" fmla="*/ 77 h 115"/>
                    <a:gd name="T26" fmla="*/ 58 w 68"/>
                    <a:gd name="T27" fmla="*/ 79 h 115"/>
                    <a:gd name="T28" fmla="*/ 9 w 68"/>
                    <a:gd name="T29" fmla="*/ 107 h 115"/>
                    <a:gd name="T30" fmla="*/ 11 w 68"/>
                    <a:gd name="T31" fmla="*/ 107 h 115"/>
                    <a:gd name="T32" fmla="*/ 12 w 68"/>
                    <a:gd name="T33" fmla="*/ 109 h 115"/>
                    <a:gd name="T34" fmla="*/ 11 w 68"/>
                    <a:gd name="T35" fmla="*/ 111 h 115"/>
                    <a:gd name="T36" fmla="*/ 3 w 68"/>
                    <a:gd name="T37" fmla="*/ 115 h 115"/>
                    <a:gd name="T38" fmla="*/ 2 w 68"/>
                    <a:gd name="T39" fmla="*/ 115 h 115"/>
                    <a:gd name="T40" fmla="*/ 4 w 68"/>
                    <a:gd name="T41" fmla="*/ 108 h 115"/>
                    <a:gd name="T42" fmla="*/ 4 w 68"/>
                    <a:gd name="T43" fmla="*/ 110 h 115"/>
                    <a:gd name="T44" fmla="*/ 6 w 68"/>
                    <a:gd name="T45" fmla="*/ 109 h 115"/>
                    <a:gd name="T46" fmla="*/ 4 w 68"/>
                    <a:gd name="T47" fmla="*/ 108 h 115"/>
                    <a:gd name="T48" fmla="*/ 4 w 68"/>
                    <a:gd name="T49" fmla="*/ 41 h 115"/>
                    <a:gd name="T50" fmla="*/ 4 w 68"/>
                    <a:gd name="T51" fmla="*/ 105 h 115"/>
                    <a:gd name="T52" fmla="*/ 55 w 68"/>
                    <a:gd name="T53" fmla="*/ 76 h 115"/>
                    <a:gd name="T54" fmla="*/ 55 w 68"/>
                    <a:gd name="T55" fmla="*/ 25 h 115"/>
                    <a:gd name="T56" fmla="*/ 56 w 68"/>
                    <a:gd name="T57" fmla="*/ 23 h 115"/>
                    <a:gd name="T58" fmla="*/ 58 w 68"/>
                    <a:gd name="T59" fmla="*/ 23 h 115"/>
                    <a:gd name="T60" fmla="*/ 64 w 68"/>
                    <a:gd name="T61" fmla="*/ 27 h 115"/>
                    <a:gd name="T62" fmla="*/ 64 w 68"/>
                    <a:gd name="T63" fmla="*/ 6 h 115"/>
                    <a:gd name="T64" fmla="*/ 4 w 68"/>
                    <a:gd name="T65" fmla="*/ 41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8" h="115">
                      <a:moveTo>
                        <a:pt x="2" y="115"/>
                      </a:moveTo>
                      <a:cubicBezTo>
                        <a:pt x="2" y="115"/>
                        <a:pt x="2" y="115"/>
                        <a:pt x="1" y="115"/>
                      </a:cubicBezTo>
                      <a:cubicBezTo>
                        <a:pt x="1" y="115"/>
                        <a:pt x="0" y="114"/>
                        <a:pt x="0" y="113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39"/>
                        <a:pt x="1" y="38"/>
                        <a:pt x="1" y="38"/>
                      </a:cubicBezTo>
                      <a:cubicBezTo>
                        <a:pt x="65" y="1"/>
                        <a:pt x="65" y="1"/>
                        <a:pt x="65" y="1"/>
                      </a:cubicBezTo>
                      <a:cubicBezTo>
                        <a:pt x="66" y="0"/>
                        <a:pt x="67" y="0"/>
                        <a:pt x="67" y="1"/>
                      </a:cubicBezTo>
                      <a:cubicBezTo>
                        <a:pt x="68" y="1"/>
                        <a:pt x="68" y="2"/>
                        <a:pt x="68" y="2"/>
                      </a:cubicBezTo>
                      <a:cubicBezTo>
                        <a:pt x="68" y="30"/>
                        <a:pt x="68" y="30"/>
                        <a:pt x="68" y="30"/>
                      </a:cubicBezTo>
                      <a:cubicBezTo>
                        <a:pt x="68" y="31"/>
                        <a:pt x="68" y="32"/>
                        <a:pt x="67" y="32"/>
                      </a:cubicBezTo>
                      <a:cubicBezTo>
                        <a:pt x="67" y="32"/>
                        <a:pt x="66" y="32"/>
                        <a:pt x="65" y="32"/>
                      </a:cubicBezTo>
                      <a:cubicBezTo>
                        <a:pt x="59" y="28"/>
                        <a:pt x="59" y="28"/>
                        <a:pt x="59" y="28"/>
                      </a:cubicBezTo>
                      <a:cubicBezTo>
                        <a:pt x="59" y="77"/>
                        <a:pt x="59" y="77"/>
                        <a:pt x="59" y="77"/>
                      </a:cubicBezTo>
                      <a:cubicBezTo>
                        <a:pt x="59" y="78"/>
                        <a:pt x="58" y="78"/>
                        <a:pt x="58" y="79"/>
                      </a:cubicBezTo>
                      <a:cubicBezTo>
                        <a:pt x="9" y="107"/>
                        <a:pt x="9" y="107"/>
                        <a:pt x="9" y="107"/>
                      </a:cubicBezTo>
                      <a:cubicBezTo>
                        <a:pt x="11" y="107"/>
                        <a:pt x="11" y="107"/>
                        <a:pt x="11" y="107"/>
                      </a:cubicBezTo>
                      <a:cubicBezTo>
                        <a:pt x="11" y="108"/>
                        <a:pt x="12" y="108"/>
                        <a:pt x="12" y="109"/>
                      </a:cubicBezTo>
                      <a:cubicBezTo>
                        <a:pt x="12" y="110"/>
                        <a:pt x="11" y="110"/>
                        <a:pt x="11" y="111"/>
                      </a:cubicBezTo>
                      <a:cubicBezTo>
                        <a:pt x="3" y="115"/>
                        <a:pt x="3" y="115"/>
                        <a:pt x="3" y="115"/>
                      </a:cubicBezTo>
                      <a:cubicBezTo>
                        <a:pt x="3" y="115"/>
                        <a:pt x="3" y="115"/>
                        <a:pt x="2" y="115"/>
                      </a:cubicBezTo>
                      <a:close/>
                      <a:moveTo>
                        <a:pt x="4" y="108"/>
                      </a:moveTo>
                      <a:cubicBezTo>
                        <a:pt x="4" y="110"/>
                        <a:pt x="4" y="110"/>
                        <a:pt x="4" y="110"/>
                      </a:cubicBezTo>
                      <a:cubicBezTo>
                        <a:pt x="6" y="109"/>
                        <a:pt x="6" y="109"/>
                        <a:pt x="6" y="109"/>
                      </a:cubicBezTo>
                      <a:lnTo>
                        <a:pt x="4" y="108"/>
                      </a:lnTo>
                      <a:close/>
                      <a:moveTo>
                        <a:pt x="4" y="41"/>
                      </a:moveTo>
                      <a:cubicBezTo>
                        <a:pt x="4" y="105"/>
                        <a:pt x="4" y="105"/>
                        <a:pt x="4" y="105"/>
                      </a:cubicBezTo>
                      <a:cubicBezTo>
                        <a:pt x="55" y="76"/>
                        <a:pt x="55" y="76"/>
                        <a:pt x="55" y="76"/>
                      </a:cubicBezTo>
                      <a:cubicBezTo>
                        <a:pt x="55" y="25"/>
                        <a:pt x="55" y="25"/>
                        <a:pt x="55" y="25"/>
                      </a:cubicBezTo>
                      <a:cubicBezTo>
                        <a:pt x="55" y="24"/>
                        <a:pt x="55" y="23"/>
                        <a:pt x="56" y="23"/>
                      </a:cubicBezTo>
                      <a:cubicBezTo>
                        <a:pt x="56" y="23"/>
                        <a:pt x="57" y="23"/>
                        <a:pt x="58" y="23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64" y="6"/>
                        <a:pt x="64" y="6"/>
                        <a:pt x="64" y="6"/>
                      </a:cubicBezTo>
                      <a:lnTo>
                        <a:pt x="4" y="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6" name="Freeform 819">
                  <a:extLst>
                    <a:ext uri="{FF2B5EF4-FFF2-40B4-BE49-F238E27FC236}">
                      <a16:creationId xmlns:a16="http://schemas.microsoft.com/office/drawing/2014/main" id="{9334AEBD-32A5-4FF4-9BF1-341209C134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46" y="2207"/>
                  <a:ext cx="45" cy="33"/>
                </a:xfrm>
                <a:custGeom>
                  <a:avLst/>
                  <a:gdLst>
                    <a:gd name="T0" fmla="*/ 17 w 19"/>
                    <a:gd name="T1" fmla="*/ 14 h 14"/>
                    <a:gd name="T2" fmla="*/ 16 w 19"/>
                    <a:gd name="T3" fmla="*/ 14 h 14"/>
                    <a:gd name="T4" fmla="*/ 1 w 19"/>
                    <a:gd name="T5" fmla="*/ 5 h 14"/>
                    <a:gd name="T6" fmla="*/ 0 w 19"/>
                    <a:gd name="T7" fmla="*/ 3 h 14"/>
                    <a:gd name="T8" fmla="*/ 1 w 19"/>
                    <a:gd name="T9" fmla="*/ 2 h 14"/>
                    <a:gd name="T10" fmla="*/ 3 w 19"/>
                    <a:gd name="T11" fmla="*/ 0 h 14"/>
                    <a:gd name="T12" fmla="*/ 5 w 19"/>
                    <a:gd name="T13" fmla="*/ 0 h 14"/>
                    <a:gd name="T14" fmla="*/ 18 w 19"/>
                    <a:gd name="T15" fmla="*/ 8 h 14"/>
                    <a:gd name="T16" fmla="*/ 19 w 19"/>
                    <a:gd name="T17" fmla="*/ 10 h 14"/>
                    <a:gd name="T18" fmla="*/ 19 w 19"/>
                    <a:gd name="T19" fmla="*/ 12 h 14"/>
                    <a:gd name="T20" fmla="*/ 18 w 19"/>
                    <a:gd name="T21" fmla="*/ 14 h 14"/>
                    <a:gd name="T22" fmla="*/ 17 w 19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9" h="14">
                      <a:moveTo>
                        <a:pt x="17" y="14"/>
                      </a:moveTo>
                      <a:cubicBezTo>
                        <a:pt x="17" y="14"/>
                        <a:pt x="17" y="14"/>
                        <a:pt x="16" y="1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0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9" y="8"/>
                        <a:pt x="19" y="9"/>
                        <a:pt x="19" y="10"/>
                      </a:cubicBezTo>
                      <a:cubicBezTo>
                        <a:pt x="19" y="12"/>
                        <a:pt x="19" y="12"/>
                        <a:pt x="19" y="12"/>
                      </a:cubicBezTo>
                      <a:cubicBezTo>
                        <a:pt x="19" y="13"/>
                        <a:pt x="19" y="14"/>
                        <a:pt x="18" y="14"/>
                      </a:cubicBezTo>
                      <a:cubicBezTo>
                        <a:pt x="18" y="14"/>
                        <a:pt x="18" y="14"/>
                        <a:pt x="17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7" name="Freeform 820">
                  <a:extLst>
                    <a:ext uri="{FF2B5EF4-FFF2-40B4-BE49-F238E27FC236}">
                      <a16:creationId xmlns:a16="http://schemas.microsoft.com/office/drawing/2014/main" id="{FAC08AE3-A327-4AF5-AC8D-F9DE0F26C71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56" y="2195"/>
                  <a:ext cx="35" cy="35"/>
                </a:xfrm>
                <a:custGeom>
                  <a:avLst/>
                  <a:gdLst>
                    <a:gd name="T0" fmla="*/ 13 w 15"/>
                    <a:gd name="T1" fmla="*/ 15 h 15"/>
                    <a:gd name="T2" fmla="*/ 12 w 15"/>
                    <a:gd name="T3" fmla="*/ 14 h 15"/>
                    <a:gd name="T4" fmla="*/ 1 w 15"/>
                    <a:gd name="T5" fmla="*/ 8 h 15"/>
                    <a:gd name="T6" fmla="*/ 0 w 15"/>
                    <a:gd name="T7" fmla="*/ 6 h 15"/>
                    <a:gd name="T8" fmla="*/ 1 w 15"/>
                    <a:gd name="T9" fmla="*/ 4 h 15"/>
                    <a:gd name="T10" fmla="*/ 8 w 15"/>
                    <a:gd name="T11" fmla="*/ 0 h 15"/>
                    <a:gd name="T12" fmla="*/ 10 w 15"/>
                    <a:gd name="T13" fmla="*/ 0 h 15"/>
                    <a:gd name="T14" fmla="*/ 14 w 15"/>
                    <a:gd name="T15" fmla="*/ 3 h 15"/>
                    <a:gd name="T16" fmla="*/ 15 w 15"/>
                    <a:gd name="T17" fmla="*/ 5 h 15"/>
                    <a:gd name="T18" fmla="*/ 15 w 15"/>
                    <a:gd name="T19" fmla="*/ 13 h 15"/>
                    <a:gd name="T20" fmla="*/ 14 w 15"/>
                    <a:gd name="T21" fmla="*/ 14 h 15"/>
                    <a:gd name="T22" fmla="*/ 13 w 15"/>
                    <a:gd name="T23" fmla="*/ 15 h 15"/>
                    <a:gd name="T24" fmla="*/ 6 w 15"/>
                    <a:gd name="T25" fmla="*/ 6 h 15"/>
                    <a:gd name="T26" fmla="*/ 11 w 15"/>
                    <a:gd name="T27" fmla="*/ 9 h 15"/>
                    <a:gd name="T28" fmla="*/ 11 w 15"/>
                    <a:gd name="T29" fmla="*/ 6 h 15"/>
                    <a:gd name="T30" fmla="*/ 9 w 15"/>
                    <a:gd name="T31" fmla="*/ 4 h 15"/>
                    <a:gd name="T32" fmla="*/ 6 w 15"/>
                    <a:gd name="T33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15">
                      <a:moveTo>
                        <a:pt x="13" y="15"/>
                      </a:moveTo>
                      <a:cubicBezTo>
                        <a:pt x="13" y="15"/>
                        <a:pt x="13" y="15"/>
                        <a:pt x="12" y="14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0" y="7"/>
                        <a:pt x="0" y="7"/>
                        <a:pt x="0" y="6"/>
                      </a:cubicBezTo>
                      <a:cubicBezTo>
                        <a:pt x="0" y="5"/>
                        <a:pt x="0" y="5"/>
                        <a:pt x="1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8" y="0"/>
                        <a:pt x="9" y="0"/>
                        <a:pt x="10" y="0"/>
                      </a:cubicBezTo>
                      <a:cubicBezTo>
                        <a:pt x="14" y="3"/>
                        <a:pt x="14" y="3"/>
                        <a:pt x="14" y="3"/>
                      </a:cubicBezTo>
                      <a:cubicBezTo>
                        <a:pt x="15" y="4"/>
                        <a:pt x="15" y="4"/>
                        <a:pt x="15" y="5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4"/>
                        <a:pt x="14" y="14"/>
                      </a:cubicBezTo>
                      <a:cubicBezTo>
                        <a:pt x="14" y="15"/>
                        <a:pt x="14" y="15"/>
                        <a:pt x="13" y="15"/>
                      </a:cubicBezTo>
                      <a:close/>
                      <a:moveTo>
                        <a:pt x="6" y="6"/>
                      </a:moveTo>
                      <a:cubicBezTo>
                        <a:pt x="11" y="9"/>
                        <a:pt x="11" y="9"/>
                        <a:pt x="11" y="9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9" y="4"/>
                        <a:pt x="9" y="4"/>
                        <a:pt x="9" y="4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8" name="Freeform 821">
                  <a:extLst>
                    <a:ext uri="{FF2B5EF4-FFF2-40B4-BE49-F238E27FC236}">
                      <a16:creationId xmlns:a16="http://schemas.microsoft.com/office/drawing/2014/main" id="{715D0383-7E0A-40E3-AFEB-8485DCE86C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77" y="2188"/>
                  <a:ext cx="14" cy="14"/>
                </a:xfrm>
                <a:custGeom>
                  <a:avLst/>
                  <a:gdLst>
                    <a:gd name="T0" fmla="*/ 4 w 6"/>
                    <a:gd name="T1" fmla="*/ 6 h 6"/>
                    <a:gd name="T2" fmla="*/ 3 w 6"/>
                    <a:gd name="T3" fmla="*/ 6 h 6"/>
                    <a:gd name="T4" fmla="*/ 1 w 6"/>
                    <a:gd name="T5" fmla="*/ 5 h 6"/>
                    <a:gd name="T6" fmla="*/ 0 w 6"/>
                    <a:gd name="T7" fmla="*/ 3 h 6"/>
                    <a:gd name="T8" fmla="*/ 1 w 6"/>
                    <a:gd name="T9" fmla="*/ 2 h 6"/>
                    <a:gd name="T10" fmla="*/ 3 w 6"/>
                    <a:gd name="T11" fmla="*/ 1 h 6"/>
                    <a:gd name="T12" fmla="*/ 5 w 6"/>
                    <a:gd name="T13" fmla="*/ 1 h 6"/>
                    <a:gd name="T14" fmla="*/ 6 w 6"/>
                    <a:gd name="T15" fmla="*/ 2 h 6"/>
                    <a:gd name="T16" fmla="*/ 6 w 6"/>
                    <a:gd name="T17" fmla="*/ 4 h 6"/>
                    <a:gd name="T18" fmla="*/ 5 w 6"/>
                    <a:gd name="T19" fmla="*/ 6 h 6"/>
                    <a:gd name="T20" fmla="*/ 4 w 6"/>
                    <a:gd name="T2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6">
                      <a:moveTo>
                        <a:pt x="4" y="6"/>
                      </a:moveTo>
                      <a:cubicBezTo>
                        <a:pt x="4" y="6"/>
                        <a:pt x="4" y="6"/>
                        <a:pt x="3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3"/>
                        <a:pt x="1" y="2"/>
                        <a:pt x="1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4" y="0"/>
                        <a:pt x="5" y="0"/>
                        <a:pt x="5" y="1"/>
                      </a:cubicBezTo>
                      <a:cubicBezTo>
                        <a:pt x="6" y="1"/>
                        <a:pt x="6" y="2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5"/>
                        <a:pt x="6" y="6"/>
                        <a:pt x="5" y="6"/>
                      </a:cubicBezTo>
                      <a:cubicBezTo>
                        <a:pt x="5" y="6"/>
                        <a:pt x="5" y="6"/>
                        <a:pt x="4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9" name="Freeform 822">
                  <a:extLst>
                    <a:ext uri="{FF2B5EF4-FFF2-40B4-BE49-F238E27FC236}">
                      <a16:creationId xmlns:a16="http://schemas.microsoft.com/office/drawing/2014/main" id="{ED395323-D10D-4551-8DFC-5F1F052C9F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1569"/>
                  <a:ext cx="100" cy="73"/>
                </a:xfrm>
                <a:custGeom>
                  <a:avLst/>
                  <a:gdLst>
                    <a:gd name="T0" fmla="*/ 31 w 42"/>
                    <a:gd name="T1" fmla="*/ 31 h 31"/>
                    <a:gd name="T2" fmla="*/ 30 w 42"/>
                    <a:gd name="T3" fmla="*/ 31 h 31"/>
                    <a:gd name="T4" fmla="*/ 1 w 42"/>
                    <a:gd name="T5" fmla="*/ 14 h 31"/>
                    <a:gd name="T6" fmla="*/ 0 w 42"/>
                    <a:gd name="T7" fmla="*/ 12 h 31"/>
                    <a:gd name="T8" fmla="*/ 0 w 42"/>
                    <a:gd name="T9" fmla="*/ 2 h 31"/>
                    <a:gd name="T10" fmla="*/ 1 w 42"/>
                    <a:gd name="T11" fmla="*/ 1 h 31"/>
                    <a:gd name="T12" fmla="*/ 3 w 42"/>
                    <a:gd name="T13" fmla="*/ 1 h 31"/>
                    <a:gd name="T14" fmla="*/ 41 w 42"/>
                    <a:gd name="T15" fmla="*/ 22 h 31"/>
                    <a:gd name="T16" fmla="*/ 42 w 42"/>
                    <a:gd name="T17" fmla="*/ 24 h 31"/>
                    <a:gd name="T18" fmla="*/ 41 w 42"/>
                    <a:gd name="T19" fmla="*/ 26 h 31"/>
                    <a:gd name="T20" fmla="*/ 32 w 42"/>
                    <a:gd name="T21" fmla="*/ 31 h 31"/>
                    <a:gd name="T22" fmla="*/ 31 w 42"/>
                    <a:gd name="T23" fmla="*/ 31 h 31"/>
                    <a:gd name="T24" fmla="*/ 4 w 42"/>
                    <a:gd name="T25" fmla="*/ 11 h 31"/>
                    <a:gd name="T26" fmla="*/ 31 w 42"/>
                    <a:gd name="T27" fmla="*/ 27 h 31"/>
                    <a:gd name="T28" fmla="*/ 36 w 42"/>
                    <a:gd name="T29" fmla="*/ 24 h 31"/>
                    <a:gd name="T30" fmla="*/ 4 w 42"/>
                    <a:gd name="T31" fmla="*/ 6 h 31"/>
                    <a:gd name="T32" fmla="*/ 4 w 42"/>
                    <a:gd name="T33" fmla="*/ 1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2" h="31">
                      <a:moveTo>
                        <a:pt x="31" y="31"/>
                      </a:moveTo>
                      <a:cubicBezTo>
                        <a:pt x="31" y="31"/>
                        <a:pt x="31" y="31"/>
                        <a:pt x="30" y="31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0" y="13"/>
                        <a:pt x="0" y="13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1" y="22"/>
                        <a:pt x="41" y="22"/>
                        <a:pt x="41" y="22"/>
                      </a:cubicBezTo>
                      <a:cubicBezTo>
                        <a:pt x="41" y="23"/>
                        <a:pt x="42" y="23"/>
                        <a:pt x="42" y="24"/>
                      </a:cubicBezTo>
                      <a:cubicBezTo>
                        <a:pt x="42" y="25"/>
                        <a:pt x="41" y="25"/>
                        <a:pt x="41" y="26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2" y="31"/>
                        <a:pt x="32" y="31"/>
                        <a:pt x="31" y="31"/>
                      </a:cubicBezTo>
                      <a:close/>
                      <a:moveTo>
                        <a:pt x="4" y="11"/>
                      </a:moveTo>
                      <a:cubicBezTo>
                        <a:pt x="31" y="27"/>
                        <a:pt x="31" y="27"/>
                        <a:pt x="31" y="27"/>
                      </a:cubicBezTo>
                      <a:cubicBezTo>
                        <a:pt x="36" y="24"/>
                        <a:pt x="36" y="24"/>
                        <a:pt x="36" y="24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0" name="Freeform 823">
                  <a:extLst>
                    <a:ext uri="{FF2B5EF4-FFF2-40B4-BE49-F238E27FC236}">
                      <a16:creationId xmlns:a16="http://schemas.microsoft.com/office/drawing/2014/main" id="{1BDC692A-67D4-4362-86FA-E240FB9450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" y="1342"/>
                  <a:ext cx="12" cy="12"/>
                </a:xfrm>
                <a:custGeom>
                  <a:avLst/>
                  <a:gdLst>
                    <a:gd name="T0" fmla="*/ 2 w 5"/>
                    <a:gd name="T1" fmla="*/ 5 h 5"/>
                    <a:gd name="T2" fmla="*/ 1 w 5"/>
                    <a:gd name="T3" fmla="*/ 5 h 5"/>
                    <a:gd name="T4" fmla="*/ 0 w 5"/>
                    <a:gd name="T5" fmla="*/ 3 h 5"/>
                    <a:gd name="T6" fmla="*/ 0 w 5"/>
                    <a:gd name="T7" fmla="*/ 3 h 5"/>
                    <a:gd name="T8" fmla="*/ 1 w 5"/>
                    <a:gd name="T9" fmla="*/ 1 h 5"/>
                    <a:gd name="T10" fmla="*/ 3 w 5"/>
                    <a:gd name="T11" fmla="*/ 1 h 5"/>
                    <a:gd name="T12" fmla="*/ 4 w 5"/>
                    <a:gd name="T13" fmla="*/ 1 h 5"/>
                    <a:gd name="T14" fmla="*/ 5 w 5"/>
                    <a:gd name="T15" fmla="*/ 3 h 5"/>
                    <a:gd name="T16" fmla="*/ 4 w 5"/>
                    <a:gd name="T17" fmla="*/ 5 h 5"/>
                    <a:gd name="T18" fmla="*/ 3 w 5"/>
                    <a:gd name="T19" fmla="*/ 5 h 5"/>
                    <a:gd name="T20" fmla="*/ 2 w 5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5">
                      <a:moveTo>
                        <a:pt x="2" y="5"/>
                      </a:moveTo>
                      <a:cubicBezTo>
                        <a:pt x="2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2"/>
                        <a:pt x="5" y="2"/>
                        <a:pt x="5" y="3"/>
                      </a:cubicBezTo>
                      <a:cubicBezTo>
                        <a:pt x="5" y="4"/>
                        <a:pt x="4" y="4"/>
                        <a:pt x="4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3" y="5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1" name="Freeform 824">
                  <a:extLst>
                    <a:ext uri="{FF2B5EF4-FFF2-40B4-BE49-F238E27FC236}">
                      <a16:creationId xmlns:a16="http://schemas.microsoft.com/office/drawing/2014/main" id="{62F9A4EE-8C10-4610-A867-76AC4D05AC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789"/>
                  <a:ext cx="291" cy="501"/>
                </a:xfrm>
                <a:custGeom>
                  <a:avLst/>
                  <a:gdLst>
                    <a:gd name="T0" fmla="*/ 2 w 123"/>
                    <a:gd name="T1" fmla="*/ 212 h 212"/>
                    <a:gd name="T2" fmla="*/ 1 w 123"/>
                    <a:gd name="T3" fmla="*/ 211 h 212"/>
                    <a:gd name="T4" fmla="*/ 0 w 123"/>
                    <a:gd name="T5" fmla="*/ 210 h 212"/>
                    <a:gd name="T6" fmla="*/ 0 w 123"/>
                    <a:gd name="T7" fmla="*/ 197 h 212"/>
                    <a:gd name="T8" fmla="*/ 0 w 123"/>
                    <a:gd name="T9" fmla="*/ 195 h 212"/>
                    <a:gd name="T10" fmla="*/ 0 w 123"/>
                    <a:gd name="T11" fmla="*/ 71 h 212"/>
                    <a:gd name="T12" fmla="*/ 1 w 123"/>
                    <a:gd name="T13" fmla="*/ 69 h 212"/>
                    <a:gd name="T14" fmla="*/ 120 w 123"/>
                    <a:gd name="T15" fmla="*/ 1 h 212"/>
                    <a:gd name="T16" fmla="*/ 122 w 123"/>
                    <a:gd name="T17" fmla="*/ 1 h 212"/>
                    <a:gd name="T18" fmla="*/ 123 w 123"/>
                    <a:gd name="T19" fmla="*/ 2 h 212"/>
                    <a:gd name="T20" fmla="*/ 123 w 123"/>
                    <a:gd name="T21" fmla="*/ 123 h 212"/>
                    <a:gd name="T22" fmla="*/ 122 w 123"/>
                    <a:gd name="T23" fmla="*/ 124 h 212"/>
                    <a:gd name="T24" fmla="*/ 113 w 123"/>
                    <a:gd name="T25" fmla="*/ 130 h 212"/>
                    <a:gd name="T26" fmla="*/ 122 w 123"/>
                    <a:gd name="T27" fmla="*/ 135 h 212"/>
                    <a:gd name="T28" fmla="*/ 123 w 123"/>
                    <a:gd name="T29" fmla="*/ 136 h 212"/>
                    <a:gd name="T30" fmla="*/ 123 w 123"/>
                    <a:gd name="T31" fmla="*/ 140 h 212"/>
                    <a:gd name="T32" fmla="*/ 122 w 123"/>
                    <a:gd name="T33" fmla="*/ 142 h 212"/>
                    <a:gd name="T34" fmla="*/ 79 w 123"/>
                    <a:gd name="T35" fmla="*/ 167 h 212"/>
                    <a:gd name="T36" fmla="*/ 77 w 123"/>
                    <a:gd name="T37" fmla="*/ 167 h 212"/>
                    <a:gd name="T38" fmla="*/ 66 w 123"/>
                    <a:gd name="T39" fmla="*/ 161 h 212"/>
                    <a:gd name="T40" fmla="*/ 66 w 123"/>
                    <a:gd name="T41" fmla="*/ 173 h 212"/>
                    <a:gd name="T42" fmla="*/ 65 w 123"/>
                    <a:gd name="T43" fmla="*/ 175 h 212"/>
                    <a:gd name="T44" fmla="*/ 3 w 123"/>
                    <a:gd name="T45" fmla="*/ 211 h 212"/>
                    <a:gd name="T46" fmla="*/ 2 w 123"/>
                    <a:gd name="T47" fmla="*/ 212 h 212"/>
                    <a:gd name="T48" fmla="*/ 4 w 123"/>
                    <a:gd name="T49" fmla="*/ 199 h 212"/>
                    <a:gd name="T50" fmla="*/ 4 w 123"/>
                    <a:gd name="T51" fmla="*/ 206 h 212"/>
                    <a:gd name="T52" fmla="*/ 62 w 123"/>
                    <a:gd name="T53" fmla="*/ 172 h 212"/>
                    <a:gd name="T54" fmla="*/ 62 w 123"/>
                    <a:gd name="T55" fmla="*/ 158 h 212"/>
                    <a:gd name="T56" fmla="*/ 63 w 123"/>
                    <a:gd name="T57" fmla="*/ 156 h 212"/>
                    <a:gd name="T58" fmla="*/ 65 w 123"/>
                    <a:gd name="T59" fmla="*/ 156 h 212"/>
                    <a:gd name="T60" fmla="*/ 78 w 123"/>
                    <a:gd name="T61" fmla="*/ 163 h 212"/>
                    <a:gd name="T62" fmla="*/ 119 w 123"/>
                    <a:gd name="T63" fmla="*/ 139 h 212"/>
                    <a:gd name="T64" fmla="*/ 119 w 123"/>
                    <a:gd name="T65" fmla="*/ 138 h 212"/>
                    <a:gd name="T66" fmla="*/ 108 w 123"/>
                    <a:gd name="T67" fmla="*/ 131 h 212"/>
                    <a:gd name="T68" fmla="*/ 107 w 123"/>
                    <a:gd name="T69" fmla="*/ 130 h 212"/>
                    <a:gd name="T70" fmla="*/ 108 w 123"/>
                    <a:gd name="T71" fmla="*/ 128 h 212"/>
                    <a:gd name="T72" fmla="*/ 119 w 123"/>
                    <a:gd name="T73" fmla="*/ 121 h 212"/>
                    <a:gd name="T74" fmla="*/ 119 w 123"/>
                    <a:gd name="T75" fmla="*/ 6 h 212"/>
                    <a:gd name="T76" fmla="*/ 4 w 123"/>
                    <a:gd name="T77" fmla="*/ 72 h 212"/>
                    <a:gd name="T78" fmla="*/ 4 w 123"/>
                    <a:gd name="T79" fmla="*/ 197 h 212"/>
                    <a:gd name="T80" fmla="*/ 4 w 123"/>
                    <a:gd name="T81" fmla="*/ 199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3" h="212">
                      <a:moveTo>
                        <a:pt x="2" y="212"/>
                      </a:moveTo>
                      <a:cubicBezTo>
                        <a:pt x="1" y="212"/>
                        <a:pt x="1" y="211"/>
                        <a:pt x="1" y="211"/>
                      </a:cubicBezTo>
                      <a:cubicBezTo>
                        <a:pt x="0" y="211"/>
                        <a:pt x="0" y="210"/>
                        <a:pt x="0" y="210"/>
                      </a:cubicBezTo>
                      <a:cubicBezTo>
                        <a:pt x="0" y="197"/>
                        <a:pt x="0" y="197"/>
                        <a:pt x="0" y="197"/>
                      </a:cubicBezTo>
                      <a:cubicBezTo>
                        <a:pt x="0" y="196"/>
                        <a:pt x="0" y="196"/>
                        <a:pt x="0" y="195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0"/>
                        <a:pt x="1" y="70"/>
                        <a:pt x="1" y="69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1" y="0"/>
                        <a:pt x="122" y="0"/>
                        <a:pt x="122" y="1"/>
                      </a:cubicBezTo>
                      <a:cubicBezTo>
                        <a:pt x="123" y="1"/>
                        <a:pt x="123" y="2"/>
                        <a:pt x="123" y="2"/>
                      </a:cubicBezTo>
                      <a:cubicBezTo>
                        <a:pt x="123" y="123"/>
                        <a:pt x="123" y="123"/>
                        <a:pt x="123" y="123"/>
                      </a:cubicBezTo>
                      <a:cubicBezTo>
                        <a:pt x="123" y="123"/>
                        <a:pt x="123" y="124"/>
                        <a:pt x="122" y="124"/>
                      </a:cubicBezTo>
                      <a:cubicBezTo>
                        <a:pt x="113" y="130"/>
                        <a:pt x="113" y="130"/>
                        <a:pt x="113" y="130"/>
                      </a:cubicBezTo>
                      <a:cubicBezTo>
                        <a:pt x="122" y="135"/>
                        <a:pt x="122" y="135"/>
                        <a:pt x="122" y="135"/>
                      </a:cubicBezTo>
                      <a:cubicBezTo>
                        <a:pt x="123" y="135"/>
                        <a:pt x="123" y="136"/>
                        <a:pt x="123" y="136"/>
                      </a:cubicBezTo>
                      <a:cubicBezTo>
                        <a:pt x="123" y="140"/>
                        <a:pt x="123" y="140"/>
                        <a:pt x="123" y="140"/>
                      </a:cubicBezTo>
                      <a:cubicBezTo>
                        <a:pt x="123" y="141"/>
                        <a:pt x="123" y="142"/>
                        <a:pt x="122" y="142"/>
                      </a:cubicBezTo>
                      <a:cubicBezTo>
                        <a:pt x="79" y="167"/>
                        <a:pt x="79" y="167"/>
                        <a:pt x="79" y="167"/>
                      </a:cubicBezTo>
                      <a:cubicBezTo>
                        <a:pt x="78" y="168"/>
                        <a:pt x="77" y="168"/>
                        <a:pt x="77" y="167"/>
                      </a:cubicBezTo>
                      <a:cubicBezTo>
                        <a:pt x="66" y="161"/>
                        <a:pt x="66" y="161"/>
                        <a:pt x="66" y="161"/>
                      </a:cubicBezTo>
                      <a:cubicBezTo>
                        <a:pt x="66" y="173"/>
                        <a:pt x="66" y="173"/>
                        <a:pt x="66" y="173"/>
                      </a:cubicBezTo>
                      <a:cubicBezTo>
                        <a:pt x="66" y="174"/>
                        <a:pt x="66" y="175"/>
                        <a:pt x="65" y="175"/>
                      </a:cubicBezTo>
                      <a:cubicBezTo>
                        <a:pt x="3" y="211"/>
                        <a:pt x="3" y="211"/>
                        <a:pt x="3" y="211"/>
                      </a:cubicBezTo>
                      <a:cubicBezTo>
                        <a:pt x="2" y="211"/>
                        <a:pt x="2" y="212"/>
                        <a:pt x="2" y="212"/>
                      </a:cubicBezTo>
                      <a:close/>
                      <a:moveTo>
                        <a:pt x="4" y="199"/>
                      </a:moveTo>
                      <a:cubicBezTo>
                        <a:pt x="4" y="206"/>
                        <a:pt x="4" y="206"/>
                        <a:pt x="4" y="206"/>
                      </a:cubicBezTo>
                      <a:cubicBezTo>
                        <a:pt x="62" y="172"/>
                        <a:pt x="62" y="172"/>
                        <a:pt x="62" y="172"/>
                      </a:cubicBezTo>
                      <a:cubicBezTo>
                        <a:pt x="62" y="158"/>
                        <a:pt x="62" y="158"/>
                        <a:pt x="62" y="158"/>
                      </a:cubicBezTo>
                      <a:cubicBezTo>
                        <a:pt x="62" y="157"/>
                        <a:pt x="63" y="156"/>
                        <a:pt x="63" y="156"/>
                      </a:cubicBezTo>
                      <a:cubicBezTo>
                        <a:pt x="64" y="156"/>
                        <a:pt x="65" y="156"/>
                        <a:pt x="65" y="156"/>
                      </a:cubicBezTo>
                      <a:cubicBezTo>
                        <a:pt x="78" y="163"/>
                        <a:pt x="78" y="163"/>
                        <a:pt x="78" y="163"/>
                      </a:cubicBezTo>
                      <a:cubicBezTo>
                        <a:pt x="119" y="139"/>
                        <a:pt x="119" y="139"/>
                        <a:pt x="119" y="139"/>
                      </a:cubicBezTo>
                      <a:cubicBezTo>
                        <a:pt x="119" y="138"/>
                        <a:pt x="119" y="138"/>
                        <a:pt x="119" y="138"/>
                      </a:cubicBezTo>
                      <a:cubicBezTo>
                        <a:pt x="108" y="131"/>
                        <a:pt x="108" y="131"/>
                        <a:pt x="108" y="131"/>
                      </a:cubicBezTo>
                      <a:cubicBezTo>
                        <a:pt x="108" y="131"/>
                        <a:pt x="107" y="130"/>
                        <a:pt x="107" y="130"/>
                      </a:cubicBezTo>
                      <a:cubicBezTo>
                        <a:pt x="107" y="129"/>
                        <a:pt x="108" y="128"/>
                        <a:pt x="108" y="128"/>
                      </a:cubicBezTo>
                      <a:cubicBezTo>
                        <a:pt x="119" y="121"/>
                        <a:pt x="119" y="121"/>
                        <a:pt x="119" y="121"/>
                      </a:cubicBezTo>
                      <a:cubicBezTo>
                        <a:pt x="119" y="6"/>
                        <a:pt x="119" y="6"/>
                        <a:pt x="119" y="6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4" y="197"/>
                        <a:pt x="4" y="197"/>
                        <a:pt x="4" y="197"/>
                      </a:cubicBezTo>
                      <a:cubicBezTo>
                        <a:pt x="4" y="198"/>
                        <a:pt x="4" y="198"/>
                        <a:pt x="4" y="19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2" name="Freeform 825">
                  <a:extLst>
                    <a:ext uri="{FF2B5EF4-FFF2-40B4-BE49-F238E27FC236}">
                      <a16:creationId xmlns:a16="http://schemas.microsoft.com/office/drawing/2014/main" id="{8A18F60A-E12C-41AD-AEC3-F78ECBACC7B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1347"/>
                  <a:ext cx="38" cy="37"/>
                </a:xfrm>
                <a:custGeom>
                  <a:avLst/>
                  <a:gdLst>
                    <a:gd name="T0" fmla="*/ 2 w 16"/>
                    <a:gd name="T1" fmla="*/ 16 h 16"/>
                    <a:gd name="T2" fmla="*/ 1 w 16"/>
                    <a:gd name="T3" fmla="*/ 16 h 16"/>
                    <a:gd name="T4" fmla="*/ 0 w 16"/>
                    <a:gd name="T5" fmla="*/ 14 h 16"/>
                    <a:gd name="T6" fmla="*/ 0 w 16"/>
                    <a:gd name="T7" fmla="*/ 3 h 16"/>
                    <a:gd name="T8" fmla="*/ 1 w 16"/>
                    <a:gd name="T9" fmla="*/ 2 h 16"/>
                    <a:gd name="T10" fmla="*/ 3 w 16"/>
                    <a:gd name="T11" fmla="*/ 0 h 16"/>
                    <a:gd name="T12" fmla="*/ 5 w 16"/>
                    <a:gd name="T13" fmla="*/ 0 h 16"/>
                    <a:gd name="T14" fmla="*/ 15 w 16"/>
                    <a:gd name="T15" fmla="*/ 6 h 16"/>
                    <a:gd name="T16" fmla="*/ 16 w 16"/>
                    <a:gd name="T17" fmla="*/ 7 h 16"/>
                    <a:gd name="T18" fmla="*/ 15 w 16"/>
                    <a:gd name="T19" fmla="*/ 9 h 16"/>
                    <a:gd name="T20" fmla="*/ 3 w 16"/>
                    <a:gd name="T21" fmla="*/ 16 h 16"/>
                    <a:gd name="T22" fmla="*/ 2 w 16"/>
                    <a:gd name="T23" fmla="*/ 16 h 16"/>
                    <a:gd name="T24" fmla="*/ 4 w 16"/>
                    <a:gd name="T25" fmla="*/ 4 h 16"/>
                    <a:gd name="T26" fmla="*/ 4 w 16"/>
                    <a:gd name="T27" fmla="*/ 11 h 16"/>
                    <a:gd name="T28" fmla="*/ 10 w 16"/>
                    <a:gd name="T29" fmla="*/ 7 h 16"/>
                    <a:gd name="T30" fmla="*/ 4 w 16"/>
                    <a:gd name="T31" fmla="*/ 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16">
                      <a:moveTo>
                        <a:pt x="2" y="16"/>
                      </a:moveTo>
                      <a:cubicBezTo>
                        <a:pt x="2" y="16"/>
                        <a:pt x="1" y="16"/>
                        <a:pt x="1" y="16"/>
                      </a:cubicBezTo>
                      <a:cubicBezTo>
                        <a:pt x="0" y="16"/>
                        <a:pt x="0" y="15"/>
                        <a:pt x="0" y="1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2"/>
                        <a:pt x="1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0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5" y="6"/>
                        <a:pt x="16" y="7"/>
                        <a:pt x="16" y="7"/>
                      </a:cubicBezTo>
                      <a:cubicBezTo>
                        <a:pt x="16" y="8"/>
                        <a:pt x="15" y="9"/>
                        <a:pt x="15" y="9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6"/>
                        <a:pt x="2" y="16"/>
                        <a:pt x="2" y="16"/>
                      </a:cubicBezTo>
                      <a:close/>
                      <a:moveTo>
                        <a:pt x="4" y="4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4" y="4"/>
                        <a:pt x="4" y="4"/>
                        <a:pt x="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3" name="Freeform 826">
                  <a:extLst>
                    <a:ext uri="{FF2B5EF4-FFF2-40B4-BE49-F238E27FC236}">
                      <a16:creationId xmlns:a16="http://schemas.microsoft.com/office/drawing/2014/main" id="{FF3AB619-237D-41FD-B16B-A949AC9184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27" y="1283"/>
                  <a:ext cx="26" cy="28"/>
                </a:xfrm>
                <a:custGeom>
                  <a:avLst/>
                  <a:gdLst>
                    <a:gd name="T0" fmla="*/ 2 w 11"/>
                    <a:gd name="T1" fmla="*/ 12 h 12"/>
                    <a:gd name="T2" fmla="*/ 1 w 11"/>
                    <a:gd name="T3" fmla="*/ 12 h 12"/>
                    <a:gd name="T4" fmla="*/ 0 w 11"/>
                    <a:gd name="T5" fmla="*/ 10 h 12"/>
                    <a:gd name="T6" fmla="*/ 0 w 11"/>
                    <a:gd name="T7" fmla="*/ 2 h 12"/>
                    <a:gd name="T8" fmla="*/ 1 w 11"/>
                    <a:gd name="T9" fmla="*/ 0 h 12"/>
                    <a:gd name="T10" fmla="*/ 3 w 11"/>
                    <a:gd name="T11" fmla="*/ 0 h 12"/>
                    <a:gd name="T12" fmla="*/ 10 w 11"/>
                    <a:gd name="T13" fmla="*/ 4 h 12"/>
                    <a:gd name="T14" fmla="*/ 11 w 11"/>
                    <a:gd name="T15" fmla="*/ 6 h 12"/>
                    <a:gd name="T16" fmla="*/ 10 w 11"/>
                    <a:gd name="T17" fmla="*/ 8 h 12"/>
                    <a:gd name="T18" fmla="*/ 3 w 11"/>
                    <a:gd name="T19" fmla="*/ 12 h 12"/>
                    <a:gd name="T20" fmla="*/ 2 w 11"/>
                    <a:gd name="T21" fmla="*/ 12 h 12"/>
                    <a:gd name="T22" fmla="*/ 4 w 11"/>
                    <a:gd name="T23" fmla="*/ 5 h 12"/>
                    <a:gd name="T24" fmla="*/ 4 w 11"/>
                    <a:gd name="T25" fmla="*/ 6 h 12"/>
                    <a:gd name="T26" fmla="*/ 5 w 11"/>
                    <a:gd name="T27" fmla="*/ 6 h 12"/>
                    <a:gd name="T28" fmla="*/ 4 w 11"/>
                    <a:gd name="T29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2">
                      <a:moveTo>
                        <a:pt x="2" y="12"/>
                      </a:moveTo>
                      <a:cubicBezTo>
                        <a:pt x="2" y="12"/>
                        <a:pt x="1" y="12"/>
                        <a:pt x="1" y="12"/>
                      </a:cubicBezTo>
                      <a:cubicBezTo>
                        <a:pt x="0" y="11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1" y="4"/>
                        <a:pt x="11" y="5"/>
                        <a:pt x="11" y="6"/>
                      </a:cubicBezTo>
                      <a:cubicBezTo>
                        <a:pt x="11" y="7"/>
                        <a:pt x="11" y="7"/>
                        <a:pt x="10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3" y="12"/>
                        <a:pt x="2" y="12"/>
                        <a:pt x="2" y="12"/>
                      </a:cubicBezTo>
                      <a:close/>
                      <a:moveTo>
                        <a:pt x="4" y="5"/>
                      </a:move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4" name="Freeform 827">
                  <a:extLst>
                    <a:ext uri="{FF2B5EF4-FFF2-40B4-BE49-F238E27FC236}">
                      <a16:creationId xmlns:a16="http://schemas.microsoft.com/office/drawing/2014/main" id="{F042E3B4-2CA2-463F-B98B-23619D15E9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27" y="1162"/>
                  <a:ext cx="85" cy="180"/>
                </a:xfrm>
                <a:custGeom>
                  <a:avLst/>
                  <a:gdLst>
                    <a:gd name="T0" fmla="*/ 2 w 36"/>
                    <a:gd name="T1" fmla="*/ 76 h 76"/>
                    <a:gd name="T2" fmla="*/ 1 w 36"/>
                    <a:gd name="T3" fmla="*/ 75 h 76"/>
                    <a:gd name="T4" fmla="*/ 0 w 36"/>
                    <a:gd name="T5" fmla="*/ 74 h 76"/>
                    <a:gd name="T6" fmla="*/ 0 w 36"/>
                    <a:gd name="T7" fmla="*/ 63 h 76"/>
                    <a:gd name="T8" fmla="*/ 1 w 36"/>
                    <a:gd name="T9" fmla="*/ 61 h 76"/>
                    <a:gd name="T10" fmla="*/ 8 w 36"/>
                    <a:gd name="T11" fmla="*/ 57 h 76"/>
                    <a:gd name="T12" fmla="*/ 1 w 36"/>
                    <a:gd name="T13" fmla="*/ 53 h 76"/>
                    <a:gd name="T14" fmla="*/ 0 w 36"/>
                    <a:gd name="T15" fmla="*/ 51 h 76"/>
                    <a:gd name="T16" fmla="*/ 0 w 36"/>
                    <a:gd name="T17" fmla="*/ 3 h 76"/>
                    <a:gd name="T18" fmla="*/ 1 w 36"/>
                    <a:gd name="T19" fmla="*/ 1 h 76"/>
                    <a:gd name="T20" fmla="*/ 3 w 36"/>
                    <a:gd name="T21" fmla="*/ 1 h 76"/>
                    <a:gd name="T22" fmla="*/ 35 w 36"/>
                    <a:gd name="T23" fmla="*/ 19 h 76"/>
                    <a:gd name="T24" fmla="*/ 36 w 36"/>
                    <a:gd name="T25" fmla="*/ 21 h 76"/>
                    <a:gd name="T26" fmla="*/ 36 w 36"/>
                    <a:gd name="T27" fmla="*/ 55 h 76"/>
                    <a:gd name="T28" fmla="*/ 35 w 36"/>
                    <a:gd name="T29" fmla="*/ 57 h 76"/>
                    <a:gd name="T30" fmla="*/ 3 w 36"/>
                    <a:gd name="T31" fmla="*/ 75 h 76"/>
                    <a:gd name="T32" fmla="*/ 2 w 36"/>
                    <a:gd name="T33" fmla="*/ 76 h 76"/>
                    <a:gd name="T34" fmla="*/ 4 w 36"/>
                    <a:gd name="T35" fmla="*/ 64 h 76"/>
                    <a:gd name="T36" fmla="*/ 4 w 36"/>
                    <a:gd name="T37" fmla="*/ 70 h 76"/>
                    <a:gd name="T38" fmla="*/ 32 w 36"/>
                    <a:gd name="T39" fmla="*/ 54 h 76"/>
                    <a:gd name="T40" fmla="*/ 32 w 36"/>
                    <a:gd name="T41" fmla="*/ 22 h 76"/>
                    <a:gd name="T42" fmla="*/ 4 w 36"/>
                    <a:gd name="T43" fmla="*/ 6 h 76"/>
                    <a:gd name="T44" fmla="*/ 4 w 36"/>
                    <a:gd name="T45" fmla="*/ 50 h 76"/>
                    <a:gd name="T46" fmla="*/ 13 w 36"/>
                    <a:gd name="T47" fmla="*/ 55 h 76"/>
                    <a:gd name="T48" fmla="*/ 14 w 36"/>
                    <a:gd name="T49" fmla="*/ 57 h 76"/>
                    <a:gd name="T50" fmla="*/ 13 w 36"/>
                    <a:gd name="T51" fmla="*/ 59 h 76"/>
                    <a:gd name="T52" fmla="*/ 4 w 36"/>
                    <a:gd name="T53" fmla="*/ 6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6" h="76">
                      <a:moveTo>
                        <a:pt x="2" y="76"/>
                      </a:moveTo>
                      <a:cubicBezTo>
                        <a:pt x="2" y="76"/>
                        <a:pt x="1" y="76"/>
                        <a:pt x="1" y="75"/>
                      </a:cubicBezTo>
                      <a:cubicBezTo>
                        <a:pt x="0" y="75"/>
                        <a:pt x="0" y="74"/>
                        <a:pt x="0" y="74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2"/>
                        <a:pt x="0" y="61"/>
                        <a:pt x="1" y="61"/>
                      </a:cubicBezTo>
                      <a:cubicBezTo>
                        <a:pt x="8" y="57"/>
                        <a:pt x="8" y="57"/>
                        <a:pt x="8" y="57"/>
                      </a:cubicBez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0" y="52"/>
                        <a:pt x="0" y="52"/>
                        <a:pt x="0" y="5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5" y="19"/>
                        <a:pt x="35" y="19"/>
                        <a:pt x="35" y="19"/>
                      </a:cubicBezTo>
                      <a:cubicBezTo>
                        <a:pt x="36" y="20"/>
                        <a:pt x="36" y="20"/>
                        <a:pt x="36" y="21"/>
                      </a:cubicBezTo>
                      <a:cubicBezTo>
                        <a:pt x="36" y="55"/>
                        <a:pt x="36" y="55"/>
                        <a:pt x="36" y="55"/>
                      </a:cubicBezTo>
                      <a:cubicBezTo>
                        <a:pt x="36" y="56"/>
                        <a:pt x="36" y="57"/>
                        <a:pt x="35" y="57"/>
                      </a:cubicBezTo>
                      <a:cubicBezTo>
                        <a:pt x="3" y="75"/>
                        <a:pt x="3" y="75"/>
                        <a:pt x="3" y="75"/>
                      </a:cubicBezTo>
                      <a:cubicBezTo>
                        <a:pt x="3" y="76"/>
                        <a:pt x="2" y="76"/>
                        <a:pt x="2" y="76"/>
                      </a:cubicBezTo>
                      <a:close/>
                      <a:moveTo>
                        <a:pt x="4" y="64"/>
                      </a:moveTo>
                      <a:cubicBezTo>
                        <a:pt x="4" y="70"/>
                        <a:pt x="4" y="70"/>
                        <a:pt x="4" y="70"/>
                      </a:cubicBezTo>
                      <a:cubicBezTo>
                        <a:pt x="32" y="54"/>
                        <a:pt x="32" y="54"/>
                        <a:pt x="32" y="54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50"/>
                        <a:pt x="4" y="50"/>
                        <a:pt x="4" y="50"/>
                      </a:cubicBezTo>
                      <a:cubicBezTo>
                        <a:pt x="13" y="55"/>
                        <a:pt x="13" y="55"/>
                        <a:pt x="13" y="55"/>
                      </a:cubicBezTo>
                      <a:cubicBezTo>
                        <a:pt x="14" y="55"/>
                        <a:pt x="14" y="56"/>
                        <a:pt x="14" y="57"/>
                      </a:cubicBezTo>
                      <a:cubicBezTo>
                        <a:pt x="14" y="58"/>
                        <a:pt x="14" y="58"/>
                        <a:pt x="13" y="59"/>
                      </a:cubicBezTo>
                      <a:lnTo>
                        <a:pt x="4" y="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5" name="Freeform 828">
                  <a:extLst>
                    <a:ext uri="{FF2B5EF4-FFF2-40B4-BE49-F238E27FC236}">
                      <a16:creationId xmlns:a16="http://schemas.microsoft.com/office/drawing/2014/main" id="{2891BB3C-2539-4F9E-9222-E3EB37322F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30" y="1210"/>
                  <a:ext cx="153" cy="217"/>
                </a:xfrm>
                <a:custGeom>
                  <a:avLst/>
                  <a:gdLst>
                    <a:gd name="T0" fmla="*/ 63 w 65"/>
                    <a:gd name="T1" fmla="*/ 92 h 92"/>
                    <a:gd name="T2" fmla="*/ 62 w 65"/>
                    <a:gd name="T3" fmla="*/ 91 h 92"/>
                    <a:gd name="T4" fmla="*/ 1 w 65"/>
                    <a:gd name="T5" fmla="*/ 57 h 92"/>
                    <a:gd name="T6" fmla="*/ 0 w 65"/>
                    <a:gd name="T7" fmla="*/ 55 h 92"/>
                    <a:gd name="T8" fmla="*/ 1 w 65"/>
                    <a:gd name="T9" fmla="*/ 53 h 92"/>
                    <a:gd name="T10" fmla="*/ 33 w 65"/>
                    <a:gd name="T11" fmla="*/ 35 h 92"/>
                    <a:gd name="T12" fmla="*/ 33 w 65"/>
                    <a:gd name="T13" fmla="*/ 2 h 92"/>
                    <a:gd name="T14" fmla="*/ 34 w 65"/>
                    <a:gd name="T15" fmla="*/ 0 h 92"/>
                    <a:gd name="T16" fmla="*/ 36 w 65"/>
                    <a:gd name="T17" fmla="*/ 0 h 92"/>
                    <a:gd name="T18" fmla="*/ 64 w 65"/>
                    <a:gd name="T19" fmla="*/ 17 h 92"/>
                    <a:gd name="T20" fmla="*/ 65 w 65"/>
                    <a:gd name="T21" fmla="*/ 18 h 92"/>
                    <a:gd name="T22" fmla="*/ 65 w 65"/>
                    <a:gd name="T23" fmla="*/ 90 h 92"/>
                    <a:gd name="T24" fmla="*/ 64 w 65"/>
                    <a:gd name="T25" fmla="*/ 91 h 92"/>
                    <a:gd name="T26" fmla="*/ 63 w 65"/>
                    <a:gd name="T27" fmla="*/ 92 h 92"/>
                    <a:gd name="T28" fmla="*/ 6 w 65"/>
                    <a:gd name="T29" fmla="*/ 55 h 92"/>
                    <a:gd name="T30" fmla="*/ 61 w 65"/>
                    <a:gd name="T31" fmla="*/ 86 h 92"/>
                    <a:gd name="T32" fmla="*/ 61 w 65"/>
                    <a:gd name="T33" fmla="*/ 19 h 92"/>
                    <a:gd name="T34" fmla="*/ 37 w 65"/>
                    <a:gd name="T35" fmla="*/ 5 h 92"/>
                    <a:gd name="T36" fmla="*/ 37 w 65"/>
                    <a:gd name="T37" fmla="*/ 36 h 92"/>
                    <a:gd name="T38" fmla="*/ 36 w 65"/>
                    <a:gd name="T39" fmla="*/ 38 h 92"/>
                    <a:gd name="T40" fmla="*/ 6 w 65"/>
                    <a:gd name="T41" fmla="*/ 55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5" h="92">
                      <a:moveTo>
                        <a:pt x="63" y="92"/>
                      </a:moveTo>
                      <a:cubicBezTo>
                        <a:pt x="63" y="92"/>
                        <a:pt x="62" y="92"/>
                        <a:pt x="62" y="91"/>
                      </a:cubicBezTo>
                      <a:cubicBezTo>
                        <a:pt x="1" y="57"/>
                        <a:pt x="1" y="57"/>
                        <a:pt x="1" y="57"/>
                      </a:cubicBezTo>
                      <a:cubicBezTo>
                        <a:pt x="1" y="56"/>
                        <a:pt x="0" y="56"/>
                        <a:pt x="0" y="55"/>
                      </a:cubicBezTo>
                      <a:cubicBezTo>
                        <a:pt x="0" y="54"/>
                        <a:pt x="1" y="53"/>
                        <a:pt x="1" y="53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3" y="1"/>
                        <a:pt x="33" y="1"/>
                        <a:pt x="34" y="0"/>
                      </a:cubicBezTo>
                      <a:cubicBezTo>
                        <a:pt x="34" y="0"/>
                        <a:pt x="35" y="0"/>
                        <a:pt x="36" y="0"/>
                      </a:cubicBezTo>
                      <a:cubicBezTo>
                        <a:pt x="64" y="17"/>
                        <a:pt x="64" y="17"/>
                        <a:pt x="64" y="17"/>
                      </a:cubicBezTo>
                      <a:cubicBezTo>
                        <a:pt x="65" y="17"/>
                        <a:pt x="65" y="18"/>
                        <a:pt x="65" y="18"/>
                      </a:cubicBezTo>
                      <a:cubicBezTo>
                        <a:pt x="65" y="90"/>
                        <a:pt x="65" y="90"/>
                        <a:pt x="65" y="90"/>
                      </a:cubicBezTo>
                      <a:cubicBezTo>
                        <a:pt x="65" y="90"/>
                        <a:pt x="65" y="91"/>
                        <a:pt x="64" y="91"/>
                      </a:cubicBezTo>
                      <a:cubicBezTo>
                        <a:pt x="64" y="92"/>
                        <a:pt x="63" y="92"/>
                        <a:pt x="63" y="92"/>
                      </a:cubicBezTo>
                      <a:close/>
                      <a:moveTo>
                        <a:pt x="6" y="55"/>
                      </a:moveTo>
                      <a:cubicBezTo>
                        <a:pt x="61" y="86"/>
                        <a:pt x="61" y="86"/>
                        <a:pt x="61" y="86"/>
                      </a:cubicBezTo>
                      <a:cubicBezTo>
                        <a:pt x="61" y="19"/>
                        <a:pt x="61" y="19"/>
                        <a:pt x="61" y="19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7" y="37"/>
                        <a:pt x="36" y="37"/>
                        <a:pt x="36" y="38"/>
                      </a:cubicBezTo>
                      <a:lnTo>
                        <a:pt x="6" y="5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6" name="Freeform 829">
                  <a:extLst>
                    <a:ext uri="{FF2B5EF4-FFF2-40B4-BE49-F238E27FC236}">
                      <a16:creationId xmlns:a16="http://schemas.microsoft.com/office/drawing/2014/main" id="{88CD9F6B-8288-4A6A-BEF8-42072E26D0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30" y="1120"/>
                  <a:ext cx="82" cy="92"/>
                </a:xfrm>
                <a:custGeom>
                  <a:avLst/>
                  <a:gdLst>
                    <a:gd name="T0" fmla="*/ 33 w 35"/>
                    <a:gd name="T1" fmla="*/ 39 h 39"/>
                    <a:gd name="T2" fmla="*/ 32 w 35"/>
                    <a:gd name="T3" fmla="*/ 39 h 39"/>
                    <a:gd name="T4" fmla="*/ 1 w 35"/>
                    <a:gd name="T5" fmla="*/ 21 h 39"/>
                    <a:gd name="T6" fmla="*/ 0 w 35"/>
                    <a:gd name="T7" fmla="*/ 19 h 39"/>
                    <a:gd name="T8" fmla="*/ 1 w 35"/>
                    <a:gd name="T9" fmla="*/ 18 h 39"/>
                    <a:gd name="T10" fmla="*/ 32 w 35"/>
                    <a:gd name="T11" fmla="*/ 0 h 39"/>
                    <a:gd name="T12" fmla="*/ 34 w 35"/>
                    <a:gd name="T13" fmla="*/ 0 h 39"/>
                    <a:gd name="T14" fmla="*/ 35 w 35"/>
                    <a:gd name="T15" fmla="*/ 2 h 39"/>
                    <a:gd name="T16" fmla="*/ 35 w 35"/>
                    <a:gd name="T17" fmla="*/ 37 h 39"/>
                    <a:gd name="T18" fmla="*/ 34 w 35"/>
                    <a:gd name="T19" fmla="*/ 39 h 39"/>
                    <a:gd name="T20" fmla="*/ 33 w 35"/>
                    <a:gd name="T21" fmla="*/ 39 h 39"/>
                    <a:gd name="T22" fmla="*/ 6 w 35"/>
                    <a:gd name="T23" fmla="*/ 19 h 39"/>
                    <a:gd name="T24" fmla="*/ 31 w 35"/>
                    <a:gd name="T25" fmla="*/ 34 h 39"/>
                    <a:gd name="T26" fmla="*/ 31 w 35"/>
                    <a:gd name="T27" fmla="*/ 5 h 39"/>
                    <a:gd name="T28" fmla="*/ 6 w 35"/>
                    <a:gd name="T29" fmla="*/ 1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5" h="39">
                      <a:moveTo>
                        <a:pt x="33" y="39"/>
                      </a:moveTo>
                      <a:cubicBezTo>
                        <a:pt x="33" y="39"/>
                        <a:pt x="32" y="39"/>
                        <a:pt x="32" y="39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1" y="21"/>
                        <a:pt x="0" y="20"/>
                        <a:pt x="0" y="19"/>
                      </a:cubicBezTo>
                      <a:cubicBezTo>
                        <a:pt x="0" y="19"/>
                        <a:pt x="1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3" y="0"/>
                        <a:pt x="33" y="0"/>
                        <a:pt x="34" y="0"/>
                      </a:cubicBezTo>
                      <a:cubicBezTo>
                        <a:pt x="35" y="0"/>
                        <a:pt x="35" y="1"/>
                        <a:pt x="35" y="2"/>
                      </a:cubicBezTo>
                      <a:cubicBezTo>
                        <a:pt x="35" y="37"/>
                        <a:pt x="35" y="37"/>
                        <a:pt x="35" y="37"/>
                      </a:cubicBezTo>
                      <a:cubicBezTo>
                        <a:pt x="35" y="38"/>
                        <a:pt x="35" y="39"/>
                        <a:pt x="34" y="39"/>
                      </a:cubicBezTo>
                      <a:cubicBezTo>
                        <a:pt x="34" y="39"/>
                        <a:pt x="33" y="39"/>
                        <a:pt x="33" y="39"/>
                      </a:cubicBezTo>
                      <a:close/>
                      <a:moveTo>
                        <a:pt x="6" y="19"/>
                      </a:moveTo>
                      <a:cubicBezTo>
                        <a:pt x="31" y="34"/>
                        <a:pt x="31" y="34"/>
                        <a:pt x="31" y="34"/>
                      </a:cubicBezTo>
                      <a:cubicBezTo>
                        <a:pt x="31" y="5"/>
                        <a:pt x="31" y="5"/>
                        <a:pt x="31" y="5"/>
                      </a:cubicBezTo>
                      <a:lnTo>
                        <a:pt x="6" y="1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7" name="Freeform 830">
                  <a:extLst>
                    <a:ext uri="{FF2B5EF4-FFF2-40B4-BE49-F238E27FC236}">
                      <a16:creationId xmlns:a16="http://schemas.microsoft.com/office/drawing/2014/main" id="{E710A2EA-C357-423C-9A15-D15FD905F1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202"/>
                  <a:ext cx="149" cy="253"/>
                </a:xfrm>
                <a:custGeom>
                  <a:avLst/>
                  <a:gdLst>
                    <a:gd name="T0" fmla="*/ 2 w 63"/>
                    <a:gd name="T1" fmla="*/ 107 h 107"/>
                    <a:gd name="T2" fmla="*/ 1 w 63"/>
                    <a:gd name="T3" fmla="*/ 106 h 107"/>
                    <a:gd name="T4" fmla="*/ 0 w 63"/>
                    <a:gd name="T5" fmla="*/ 105 h 107"/>
                    <a:gd name="T6" fmla="*/ 0 w 63"/>
                    <a:gd name="T7" fmla="*/ 36 h 107"/>
                    <a:gd name="T8" fmla="*/ 1 w 63"/>
                    <a:gd name="T9" fmla="*/ 35 h 107"/>
                    <a:gd name="T10" fmla="*/ 60 w 63"/>
                    <a:gd name="T11" fmla="*/ 1 h 107"/>
                    <a:gd name="T12" fmla="*/ 62 w 63"/>
                    <a:gd name="T13" fmla="*/ 1 h 107"/>
                    <a:gd name="T14" fmla="*/ 63 w 63"/>
                    <a:gd name="T15" fmla="*/ 2 h 107"/>
                    <a:gd name="T16" fmla="*/ 63 w 63"/>
                    <a:gd name="T17" fmla="*/ 60 h 107"/>
                    <a:gd name="T18" fmla="*/ 62 w 63"/>
                    <a:gd name="T19" fmla="*/ 61 h 107"/>
                    <a:gd name="T20" fmla="*/ 46 w 63"/>
                    <a:gd name="T21" fmla="*/ 70 h 107"/>
                    <a:gd name="T22" fmla="*/ 53 w 63"/>
                    <a:gd name="T23" fmla="*/ 74 h 107"/>
                    <a:gd name="T24" fmla="*/ 54 w 63"/>
                    <a:gd name="T25" fmla="*/ 76 h 107"/>
                    <a:gd name="T26" fmla="*/ 53 w 63"/>
                    <a:gd name="T27" fmla="*/ 77 h 107"/>
                    <a:gd name="T28" fmla="*/ 3 w 63"/>
                    <a:gd name="T29" fmla="*/ 106 h 107"/>
                    <a:gd name="T30" fmla="*/ 2 w 63"/>
                    <a:gd name="T31" fmla="*/ 107 h 107"/>
                    <a:gd name="T32" fmla="*/ 4 w 63"/>
                    <a:gd name="T33" fmla="*/ 38 h 107"/>
                    <a:gd name="T34" fmla="*/ 4 w 63"/>
                    <a:gd name="T35" fmla="*/ 101 h 107"/>
                    <a:gd name="T36" fmla="*/ 48 w 63"/>
                    <a:gd name="T37" fmla="*/ 76 h 107"/>
                    <a:gd name="T38" fmla="*/ 41 w 63"/>
                    <a:gd name="T39" fmla="*/ 72 h 107"/>
                    <a:gd name="T40" fmla="*/ 40 w 63"/>
                    <a:gd name="T41" fmla="*/ 70 h 107"/>
                    <a:gd name="T42" fmla="*/ 41 w 63"/>
                    <a:gd name="T43" fmla="*/ 69 h 107"/>
                    <a:gd name="T44" fmla="*/ 59 w 63"/>
                    <a:gd name="T45" fmla="*/ 59 h 107"/>
                    <a:gd name="T46" fmla="*/ 59 w 63"/>
                    <a:gd name="T47" fmla="*/ 6 h 107"/>
                    <a:gd name="T48" fmla="*/ 4 w 63"/>
                    <a:gd name="T49" fmla="*/ 38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3" h="107">
                      <a:moveTo>
                        <a:pt x="2" y="107"/>
                      </a:moveTo>
                      <a:cubicBezTo>
                        <a:pt x="1" y="107"/>
                        <a:pt x="1" y="106"/>
                        <a:pt x="1" y="106"/>
                      </a:cubicBezTo>
                      <a:cubicBezTo>
                        <a:pt x="0" y="106"/>
                        <a:pt x="0" y="105"/>
                        <a:pt x="0" y="105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0" y="0"/>
                        <a:pt x="61" y="0"/>
                        <a:pt x="62" y="1"/>
                      </a:cubicBezTo>
                      <a:cubicBezTo>
                        <a:pt x="62" y="1"/>
                        <a:pt x="63" y="2"/>
                        <a:pt x="63" y="2"/>
                      </a:cubicBezTo>
                      <a:cubicBezTo>
                        <a:pt x="63" y="60"/>
                        <a:pt x="63" y="60"/>
                        <a:pt x="63" y="60"/>
                      </a:cubicBezTo>
                      <a:cubicBezTo>
                        <a:pt x="63" y="60"/>
                        <a:pt x="62" y="61"/>
                        <a:pt x="62" y="61"/>
                      </a:cubicBezTo>
                      <a:cubicBezTo>
                        <a:pt x="46" y="70"/>
                        <a:pt x="46" y="70"/>
                        <a:pt x="46" y="70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74"/>
                        <a:pt x="54" y="75"/>
                        <a:pt x="54" y="76"/>
                      </a:cubicBezTo>
                      <a:cubicBezTo>
                        <a:pt x="54" y="76"/>
                        <a:pt x="53" y="77"/>
                        <a:pt x="53" y="77"/>
                      </a:cubicBezTo>
                      <a:cubicBezTo>
                        <a:pt x="3" y="106"/>
                        <a:pt x="3" y="106"/>
                        <a:pt x="3" y="106"/>
                      </a:cubicBezTo>
                      <a:cubicBezTo>
                        <a:pt x="2" y="106"/>
                        <a:pt x="2" y="107"/>
                        <a:pt x="2" y="107"/>
                      </a:cubicBezTo>
                      <a:close/>
                      <a:moveTo>
                        <a:pt x="4" y="38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8" y="76"/>
                        <a:pt x="48" y="76"/>
                        <a:pt x="48" y="76"/>
                      </a:cubicBezTo>
                      <a:cubicBezTo>
                        <a:pt x="41" y="72"/>
                        <a:pt x="41" y="72"/>
                        <a:pt x="41" y="72"/>
                      </a:cubicBezTo>
                      <a:cubicBezTo>
                        <a:pt x="41" y="72"/>
                        <a:pt x="40" y="71"/>
                        <a:pt x="40" y="70"/>
                      </a:cubicBezTo>
                      <a:cubicBezTo>
                        <a:pt x="40" y="70"/>
                        <a:pt x="41" y="69"/>
                        <a:pt x="41" y="69"/>
                      </a:cubicBezTo>
                      <a:cubicBezTo>
                        <a:pt x="59" y="59"/>
                        <a:pt x="59" y="59"/>
                        <a:pt x="59" y="59"/>
                      </a:cubicBezTo>
                      <a:cubicBezTo>
                        <a:pt x="59" y="6"/>
                        <a:pt x="59" y="6"/>
                        <a:pt x="59" y="6"/>
                      </a:cubicBezTo>
                      <a:lnTo>
                        <a:pt x="4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8" name="Freeform 831">
                  <a:extLst>
                    <a:ext uri="{FF2B5EF4-FFF2-40B4-BE49-F238E27FC236}">
                      <a16:creationId xmlns:a16="http://schemas.microsoft.com/office/drawing/2014/main" id="{6294D903-0DC7-4A91-B41B-C902FE8CED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96" y="1618"/>
                  <a:ext cx="33" cy="36"/>
                </a:xfrm>
                <a:custGeom>
                  <a:avLst/>
                  <a:gdLst>
                    <a:gd name="T0" fmla="*/ 2 w 14"/>
                    <a:gd name="T1" fmla="*/ 15 h 15"/>
                    <a:gd name="T2" fmla="*/ 1 w 14"/>
                    <a:gd name="T3" fmla="*/ 15 h 15"/>
                    <a:gd name="T4" fmla="*/ 0 w 14"/>
                    <a:gd name="T5" fmla="*/ 13 h 15"/>
                    <a:gd name="T6" fmla="*/ 0 w 14"/>
                    <a:gd name="T7" fmla="*/ 2 h 15"/>
                    <a:gd name="T8" fmla="*/ 1 w 14"/>
                    <a:gd name="T9" fmla="*/ 0 h 15"/>
                    <a:gd name="T10" fmla="*/ 3 w 14"/>
                    <a:gd name="T11" fmla="*/ 0 h 15"/>
                    <a:gd name="T12" fmla="*/ 13 w 14"/>
                    <a:gd name="T13" fmla="*/ 6 h 15"/>
                    <a:gd name="T14" fmla="*/ 14 w 14"/>
                    <a:gd name="T15" fmla="*/ 7 h 15"/>
                    <a:gd name="T16" fmla="*/ 13 w 14"/>
                    <a:gd name="T17" fmla="*/ 9 h 15"/>
                    <a:gd name="T18" fmla="*/ 3 w 14"/>
                    <a:gd name="T19" fmla="*/ 15 h 15"/>
                    <a:gd name="T20" fmla="*/ 2 w 14"/>
                    <a:gd name="T21" fmla="*/ 15 h 15"/>
                    <a:gd name="T22" fmla="*/ 4 w 14"/>
                    <a:gd name="T23" fmla="*/ 5 h 15"/>
                    <a:gd name="T24" fmla="*/ 4 w 14"/>
                    <a:gd name="T25" fmla="*/ 9 h 15"/>
                    <a:gd name="T26" fmla="*/ 8 w 14"/>
                    <a:gd name="T27" fmla="*/ 7 h 15"/>
                    <a:gd name="T28" fmla="*/ 4 w 14"/>
                    <a:gd name="T29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5">
                      <a:moveTo>
                        <a:pt x="2" y="15"/>
                      </a:moveTo>
                      <a:cubicBezTo>
                        <a:pt x="2" y="15"/>
                        <a:pt x="2" y="15"/>
                        <a:pt x="1" y="15"/>
                      </a:cubicBezTo>
                      <a:cubicBezTo>
                        <a:pt x="1" y="14"/>
                        <a:pt x="0" y="14"/>
                        <a:pt x="0" y="1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4" y="6"/>
                        <a:pt x="14" y="7"/>
                        <a:pt x="14" y="7"/>
                      </a:cubicBezTo>
                      <a:cubicBezTo>
                        <a:pt x="14" y="8"/>
                        <a:pt x="14" y="9"/>
                        <a:pt x="13" y="9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3" y="15"/>
                        <a:pt x="3" y="15"/>
                        <a:pt x="2" y="15"/>
                      </a:cubicBezTo>
                      <a:close/>
                      <a:moveTo>
                        <a:pt x="4" y="5"/>
                      </a:move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8" y="7"/>
                        <a:pt x="8" y="7"/>
                        <a:pt x="8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9" name="Freeform 832">
                  <a:extLst>
                    <a:ext uri="{FF2B5EF4-FFF2-40B4-BE49-F238E27FC236}">
                      <a16:creationId xmlns:a16="http://schemas.microsoft.com/office/drawing/2014/main" id="{70E381A1-269C-4C37-9A59-8F0F8A61C7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01" y="1337"/>
                  <a:ext cx="182" cy="121"/>
                </a:xfrm>
                <a:custGeom>
                  <a:avLst/>
                  <a:gdLst>
                    <a:gd name="T0" fmla="*/ 55 w 77"/>
                    <a:gd name="T1" fmla="*/ 51 h 51"/>
                    <a:gd name="T2" fmla="*/ 54 w 77"/>
                    <a:gd name="T3" fmla="*/ 51 h 51"/>
                    <a:gd name="T4" fmla="*/ 1 w 77"/>
                    <a:gd name="T5" fmla="*/ 20 h 51"/>
                    <a:gd name="T6" fmla="*/ 0 w 77"/>
                    <a:gd name="T7" fmla="*/ 19 h 51"/>
                    <a:gd name="T8" fmla="*/ 1 w 77"/>
                    <a:gd name="T9" fmla="*/ 17 h 51"/>
                    <a:gd name="T10" fmla="*/ 7 w 77"/>
                    <a:gd name="T11" fmla="*/ 13 h 51"/>
                    <a:gd name="T12" fmla="*/ 7 w 77"/>
                    <a:gd name="T13" fmla="*/ 4 h 51"/>
                    <a:gd name="T14" fmla="*/ 8 w 77"/>
                    <a:gd name="T15" fmla="*/ 2 h 51"/>
                    <a:gd name="T16" fmla="*/ 12 w 77"/>
                    <a:gd name="T17" fmla="*/ 0 h 51"/>
                    <a:gd name="T18" fmla="*/ 14 w 77"/>
                    <a:gd name="T19" fmla="*/ 0 h 51"/>
                    <a:gd name="T20" fmla="*/ 76 w 77"/>
                    <a:gd name="T21" fmla="*/ 36 h 51"/>
                    <a:gd name="T22" fmla="*/ 77 w 77"/>
                    <a:gd name="T23" fmla="*/ 37 h 51"/>
                    <a:gd name="T24" fmla="*/ 76 w 77"/>
                    <a:gd name="T25" fmla="*/ 39 h 51"/>
                    <a:gd name="T26" fmla="*/ 56 w 77"/>
                    <a:gd name="T27" fmla="*/ 51 h 51"/>
                    <a:gd name="T28" fmla="*/ 55 w 77"/>
                    <a:gd name="T29" fmla="*/ 51 h 51"/>
                    <a:gd name="T30" fmla="*/ 6 w 77"/>
                    <a:gd name="T31" fmla="*/ 19 h 51"/>
                    <a:gd name="T32" fmla="*/ 55 w 77"/>
                    <a:gd name="T33" fmla="*/ 47 h 51"/>
                    <a:gd name="T34" fmla="*/ 71 w 77"/>
                    <a:gd name="T35" fmla="*/ 37 h 51"/>
                    <a:gd name="T36" fmla="*/ 13 w 77"/>
                    <a:gd name="T37" fmla="*/ 4 h 51"/>
                    <a:gd name="T38" fmla="*/ 11 w 77"/>
                    <a:gd name="T39" fmla="*/ 5 h 51"/>
                    <a:gd name="T40" fmla="*/ 11 w 77"/>
                    <a:gd name="T41" fmla="*/ 14 h 51"/>
                    <a:gd name="T42" fmla="*/ 10 w 77"/>
                    <a:gd name="T43" fmla="*/ 16 h 51"/>
                    <a:gd name="T44" fmla="*/ 6 w 77"/>
                    <a:gd name="T45" fmla="*/ 19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7" h="51">
                      <a:moveTo>
                        <a:pt x="55" y="51"/>
                      </a:moveTo>
                      <a:cubicBezTo>
                        <a:pt x="54" y="51"/>
                        <a:pt x="54" y="51"/>
                        <a:pt x="54" y="51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0" y="20"/>
                        <a:pt x="0" y="19"/>
                        <a:pt x="0" y="19"/>
                      </a:cubicBezTo>
                      <a:cubicBezTo>
                        <a:pt x="0" y="18"/>
                        <a:pt x="0" y="17"/>
                        <a:pt x="1" y="17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3"/>
                        <a:pt x="8" y="2"/>
                        <a:pt x="8" y="2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76" y="36"/>
                        <a:pt x="76" y="36"/>
                        <a:pt x="76" y="36"/>
                      </a:cubicBezTo>
                      <a:cubicBezTo>
                        <a:pt x="76" y="36"/>
                        <a:pt x="77" y="37"/>
                        <a:pt x="77" y="37"/>
                      </a:cubicBezTo>
                      <a:cubicBezTo>
                        <a:pt x="77" y="38"/>
                        <a:pt x="76" y="39"/>
                        <a:pt x="76" y="39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5" y="51"/>
                        <a:pt x="55" y="51"/>
                        <a:pt x="55" y="51"/>
                      </a:cubicBezTo>
                      <a:close/>
                      <a:moveTo>
                        <a:pt x="6" y="19"/>
                      </a:moveTo>
                      <a:cubicBezTo>
                        <a:pt x="55" y="47"/>
                        <a:pt x="55" y="47"/>
                        <a:pt x="55" y="47"/>
                      </a:cubicBezTo>
                      <a:cubicBezTo>
                        <a:pt x="71" y="37"/>
                        <a:pt x="71" y="37"/>
                        <a:pt x="71" y="37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1" y="15"/>
                        <a:pt x="11" y="16"/>
                        <a:pt x="10" y="16"/>
                      </a:cubicBezTo>
                      <a:lnTo>
                        <a:pt x="6" y="1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0" name="Freeform 833">
                  <a:extLst>
                    <a:ext uri="{FF2B5EF4-FFF2-40B4-BE49-F238E27FC236}">
                      <a16:creationId xmlns:a16="http://schemas.microsoft.com/office/drawing/2014/main" id="{4C764978-AC99-4684-9A3F-1D7EA75B5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30" y="1311"/>
                  <a:ext cx="153" cy="116"/>
                </a:xfrm>
                <a:custGeom>
                  <a:avLst/>
                  <a:gdLst>
                    <a:gd name="T0" fmla="*/ 63 w 65"/>
                    <a:gd name="T1" fmla="*/ 49 h 49"/>
                    <a:gd name="T2" fmla="*/ 62 w 65"/>
                    <a:gd name="T3" fmla="*/ 48 h 49"/>
                    <a:gd name="T4" fmla="*/ 1 w 65"/>
                    <a:gd name="T5" fmla="*/ 14 h 49"/>
                    <a:gd name="T6" fmla="*/ 0 w 65"/>
                    <a:gd name="T7" fmla="*/ 12 h 49"/>
                    <a:gd name="T8" fmla="*/ 1 w 65"/>
                    <a:gd name="T9" fmla="*/ 10 h 49"/>
                    <a:gd name="T10" fmla="*/ 19 w 65"/>
                    <a:gd name="T11" fmla="*/ 0 h 49"/>
                    <a:gd name="T12" fmla="*/ 21 w 65"/>
                    <a:gd name="T13" fmla="*/ 0 h 49"/>
                    <a:gd name="T14" fmla="*/ 64 w 65"/>
                    <a:gd name="T15" fmla="*/ 25 h 49"/>
                    <a:gd name="T16" fmla="*/ 65 w 65"/>
                    <a:gd name="T17" fmla="*/ 27 h 49"/>
                    <a:gd name="T18" fmla="*/ 65 w 65"/>
                    <a:gd name="T19" fmla="*/ 47 h 49"/>
                    <a:gd name="T20" fmla="*/ 64 w 65"/>
                    <a:gd name="T21" fmla="*/ 48 h 49"/>
                    <a:gd name="T22" fmla="*/ 63 w 65"/>
                    <a:gd name="T23" fmla="*/ 49 h 49"/>
                    <a:gd name="T24" fmla="*/ 6 w 65"/>
                    <a:gd name="T25" fmla="*/ 12 h 49"/>
                    <a:gd name="T26" fmla="*/ 61 w 65"/>
                    <a:gd name="T27" fmla="*/ 43 h 49"/>
                    <a:gd name="T28" fmla="*/ 61 w 65"/>
                    <a:gd name="T29" fmla="*/ 28 h 49"/>
                    <a:gd name="T30" fmla="*/ 20 w 65"/>
                    <a:gd name="T31" fmla="*/ 4 h 49"/>
                    <a:gd name="T32" fmla="*/ 6 w 65"/>
                    <a:gd name="T33" fmla="*/ 12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5" h="49">
                      <a:moveTo>
                        <a:pt x="63" y="49"/>
                      </a:moveTo>
                      <a:cubicBezTo>
                        <a:pt x="63" y="49"/>
                        <a:pt x="62" y="49"/>
                        <a:pt x="62" y="48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1" y="13"/>
                        <a:pt x="0" y="13"/>
                        <a:pt x="0" y="12"/>
                      </a:cubicBezTo>
                      <a:cubicBezTo>
                        <a:pt x="0" y="11"/>
                        <a:pt x="1" y="10"/>
                        <a:pt x="1" y="1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9" y="0"/>
                        <a:pt x="20" y="0"/>
                        <a:pt x="21" y="0"/>
                      </a:cubicBezTo>
                      <a:cubicBezTo>
                        <a:pt x="64" y="25"/>
                        <a:pt x="64" y="25"/>
                        <a:pt x="64" y="25"/>
                      </a:cubicBezTo>
                      <a:cubicBezTo>
                        <a:pt x="64" y="25"/>
                        <a:pt x="65" y="26"/>
                        <a:pt x="65" y="27"/>
                      </a:cubicBezTo>
                      <a:cubicBezTo>
                        <a:pt x="65" y="47"/>
                        <a:pt x="65" y="47"/>
                        <a:pt x="65" y="47"/>
                      </a:cubicBezTo>
                      <a:cubicBezTo>
                        <a:pt x="65" y="47"/>
                        <a:pt x="64" y="48"/>
                        <a:pt x="64" y="48"/>
                      </a:cubicBezTo>
                      <a:cubicBezTo>
                        <a:pt x="64" y="49"/>
                        <a:pt x="63" y="49"/>
                        <a:pt x="63" y="49"/>
                      </a:cubicBezTo>
                      <a:close/>
                      <a:moveTo>
                        <a:pt x="6" y="12"/>
                      </a:moveTo>
                      <a:cubicBezTo>
                        <a:pt x="61" y="43"/>
                        <a:pt x="61" y="43"/>
                        <a:pt x="61" y="43"/>
                      </a:cubicBezTo>
                      <a:cubicBezTo>
                        <a:pt x="61" y="28"/>
                        <a:pt x="61" y="28"/>
                        <a:pt x="61" y="28"/>
                      </a:cubicBezTo>
                      <a:cubicBezTo>
                        <a:pt x="20" y="4"/>
                        <a:pt x="20" y="4"/>
                        <a:pt x="20" y="4"/>
                      </a:cubicBez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1" name="Freeform 834">
                  <a:extLst>
                    <a:ext uri="{FF2B5EF4-FFF2-40B4-BE49-F238E27FC236}">
                      <a16:creationId xmlns:a16="http://schemas.microsoft.com/office/drawing/2014/main" id="{70C76150-3BB8-4EE9-95B1-FC171B1625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451"/>
                  <a:ext cx="149" cy="160"/>
                </a:xfrm>
                <a:custGeom>
                  <a:avLst/>
                  <a:gdLst>
                    <a:gd name="T0" fmla="*/ 2 w 63"/>
                    <a:gd name="T1" fmla="*/ 68 h 68"/>
                    <a:gd name="T2" fmla="*/ 1 w 63"/>
                    <a:gd name="T3" fmla="*/ 68 h 68"/>
                    <a:gd name="T4" fmla="*/ 0 w 63"/>
                    <a:gd name="T5" fmla="*/ 66 h 68"/>
                    <a:gd name="T6" fmla="*/ 0 w 63"/>
                    <a:gd name="T7" fmla="*/ 2 h 68"/>
                    <a:gd name="T8" fmla="*/ 1 w 63"/>
                    <a:gd name="T9" fmla="*/ 1 h 68"/>
                    <a:gd name="T10" fmla="*/ 3 w 63"/>
                    <a:gd name="T11" fmla="*/ 1 h 68"/>
                    <a:gd name="T12" fmla="*/ 62 w 63"/>
                    <a:gd name="T13" fmla="*/ 35 h 68"/>
                    <a:gd name="T14" fmla="*/ 63 w 63"/>
                    <a:gd name="T15" fmla="*/ 36 h 68"/>
                    <a:gd name="T16" fmla="*/ 63 w 63"/>
                    <a:gd name="T17" fmla="*/ 51 h 68"/>
                    <a:gd name="T18" fmla="*/ 62 w 63"/>
                    <a:gd name="T19" fmla="*/ 53 h 68"/>
                    <a:gd name="T20" fmla="*/ 60 w 63"/>
                    <a:gd name="T21" fmla="*/ 53 h 68"/>
                    <a:gd name="T22" fmla="*/ 44 w 63"/>
                    <a:gd name="T23" fmla="*/ 44 h 68"/>
                    <a:gd name="T24" fmla="*/ 3 w 63"/>
                    <a:gd name="T25" fmla="*/ 68 h 68"/>
                    <a:gd name="T26" fmla="*/ 2 w 63"/>
                    <a:gd name="T27" fmla="*/ 68 h 68"/>
                    <a:gd name="T28" fmla="*/ 4 w 63"/>
                    <a:gd name="T29" fmla="*/ 6 h 68"/>
                    <a:gd name="T30" fmla="*/ 4 w 63"/>
                    <a:gd name="T31" fmla="*/ 62 h 68"/>
                    <a:gd name="T32" fmla="*/ 43 w 63"/>
                    <a:gd name="T33" fmla="*/ 40 h 68"/>
                    <a:gd name="T34" fmla="*/ 45 w 63"/>
                    <a:gd name="T35" fmla="*/ 40 h 68"/>
                    <a:gd name="T36" fmla="*/ 59 w 63"/>
                    <a:gd name="T37" fmla="*/ 47 h 68"/>
                    <a:gd name="T38" fmla="*/ 59 w 63"/>
                    <a:gd name="T39" fmla="*/ 38 h 68"/>
                    <a:gd name="T40" fmla="*/ 4 w 63"/>
                    <a:gd name="T41" fmla="*/ 6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" h="68">
                      <a:moveTo>
                        <a:pt x="2" y="68"/>
                      </a:moveTo>
                      <a:cubicBezTo>
                        <a:pt x="1" y="68"/>
                        <a:pt x="1" y="68"/>
                        <a:pt x="1" y="68"/>
                      </a:cubicBezTo>
                      <a:cubicBezTo>
                        <a:pt x="0" y="67"/>
                        <a:pt x="0" y="67"/>
                        <a:pt x="0" y="6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62" y="35"/>
                        <a:pt x="62" y="35"/>
                        <a:pt x="62" y="35"/>
                      </a:cubicBezTo>
                      <a:cubicBezTo>
                        <a:pt x="62" y="35"/>
                        <a:pt x="63" y="36"/>
                        <a:pt x="63" y="36"/>
                      </a:cubicBezTo>
                      <a:cubicBezTo>
                        <a:pt x="63" y="51"/>
                        <a:pt x="63" y="51"/>
                        <a:pt x="63" y="51"/>
                      </a:cubicBezTo>
                      <a:cubicBezTo>
                        <a:pt x="63" y="52"/>
                        <a:pt x="62" y="52"/>
                        <a:pt x="62" y="53"/>
                      </a:cubicBezTo>
                      <a:cubicBezTo>
                        <a:pt x="61" y="53"/>
                        <a:pt x="60" y="53"/>
                        <a:pt x="60" y="53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3" y="68"/>
                        <a:pt x="3" y="68"/>
                        <a:pt x="3" y="68"/>
                      </a:cubicBezTo>
                      <a:cubicBezTo>
                        <a:pt x="2" y="68"/>
                        <a:pt x="2" y="68"/>
                        <a:pt x="2" y="68"/>
                      </a:cubicBezTo>
                      <a:close/>
                      <a:moveTo>
                        <a:pt x="4" y="6"/>
                      </a:move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39"/>
                        <a:pt x="45" y="39"/>
                        <a:pt x="45" y="40"/>
                      </a:cubicBez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9" y="38"/>
                        <a:pt x="59" y="38"/>
                        <a:pt x="59" y="38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2" name="Freeform 835">
                  <a:extLst>
                    <a:ext uri="{FF2B5EF4-FFF2-40B4-BE49-F238E27FC236}">
                      <a16:creationId xmlns:a16="http://schemas.microsoft.com/office/drawing/2014/main" id="{71B672FA-D6CF-420B-AF1D-2F07917C9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25" y="1113"/>
                  <a:ext cx="87" cy="54"/>
                </a:xfrm>
                <a:custGeom>
                  <a:avLst/>
                  <a:gdLst>
                    <a:gd name="T0" fmla="*/ 3 w 37"/>
                    <a:gd name="T1" fmla="*/ 23 h 23"/>
                    <a:gd name="T2" fmla="*/ 2 w 37"/>
                    <a:gd name="T3" fmla="*/ 23 h 23"/>
                    <a:gd name="T4" fmla="*/ 1 w 37"/>
                    <a:gd name="T5" fmla="*/ 23 h 23"/>
                    <a:gd name="T6" fmla="*/ 0 w 37"/>
                    <a:gd name="T7" fmla="*/ 21 h 23"/>
                    <a:gd name="T8" fmla="*/ 1 w 37"/>
                    <a:gd name="T9" fmla="*/ 19 h 23"/>
                    <a:gd name="T10" fmla="*/ 34 w 37"/>
                    <a:gd name="T11" fmla="*/ 0 h 23"/>
                    <a:gd name="T12" fmla="*/ 36 w 37"/>
                    <a:gd name="T13" fmla="*/ 0 h 23"/>
                    <a:gd name="T14" fmla="*/ 37 w 37"/>
                    <a:gd name="T15" fmla="*/ 2 h 23"/>
                    <a:gd name="T16" fmla="*/ 37 w 37"/>
                    <a:gd name="T17" fmla="*/ 3 h 23"/>
                    <a:gd name="T18" fmla="*/ 36 w 37"/>
                    <a:gd name="T19" fmla="*/ 5 h 23"/>
                    <a:gd name="T20" fmla="*/ 4 w 37"/>
                    <a:gd name="T21" fmla="*/ 23 h 23"/>
                    <a:gd name="T22" fmla="*/ 3 w 37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7" h="23">
                      <a:moveTo>
                        <a:pt x="3" y="23"/>
                      </a:move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1" y="23"/>
                        <a:pt x="1" y="23"/>
                        <a:pt x="1" y="23"/>
                      </a:cubicBezTo>
                      <a:cubicBezTo>
                        <a:pt x="1" y="23"/>
                        <a:pt x="0" y="22"/>
                        <a:pt x="0" y="21"/>
                      </a:cubicBezTo>
                      <a:cubicBezTo>
                        <a:pt x="0" y="20"/>
                        <a:pt x="1" y="20"/>
                        <a:pt x="1" y="19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5" y="0"/>
                        <a:pt x="35" y="0"/>
                        <a:pt x="36" y="0"/>
                      </a:cubicBezTo>
                      <a:cubicBezTo>
                        <a:pt x="37" y="1"/>
                        <a:pt x="37" y="1"/>
                        <a:pt x="37" y="2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7" y="4"/>
                        <a:pt x="37" y="4"/>
                        <a:pt x="36" y="5"/>
                      </a:cubicBezTo>
                      <a:cubicBezTo>
                        <a:pt x="4" y="23"/>
                        <a:pt x="4" y="23"/>
                        <a:pt x="4" y="23"/>
                      </a:cubicBezTo>
                      <a:cubicBezTo>
                        <a:pt x="3" y="23"/>
                        <a:pt x="3" y="23"/>
                        <a:pt x="3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3" name="Freeform 836">
                  <a:extLst>
                    <a:ext uri="{FF2B5EF4-FFF2-40B4-BE49-F238E27FC236}">
                      <a16:creationId xmlns:a16="http://schemas.microsoft.com/office/drawing/2014/main" id="{CDE0B42C-BCD3-4E0D-9AB5-1A4BE81DB9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377"/>
                  <a:ext cx="255" cy="244"/>
                </a:xfrm>
                <a:custGeom>
                  <a:avLst/>
                  <a:gdLst>
                    <a:gd name="T0" fmla="*/ 94 w 108"/>
                    <a:gd name="T1" fmla="*/ 103 h 103"/>
                    <a:gd name="T2" fmla="*/ 93 w 108"/>
                    <a:gd name="T3" fmla="*/ 103 h 103"/>
                    <a:gd name="T4" fmla="*/ 61 w 108"/>
                    <a:gd name="T5" fmla="*/ 85 h 103"/>
                    <a:gd name="T6" fmla="*/ 60 w 108"/>
                    <a:gd name="T7" fmla="*/ 83 h 103"/>
                    <a:gd name="T8" fmla="*/ 60 w 108"/>
                    <a:gd name="T9" fmla="*/ 68 h 103"/>
                    <a:gd name="T10" fmla="*/ 1 w 108"/>
                    <a:gd name="T11" fmla="*/ 34 h 103"/>
                    <a:gd name="T12" fmla="*/ 0 w 108"/>
                    <a:gd name="T13" fmla="*/ 32 h 103"/>
                    <a:gd name="T14" fmla="*/ 1 w 108"/>
                    <a:gd name="T15" fmla="*/ 30 h 103"/>
                    <a:gd name="T16" fmla="*/ 52 w 108"/>
                    <a:gd name="T17" fmla="*/ 1 h 103"/>
                    <a:gd name="T18" fmla="*/ 54 w 108"/>
                    <a:gd name="T19" fmla="*/ 1 h 103"/>
                    <a:gd name="T20" fmla="*/ 107 w 108"/>
                    <a:gd name="T21" fmla="*/ 31 h 103"/>
                    <a:gd name="T22" fmla="*/ 108 w 108"/>
                    <a:gd name="T23" fmla="*/ 33 h 103"/>
                    <a:gd name="T24" fmla="*/ 107 w 108"/>
                    <a:gd name="T25" fmla="*/ 35 h 103"/>
                    <a:gd name="T26" fmla="*/ 96 w 108"/>
                    <a:gd name="T27" fmla="*/ 41 h 103"/>
                    <a:gd name="T28" fmla="*/ 96 w 108"/>
                    <a:gd name="T29" fmla="*/ 101 h 103"/>
                    <a:gd name="T30" fmla="*/ 95 w 108"/>
                    <a:gd name="T31" fmla="*/ 103 h 103"/>
                    <a:gd name="T32" fmla="*/ 94 w 108"/>
                    <a:gd name="T33" fmla="*/ 103 h 103"/>
                    <a:gd name="T34" fmla="*/ 64 w 108"/>
                    <a:gd name="T35" fmla="*/ 82 h 103"/>
                    <a:gd name="T36" fmla="*/ 92 w 108"/>
                    <a:gd name="T37" fmla="*/ 98 h 103"/>
                    <a:gd name="T38" fmla="*/ 92 w 108"/>
                    <a:gd name="T39" fmla="*/ 40 h 103"/>
                    <a:gd name="T40" fmla="*/ 93 w 108"/>
                    <a:gd name="T41" fmla="*/ 38 h 103"/>
                    <a:gd name="T42" fmla="*/ 102 w 108"/>
                    <a:gd name="T43" fmla="*/ 33 h 103"/>
                    <a:gd name="T44" fmla="*/ 53 w 108"/>
                    <a:gd name="T45" fmla="*/ 5 h 103"/>
                    <a:gd name="T46" fmla="*/ 6 w 108"/>
                    <a:gd name="T47" fmla="*/ 32 h 103"/>
                    <a:gd name="T48" fmla="*/ 63 w 108"/>
                    <a:gd name="T49" fmla="*/ 65 h 103"/>
                    <a:gd name="T50" fmla="*/ 64 w 108"/>
                    <a:gd name="T51" fmla="*/ 66 h 103"/>
                    <a:gd name="T52" fmla="*/ 64 w 108"/>
                    <a:gd name="T53" fmla="*/ 82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08" h="103">
                      <a:moveTo>
                        <a:pt x="94" y="103"/>
                      </a:moveTo>
                      <a:cubicBezTo>
                        <a:pt x="93" y="103"/>
                        <a:pt x="93" y="103"/>
                        <a:pt x="93" y="103"/>
                      </a:cubicBezTo>
                      <a:cubicBezTo>
                        <a:pt x="61" y="85"/>
                        <a:pt x="61" y="85"/>
                        <a:pt x="61" y="85"/>
                      </a:cubicBezTo>
                      <a:cubicBezTo>
                        <a:pt x="61" y="84"/>
                        <a:pt x="60" y="84"/>
                        <a:pt x="60" y="83"/>
                      </a:cubicBez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1" y="33"/>
                        <a:pt x="0" y="33"/>
                        <a:pt x="0" y="32"/>
                      </a:cubicBezTo>
                      <a:cubicBezTo>
                        <a:pt x="0" y="31"/>
                        <a:pt x="1" y="31"/>
                        <a:pt x="1" y="30"/>
                      </a:cubicBezTo>
                      <a:cubicBezTo>
                        <a:pt x="52" y="1"/>
                        <a:pt x="52" y="1"/>
                        <a:pt x="52" y="1"/>
                      </a:cubicBezTo>
                      <a:cubicBezTo>
                        <a:pt x="53" y="0"/>
                        <a:pt x="54" y="0"/>
                        <a:pt x="54" y="1"/>
                      </a:cubicBezTo>
                      <a:cubicBezTo>
                        <a:pt x="107" y="31"/>
                        <a:pt x="107" y="31"/>
                        <a:pt x="107" y="31"/>
                      </a:cubicBezTo>
                      <a:cubicBezTo>
                        <a:pt x="108" y="32"/>
                        <a:pt x="108" y="32"/>
                        <a:pt x="108" y="33"/>
                      </a:cubicBezTo>
                      <a:cubicBezTo>
                        <a:pt x="108" y="34"/>
                        <a:pt x="108" y="34"/>
                        <a:pt x="107" y="35"/>
                      </a:cubicBezTo>
                      <a:cubicBezTo>
                        <a:pt x="96" y="41"/>
                        <a:pt x="96" y="41"/>
                        <a:pt x="96" y="41"/>
                      </a:cubicBezTo>
                      <a:cubicBezTo>
                        <a:pt x="96" y="101"/>
                        <a:pt x="96" y="101"/>
                        <a:pt x="96" y="101"/>
                      </a:cubicBezTo>
                      <a:cubicBezTo>
                        <a:pt x="96" y="102"/>
                        <a:pt x="95" y="102"/>
                        <a:pt x="95" y="103"/>
                      </a:cubicBezTo>
                      <a:cubicBezTo>
                        <a:pt x="94" y="103"/>
                        <a:pt x="94" y="103"/>
                        <a:pt x="94" y="103"/>
                      </a:cubicBezTo>
                      <a:close/>
                      <a:moveTo>
                        <a:pt x="64" y="82"/>
                      </a:moveTo>
                      <a:cubicBezTo>
                        <a:pt x="92" y="98"/>
                        <a:pt x="92" y="98"/>
                        <a:pt x="92" y="98"/>
                      </a:cubicBezTo>
                      <a:cubicBezTo>
                        <a:pt x="92" y="40"/>
                        <a:pt x="92" y="40"/>
                        <a:pt x="92" y="40"/>
                      </a:cubicBezTo>
                      <a:cubicBezTo>
                        <a:pt x="92" y="39"/>
                        <a:pt x="92" y="39"/>
                        <a:pt x="93" y="38"/>
                      </a:cubicBezTo>
                      <a:cubicBezTo>
                        <a:pt x="102" y="33"/>
                        <a:pt x="102" y="33"/>
                        <a:pt x="102" y="33"/>
                      </a:cubicBezTo>
                      <a:cubicBezTo>
                        <a:pt x="53" y="5"/>
                        <a:pt x="53" y="5"/>
                        <a:pt x="53" y="5"/>
                      </a:cubicBezTo>
                      <a:cubicBezTo>
                        <a:pt x="6" y="32"/>
                        <a:pt x="6" y="32"/>
                        <a:pt x="6" y="32"/>
                      </a:cubicBezTo>
                      <a:cubicBezTo>
                        <a:pt x="63" y="65"/>
                        <a:pt x="63" y="65"/>
                        <a:pt x="63" y="65"/>
                      </a:cubicBezTo>
                      <a:cubicBezTo>
                        <a:pt x="64" y="65"/>
                        <a:pt x="64" y="66"/>
                        <a:pt x="64" y="66"/>
                      </a:cubicBezTo>
                      <a:lnTo>
                        <a:pt x="64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4" name="Freeform 837">
                  <a:extLst>
                    <a:ext uri="{FF2B5EF4-FFF2-40B4-BE49-F238E27FC236}">
                      <a16:creationId xmlns:a16="http://schemas.microsoft.com/office/drawing/2014/main" id="{F0F017FD-3B72-409C-9763-7B705840CA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547"/>
                  <a:ext cx="149" cy="156"/>
                </a:xfrm>
                <a:custGeom>
                  <a:avLst/>
                  <a:gdLst>
                    <a:gd name="T0" fmla="*/ 61 w 63"/>
                    <a:gd name="T1" fmla="*/ 66 h 66"/>
                    <a:gd name="T2" fmla="*/ 60 w 63"/>
                    <a:gd name="T3" fmla="*/ 65 h 66"/>
                    <a:gd name="T4" fmla="*/ 1 w 63"/>
                    <a:gd name="T5" fmla="*/ 31 h 66"/>
                    <a:gd name="T6" fmla="*/ 0 w 63"/>
                    <a:gd name="T7" fmla="*/ 29 h 66"/>
                    <a:gd name="T8" fmla="*/ 0 w 63"/>
                    <a:gd name="T9" fmla="*/ 27 h 66"/>
                    <a:gd name="T10" fmla="*/ 1 w 63"/>
                    <a:gd name="T11" fmla="*/ 25 h 66"/>
                    <a:gd name="T12" fmla="*/ 43 w 63"/>
                    <a:gd name="T13" fmla="*/ 1 h 66"/>
                    <a:gd name="T14" fmla="*/ 45 w 63"/>
                    <a:gd name="T15" fmla="*/ 1 h 66"/>
                    <a:gd name="T16" fmla="*/ 62 w 63"/>
                    <a:gd name="T17" fmla="*/ 10 h 66"/>
                    <a:gd name="T18" fmla="*/ 63 w 63"/>
                    <a:gd name="T19" fmla="*/ 12 h 66"/>
                    <a:gd name="T20" fmla="*/ 63 w 63"/>
                    <a:gd name="T21" fmla="*/ 64 h 66"/>
                    <a:gd name="T22" fmla="*/ 62 w 63"/>
                    <a:gd name="T23" fmla="*/ 65 h 66"/>
                    <a:gd name="T24" fmla="*/ 61 w 63"/>
                    <a:gd name="T25" fmla="*/ 66 h 66"/>
                    <a:gd name="T26" fmla="*/ 4 w 63"/>
                    <a:gd name="T27" fmla="*/ 28 h 66"/>
                    <a:gd name="T28" fmla="*/ 59 w 63"/>
                    <a:gd name="T29" fmla="*/ 60 h 66"/>
                    <a:gd name="T30" fmla="*/ 59 w 63"/>
                    <a:gd name="T31" fmla="*/ 13 h 66"/>
                    <a:gd name="T32" fmla="*/ 44 w 63"/>
                    <a:gd name="T33" fmla="*/ 5 h 66"/>
                    <a:gd name="T34" fmla="*/ 4 w 63"/>
                    <a:gd name="T35" fmla="*/ 28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3" h="66">
                      <a:moveTo>
                        <a:pt x="61" y="66"/>
                      </a:moveTo>
                      <a:cubicBezTo>
                        <a:pt x="60" y="66"/>
                        <a:pt x="60" y="65"/>
                        <a:pt x="60" y="65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0" y="31"/>
                        <a:pt x="0" y="30"/>
                        <a:pt x="0" y="29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26"/>
                        <a:pt x="0" y="25"/>
                        <a:pt x="1" y="25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4" y="0"/>
                        <a:pt x="45" y="0"/>
                        <a:pt x="45" y="1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10"/>
                        <a:pt x="63" y="11"/>
                        <a:pt x="63" y="12"/>
                      </a:cubicBezTo>
                      <a:cubicBezTo>
                        <a:pt x="63" y="64"/>
                        <a:pt x="63" y="64"/>
                        <a:pt x="63" y="64"/>
                      </a:cubicBezTo>
                      <a:cubicBezTo>
                        <a:pt x="63" y="64"/>
                        <a:pt x="62" y="65"/>
                        <a:pt x="62" y="65"/>
                      </a:cubicBezTo>
                      <a:cubicBezTo>
                        <a:pt x="61" y="65"/>
                        <a:pt x="61" y="66"/>
                        <a:pt x="61" y="66"/>
                      </a:cubicBezTo>
                      <a:close/>
                      <a:moveTo>
                        <a:pt x="4" y="28"/>
                      </a:moveTo>
                      <a:cubicBezTo>
                        <a:pt x="59" y="60"/>
                        <a:pt x="59" y="60"/>
                        <a:pt x="59" y="60"/>
                      </a:cubicBezTo>
                      <a:cubicBezTo>
                        <a:pt x="59" y="13"/>
                        <a:pt x="59" y="13"/>
                        <a:pt x="59" y="13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" y="28"/>
                        <a:pt x="4" y="28"/>
                        <a:pt x="4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5" name="Freeform 838">
                  <a:extLst>
                    <a:ext uri="{FF2B5EF4-FFF2-40B4-BE49-F238E27FC236}">
                      <a16:creationId xmlns:a16="http://schemas.microsoft.com/office/drawing/2014/main" id="{52973DD0-4C66-464B-A932-FC5D4B7F99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08" y="1451"/>
                  <a:ext cx="42" cy="96"/>
                </a:xfrm>
                <a:custGeom>
                  <a:avLst/>
                  <a:gdLst>
                    <a:gd name="T0" fmla="*/ 2 w 18"/>
                    <a:gd name="T1" fmla="*/ 41 h 41"/>
                    <a:gd name="T2" fmla="*/ 1 w 18"/>
                    <a:gd name="T3" fmla="*/ 40 h 41"/>
                    <a:gd name="T4" fmla="*/ 0 w 18"/>
                    <a:gd name="T5" fmla="*/ 39 h 41"/>
                    <a:gd name="T6" fmla="*/ 0 w 18"/>
                    <a:gd name="T7" fmla="*/ 10 h 41"/>
                    <a:gd name="T8" fmla="*/ 1 w 18"/>
                    <a:gd name="T9" fmla="*/ 8 h 41"/>
                    <a:gd name="T10" fmla="*/ 15 w 18"/>
                    <a:gd name="T11" fmla="*/ 0 h 41"/>
                    <a:gd name="T12" fmla="*/ 17 w 18"/>
                    <a:gd name="T13" fmla="*/ 0 h 41"/>
                    <a:gd name="T14" fmla="*/ 18 w 18"/>
                    <a:gd name="T15" fmla="*/ 2 h 41"/>
                    <a:gd name="T16" fmla="*/ 18 w 18"/>
                    <a:gd name="T17" fmla="*/ 32 h 41"/>
                    <a:gd name="T18" fmla="*/ 17 w 18"/>
                    <a:gd name="T19" fmla="*/ 34 h 41"/>
                    <a:gd name="T20" fmla="*/ 15 w 18"/>
                    <a:gd name="T21" fmla="*/ 34 h 41"/>
                    <a:gd name="T22" fmla="*/ 14 w 18"/>
                    <a:gd name="T23" fmla="*/ 34 h 41"/>
                    <a:gd name="T24" fmla="*/ 3 w 18"/>
                    <a:gd name="T25" fmla="*/ 40 h 41"/>
                    <a:gd name="T26" fmla="*/ 2 w 18"/>
                    <a:gd name="T27" fmla="*/ 41 h 41"/>
                    <a:gd name="T28" fmla="*/ 4 w 18"/>
                    <a:gd name="T29" fmla="*/ 11 h 41"/>
                    <a:gd name="T30" fmla="*/ 4 w 18"/>
                    <a:gd name="T31" fmla="*/ 35 h 41"/>
                    <a:gd name="T32" fmla="*/ 13 w 18"/>
                    <a:gd name="T33" fmla="*/ 30 h 41"/>
                    <a:gd name="T34" fmla="*/ 14 w 18"/>
                    <a:gd name="T35" fmla="*/ 29 h 41"/>
                    <a:gd name="T36" fmla="*/ 14 w 18"/>
                    <a:gd name="T37" fmla="*/ 5 h 41"/>
                    <a:gd name="T38" fmla="*/ 4 w 18"/>
                    <a:gd name="T39" fmla="*/ 1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8" h="41">
                      <a:moveTo>
                        <a:pt x="2" y="41"/>
                      </a:moveTo>
                      <a:cubicBezTo>
                        <a:pt x="1" y="41"/>
                        <a:pt x="1" y="40"/>
                        <a:pt x="1" y="40"/>
                      </a:cubicBezTo>
                      <a:cubicBezTo>
                        <a:pt x="0" y="40"/>
                        <a:pt x="0" y="39"/>
                        <a:pt x="0" y="39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6" y="0"/>
                        <a:pt x="17" y="0"/>
                      </a:cubicBezTo>
                      <a:cubicBezTo>
                        <a:pt x="17" y="1"/>
                        <a:pt x="18" y="1"/>
                        <a:pt x="18" y="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33"/>
                        <a:pt x="17" y="33"/>
                        <a:pt x="17" y="34"/>
                      </a:cubicBezTo>
                      <a:cubicBezTo>
                        <a:pt x="16" y="34"/>
                        <a:pt x="15" y="34"/>
                        <a:pt x="15" y="34"/>
                      </a:cubicBezTo>
                      <a:cubicBezTo>
                        <a:pt x="14" y="34"/>
                        <a:pt x="14" y="34"/>
                        <a:pt x="14" y="34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2" y="40"/>
                        <a:pt x="2" y="41"/>
                        <a:pt x="2" y="41"/>
                      </a:cubicBezTo>
                      <a:close/>
                      <a:moveTo>
                        <a:pt x="4" y="11"/>
                      </a:move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29"/>
                        <a:pt x="14" y="29"/>
                      </a:cubicBezTo>
                      <a:cubicBezTo>
                        <a:pt x="14" y="5"/>
                        <a:pt x="14" y="5"/>
                        <a:pt x="14" y="5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6" name="Freeform 839">
                  <a:extLst>
                    <a:ext uri="{FF2B5EF4-FFF2-40B4-BE49-F238E27FC236}">
                      <a16:creationId xmlns:a16="http://schemas.microsoft.com/office/drawing/2014/main" id="{3BCF1DE0-FE08-4C15-B52B-37B0EFDEEF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87" y="1363"/>
                  <a:ext cx="161" cy="217"/>
                </a:xfrm>
                <a:custGeom>
                  <a:avLst/>
                  <a:gdLst>
                    <a:gd name="T0" fmla="*/ 28 w 68"/>
                    <a:gd name="T1" fmla="*/ 92 h 92"/>
                    <a:gd name="T2" fmla="*/ 27 w 68"/>
                    <a:gd name="T3" fmla="*/ 92 h 92"/>
                    <a:gd name="T4" fmla="*/ 1 w 68"/>
                    <a:gd name="T5" fmla="*/ 77 h 92"/>
                    <a:gd name="T6" fmla="*/ 0 w 68"/>
                    <a:gd name="T7" fmla="*/ 75 h 92"/>
                    <a:gd name="T8" fmla="*/ 0 w 68"/>
                    <a:gd name="T9" fmla="*/ 4 h 92"/>
                    <a:gd name="T10" fmla="*/ 1 w 68"/>
                    <a:gd name="T11" fmla="*/ 2 h 92"/>
                    <a:gd name="T12" fmla="*/ 4 w 68"/>
                    <a:gd name="T13" fmla="*/ 1 h 92"/>
                    <a:gd name="T14" fmla="*/ 6 w 68"/>
                    <a:gd name="T15" fmla="*/ 1 h 92"/>
                    <a:gd name="T16" fmla="*/ 67 w 68"/>
                    <a:gd name="T17" fmla="*/ 36 h 92"/>
                    <a:gd name="T18" fmla="*/ 68 w 68"/>
                    <a:gd name="T19" fmla="*/ 38 h 92"/>
                    <a:gd name="T20" fmla="*/ 67 w 68"/>
                    <a:gd name="T21" fmla="*/ 39 h 92"/>
                    <a:gd name="T22" fmla="*/ 53 w 68"/>
                    <a:gd name="T23" fmla="*/ 47 h 92"/>
                    <a:gd name="T24" fmla="*/ 53 w 68"/>
                    <a:gd name="T25" fmla="*/ 76 h 92"/>
                    <a:gd name="T26" fmla="*/ 52 w 68"/>
                    <a:gd name="T27" fmla="*/ 78 h 92"/>
                    <a:gd name="T28" fmla="*/ 29 w 68"/>
                    <a:gd name="T29" fmla="*/ 92 h 92"/>
                    <a:gd name="T30" fmla="*/ 28 w 68"/>
                    <a:gd name="T31" fmla="*/ 92 h 92"/>
                    <a:gd name="T32" fmla="*/ 4 w 68"/>
                    <a:gd name="T33" fmla="*/ 74 h 92"/>
                    <a:gd name="T34" fmla="*/ 28 w 68"/>
                    <a:gd name="T35" fmla="*/ 88 h 92"/>
                    <a:gd name="T36" fmla="*/ 49 w 68"/>
                    <a:gd name="T37" fmla="*/ 75 h 92"/>
                    <a:gd name="T38" fmla="*/ 49 w 68"/>
                    <a:gd name="T39" fmla="*/ 46 h 92"/>
                    <a:gd name="T40" fmla="*/ 50 w 68"/>
                    <a:gd name="T41" fmla="*/ 44 h 92"/>
                    <a:gd name="T42" fmla="*/ 62 w 68"/>
                    <a:gd name="T43" fmla="*/ 38 h 92"/>
                    <a:gd name="T44" fmla="*/ 5 w 68"/>
                    <a:gd name="T45" fmla="*/ 5 h 92"/>
                    <a:gd name="T46" fmla="*/ 4 w 68"/>
                    <a:gd name="T47" fmla="*/ 5 h 92"/>
                    <a:gd name="T48" fmla="*/ 4 w 68"/>
                    <a:gd name="T49" fmla="*/ 74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8" h="92">
                      <a:moveTo>
                        <a:pt x="28" y="92"/>
                      </a:moveTo>
                      <a:cubicBezTo>
                        <a:pt x="27" y="92"/>
                        <a:pt x="27" y="92"/>
                        <a:pt x="27" y="92"/>
                      </a:cubicBezTo>
                      <a:cubicBezTo>
                        <a:pt x="1" y="77"/>
                        <a:pt x="1" y="77"/>
                        <a:pt x="1" y="77"/>
                      </a:cubicBezTo>
                      <a:cubicBezTo>
                        <a:pt x="1" y="76"/>
                        <a:pt x="0" y="76"/>
                        <a:pt x="0" y="75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3"/>
                        <a:pt x="1" y="3"/>
                        <a:pt x="1" y="2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5" y="0"/>
                        <a:pt x="5" y="0"/>
                        <a:pt x="6" y="1"/>
                      </a:cubicBezTo>
                      <a:cubicBezTo>
                        <a:pt x="67" y="36"/>
                        <a:pt x="67" y="36"/>
                        <a:pt x="67" y="36"/>
                      </a:cubicBezTo>
                      <a:cubicBezTo>
                        <a:pt x="67" y="36"/>
                        <a:pt x="68" y="37"/>
                        <a:pt x="68" y="38"/>
                      </a:cubicBezTo>
                      <a:cubicBezTo>
                        <a:pt x="68" y="38"/>
                        <a:pt x="67" y="39"/>
                        <a:pt x="67" y="39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76"/>
                        <a:pt x="53" y="76"/>
                        <a:pt x="53" y="76"/>
                      </a:cubicBezTo>
                      <a:cubicBezTo>
                        <a:pt x="53" y="77"/>
                        <a:pt x="53" y="78"/>
                        <a:pt x="52" y="78"/>
                      </a:cubicBezTo>
                      <a:cubicBezTo>
                        <a:pt x="29" y="92"/>
                        <a:pt x="29" y="92"/>
                        <a:pt x="29" y="92"/>
                      </a:cubicBezTo>
                      <a:cubicBezTo>
                        <a:pt x="29" y="92"/>
                        <a:pt x="28" y="92"/>
                        <a:pt x="28" y="92"/>
                      </a:cubicBezTo>
                      <a:close/>
                      <a:moveTo>
                        <a:pt x="4" y="74"/>
                      </a:moveTo>
                      <a:cubicBezTo>
                        <a:pt x="28" y="88"/>
                        <a:pt x="28" y="88"/>
                        <a:pt x="28" y="88"/>
                      </a:cubicBezTo>
                      <a:cubicBezTo>
                        <a:pt x="49" y="75"/>
                        <a:pt x="49" y="75"/>
                        <a:pt x="49" y="75"/>
                      </a:cubicBezTo>
                      <a:cubicBezTo>
                        <a:pt x="49" y="46"/>
                        <a:pt x="49" y="46"/>
                        <a:pt x="49" y="46"/>
                      </a:cubicBezTo>
                      <a:cubicBezTo>
                        <a:pt x="49" y="45"/>
                        <a:pt x="49" y="45"/>
                        <a:pt x="50" y="44"/>
                      </a:cubicBezTo>
                      <a:cubicBezTo>
                        <a:pt x="62" y="38"/>
                        <a:pt x="62" y="38"/>
                        <a:pt x="62" y="38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7" name="Freeform 840">
                  <a:extLst>
                    <a:ext uri="{FF2B5EF4-FFF2-40B4-BE49-F238E27FC236}">
                      <a16:creationId xmlns:a16="http://schemas.microsoft.com/office/drawing/2014/main" id="{DFF9C9D9-D958-4FB5-8655-7BB7015330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7" y="1576"/>
                  <a:ext cx="368" cy="165"/>
                </a:xfrm>
                <a:custGeom>
                  <a:avLst/>
                  <a:gdLst>
                    <a:gd name="T0" fmla="*/ 78 w 156"/>
                    <a:gd name="T1" fmla="*/ 70 h 70"/>
                    <a:gd name="T2" fmla="*/ 77 w 156"/>
                    <a:gd name="T3" fmla="*/ 69 h 70"/>
                    <a:gd name="T4" fmla="*/ 1 w 156"/>
                    <a:gd name="T5" fmla="*/ 26 h 70"/>
                    <a:gd name="T6" fmla="*/ 0 w 156"/>
                    <a:gd name="T7" fmla="*/ 24 h 70"/>
                    <a:gd name="T8" fmla="*/ 1 w 156"/>
                    <a:gd name="T9" fmla="*/ 22 h 70"/>
                    <a:gd name="T10" fmla="*/ 40 w 156"/>
                    <a:gd name="T11" fmla="*/ 0 h 70"/>
                    <a:gd name="T12" fmla="*/ 42 w 156"/>
                    <a:gd name="T13" fmla="*/ 0 h 70"/>
                    <a:gd name="T14" fmla="*/ 65 w 156"/>
                    <a:gd name="T15" fmla="*/ 13 h 70"/>
                    <a:gd name="T16" fmla="*/ 66 w 156"/>
                    <a:gd name="T17" fmla="*/ 15 h 70"/>
                    <a:gd name="T18" fmla="*/ 66 w 156"/>
                    <a:gd name="T19" fmla="*/ 30 h 70"/>
                    <a:gd name="T20" fmla="*/ 79 w 156"/>
                    <a:gd name="T21" fmla="*/ 23 h 70"/>
                    <a:gd name="T22" fmla="*/ 80 w 156"/>
                    <a:gd name="T23" fmla="*/ 23 h 70"/>
                    <a:gd name="T24" fmla="*/ 80 w 156"/>
                    <a:gd name="T25" fmla="*/ 22 h 70"/>
                    <a:gd name="T26" fmla="*/ 117 w 156"/>
                    <a:gd name="T27" fmla="*/ 1 h 70"/>
                    <a:gd name="T28" fmla="*/ 119 w 156"/>
                    <a:gd name="T29" fmla="*/ 1 h 70"/>
                    <a:gd name="T30" fmla="*/ 155 w 156"/>
                    <a:gd name="T31" fmla="*/ 22 h 70"/>
                    <a:gd name="T32" fmla="*/ 156 w 156"/>
                    <a:gd name="T33" fmla="*/ 24 h 70"/>
                    <a:gd name="T34" fmla="*/ 155 w 156"/>
                    <a:gd name="T35" fmla="*/ 26 h 70"/>
                    <a:gd name="T36" fmla="*/ 79 w 156"/>
                    <a:gd name="T37" fmla="*/ 69 h 70"/>
                    <a:gd name="T38" fmla="*/ 78 w 156"/>
                    <a:gd name="T39" fmla="*/ 70 h 70"/>
                    <a:gd name="T40" fmla="*/ 6 w 156"/>
                    <a:gd name="T41" fmla="*/ 24 h 70"/>
                    <a:gd name="T42" fmla="*/ 78 w 156"/>
                    <a:gd name="T43" fmla="*/ 65 h 70"/>
                    <a:gd name="T44" fmla="*/ 150 w 156"/>
                    <a:gd name="T45" fmla="*/ 24 h 70"/>
                    <a:gd name="T46" fmla="*/ 118 w 156"/>
                    <a:gd name="T47" fmla="*/ 5 h 70"/>
                    <a:gd name="T48" fmla="*/ 83 w 156"/>
                    <a:gd name="T49" fmla="*/ 25 h 70"/>
                    <a:gd name="T50" fmla="*/ 82 w 156"/>
                    <a:gd name="T51" fmla="*/ 27 h 70"/>
                    <a:gd name="T52" fmla="*/ 80 w 156"/>
                    <a:gd name="T53" fmla="*/ 27 h 70"/>
                    <a:gd name="T54" fmla="*/ 80 w 156"/>
                    <a:gd name="T55" fmla="*/ 27 h 70"/>
                    <a:gd name="T56" fmla="*/ 65 w 156"/>
                    <a:gd name="T57" fmla="*/ 36 h 70"/>
                    <a:gd name="T58" fmla="*/ 63 w 156"/>
                    <a:gd name="T59" fmla="*/ 36 h 70"/>
                    <a:gd name="T60" fmla="*/ 62 w 156"/>
                    <a:gd name="T61" fmla="*/ 34 h 70"/>
                    <a:gd name="T62" fmla="*/ 62 w 156"/>
                    <a:gd name="T63" fmla="*/ 16 h 70"/>
                    <a:gd name="T64" fmla="*/ 41 w 156"/>
                    <a:gd name="T65" fmla="*/ 4 h 70"/>
                    <a:gd name="T66" fmla="*/ 6 w 156"/>
                    <a:gd name="T67" fmla="*/ 2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56" h="70">
                      <a:moveTo>
                        <a:pt x="78" y="70"/>
                      </a:moveTo>
                      <a:cubicBezTo>
                        <a:pt x="78" y="70"/>
                        <a:pt x="78" y="70"/>
                        <a:pt x="77" y="69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1" y="25"/>
                        <a:pt x="0" y="25"/>
                        <a:pt x="0" y="24"/>
                      </a:cubicBezTo>
                      <a:cubicBezTo>
                        <a:pt x="0" y="23"/>
                        <a:pt x="1" y="23"/>
                        <a:pt x="1" y="22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0" y="0"/>
                        <a:pt x="41" y="0"/>
                        <a:pt x="42" y="0"/>
                      </a:cubicBezTo>
                      <a:cubicBezTo>
                        <a:pt x="65" y="13"/>
                        <a:pt x="65" y="13"/>
                        <a:pt x="65" y="13"/>
                      </a:cubicBezTo>
                      <a:cubicBezTo>
                        <a:pt x="66" y="14"/>
                        <a:pt x="66" y="15"/>
                        <a:pt x="66" y="15"/>
                      </a:cubicBezTo>
                      <a:cubicBezTo>
                        <a:pt x="66" y="30"/>
                        <a:pt x="66" y="30"/>
                        <a:pt x="66" y="30"/>
                      </a:cubicBezTo>
                      <a:cubicBezTo>
                        <a:pt x="79" y="23"/>
                        <a:pt x="79" y="23"/>
                        <a:pt x="79" y="23"/>
                      </a:cubicBezTo>
                      <a:cubicBezTo>
                        <a:pt x="79" y="23"/>
                        <a:pt x="80" y="23"/>
                        <a:pt x="80" y="23"/>
                      </a:cubicBezTo>
                      <a:cubicBezTo>
                        <a:pt x="80" y="22"/>
                        <a:pt x="80" y="22"/>
                        <a:pt x="80" y="22"/>
                      </a:cubicBezTo>
                      <a:cubicBezTo>
                        <a:pt x="117" y="1"/>
                        <a:pt x="117" y="1"/>
                        <a:pt x="117" y="1"/>
                      </a:cubicBezTo>
                      <a:cubicBezTo>
                        <a:pt x="117" y="1"/>
                        <a:pt x="118" y="1"/>
                        <a:pt x="119" y="1"/>
                      </a:cubicBezTo>
                      <a:cubicBezTo>
                        <a:pt x="155" y="22"/>
                        <a:pt x="155" y="22"/>
                        <a:pt x="155" y="22"/>
                      </a:cubicBezTo>
                      <a:cubicBezTo>
                        <a:pt x="156" y="23"/>
                        <a:pt x="156" y="23"/>
                        <a:pt x="156" y="24"/>
                      </a:cubicBezTo>
                      <a:cubicBezTo>
                        <a:pt x="156" y="25"/>
                        <a:pt x="156" y="25"/>
                        <a:pt x="155" y="26"/>
                      </a:cubicBezTo>
                      <a:cubicBezTo>
                        <a:pt x="79" y="69"/>
                        <a:pt x="79" y="69"/>
                        <a:pt x="79" y="69"/>
                      </a:cubicBezTo>
                      <a:cubicBezTo>
                        <a:pt x="79" y="70"/>
                        <a:pt x="79" y="70"/>
                        <a:pt x="78" y="70"/>
                      </a:cubicBezTo>
                      <a:close/>
                      <a:moveTo>
                        <a:pt x="6" y="24"/>
                      </a:moveTo>
                      <a:cubicBezTo>
                        <a:pt x="78" y="65"/>
                        <a:pt x="78" y="65"/>
                        <a:pt x="78" y="65"/>
                      </a:cubicBezTo>
                      <a:cubicBezTo>
                        <a:pt x="150" y="24"/>
                        <a:pt x="150" y="24"/>
                        <a:pt x="150" y="24"/>
                      </a:cubicBezTo>
                      <a:cubicBezTo>
                        <a:pt x="118" y="5"/>
                        <a:pt x="118" y="5"/>
                        <a:pt x="118" y="5"/>
                      </a:cubicBezTo>
                      <a:cubicBezTo>
                        <a:pt x="83" y="25"/>
                        <a:pt x="83" y="25"/>
                        <a:pt x="83" y="25"/>
                      </a:cubicBezTo>
                      <a:cubicBezTo>
                        <a:pt x="83" y="26"/>
                        <a:pt x="83" y="26"/>
                        <a:pt x="82" y="27"/>
                      </a:cubicBezTo>
                      <a:cubicBezTo>
                        <a:pt x="82" y="27"/>
                        <a:pt x="81" y="27"/>
                        <a:pt x="80" y="27"/>
                      </a:cubicBezTo>
                      <a:cubicBezTo>
                        <a:pt x="80" y="27"/>
                        <a:pt x="80" y="27"/>
                        <a:pt x="80" y="27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4" y="36"/>
                        <a:pt x="64" y="36"/>
                        <a:pt x="63" y="36"/>
                      </a:cubicBezTo>
                      <a:cubicBezTo>
                        <a:pt x="62" y="35"/>
                        <a:pt x="62" y="34"/>
                        <a:pt x="62" y="34"/>
                      </a:cubicBezTo>
                      <a:cubicBezTo>
                        <a:pt x="62" y="16"/>
                        <a:pt x="62" y="16"/>
                        <a:pt x="62" y="16"/>
                      </a:cubicBezTo>
                      <a:cubicBezTo>
                        <a:pt x="41" y="4"/>
                        <a:pt x="41" y="4"/>
                        <a:pt x="41" y="4"/>
                      </a:cubicBezTo>
                      <a:lnTo>
                        <a:pt x="6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8" name="Freeform 841">
                  <a:extLst>
                    <a:ext uri="{FF2B5EF4-FFF2-40B4-BE49-F238E27FC236}">
                      <a16:creationId xmlns:a16="http://schemas.microsoft.com/office/drawing/2014/main" id="{6DF0802C-6B06-44BB-AAC6-DD28930C45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3" y="1382"/>
                  <a:ext cx="125" cy="201"/>
                </a:xfrm>
                <a:custGeom>
                  <a:avLst/>
                  <a:gdLst>
                    <a:gd name="T0" fmla="*/ 39 w 53"/>
                    <a:gd name="T1" fmla="*/ 85 h 85"/>
                    <a:gd name="T2" fmla="*/ 38 w 53"/>
                    <a:gd name="T3" fmla="*/ 85 h 85"/>
                    <a:gd name="T4" fmla="*/ 1 w 53"/>
                    <a:gd name="T5" fmla="*/ 64 h 85"/>
                    <a:gd name="T6" fmla="*/ 0 w 53"/>
                    <a:gd name="T7" fmla="*/ 62 h 85"/>
                    <a:gd name="T8" fmla="*/ 0 w 53"/>
                    <a:gd name="T9" fmla="*/ 30 h 85"/>
                    <a:gd name="T10" fmla="*/ 1 w 53"/>
                    <a:gd name="T11" fmla="*/ 28 h 85"/>
                    <a:gd name="T12" fmla="*/ 50 w 53"/>
                    <a:gd name="T13" fmla="*/ 0 h 85"/>
                    <a:gd name="T14" fmla="*/ 52 w 53"/>
                    <a:gd name="T15" fmla="*/ 0 h 85"/>
                    <a:gd name="T16" fmla="*/ 53 w 53"/>
                    <a:gd name="T17" fmla="*/ 2 h 85"/>
                    <a:gd name="T18" fmla="*/ 53 w 53"/>
                    <a:gd name="T19" fmla="*/ 76 h 85"/>
                    <a:gd name="T20" fmla="*/ 52 w 53"/>
                    <a:gd name="T21" fmla="*/ 78 h 85"/>
                    <a:gd name="T22" fmla="*/ 40 w 53"/>
                    <a:gd name="T23" fmla="*/ 85 h 85"/>
                    <a:gd name="T24" fmla="*/ 39 w 53"/>
                    <a:gd name="T25" fmla="*/ 85 h 85"/>
                    <a:gd name="T26" fmla="*/ 4 w 53"/>
                    <a:gd name="T27" fmla="*/ 61 h 85"/>
                    <a:gd name="T28" fmla="*/ 39 w 53"/>
                    <a:gd name="T29" fmla="*/ 81 h 85"/>
                    <a:gd name="T30" fmla="*/ 49 w 53"/>
                    <a:gd name="T31" fmla="*/ 75 h 85"/>
                    <a:gd name="T32" fmla="*/ 49 w 53"/>
                    <a:gd name="T33" fmla="*/ 5 h 85"/>
                    <a:gd name="T34" fmla="*/ 4 w 53"/>
                    <a:gd name="T35" fmla="*/ 31 h 85"/>
                    <a:gd name="T36" fmla="*/ 4 w 53"/>
                    <a:gd name="T37" fmla="*/ 61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3" h="85">
                      <a:moveTo>
                        <a:pt x="39" y="85"/>
                      </a:moveTo>
                      <a:cubicBezTo>
                        <a:pt x="38" y="85"/>
                        <a:pt x="38" y="85"/>
                        <a:pt x="38" y="85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3"/>
                        <a:pt x="0" y="63"/>
                        <a:pt x="0" y="62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29"/>
                        <a:pt x="1" y="29"/>
                        <a:pt x="1" y="28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0" y="0"/>
                        <a:pt x="51" y="0"/>
                        <a:pt x="52" y="0"/>
                      </a:cubicBezTo>
                      <a:cubicBezTo>
                        <a:pt x="52" y="1"/>
                        <a:pt x="53" y="1"/>
                        <a:pt x="53" y="2"/>
                      </a:cubicBezTo>
                      <a:cubicBezTo>
                        <a:pt x="53" y="76"/>
                        <a:pt x="53" y="76"/>
                        <a:pt x="53" y="76"/>
                      </a:cubicBezTo>
                      <a:cubicBezTo>
                        <a:pt x="53" y="77"/>
                        <a:pt x="52" y="77"/>
                        <a:pt x="52" y="78"/>
                      </a:cubicBezTo>
                      <a:cubicBezTo>
                        <a:pt x="40" y="85"/>
                        <a:pt x="40" y="85"/>
                        <a:pt x="40" y="85"/>
                      </a:cubicBezTo>
                      <a:cubicBezTo>
                        <a:pt x="39" y="85"/>
                        <a:pt x="39" y="85"/>
                        <a:pt x="39" y="85"/>
                      </a:cubicBezTo>
                      <a:close/>
                      <a:moveTo>
                        <a:pt x="4" y="61"/>
                      </a:moveTo>
                      <a:cubicBezTo>
                        <a:pt x="39" y="81"/>
                        <a:pt x="39" y="81"/>
                        <a:pt x="39" y="81"/>
                      </a:cubicBezTo>
                      <a:cubicBezTo>
                        <a:pt x="49" y="75"/>
                        <a:pt x="49" y="75"/>
                        <a:pt x="49" y="75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" y="31"/>
                        <a:pt x="4" y="31"/>
                        <a:pt x="4" y="31"/>
                      </a:cubicBezTo>
                      <a:lnTo>
                        <a:pt x="4" y="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9" name="Freeform 842">
                  <a:extLst>
                    <a:ext uri="{FF2B5EF4-FFF2-40B4-BE49-F238E27FC236}">
                      <a16:creationId xmlns:a16="http://schemas.microsoft.com/office/drawing/2014/main" id="{75C0A42A-39C0-49C8-BAB0-1B6A3855A8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58" y="1108"/>
                  <a:ext cx="234" cy="132"/>
                </a:xfrm>
                <a:custGeom>
                  <a:avLst/>
                  <a:gdLst>
                    <a:gd name="T0" fmla="*/ 82 w 99"/>
                    <a:gd name="T1" fmla="*/ 56 h 56"/>
                    <a:gd name="T2" fmla="*/ 81 w 99"/>
                    <a:gd name="T3" fmla="*/ 56 h 56"/>
                    <a:gd name="T4" fmla="*/ 60 w 99"/>
                    <a:gd name="T5" fmla="*/ 44 h 56"/>
                    <a:gd name="T6" fmla="*/ 41 w 99"/>
                    <a:gd name="T7" fmla="*/ 55 h 56"/>
                    <a:gd name="T8" fmla="*/ 39 w 99"/>
                    <a:gd name="T9" fmla="*/ 55 h 56"/>
                    <a:gd name="T10" fmla="*/ 1 w 99"/>
                    <a:gd name="T11" fmla="*/ 33 h 56"/>
                    <a:gd name="T12" fmla="*/ 0 w 99"/>
                    <a:gd name="T13" fmla="*/ 31 h 56"/>
                    <a:gd name="T14" fmla="*/ 1 w 99"/>
                    <a:gd name="T15" fmla="*/ 30 h 56"/>
                    <a:gd name="T16" fmla="*/ 44 w 99"/>
                    <a:gd name="T17" fmla="*/ 5 h 56"/>
                    <a:gd name="T18" fmla="*/ 44 w 99"/>
                    <a:gd name="T19" fmla="*/ 2 h 56"/>
                    <a:gd name="T20" fmla="*/ 45 w 99"/>
                    <a:gd name="T21" fmla="*/ 1 h 56"/>
                    <a:gd name="T22" fmla="*/ 47 w 99"/>
                    <a:gd name="T23" fmla="*/ 1 h 56"/>
                    <a:gd name="T24" fmla="*/ 98 w 99"/>
                    <a:gd name="T25" fmla="*/ 30 h 56"/>
                    <a:gd name="T26" fmla="*/ 99 w 99"/>
                    <a:gd name="T27" fmla="*/ 32 h 56"/>
                    <a:gd name="T28" fmla="*/ 98 w 99"/>
                    <a:gd name="T29" fmla="*/ 34 h 56"/>
                    <a:gd name="T30" fmla="*/ 84 w 99"/>
                    <a:gd name="T31" fmla="*/ 41 h 56"/>
                    <a:gd name="T32" fmla="*/ 84 w 99"/>
                    <a:gd name="T33" fmla="*/ 54 h 56"/>
                    <a:gd name="T34" fmla="*/ 83 w 99"/>
                    <a:gd name="T35" fmla="*/ 56 h 56"/>
                    <a:gd name="T36" fmla="*/ 82 w 99"/>
                    <a:gd name="T37" fmla="*/ 56 h 56"/>
                    <a:gd name="T38" fmla="*/ 60 w 99"/>
                    <a:gd name="T39" fmla="*/ 40 h 56"/>
                    <a:gd name="T40" fmla="*/ 61 w 99"/>
                    <a:gd name="T41" fmla="*/ 40 h 56"/>
                    <a:gd name="T42" fmla="*/ 80 w 99"/>
                    <a:gd name="T43" fmla="*/ 51 h 56"/>
                    <a:gd name="T44" fmla="*/ 80 w 99"/>
                    <a:gd name="T45" fmla="*/ 40 h 56"/>
                    <a:gd name="T46" fmla="*/ 81 w 99"/>
                    <a:gd name="T47" fmla="*/ 38 h 56"/>
                    <a:gd name="T48" fmla="*/ 93 w 99"/>
                    <a:gd name="T49" fmla="*/ 32 h 56"/>
                    <a:gd name="T50" fmla="*/ 48 w 99"/>
                    <a:gd name="T51" fmla="*/ 6 h 56"/>
                    <a:gd name="T52" fmla="*/ 48 w 99"/>
                    <a:gd name="T53" fmla="*/ 6 h 56"/>
                    <a:gd name="T54" fmla="*/ 47 w 99"/>
                    <a:gd name="T55" fmla="*/ 8 h 56"/>
                    <a:gd name="T56" fmla="*/ 6 w 99"/>
                    <a:gd name="T57" fmla="*/ 31 h 56"/>
                    <a:gd name="T58" fmla="*/ 40 w 99"/>
                    <a:gd name="T59" fmla="*/ 51 h 56"/>
                    <a:gd name="T60" fmla="*/ 59 w 99"/>
                    <a:gd name="T61" fmla="*/ 40 h 56"/>
                    <a:gd name="T62" fmla="*/ 60 w 99"/>
                    <a:gd name="T63" fmla="*/ 4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99" h="56">
                      <a:moveTo>
                        <a:pt x="82" y="56"/>
                      </a:moveTo>
                      <a:cubicBezTo>
                        <a:pt x="82" y="56"/>
                        <a:pt x="82" y="56"/>
                        <a:pt x="81" y="56"/>
                      </a:cubicBezTo>
                      <a:cubicBezTo>
                        <a:pt x="60" y="44"/>
                        <a:pt x="60" y="44"/>
                        <a:pt x="60" y="44"/>
                      </a:cubicBezTo>
                      <a:cubicBezTo>
                        <a:pt x="41" y="55"/>
                        <a:pt x="41" y="55"/>
                        <a:pt x="41" y="55"/>
                      </a:cubicBezTo>
                      <a:cubicBezTo>
                        <a:pt x="41" y="55"/>
                        <a:pt x="40" y="55"/>
                        <a:pt x="39" y="55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3"/>
                        <a:pt x="0" y="32"/>
                        <a:pt x="0" y="31"/>
                      </a:cubicBezTo>
                      <a:cubicBezTo>
                        <a:pt x="0" y="31"/>
                        <a:pt x="1" y="30"/>
                        <a:pt x="1" y="3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2"/>
                        <a:pt x="44" y="2"/>
                        <a:pt x="44" y="2"/>
                      </a:cubicBezTo>
                      <a:cubicBezTo>
                        <a:pt x="44" y="2"/>
                        <a:pt x="44" y="1"/>
                        <a:pt x="45" y="1"/>
                      </a:cubicBezTo>
                      <a:cubicBezTo>
                        <a:pt x="46" y="0"/>
                        <a:pt x="46" y="0"/>
                        <a:pt x="47" y="1"/>
                      </a:cubicBezTo>
                      <a:cubicBezTo>
                        <a:pt x="98" y="30"/>
                        <a:pt x="98" y="30"/>
                        <a:pt x="98" y="30"/>
                      </a:cubicBezTo>
                      <a:cubicBezTo>
                        <a:pt x="99" y="30"/>
                        <a:pt x="99" y="31"/>
                        <a:pt x="99" y="32"/>
                      </a:cubicBezTo>
                      <a:cubicBezTo>
                        <a:pt x="99" y="33"/>
                        <a:pt x="99" y="33"/>
                        <a:pt x="98" y="34"/>
                      </a:cubicBezTo>
                      <a:cubicBezTo>
                        <a:pt x="84" y="41"/>
                        <a:pt x="84" y="41"/>
                        <a:pt x="84" y="41"/>
                      </a:cubicBezTo>
                      <a:cubicBezTo>
                        <a:pt x="84" y="54"/>
                        <a:pt x="84" y="54"/>
                        <a:pt x="84" y="54"/>
                      </a:cubicBezTo>
                      <a:cubicBezTo>
                        <a:pt x="84" y="55"/>
                        <a:pt x="84" y="56"/>
                        <a:pt x="83" y="56"/>
                      </a:cubicBezTo>
                      <a:cubicBezTo>
                        <a:pt x="83" y="56"/>
                        <a:pt x="83" y="56"/>
                        <a:pt x="82" y="56"/>
                      </a:cubicBezTo>
                      <a:close/>
                      <a:moveTo>
                        <a:pt x="60" y="40"/>
                      </a:moveTo>
                      <a:cubicBezTo>
                        <a:pt x="61" y="40"/>
                        <a:pt x="61" y="40"/>
                        <a:pt x="61" y="40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cubicBezTo>
                        <a:pt x="80" y="40"/>
                        <a:pt x="80" y="40"/>
                        <a:pt x="80" y="40"/>
                      </a:cubicBezTo>
                      <a:cubicBezTo>
                        <a:pt x="80" y="40"/>
                        <a:pt x="81" y="39"/>
                        <a:pt x="81" y="38"/>
                      </a:cubicBezTo>
                      <a:cubicBezTo>
                        <a:pt x="93" y="32"/>
                        <a:pt x="93" y="32"/>
                        <a:pt x="93" y="32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48" y="7"/>
                        <a:pt x="48" y="8"/>
                        <a:pt x="47" y="8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40" y="51"/>
                        <a:pt x="40" y="51"/>
                        <a:pt x="40" y="51"/>
                      </a:cubicBezTo>
                      <a:cubicBezTo>
                        <a:pt x="59" y="40"/>
                        <a:pt x="59" y="40"/>
                        <a:pt x="59" y="40"/>
                      </a:cubicBezTo>
                      <a:cubicBezTo>
                        <a:pt x="60" y="40"/>
                        <a:pt x="60" y="40"/>
                        <a:pt x="60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0" name="Freeform 843">
                  <a:extLst>
                    <a:ext uri="{FF2B5EF4-FFF2-40B4-BE49-F238E27FC236}">
                      <a16:creationId xmlns:a16="http://schemas.microsoft.com/office/drawing/2014/main" id="{6F9D0353-BF76-4D3B-9B08-E8CED8A5F4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3" y="1528"/>
                  <a:ext cx="92" cy="104"/>
                </a:xfrm>
                <a:custGeom>
                  <a:avLst/>
                  <a:gdLst>
                    <a:gd name="T0" fmla="*/ 2 w 39"/>
                    <a:gd name="T1" fmla="*/ 44 h 44"/>
                    <a:gd name="T2" fmla="*/ 1 w 39"/>
                    <a:gd name="T3" fmla="*/ 44 h 44"/>
                    <a:gd name="T4" fmla="*/ 0 w 39"/>
                    <a:gd name="T5" fmla="*/ 42 h 44"/>
                    <a:gd name="T6" fmla="*/ 0 w 39"/>
                    <a:gd name="T7" fmla="*/ 2 h 44"/>
                    <a:gd name="T8" fmla="*/ 1 w 39"/>
                    <a:gd name="T9" fmla="*/ 0 h 44"/>
                    <a:gd name="T10" fmla="*/ 3 w 39"/>
                    <a:gd name="T11" fmla="*/ 0 h 44"/>
                    <a:gd name="T12" fmla="*/ 38 w 39"/>
                    <a:gd name="T13" fmla="*/ 20 h 44"/>
                    <a:gd name="T14" fmla="*/ 39 w 39"/>
                    <a:gd name="T15" fmla="*/ 22 h 44"/>
                    <a:gd name="T16" fmla="*/ 38 w 39"/>
                    <a:gd name="T17" fmla="*/ 24 h 44"/>
                    <a:gd name="T18" fmla="*/ 3 w 39"/>
                    <a:gd name="T19" fmla="*/ 44 h 44"/>
                    <a:gd name="T20" fmla="*/ 2 w 39"/>
                    <a:gd name="T21" fmla="*/ 44 h 44"/>
                    <a:gd name="T22" fmla="*/ 4 w 39"/>
                    <a:gd name="T23" fmla="*/ 5 h 44"/>
                    <a:gd name="T24" fmla="*/ 4 w 39"/>
                    <a:gd name="T25" fmla="*/ 39 h 44"/>
                    <a:gd name="T26" fmla="*/ 33 w 39"/>
                    <a:gd name="T27" fmla="*/ 22 h 44"/>
                    <a:gd name="T28" fmla="*/ 4 w 39"/>
                    <a:gd name="T29" fmla="*/ 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44">
                      <a:moveTo>
                        <a:pt x="2" y="44"/>
                      </a:moveTo>
                      <a:cubicBezTo>
                        <a:pt x="2" y="44"/>
                        <a:pt x="1" y="44"/>
                        <a:pt x="1" y="44"/>
                      </a:cubicBezTo>
                      <a:cubicBezTo>
                        <a:pt x="1" y="43"/>
                        <a:pt x="0" y="43"/>
                        <a:pt x="0" y="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8" y="20"/>
                        <a:pt x="38" y="20"/>
                        <a:pt x="38" y="20"/>
                      </a:cubicBezTo>
                      <a:cubicBezTo>
                        <a:pt x="39" y="21"/>
                        <a:pt x="39" y="21"/>
                        <a:pt x="39" y="22"/>
                      </a:cubicBezTo>
                      <a:cubicBezTo>
                        <a:pt x="39" y="23"/>
                        <a:pt x="39" y="23"/>
                        <a:pt x="38" y="24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3" y="44"/>
                        <a:pt x="2" y="44"/>
                      </a:cubicBezTo>
                      <a:close/>
                      <a:moveTo>
                        <a:pt x="4" y="5"/>
                      </a:moveTo>
                      <a:cubicBezTo>
                        <a:pt x="4" y="39"/>
                        <a:pt x="4" y="39"/>
                        <a:pt x="4" y="39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1" name="Freeform 844">
                  <a:extLst>
                    <a:ext uri="{FF2B5EF4-FFF2-40B4-BE49-F238E27FC236}">
                      <a16:creationId xmlns:a16="http://schemas.microsoft.com/office/drawing/2014/main" id="{8B07D791-CE1D-49C5-8749-F6F1D8BAFB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61" y="1309"/>
                  <a:ext cx="71" cy="56"/>
                </a:xfrm>
                <a:custGeom>
                  <a:avLst/>
                  <a:gdLst>
                    <a:gd name="T0" fmla="*/ 11 w 30"/>
                    <a:gd name="T1" fmla="*/ 24 h 24"/>
                    <a:gd name="T2" fmla="*/ 10 w 30"/>
                    <a:gd name="T3" fmla="*/ 24 h 24"/>
                    <a:gd name="T4" fmla="*/ 1 w 30"/>
                    <a:gd name="T5" fmla="*/ 19 h 24"/>
                    <a:gd name="T6" fmla="*/ 0 w 30"/>
                    <a:gd name="T7" fmla="*/ 17 h 24"/>
                    <a:gd name="T8" fmla="*/ 1 w 30"/>
                    <a:gd name="T9" fmla="*/ 15 h 24"/>
                    <a:gd name="T10" fmla="*/ 27 w 30"/>
                    <a:gd name="T11" fmla="*/ 0 h 24"/>
                    <a:gd name="T12" fmla="*/ 29 w 30"/>
                    <a:gd name="T13" fmla="*/ 0 h 24"/>
                    <a:gd name="T14" fmla="*/ 30 w 30"/>
                    <a:gd name="T15" fmla="*/ 2 h 24"/>
                    <a:gd name="T16" fmla="*/ 30 w 30"/>
                    <a:gd name="T17" fmla="*/ 13 h 24"/>
                    <a:gd name="T18" fmla="*/ 29 w 30"/>
                    <a:gd name="T19" fmla="*/ 14 h 24"/>
                    <a:gd name="T20" fmla="*/ 14 w 30"/>
                    <a:gd name="T21" fmla="*/ 23 h 24"/>
                    <a:gd name="T22" fmla="*/ 13 w 30"/>
                    <a:gd name="T23" fmla="*/ 24 h 24"/>
                    <a:gd name="T24" fmla="*/ 13 w 30"/>
                    <a:gd name="T25" fmla="*/ 24 h 24"/>
                    <a:gd name="T26" fmla="*/ 12 w 30"/>
                    <a:gd name="T27" fmla="*/ 24 h 24"/>
                    <a:gd name="T28" fmla="*/ 11 w 30"/>
                    <a:gd name="T29" fmla="*/ 24 h 24"/>
                    <a:gd name="T30" fmla="*/ 6 w 30"/>
                    <a:gd name="T31" fmla="*/ 17 h 24"/>
                    <a:gd name="T32" fmla="*/ 10 w 30"/>
                    <a:gd name="T33" fmla="*/ 19 h 24"/>
                    <a:gd name="T34" fmla="*/ 11 w 30"/>
                    <a:gd name="T35" fmla="*/ 19 h 24"/>
                    <a:gd name="T36" fmla="*/ 13 w 30"/>
                    <a:gd name="T37" fmla="*/ 19 h 24"/>
                    <a:gd name="T38" fmla="*/ 13 w 30"/>
                    <a:gd name="T39" fmla="*/ 19 h 24"/>
                    <a:gd name="T40" fmla="*/ 26 w 30"/>
                    <a:gd name="T41" fmla="*/ 11 h 24"/>
                    <a:gd name="T42" fmla="*/ 26 w 30"/>
                    <a:gd name="T43" fmla="*/ 5 h 24"/>
                    <a:gd name="T44" fmla="*/ 6 w 30"/>
                    <a:gd name="T45" fmla="*/ 17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24">
                      <a:moveTo>
                        <a:pt x="11" y="24"/>
                      </a:moveTo>
                      <a:cubicBezTo>
                        <a:pt x="11" y="24"/>
                        <a:pt x="11" y="24"/>
                        <a:pt x="10" y="24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0" y="18"/>
                        <a:pt x="0" y="18"/>
                        <a:pt x="0" y="17"/>
                      </a:cubicBezTo>
                      <a:cubicBezTo>
                        <a:pt x="0" y="16"/>
                        <a:pt x="0" y="16"/>
                        <a:pt x="1" y="15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8" y="0"/>
                        <a:pt x="29" y="0"/>
                        <a:pt x="29" y="0"/>
                      </a:cubicBezTo>
                      <a:cubicBezTo>
                        <a:pt x="30" y="0"/>
                        <a:pt x="30" y="1"/>
                        <a:pt x="30" y="2"/>
                      </a:cubicBezTo>
                      <a:cubicBezTo>
                        <a:pt x="30" y="13"/>
                        <a:pt x="30" y="13"/>
                        <a:pt x="30" y="13"/>
                      </a:cubicBezTo>
                      <a:cubicBezTo>
                        <a:pt x="30" y="13"/>
                        <a:pt x="30" y="14"/>
                        <a:pt x="29" y="14"/>
                      </a:cubicBezTo>
                      <a:cubicBezTo>
                        <a:pt x="14" y="23"/>
                        <a:pt x="14" y="23"/>
                        <a:pt x="14" y="23"/>
                      </a:cubicBezTo>
                      <a:cubicBezTo>
                        <a:pt x="14" y="24"/>
                        <a:pt x="13" y="24"/>
                        <a:pt x="13" y="24"/>
                      </a:cubicBezTo>
                      <a:cubicBezTo>
                        <a:pt x="13" y="24"/>
                        <a:pt x="13" y="24"/>
                        <a:pt x="13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4"/>
                        <a:pt x="11" y="24"/>
                      </a:cubicBezTo>
                      <a:close/>
                      <a:moveTo>
                        <a:pt x="6" y="17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9"/>
                      </a:cubicBezTo>
                      <a:cubicBezTo>
                        <a:pt x="11" y="19"/>
                        <a:pt x="12" y="19"/>
                        <a:pt x="13" y="19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5"/>
                        <a:pt x="26" y="5"/>
                        <a:pt x="26" y="5"/>
                      </a:cubicBezTo>
                      <a:lnTo>
                        <a:pt x="6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2" name="Freeform 845">
                  <a:extLst>
                    <a:ext uri="{FF2B5EF4-FFF2-40B4-BE49-F238E27FC236}">
                      <a16:creationId xmlns:a16="http://schemas.microsoft.com/office/drawing/2014/main" id="{98AFA6FD-9542-45DF-B395-0C6C45889F6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62" y="1002"/>
                  <a:ext cx="293" cy="184"/>
                </a:xfrm>
                <a:custGeom>
                  <a:avLst/>
                  <a:gdLst>
                    <a:gd name="T0" fmla="*/ 55 w 124"/>
                    <a:gd name="T1" fmla="*/ 78 h 78"/>
                    <a:gd name="T2" fmla="*/ 54 w 124"/>
                    <a:gd name="T3" fmla="*/ 78 h 78"/>
                    <a:gd name="T4" fmla="*/ 1 w 124"/>
                    <a:gd name="T5" fmla="*/ 47 h 78"/>
                    <a:gd name="T6" fmla="*/ 0 w 124"/>
                    <a:gd name="T7" fmla="*/ 46 h 78"/>
                    <a:gd name="T8" fmla="*/ 0 w 124"/>
                    <a:gd name="T9" fmla="*/ 34 h 78"/>
                    <a:gd name="T10" fmla="*/ 1 w 124"/>
                    <a:gd name="T11" fmla="*/ 32 h 78"/>
                    <a:gd name="T12" fmla="*/ 56 w 124"/>
                    <a:gd name="T13" fmla="*/ 0 h 78"/>
                    <a:gd name="T14" fmla="*/ 58 w 124"/>
                    <a:gd name="T15" fmla="*/ 0 h 78"/>
                    <a:gd name="T16" fmla="*/ 123 w 124"/>
                    <a:gd name="T17" fmla="*/ 38 h 78"/>
                    <a:gd name="T18" fmla="*/ 124 w 124"/>
                    <a:gd name="T19" fmla="*/ 40 h 78"/>
                    <a:gd name="T20" fmla="*/ 123 w 124"/>
                    <a:gd name="T21" fmla="*/ 41 h 78"/>
                    <a:gd name="T22" fmla="*/ 107 w 124"/>
                    <a:gd name="T23" fmla="*/ 51 h 78"/>
                    <a:gd name="T24" fmla="*/ 105 w 124"/>
                    <a:gd name="T25" fmla="*/ 51 h 78"/>
                    <a:gd name="T26" fmla="*/ 104 w 124"/>
                    <a:gd name="T27" fmla="*/ 50 h 78"/>
                    <a:gd name="T28" fmla="*/ 56 w 124"/>
                    <a:gd name="T29" fmla="*/ 78 h 78"/>
                    <a:gd name="T30" fmla="*/ 55 w 124"/>
                    <a:gd name="T31" fmla="*/ 78 h 78"/>
                    <a:gd name="T32" fmla="*/ 4 w 124"/>
                    <a:gd name="T33" fmla="*/ 44 h 78"/>
                    <a:gd name="T34" fmla="*/ 55 w 124"/>
                    <a:gd name="T35" fmla="*/ 74 h 78"/>
                    <a:gd name="T36" fmla="*/ 105 w 124"/>
                    <a:gd name="T37" fmla="*/ 45 h 78"/>
                    <a:gd name="T38" fmla="*/ 107 w 124"/>
                    <a:gd name="T39" fmla="*/ 45 h 78"/>
                    <a:gd name="T40" fmla="*/ 108 w 124"/>
                    <a:gd name="T41" fmla="*/ 45 h 78"/>
                    <a:gd name="T42" fmla="*/ 118 w 124"/>
                    <a:gd name="T43" fmla="*/ 40 h 78"/>
                    <a:gd name="T44" fmla="*/ 57 w 124"/>
                    <a:gd name="T45" fmla="*/ 4 h 78"/>
                    <a:gd name="T46" fmla="*/ 4 w 124"/>
                    <a:gd name="T47" fmla="*/ 35 h 78"/>
                    <a:gd name="T48" fmla="*/ 4 w 124"/>
                    <a:gd name="T49" fmla="*/ 44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4" h="78">
                      <a:moveTo>
                        <a:pt x="55" y="78"/>
                      </a:moveTo>
                      <a:cubicBezTo>
                        <a:pt x="54" y="78"/>
                        <a:pt x="54" y="78"/>
                        <a:pt x="54" y="78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0" y="47"/>
                        <a:pt x="0" y="46"/>
                        <a:pt x="0" y="46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33"/>
                        <a:pt x="0" y="32"/>
                        <a:pt x="1" y="32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7" y="0"/>
                        <a:pt x="58" y="0"/>
                      </a:cubicBezTo>
                      <a:cubicBezTo>
                        <a:pt x="123" y="38"/>
                        <a:pt x="123" y="38"/>
                        <a:pt x="123" y="38"/>
                      </a:cubicBezTo>
                      <a:cubicBezTo>
                        <a:pt x="124" y="38"/>
                        <a:pt x="124" y="39"/>
                        <a:pt x="124" y="40"/>
                      </a:cubicBezTo>
                      <a:cubicBezTo>
                        <a:pt x="124" y="40"/>
                        <a:pt x="124" y="41"/>
                        <a:pt x="123" y="41"/>
                      </a:cubicBezTo>
                      <a:cubicBezTo>
                        <a:pt x="107" y="51"/>
                        <a:pt x="107" y="51"/>
                        <a:pt x="107" y="51"/>
                      </a:cubicBezTo>
                      <a:cubicBezTo>
                        <a:pt x="106" y="51"/>
                        <a:pt x="105" y="51"/>
                        <a:pt x="105" y="51"/>
                      </a:cubicBezTo>
                      <a:cubicBezTo>
                        <a:pt x="104" y="50"/>
                        <a:pt x="104" y="50"/>
                        <a:pt x="104" y="50"/>
                      </a:cubicBezTo>
                      <a:cubicBezTo>
                        <a:pt x="56" y="78"/>
                        <a:pt x="56" y="78"/>
                        <a:pt x="56" y="78"/>
                      </a:cubicBezTo>
                      <a:cubicBezTo>
                        <a:pt x="55" y="78"/>
                        <a:pt x="55" y="78"/>
                        <a:pt x="55" y="78"/>
                      </a:cubicBezTo>
                      <a:close/>
                      <a:moveTo>
                        <a:pt x="4" y="44"/>
                      </a:moveTo>
                      <a:cubicBezTo>
                        <a:pt x="55" y="74"/>
                        <a:pt x="55" y="74"/>
                        <a:pt x="55" y="74"/>
                      </a:cubicBezTo>
                      <a:cubicBezTo>
                        <a:pt x="105" y="45"/>
                        <a:pt x="105" y="45"/>
                        <a:pt x="105" y="45"/>
                      </a:cubicBezTo>
                      <a:cubicBezTo>
                        <a:pt x="105" y="44"/>
                        <a:pt x="106" y="44"/>
                        <a:pt x="107" y="45"/>
                      </a:cubicBezTo>
                      <a:cubicBezTo>
                        <a:pt x="107" y="45"/>
                        <a:pt x="107" y="45"/>
                        <a:pt x="108" y="45"/>
                      </a:cubicBezTo>
                      <a:cubicBezTo>
                        <a:pt x="118" y="40"/>
                        <a:pt x="118" y="40"/>
                        <a:pt x="118" y="40"/>
                      </a:cubicBezTo>
                      <a:cubicBezTo>
                        <a:pt x="57" y="4"/>
                        <a:pt x="57" y="4"/>
                        <a:pt x="57" y="4"/>
                      </a:cubicBezTo>
                      <a:cubicBezTo>
                        <a:pt x="4" y="35"/>
                        <a:pt x="4" y="35"/>
                        <a:pt x="4" y="35"/>
                      </a:cubicBez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3" name="Freeform 846">
                  <a:extLst>
                    <a:ext uri="{FF2B5EF4-FFF2-40B4-BE49-F238E27FC236}">
                      <a16:creationId xmlns:a16="http://schemas.microsoft.com/office/drawing/2014/main" id="{4FF91EF0-E097-41DA-86E8-33214C1A5F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754"/>
                  <a:ext cx="83" cy="61"/>
                </a:xfrm>
                <a:custGeom>
                  <a:avLst/>
                  <a:gdLst>
                    <a:gd name="T0" fmla="*/ 2 w 35"/>
                    <a:gd name="T1" fmla="*/ 26 h 26"/>
                    <a:gd name="T2" fmla="*/ 1 w 35"/>
                    <a:gd name="T3" fmla="*/ 26 h 26"/>
                    <a:gd name="T4" fmla="*/ 0 w 35"/>
                    <a:gd name="T5" fmla="*/ 24 h 26"/>
                    <a:gd name="T6" fmla="*/ 0 w 35"/>
                    <a:gd name="T7" fmla="*/ 16 h 26"/>
                    <a:gd name="T8" fmla="*/ 1 w 35"/>
                    <a:gd name="T9" fmla="*/ 15 h 26"/>
                    <a:gd name="T10" fmla="*/ 26 w 35"/>
                    <a:gd name="T11" fmla="*/ 1 h 26"/>
                    <a:gd name="T12" fmla="*/ 28 w 35"/>
                    <a:gd name="T13" fmla="*/ 1 h 26"/>
                    <a:gd name="T14" fmla="*/ 34 w 35"/>
                    <a:gd name="T15" fmla="*/ 5 h 26"/>
                    <a:gd name="T16" fmla="*/ 35 w 35"/>
                    <a:gd name="T17" fmla="*/ 6 h 26"/>
                    <a:gd name="T18" fmla="*/ 34 w 35"/>
                    <a:gd name="T19" fmla="*/ 8 h 26"/>
                    <a:gd name="T20" fmla="*/ 3 w 35"/>
                    <a:gd name="T21" fmla="*/ 26 h 26"/>
                    <a:gd name="T22" fmla="*/ 2 w 35"/>
                    <a:gd name="T23" fmla="*/ 26 h 26"/>
                    <a:gd name="T24" fmla="*/ 4 w 35"/>
                    <a:gd name="T25" fmla="*/ 18 h 26"/>
                    <a:gd name="T26" fmla="*/ 4 w 35"/>
                    <a:gd name="T27" fmla="*/ 21 h 26"/>
                    <a:gd name="T28" fmla="*/ 29 w 35"/>
                    <a:gd name="T29" fmla="*/ 6 h 26"/>
                    <a:gd name="T30" fmla="*/ 27 w 35"/>
                    <a:gd name="T31" fmla="*/ 5 h 26"/>
                    <a:gd name="T32" fmla="*/ 4 w 35"/>
                    <a:gd name="T33" fmla="*/ 18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26">
                      <a:moveTo>
                        <a:pt x="2" y="26"/>
                      </a:moveTo>
                      <a:cubicBezTo>
                        <a:pt x="2" y="26"/>
                        <a:pt x="2" y="26"/>
                        <a:pt x="1" y="26"/>
                      </a:cubicBezTo>
                      <a:cubicBezTo>
                        <a:pt x="1" y="26"/>
                        <a:pt x="0" y="25"/>
                        <a:pt x="0" y="24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6"/>
                        <a:pt x="1" y="15"/>
                        <a:pt x="1" y="15"/>
                      </a:cubicBezTo>
                      <a:cubicBezTo>
                        <a:pt x="26" y="1"/>
                        <a:pt x="26" y="1"/>
                        <a:pt x="26" y="1"/>
                      </a:cubicBezTo>
                      <a:cubicBezTo>
                        <a:pt x="26" y="0"/>
                        <a:pt x="27" y="0"/>
                        <a:pt x="28" y="1"/>
                      </a:cubicBezTo>
                      <a:cubicBezTo>
                        <a:pt x="34" y="5"/>
                        <a:pt x="34" y="5"/>
                        <a:pt x="34" y="5"/>
                      </a:cubicBezTo>
                      <a:cubicBezTo>
                        <a:pt x="35" y="5"/>
                        <a:pt x="35" y="6"/>
                        <a:pt x="35" y="6"/>
                      </a:cubicBezTo>
                      <a:cubicBezTo>
                        <a:pt x="35" y="7"/>
                        <a:pt x="35" y="8"/>
                        <a:pt x="34" y="8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26"/>
                        <a:pt x="3" y="26"/>
                        <a:pt x="2" y="26"/>
                      </a:cubicBezTo>
                      <a:close/>
                      <a:moveTo>
                        <a:pt x="4" y="18"/>
                      </a:move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29" y="6"/>
                        <a:pt x="29" y="6"/>
                        <a:pt x="29" y="6"/>
                      </a:cubicBezTo>
                      <a:cubicBezTo>
                        <a:pt x="27" y="5"/>
                        <a:pt x="27" y="5"/>
                        <a:pt x="27" y="5"/>
                      </a:cubicBezTo>
                      <a:lnTo>
                        <a:pt x="4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4" name="Freeform 847">
                  <a:extLst>
                    <a:ext uri="{FF2B5EF4-FFF2-40B4-BE49-F238E27FC236}">
                      <a16:creationId xmlns:a16="http://schemas.microsoft.com/office/drawing/2014/main" id="{0DAEAF36-BA96-4BA5-83D0-F0AE05E60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75" y="1276"/>
                  <a:ext cx="108" cy="99"/>
                </a:xfrm>
                <a:custGeom>
                  <a:avLst/>
                  <a:gdLst>
                    <a:gd name="T0" fmla="*/ 44 w 46"/>
                    <a:gd name="T1" fmla="*/ 42 h 42"/>
                    <a:gd name="T2" fmla="*/ 43 w 46"/>
                    <a:gd name="T3" fmla="*/ 41 h 42"/>
                    <a:gd name="T4" fmla="*/ 1 w 46"/>
                    <a:gd name="T5" fmla="*/ 17 h 42"/>
                    <a:gd name="T6" fmla="*/ 0 w 46"/>
                    <a:gd name="T7" fmla="*/ 16 h 42"/>
                    <a:gd name="T8" fmla="*/ 1 w 46"/>
                    <a:gd name="T9" fmla="*/ 14 h 42"/>
                    <a:gd name="T10" fmla="*/ 26 w 46"/>
                    <a:gd name="T11" fmla="*/ 0 h 42"/>
                    <a:gd name="T12" fmla="*/ 28 w 46"/>
                    <a:gd name="T13" fmla="*/ 0 h 42"/>
                    <a:gd name="T14" fmla="*/ 45 w 46"/>
                    <a:gd name="T15" fmla="*/ 10 h 42"/>
                    <a:gd name="T16" fmla="*/ 46 w 46"/>
                    <a:gd name="T17" fmla="*/ 11 h 42"/>
                    <a:gd name="T18" fmla="*/ 46 w 46"/>
                    <a:gd name="T19" fmla="*/ 40 h 42"/>
                    <a:gd name="T20" fmla="*/ 45 w 46"/>
                    <a:gd name="T21" fmla="*/ 41 h 42"/>
                    <a:gd name="T22" fmla="*/ 44 w 46"/>
                    <a:gd name="T23" fmla="*/ 42 h 42"/>
                    <a:gd name="T24" fmla="*/ 6 w 46"/>
                    <a:gd name="T25" fmla="*/ 16 h 42"/>
                    <a:gd name="T26" fmla="*/ 42 w 46"/>
                    <a:gd name="T27" fmla="*/ 36 h 42"/>
                    <a:gd name="T28" fmla="*/ 42 w 46"/>
                    <a:gd name="T29" fmla="*/ 13 h 42"/>
                    <a:gd name="T30" fmla="*/ 27 w 46"/>
                    <a:gd name="T31" fmla="*/ 4 h 42"/>
                    <a:gd name="T32" fmla="*/ 6 w 46"/>
                    <a:gd name="T33" fmla="*/ 1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6" h="42">
                      <a:moveTo>
                        <a:pt x="44" y="42"/>
                      </a:moveTo>
                      <a:cubicBezTo>
                        <a:pt x="44" y="42"/>
                        <a:pt x="43" y="42"/>
                        <a:pt x="43" y="41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1" y="17"/>
                        <a:pt x="0" y="16"/>
                        <a:pt x="0" y="16"/>
                      </a:cubicBezTo>
                      <a:cubicBezTo>
                        <a:pt x="0" y="15"/>
                        <a:pt x="1" y="14"/>
                        <a:pt x="1" y="14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7" y="0"/>
                        <a:pt x="27" y="0"/>
                        <a:pt x="28" y="0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45" y="10"/>
                        <a:pt x="46" y="11"/>
                        <a:pt x="46" y="11"/>
                      </a:cubicBezTo>
                      <a:cubicBezTo>
                        <a:pt x="46" y="40"/>
                        <a:pt x="46" y="40"/>
                        <a:pt x="46" y="40"/>
                      </a:cubicBezTo>
                      <a:cubicBezTo>
                        <a:pt x="46" y="40"/>
                        <a:pt x="45" y="41"/>
                        <a:pt x="45" y="41"/>
                      </a:cubicBezTo>
                      <a:cubicBezTo>
                        <a:pt x="45" y="42"/>
                        <a:pt x="44" y="42"/>
                        <a:pt x="44" y="42"/>
                      </a:cubicBezTo>
                      <a:close/>
                      <a:moveTo>
                        <a:pt x="6" y="16"/>
                      </a:moveTo>
                      <a:cubicBezTo>
                        <a:pt x="42" y="36"/>
                        <a:pt x="42" y="36"/>
                        <a:pt x="42" y="36"/>
                      </a:cubicBezTo>
                      <a:cubicBezTo>
                        <a:pt x="42" y="13"/>
                        <a:pt x="42" y="13"/>
                        <a:pt x="42" y="13"/>
                      </a:cubicBezTo>
                      <a:cubicBezTo>
                        <a:pt x="27" y="4"/>
                        <a:pt x="27" y="4"/>
                        <a:pt x="27" y="4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5" name="Freeform 848">
                  <a:extLst>
                    <a:ext uri="{FF2B5EF4-FFF2-40B4-BE49-F238E27FC236}">
                      <a16:creationId xmlns:a16="http://schemas.microsoft.com/office/drawing/2014/main" id="{0DD1FC93-B512-44E9-818C-F28E1EA985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1238"/>
                  <a:ext cx="80" cy="113"/>
                </a:xfrm>
                <a:custGeom>
                  <a:avLst/>
                  <a:gdLst>
                    <a:gd name="T0" fmla="*/ 4 w 34"/>
                    <a:gd name="T1" fmla="*/ 48 h 48"/>
                    <a:gd name="T2" fmla="*/ 3 w 34"/>
                    <a:gd name="T3" fmla="*/ 48 h 48"/>
                    <a:gd name="T4" fmla="*/ 1 w 34"/>
                    <a:gd name="T5" fmla="*/ 46 h 48"/>
                    <a:gd name="T6" fmla="*/ 0 w 34"/>
                    <a:gd name="T7" fmla="*/ 45 h 48"/>
                    <a:gd name="T8" fmla="*/ 0 w 34"/>
                    <a:gd name="T9" fmla="*/ 2 h 48"/>
                    <a:gd name="T10" fmla="*/ 1 w 34"/>
                    <a:gd name="T11" fmla="*/ 1 h 48"/>
                    <a:gd name="T12" fmla="*/ 3 w 34"/>
                    <a:gd name="T13" fmla="*/ 1 h 48"/>
                    <a:gd name="T14" fmla="*/ 33 w 34"/>
                    <a:gd name="T15" fmla="*/ 18 h 48"/>
                    <a:gd name="T16" fmla="*/ 34 w 34"/>
                    <a:gd name="T17" fmla="*/ 20 h 48"/>
                    <a:gd name="T18" fmla="*/ 34 w 34"/>
                    <a:gd name="T19" fmla="*/ 30 h 48"/>
                    <a:gd name="T20" fmla="*/ 33 w 34"/>
                    <a:gd name="T21" fmla="*/ 32 h 48"/>
                    <a:gd name="T22" fmla="*/ 5 w 34"/>
                    <a:gd name="T23" fmla="*/ 48 h 48"/>
                    <a:gd name="T24" fmla="*/ 4 w 34"/>
                    <a:gd name="T25" fmla="*/ 48 h 48"/>
                    <a:gd name="T26" fmla="*/ 4 w 34"/>
                    <a:gd name="T27" fmla="*/ 44 h 48"/>
                    <a:gd name="T28" fmla="*/ 4 w 34"/>
                    <a:gd name="T29" fmla="*/ 44 h 48"/>
                    <a:gd name="T30" fmla="*/ 30 w 34"/>
                    <a:gd name="T31" fmla="*/ 29 h 48"/>
                    <a:gd name="T32" fmla="*/ 30 w 34"/>
                    <a:gd name="T33" fmla="*/ 21 h 48"/>
                    <a:gd name="T34" fmla="*/ 4 w 34"/>
                    <a:gd name="T35" fmla="*/ 6 h 48"/>
                    <a:gd name="T36" fmla="*/ 4 w 34"/>
                    <a:gd name="T37" fmla="*/ 44 h 48"/>
                    <a:gd name="T38" fmla="*/ 32 w 34"/>
                    <a:gd name="T39" fmla="*/ 30 h 48"/>
                    <a:gd name="T40" fmla="*/ 32 w 34"/>
                    <a:gd name="T41" fmla="*/ 3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48">
                      <a:moveTo>
                        <a:pt x="4" y="48"/>
                      </a:moveTo>
                      <a:cubicBezTo>
                        <a:pt x="4" y="48"/>
                        <a:pt x="4" y="48"/>
                        <a:pt x="3" y="48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6"/>
                        <a:pt x="0" y="45"/>
                        <a:pt x="0" y="4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8"/>
                        <a:pt x="34" y="19"/>
                        <a:pt x="34" y="20"/>
                      </a:cubicBezTo>
                      <a:cubicBezTo>
                        <a:pt x="34" y="30"/>
                        <a:pt x="34" y="30"/>
                        <a:pt x="34" y="30"/>
                      </a:cubicBezTo>
                      <a:cubicBezTo>
                        <a:pt x="34" y="31"/>
                        <a:pt x="34" y="31"/>
                        <a:pt x="33" y="32"/>
                      </a:cubicBezTo>
                      <a:cubicBezTo>
                        <a:pt x="5" y="48"/>
                        <a:pt x="5" y="48"/>
                        <a:pt x="5" y="48"/>
                      </a:cubicBezTo>
                      <a:cubicBezTo>
                        <a:pt x="5" y="48"/>
                        <a:pt x="5" y="48"/>
                        <a:pt x="4" y="48"/>
                      </a:cubicBezTo>
                      <a:close/>
                      <a:moveTo>
                        <a:pt x="4" y="44"/>
                      </a:move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30" y="29"/>
                        <a:pt x="30" y="29"/>
                        <a:pt x="30" y="29"/>
                      </a:cubicBezTo>
                      <a:cubicBezTo>
                        <a:pt x="30" y="21"/>
                        <a:pt x="30" y="21"/>
                        <a:pt x="30" y="21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44"/>
                      </a:lnTo>
                      <a:close/>
                      <a:moveTo>
                        <a:pt x="32" y="30"/>
                      </a:moveTo>
                      <a:cubicBezTo>
                        <a:pt x="32" y="30"/>
                        <a:pt x="32" y="30"/>
                        <a:pt x="32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6" name="Freeform 849">
                  <a:extLst>
                    <a:ext uri="{FF2B5EF4-FFF2-40B4-BE49-F238E27FC236}">
                      <a16:creationId xmlns:a16="http://schemas.microsoft.com/office/drawing/2014/main" id="{38DF53BA-F360-494F-8B10-E9EF68CA44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53" y="1207"/>
                  <a:ext cx="104" cy="140"/>
                </a:xfrm>
                <a:custGeom>
                  <a:avLst/>
                  <a:gdLst>
                    <a:gd name="T0" fmla="*/ 42 w 44"/>
                    <a:gd name="T1" fmla="*/ 59 h 59"/>
                    <a:gd name="T2" fmla="*/ 41 w 44"/>
                    <a:gd name="T3" fmla="*/ 58 h 59"/>
                    <a:gd name="T4" fmla="*/ 12 w 44"/>
                    <a:gd name="T5" fmla="*/ 41 h 59"/>
                    <a:gd name="T6" fmla="*/ 11 w 44"/>
                    <a:gd name="T7" fmla="*/ 39 h 59"/>
                    <a:gd name="T8" fmla="*/ 11 w 44"/>
                    <a:gd name="T9" fmla="*/ 20 h 59"/>
                    <a:gd name="T10" fmla="*/ 1 w 44"/>
                    <a:gd name="T11" fmla="*/ 14 h 59"/>
                    <a:gd name="T12" fmla="*/ 0 w 44"/>
                    <a:gd name="T13" fmla="*/ 12 h 59"/>
                    <a:gd name="T14" fmla="*/ 1 w 44"/>
                    <a:gd name="T15" fmla="*/ 10 h 59"/>
                    <a:gd name="T16" fmla="*/ 19 w 44"/>
                    <a:gd name="T17" fmla="*/ 0 h 59"/>
                    <a:gd name="T18" fmla="*/ 21 w 44"/>
                    <a:gd name="T19" fmla="*/ 0 h 59"/>
                    <a:gd name="T20" fmla="*/ 43 w 44"/>
                    <a:gd name="T21" fmla="*/ 13 h 59"/>
                    <a:gd name="T22" fmla="*/ 44 w 44"/>
                    <a:gd name="T23" fmla="*/ 14 h 59"/>
                    <a:gd name="T24" fmla="*/ 44 w 44"/>
                    <a:gd name="T25" fmla="*/ 57 h 59"/>
                    <a:gd name="T26" fmla="*/ 43 w 44"/>
                    <a:gd name="T27" fmla="*/ 58 h 59"/>
                    <a:gd name="T28" fmla="*/ 42 w 44"/>
                    <a:gd name="T29" fmla="*/ 59 h 59"/>
                    <a:gd name="T30" fmla="*/ 15 w 44"/>
                    <a:gd name="T31" fmla="*/ 38 h 59"/>
                    <a:gd name="T32" fmla="*/ 40 w 44"/>
                    <a:gd name="T33" fmla="*/ 53 h 59"/>
                    <a:gd name="T34" fmla="*/ 40 w 44"/>
                    <a:gd name="T35" fmla="*/ 16 h 59"/>
                    <a:gd name="T36" fmla="*/ 20 w 44"/>
                    <a:gd name="T37" fmla="*/ 4 h 59"/>
                    <a:gd name="T38" fmla="*/ 6 w 44"/>
                    <a:gd name="T39" fmla="*/ 12 h 59"/>
                    <a:gd name="T40" fmla="*/ 14 w 44"/>
                    <a:gd name="T41" fmla="*/ 17 h 59"/>
                    <a:gd name="T42" fmla="*/ 15 w 44"/>
                    <a:gd name="T43" fmla="*/ 18 h 59"/>
                    <a:gd name="T44" fmla="*/ 15 w 44"/>
                    <a:gd name="T45" fmla="*/ 38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4" h="59">
                      <a:moveTo>
                        <a:pt x="42" y="59"/>
                      </a:moveTo>
                      <a:cubicBezTo>
                        <a:pt x="42" y="59"/>
                        <a:pt x="42" y="59"/>
                        <a:pt x="41" y="58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1" y="41"/>
                        <a:pt x="11" y="40"/>
                        <a:pt x="11" y="39"/>
                      </a:cubicBezTo>
                      <a:cubicBezTo>
                        <a:pt x="11" y="20"/>
                        <a:pt x="11" y="20"/>
                        <a:pt x="11" y="20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0" y="14"/>
                        <a:pt x="0" y="13"/>
                        <a:pt x="0" y="12"/>
                      </a:cubicBezTo>
                      <a:cubicBezTo>
                        <a:pt x="0" y="12"/>
                        <a:pt x="0" y="11"/>
                        <a:pt x="1" y="1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1" y="0"/>
                        <a:pt x="21" y="0"/>
                      </a:cubicBezTo>
                      <a:cubicBezTo>
                        <a:pt x="43" y="13"/>
                        <a:pt x="43" y="13"/>
                        <a:pt x="43" y="13"/>
                      </a:cubicBezTo>
                      <a:cubicBezTo>
                        <a:pt x="44" y="13"/>
                        <a:pt x="44" y="14"/>
                        <a:pt x="44" y="14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44" y="57"/>
                        <a:pt x="44" y="58"/>
                        <a:pt x="43" y="58"/>
                      </a:cubicBezTo>
                      <a:cubicBezTo>
                        <a:pt x="43" y="59"/>
                        <a:pt x="43" y="59"/>
                        <a:pt x="42" y="59"/>
                      </a:cubicBezTo>
                      <a:close/>
                      <a:moveTo>
                        <a:pt x="15" y="38"/>
                      </a:moveTo>
                      <a:cubicBezTo>
                        <a:pt x="40" y="53"/>
                        <a:pt x="40" y="53"/>
                        <a:pt x="40" y="53"/>
                      </a:cubicBezTo>
                      <a:cubicBezTo>
                        <a:pt x="40" y="16"/>
                        <a:pt x="40" y="16"/>
                        <a:pt x="40" y="16"/>
                      </a:cubicBezTo>
                      <a:cubicBezTo>
                        <a:pt x="20" y="4"/>
                        <a:pt x="20" y="4"/>
                        <a:pt x="20" y="4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4" y="17"/>
                        <a:pt x="15" y="18"/>
                        <a:pt x="15" y="18"/>
                      </a:cubicBezTo>
                      <a:lnTo>
                        <a:pt x="15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7" name="Freeform 850">
                  <a:extLst>
                    <a:ext uri="{FF2B5EF4-FFF2-40B4-BE49-F238E27FC236}">
                      <a16:creationId xmlns:a16="http://schemas.microsoft.com/office/drawing/2014/main" id="{D1467AFC-969B-494D-B469-6384D0790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1165"/>
                  <a:ext cx="80" cy="120"/>
                </a:xfrm>
                <a:custGeom>
                  <a:avLst/>
                  <a:gdLst>
                    <a:gd name="T0" fmla="*/ 32 w 34"/>
                    <a:gd name="T1" fmla="*/ 51 h 51"/>
                    <a:gd name="T2" fmla="*/ 31 w 34"/>
                    <a:gd name="T3" fmla="*/ 51 h 51"/>
                    <a:gd name="T4" fmla="*/ 1 w 34"/>
                    <a:gd name="T5" fmla="*/ 33 h 51"/>
                    <a:gd name="T6" fmla="*/ 0 w 34"/>
                    <a:gd name="T7" fmla="*/ 31 h 51"/>
                    <a:gd name="T8" fmla="*/ 0 w 34"/>
                    <a:gd name="T9" fmla="*/ 17 h 51"/>
                    <a:gd name="T10" fmla="*/ 1 w 34"/>
                    <a:gd name="T11" fmla="*/ 15 h 51"/>
                    <a:gd name="T12" fmla="*/ 16 w 34"/>
                    <a:gd name="T13" fmla="*/ 7 h 51"/>
                    <a:gd name="T14" fmla="*/ 18 w 34"/>
                    <a:gd name="T15" fmla="*/ 7 h 51"/>
                    <a:gd name="T16" fmla="*/ 19 w 34"/>
                    <a:gd name="T17" fmla="*/ 8 h 51"/>
                    <a:gd name="T18" fmla="*/ 31 w 34"/>
                    <a:gd name="T19" fmla="*/ 0 h 51"/>
                    <a:gd name="T20" fmla="*/ 33 w 34"/>
                    <a:gd name="T21" fmla="*/ 0 h 51"/>
                    <a:gd name="T22" fmla="*/ 34 w 34"/>
                    <a:gd name="T23" fmla="*/ 2 h 51"/>
                    <a:gd name="T24" fmla="*/ 34 w 34"/>
                    <a:gd name="T25" fmla="*/ 49 h 51"/>
                    <a:gd name="T26" fmla="*/ 33 w 34"/>
                    <a:gd name="T27" fmla="*/ 51 h 51"/>
                    <a:gd name="T28" fmla="*/ 32 w 34"/>
                    <a:gd name="T29" fmla="*/ 51 h 51"/>
                    <a:gd name="T30" fmla="*/ 4 w 34"/>
                    <a:gd name="T31" fmla="*/ 30 h 51"/>
                    <a:gd name="T32" fmla="*/ 30 w 34"/>
                    <a:gd name="T33" fmla="*/ 46 h 51"/>
                    <a:gd name="T34" fmla="*/ 30 w 34"/>
                    <a:gd name="T35" fmla="*/ 6 h 51"/>
                    <a:gd name="T36" fmla="*/ 20 w 34"/>
                    <a:gd name="T37" fmla="*/ 12 h 51"/>
                    <a:gd name="T38" fmla="*/ 18 w 34"/>
                    <a:gd name="T39" fmla="*/ 12 h 51"/>
                    <a:gd name="T40" fmla="*/ 17 w 34"/>
                    <a:gd name="T41" fmla="*/ 11 h 51"/>
                    <a:gd name="T42" fmla="*/ 4 w 34"/>
                    <a:gd name="T43" fmla="*/ 18 h 51"/>
                    <a:gd name="T44" fmla="*/ 4 w 34"/>
                    <a:gd name="T45" fmla="*/ 3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4" h="51">
                      <a:moveTo>
                        <a:pt x="32" y="51"/>
                      </a:moveTo>
                      <a:cubicBezTo>
                        <a:pt x="32" y="51"/>
                        <a:pt x="32" y="51"/>
                        <a:pt x="31" y="51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0" y="33"/>
                        <a:pt x="0" y="32"/>
                        <a:pt x="0" y="31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0" y="16"/>
                        <a:pt x="1" y="15"/>
                      </a:cubicBez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16" y="7"/>
                        <a:pt x="17" y="7"/>
                        <a:pt x="18" y="7"/>
                      </a:cubicBezTo>
                      <a:cubicBezTo>
                        <a:pt x="19" y="8"/>
                        <a:pt x="19" y="8"/>
                        <a:pt x="19" y="8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2" y="0"/>
                        <a:pt x="33" y="0"/>
                        <a:pt x="33" y="0"/>
                      </a:cubicBezTo>
                      <a:cubicBezTo>
                        <a:pt x="34" y="1"/>
                        <a:pt x="34" y="1"/>
                        <a:pt x="34" y="2"/>
                      </a:cubicBezTo>
                      <a:cubicBezTo>
                        <a:pt x="34" y="49"/>
                        <a:pt x="34" y="49"/>
                        <a:pt x="34" y="49"/>
                      </a:cubicBezTo>
                      <a:cubicBezTo>
                        <a:pt x="34" y="50"/>
                        <a:pt x="34" y="50"/>
                        <a:pt x="33" y="51"/>
                      </a:cubicBezTo>
                      <a:cubicBezTo>
                        <a:pt x="33" y="51"/>
                        <a:pt x="33" y="51"/>
                        <a:pt x="32" y="51"/>
                      </a:cubicBezTo>
                      <a:close/>
                      <a:moveTo>
                        <a:pt x="4" y="30"/>
                      </a:move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19" y="12"/>
                        <a:pt x="18" y="12"/>
                        <a:pt x="18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8" name="Freeform 851">
                  <a:extLst>
                    <a:ext uri="{FF2B5EF4-FFF2-40B4-BE49-F238E27FC236}">
                      <a16:creationId xmlns:a16="http://schemas.microsoft.com/office/drawing/2014/main" id="{73AE7C9C-83C8-4244-A691-5C4E0343D75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051" y="1543"/>
                  <a:ext cx="61" cy="68"/>
                </a:xfrm>
                <a:custGeom>
                  <a:avLst/>
                  <a:gdLst>
                    <a:gd name="T0" fmla="*/ 24 w 26"/>
                    <a:gd name="T1" fmla="*/ 29 h 29"/>
                    <a:gd name="T2" fmla="*/ 23 w 26"/>
                    <a:gd name="T3" fmla="*/ 29 h 29"/>
                    <a:gd name="T4" fmla="*/ 1 w 26"/>
                    <a:gd name="T5" fmla="*/ 17 h 29"/>
                    <a:gd name="T6" fmla="*/ 0 w 26"/>
                    <a:gd name="T7" fmla="*/ 15 h 29"/>
                    <a:gd name="T8" fmla="*/ 1 w 26"/>
                    <a:gd name="T9" fmla="*/ 13 h 29"/>
                    <a:gd name="T10" fmla="*/ 23 w 26"/>
                    <a:gd name="T11" fmla="*/ 1 h 29"/>
                    <a:gd name="T12" fmla="*/ 25 w 26"/>
                    <a:gd name="T13" fmla="*/ 1 h 29"/>
                    <a:gd name="T14" fmla="*/ 26 w 26"/>
                    <a:gd name="T15" fmla="*/ 2 h 29"/>
                    <a:gd name="T16" fmla="*/ 26 w 26"/>
                    <a:gd name="T17" fmla="*/ 27 h 29"/>
                    <a:gd name="T18" fmla="*/ 25 w 26"/>
                    <a:gd name="T19" fmla="*/ 29 h 29"/>
                    <a:gd name="T20" fmla="*/ 24 w 26"/>
                    <a:gd name="T21" fmla="*/ 29 h 29"/>
                    <a:gd name="T22" fmla="*/ 6 w 26"/>
                    <a:gd name="T23" fmla="*/ 15 h 29"/>
                    <a:gd name="T24" fmla="*/ 22 w 26"/>
                    <a:gd name="T25" fmla="*/ 24 h 29"/>
                    <a:gd name="T26" fmla="*/ 22 w 26"/>
                    <a:gd name="T27" fmla="*/ 6 h 29"/>
                    <a:gd name="T28" fmla="*/ 6 w 26"/>
                    <a:gd name="T29" fmla="*/ 1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6" h="29">
                      <a:moveTo>
                        <a:pt x="24" y="29"/>
                      </a:moveTo>
                      <a:cubicBezTo>
                        <a:pt x="24" y="29"/>
                        <a:pt x="23" y="29"/>
                        <a:pt x="23" y="29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1" y="16"/>
                        <a:pt x="0" y="16"/>
                        <a:pt x="0" y="15"/>
                      </a:cubicBezTo>
                      <a:cubicBezTo>
                        <a:pt x="0" y="14"/>
                        <a:pt x="1" y="13"/>
                        <a:pt x="1" y="13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4" y="0"/>
                        <a:pt x="24" y="0"/>
                        <a:pt x="25" y="1"/>
                      </a:cubicBezTo>
                      <a:cubicBezTo>
                        <a:pt x="26" y="1"/>
                        <a:pt x="26" y="2"/>
                        <a:pt x="26" y="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28"/>
                        <a:pt x="26" y="29"/>
                        <a:pt x="25" y="29"/>
                      </a:cubicBezTo>
                      <a:cubicBezTo>
                        <a:pt x="25" y="29"/>
                        <a:pt x="24" y="29"/>
                        <a:pt x="24" y="29"/>
                      </a:cubicBezTo>
                      <a:close/>
                      <a:moveTo>
                        <a:pt x="6" y="15"/>
                      </a:moveTo>
                      <a:cubicBezTo>
                        <a:pt x="22" y="24"/>
                        <a:pt x="22" y="24"/>
                        <a:pt x="22" y="24"/>
                      </a:cubicBezTo>
                      <a:cubicBezTo>
                        <a:pt x="22" y="6"/>
                        <a:pt x="22" y="6"/>
                        <a:pt x="22" y="6"/>
                      </a:cubicBezTo>
                      <a:lnTo>
                        <a:pt x="6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9" name="Freeform 852">
                  <a:extLst>
                    <a:ext uri="{FF2B5EF4-FFF2-40B4-BE49-F238E27FC236}">
                      <a16:creationId xmlns:a16="http://schemas.microsoft.com/office/drawing/2014/main" id="{06DF21A0-2538-4481-BA82-906B39D5E5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08" y="1524"/>
                  <a:ext cx="42" cy="108"/>
                </a:xfrm>
                <a:custGeom>
                  <a:avLst/>
                  <a:gdLst>
                    <a:gd name="T0" fmla="*/ 16 w 18"/>
                    <a:gd name="T1" fmla="*/ 46 h 46"/>
                    <a:gd name="T2" fmla="*/ 15 w 18"/>
                    <a:gd name="T3" fmla="*/ 46 h 46"/>
                    <a:gd name="T4" fmla="*/ 1 w 18"/>
                    <a:gd name="T5" fmla="*/ 38 h 46"/>
                    <a:gd name="T6" fmla="*/ 0 w 18"/>
                    <a:gd name="T7" fmla="*/ 36 h 46"/>
                    <a:gd name="T8" fmla="*/ 0 w 18"/>
                    <a:gd name="T9" fmla="*/ 9 h 46"/>
                    <a:gd name="T10" fmla="*/ 1 w 18"/>
                    <a:gd name="T11" fmla="*/ 8 h 46"/>
                    <a:gd name="T12" fmla="*/ 13 w 18"/>
                    <a:gd name="T13" fmla="*/ 0 h 46"/>
                    <a:gd name="T14" fmla="*/ 15 w 18"/>
                    <a:gd name="T15" fmla="*/ 0 h 46"/>
                    <a:gd name="T16" fmla="*/ 17 w 18"/>
                    <a:gd name="T17" fmla="*/ 1 h 46"/>
                    <a:gd name="T18" fmla="*/ 18 w 18"/>
                    <a:gd name="T19" fmla="*/ 3 h 46"/>
                    <a:gd name="T20" fmla="*/ 18 w 18"/>
                    <a:gd name="T21" fmla="*/ 44 h 46"/>
                    <a:gd name="T22" fmla="*/ 17 w 18"/>
                    <a:gd name="T23" fmla="*/ 46 h 46"/>
                    <a:gd name="T24" fmla="*/ 16 w 18"/>
                    <a:gd name="T25" fmla="*/ 46 h 46"/>
                    <a:gd name="T26" fmla="*/ 4 w 18"/>
                    <a:gd name="T27" fmla="*/ 35 h 46"/>
                    <a:gd name="T28" fmla="*/ 14 w 18"/>
                    <a:gd name="T29" fmla="*/ 41 h 46"/>
                    <a:gd name="T30" fmla="*/ 14 w 18"/>
                    <a:gd name="T31" fmla="*/ 5 h 46"/>
                    <a:gd name="T32" fmla="*/ 4 w 18"/>
                    <a:gd name="T33" fmla="*/ 11 h 46"/>
                    <a:gd name="T34" fmla="*/ 4 w 18"/>
                    <a:gd name="T35" fmla="*/ 35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8" h="46">
                      <a:moveTo>
                        <a:pt x="16" y="46"/>
                      </a:moveTo>
                      <a:cubicBezTo>
                        <a:pt x="15" y="46"/>
                        <a:pt x="15" y="46"/>
                        <a:pt x="15" y="46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6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8"/>
                        <a:pt x="1" y="8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5" y="0"/>
                        <a:pt x="15" y="0"/>
                      </a:cubicBezTo>
                      <a:cubicBezTo>
                        <a:pt x="17" y="1"/>
                        <a:pt x="17" y="1"/>
                        <a:pt x="17" y="1"/>
                      </a:cubicBezTo>
                      <a:cubicBezTo>
                        <a:pt x="17" y="2"/>
                        <a:pt x="18" y="2"/>
                        <a:pt x="18" y="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5"/>
                        <a:pt x="17" y="46"/>
                        <a:pt x="17" y="46"/>
                      </a:cubicBezTo>
                      <a:cubicBezTo>
                        <a:pt x="16" y="46"/>
                        <a:pt x="16" y="46"/>
                        <a:pt x="16" y="46"/>
                      </a:cubicBezTo>
                      <a:close/>
                      <a:moveTo>
                        <a:pt x="4" y="35"/>
                      </a:move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4" y="11"/>
                        <a:pt x="4" y="11"/>
                        <a:pt x="4" y="11"/>
                      </a:cubicBezTo>
                      <a:lnTo>
                        <a:pt x="4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0" name="Freeform 853">
                  <a:extLst>
                    <a:ext uri="{FF2B5EF4-FFF2-40B4-BE49-F238E27FC236}">
                      <a16:creationId xmlns:a16="http://schemas.microsoft.com/office/drawing/2014/main" id="{3180B336-0957-40FA-BD4C-0D6EFE9233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08" y="1609"/>
                  <a:ext cx="40" cy="45"/>
                </a:xfrm>
                <a:custGeom>
                  <a:avLst/>
                  <a:gdLst>
                    <a:gd name="T0" fmla="*/ 2 w 17"/>
                    <a:gd name="T1" fmla="*/ 19 h 19"/>
                    <a:gd name="T2" fmla="*/ 1 w 17"/>
                    <a:gd name="T3" fmla="*/ 19 h 19"/>
                    <a:gd name="T4" fmla="*/ 0 w 17"/>
                    <a:gd name="T5" fmla="*/ 17 h 19"/>
                    <a:gd name="T6" fmla="*/ 0 w 17"/>
                    <a:gd name="T7" fmla="*/ 2 h 19"/>
                    <a:gd name="T8" fmla="*/ 1 w 17"/>
                    <a:gd name="T9" fmla="*/ 0 h 19"/>
                    <a:gd name="T10" fmla="*/ 3 w 17"/>
                    <a:gd name="T11" fmla="*/ 0 h 19"/>
                    <a:gd name="T12" fmla="*/ 16 w 17"/>
                    <a:gd name="T13" fmla="*/ 8 h 19"/>
                    <a:gd name="T14" fmla="*/ 17 w 17"/>
                    <a:gd name="T15" fmla="*/ 10 h 19"/>
                    <a:gd name="T16" fmla="*/ 16 w 17"/>
                    <a:gd name="T17" fmla="*/ 11 h 19"/>
                    <a:gd name="T18" fmla="*/ 3 w 17"/>
                    <a:gd name="T19" fmla="*/ 19 h 19"/>
                    <a:gd name="T20" fmla="*/ 2 w 17"/>
                    <a:gd name="T21" fmla="*/ 19 h 19"/>
                    <a:gd name="T22" fmla="*/ 4 w 17"/>
                    <a:gd name="T23" fmla="*/ 6 h 19"/>
                    <a:gd name="T24" fmla="*/ 4 w 17"/>
                    <a:gd name="T25" fmla="*/ 13 h 19"/>
                    <a:gd name="T26" fmla="*/ 11 w 17"/>
                    <a:gd name="T27" fmla="*/ 10 h 19"/>
                    <a:gd name="T28" fmla="*/ 4 w 17"/>
                    <a:gd name="T29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9">
                      <a:moveTo>
                        <a:pt x="2" y="19"/>
                      </a:move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0" y="18"/>
                        <a:pt x="0" y="18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8"/>
                        <a:pt x="17" y="9"/>
                        <a:pt x="17" y="10"/>
                      </a:cubicBezTo>
                      <a:cubicBezTo>
                        <a:pt x="17" y="10"/>
                        <a:pt x="16" y="11"/>
                        <a:pt x="16" y="1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lose/>
                      <a:moveTo>
                        <a:pt x="4" y="6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1" name="Freeform 854">
                  <a:extLst>
                    <a:ext uri="{FF2B5EF4-FFF2-40B4-BE49-F238E27FC236}">
                      <a16:creationId xmlns:a16="http://schemas.microsoft.com/office/drawing/2014/main" id="{FAFE68F6-C6C6-4FA2-9486-C9C1653FE1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90" y="1160"/>
                  <a:ext cx="42" cy="28"/>
                </a:xfrm>
                <a:custGeom>
                  <a:avLst/>
                  <a:gdLst>
                    <a:gd name="T0" fmla="*/ 3 w 18"/>
                    <a:gd name="T1" fmla="*/ 12 h 12"/>
                    <a:gd name="T2" fmla="*/ 2 w 18"/>
                    <a:gd name="T3" fmla="*/ 12 h 12"/>
                    <a:gd name="T4" fmla="*/ 1 w 18"/>
                    <a:gd name="T5" fmla="*/ 12 h 12"/>
                    <a:gd name="T6" fmla="*/ 0 w 18"/>
                    <a:gd name="T7" fmla="*/ 10 h 12"/>
                    <a:gd name="T8" fmla="*/ 1 w 18"/>
                    <a:gd name="T9" fmla="*/ 8 h 12"/>
                    <a:gd name="T10" fmla="*/ 15 w 18"/>
                    <a:gd name="T11" fmla="*/ 0 h 12"/>
                    <a:gd name="T12" fmla="*/ 17 w 18"/>
                    <a:gd name="T13" fmla="*/ 0 h 12"/>
                    <a:gd name="T14" fmla="*/ 18 w 18"/>
                    <a:gd name="T15" fmla="*/ 2 h 12"/>
                    <a:gd name="T16" fmla="*/ 18 w 18"/>
                    <a:gd name="T17" fmla="*/ 2 h 12"/>
                    <a:gd name="T18" fmla="*/ 17 w 18"/>
                    <a:gd name="T19" fmla="*/ 4 h 12"/>
                    <a:gd name="T20" fmla="*/ 4 w 18"/>
                    <a:gd name="T21" fmla="*/ 12 h 12"/>
                    <a:gd name="T22" fmla="*/ 3 w 18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12">
                      <a:moveTo>
                        <a:pt x="3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1"/>
                        <a:pt x="0" y="11"/>
                        <a:pt x="0" y="10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6" y="0"/>
                        <a:pt x="17" y="0"/>
                        <a:pt x="17" y="0"/>
                      </a:cubicBezTo>
                      <a:cubicBezTo>
                        <a:pt x="18" y="0"/>
                        <a:pt x="18" y="1"/>
                        <a:pt x="18" y="2"/>
                      </a:cubicBez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8" y="3"/>
                        <a:pt x="18" y="4"/>
                        <a:pt x="17" y="4"/>
                      </a:cubicBezTo>
                      <a:cubicBezTo>
                        <a:pt x="4" y="12"/>
                        <a:pt x="4" y="12"/>
                        <a:pt x="4" y="12"/>
                      </a:cubicBezTo>
                      <a:cubicBezTo>
                        <a:pt x="3" y="12"/>
                        <a:pt x="3" y="12"/>
                        <a:pt x="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2" name="Freeform 855">
                  <a:extLst>
                    <a:ext uri="{FF2B5EF4-FFF2-40B4-BE49-F238E27FC236}">
                      <a16:creationId xmlns:a16="http://schemas.microsoft.com/office/drawing/2014/main" id="{C8FBF6D9-A88E-4729-B9E7-C669E0B47C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31" y="739"/>
                  <a:ext cx="130" cy="90"/>
                </a:xfrm>
                <a:custGeom>
                  <a:avLst/>
                  <a:gdLst>
                    <a:gd name="T0" fmla="*/ 2 w 55"/>
                    <a:gd name="T1" fmla="*/ 38 h 38"/>
                    <a:gd name="T2" fmla="*/ 1 w 55"/>
                    <a:gd name="T3" fmla="*/ 38 h 38"/>
                    <a:gd name="T4" fmla="*/ 0 w 55"/>
                    <a:gd name="T5" fmla="*/ 36 h 38"/>
                    <a:gd name="T6" fmla="*/ 0 w 55"/>
                    <a:gd name="T7" fmla="*/ 32 h 38"/>
                    <a:gd name="T8" fmla="*/ 1 w 55"/>
                    <a:gd name="T9" fmla="*/ 30 h 38"/>
                    <a:gd name="T10" fmla="*/ 52 w 55"/>
                    <a:gd name="T11" fmla="*/ 0 h 38"/>
                    <a:gd name="T12" fmla="*/ 54 w 55"/>
                    <a:gd name="T13" fmla="*/ 0 h 38"/>
                    <a:gd name="T14" fmla="*/ 55 w 55"/>
                    <a:gd name="T15" fmla="*/ 2 h 38"/>
                    <a:gd name="T16" fmla="*/ 55 w 55"/>
                    <a:gd name="T17" fmla="*/ 7 h 38"/>
                    <a:gd name="T18" fmla="*/ 54 w 55"/>
                    <a:gd name="T19" fmla="*/ 8 h 38"/>
                    <a:gd name="T20" fmla="*/ 3 w 55"/>
                    <a:gd name="T21" fmla="*/ 38 h 38"/>
                    <a:gd name="T22" fmla="*/ 2 w 55"/>
                    <a:gd name="T23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" h="38">
                      <a:moveTo>
                        <a:pt x="2" y="38"/>
                      </a:move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6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0" y="30"/>
                        <a:pt x="1" y="3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3" y="0"/>
                        <a:pt x="53" y="0"/>
                        <a:pt x="54" y="0"/>
                      </a:cubicBezTo>
                      <a:cubicBezTo>
                        <a:pt x="55" y="1"/>
                        <a:pt x="55" y="1"/>
                        <a:pt x="55" y="2"/>
                      </a:cubicBezTo>
                      <a:cubicBezTo>
                        <a:pt x="55" y="7"/>
                        <a:pt x="55" y="7"/>
                        <a:pt x="55" y="7"/>
                      </a:cubicBezTo>
                      <a:cubicBezTo>
                        <a:pt x="55" y="7"/>
                        <a:pt x="55" y="8"/>
                        <a:pt x="54" y="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3" name="Freeform 856">
                  <a:extLst>
                    <a:ext uri="{FF2B5EF4-FFF2-40B4-BE49-F238E27FC236}">
                      <a16:creationId xmlns:a16="http://schemas.microsoft.com/office/drawing/2014/main" id="{094FD356-21B5-415A-8402-122E3CFB14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574"/>
                  <a:ext cx="130" cy="241"/>
                </a:xfrm>
                <a:custGeom>
                  <a:avLst/>
                  <a:gdLst>
                    <a:gd name="T0" fmla="*/ 2 w 55"/>
                    <a:gd name="T1" fmla="*/ 102 h 102"/>
                    <a:gd name="T2" fmla="*/ 1 w 55"/>
                    <a:gd name="T3" fmla="*/ 102 h 102"/>
                    <a:gd name="T4" fmla="*/ 0 w 55"/>
                    <a:gd name="T5" fmla="*/ 100 h 102"/>
                    <a:gd name="T6" fmla="*/ 0 w 55"/>
                    <a:gd name="T7" fmla="*/ 32 h 102"/>
                    <a:gd name="T8" fmla="*/ 1 w 55"/>
                    <a:gd name="T9" fmla="*/ 30 h 102"/>
                    <a:gd name="T10" fmla="*/ 52 w 55"/>
                    <a:gd name="T11" fmla="*/ 1 h 102"/>
                    <a:gd name="T12" fmla="*/ 54 w 55"/>
                    <a:gd name="T13" fmla="*/ 1 h 102"/>
                    <a:gd name="T14" fmla="*/ 55 w 55"/>
                    <a:gd name="T15" fmla="*/ 3 h 102"/>
                    <a:gd name="T16" fmla="*/ 55 w 55"/>
                    <a:gd name="T17" fmla="*/ 70 h 102"/>
                    <a:gd name="T18" fmla="*/ 54 w 55"/>
                    <a:gd name="T19" fmla="*/ 72 h 102"/>
                    <a:gd name="T20" fmla="*/ 3 w 55"/>
                    <a:gd name="T21" fmla="*/ 102 h 102"/>
                    <a:gd name="T22" fmla="*/ 2 w 55"/>
                    <a:gd name="T23" fmla="*/ 102 h 102"/>
                    <a:gd name="T24" fmla="*/ 4 w 55"/>
                    <a:gd name="T25" fmla="*/ 33 h 102"/>
                    <a:gd name="T26" fmla="*/ 4 w 55"/>
                    <a:gd name="T27" fmla="*/ 96 h 102"/>
                    <a:gd name="T28" fmla="*/ 51 w 55"/>
                    <a:gd name="T29" fmla="*/ 69 h 102"/>
                    <a:gd name="T30" fmla="*/ 51 w 55"/>
                    <a:gd name="T31" fmla="*/ 6 h 102"/>
                    <a:gd name="T32" fmla="*/ 4 w 55"/>
                    <a:gd name="T33" fmla="*/ 33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5" h="102">
                      <a:moveTo>
                        <a:pt x="2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0" y="101"/>
                        <a:pt x="0" y="101"/>
                        <a:pt x="0" y="10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2"/>
                        <a:pt x="0" y="31"/>
                        <a:pt x="1" y="30"/>
                      </a:cubicBezTo>
                      <a:cubicBezTo>
                        <a:pt x="52" y="1"/>
                        <a:pt x="52" y="1"/>
                        <a:pt x="52" y="1"/>
                      </a:cubicBezTo>
                      <a:cubicBezTo>
                        <a:pt x="53" y="0"/>
                        <a:pt x="53" y="0"/>
                        <a:pt x="54" y="1"/>
                      </a:cubicBezTo>
                      <a:cubicBezTo>
                        <a:pt x="55" y="1"/>
                        <a:pt x="55" y="2"/>
                        <a:pt x="55" y="3"/>
                      </a:cubicBezTo>
                      <a:cubicBezTo>
                        <a:pt x="55" y="70"/>
                        <a:pt x="55" y="70"/>
                        <a:pt x="55" y="70"/>
                      </a:cubicBezTo>
                      <a:cubicBezTo>
                        <a:pt x="55" y="71"/>
                        <a:pt x="55" y="72"/>
                        <a:pt x="54" y="72"/>
                      </a:cubicBezTo>
                      <a:cubicBezTo>
                        <a:pt x="3" y="102"/>
                        <a:pt x="3" y="102"/>
                        <a:pt x="3" y="102"/>
                      </a:cubicBezTo>
                      <a:cubicBezTo>
                        <a:pt x="2" y="102"/>
                        <a:pt x="2" y="102"/>
                        <a:pt x="2" y="102"/>
                      </a:cubicBezTo>
                      <a:close/>
                      <a:moveTo>
                        <a:pt x="4" y="33"/>
                      </a:moveTo>
                      <a:cubicBezTo>
                        <a:pt x="4" y="96"/>
                        <a:pt x="4" y="96"/>
                        <a:pt x="4" y="96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"/>
                        <a:pt x="51" y="6"/>
                        <a:pt x="51" y="6"/>
                      </a:cubicBezTo>
                      <a:lnTo>
                        <a:pt x="4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4" name="Freeform 857">
                  <a:extLst>
                    <a:ext uri="{FF2B5EF4-FFF2-40B4-BE49-F238E27FC236}">
                      <a16:creationId xmlns:a16="http://schemas.microsoft.com/office/drawing/2014/main" id="{A9E7D969-DFDC-4FCF-A355-03E9787030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46" y="1233"/>
                  <a:ext cx="137" cy="83"/>
                </a:xfrm>
                <a:custGeom>
                  <a:avLst/>
                  <a:gdLst>
                    <a:gd name="T0" fmla="*/ 13 w 58"/>
                    <a:gd name="T1" fmla="*/ 35 h 35"/>
                    <a:gd name="T2" fmla="*/ 12 w 58"/>
                    <a:gd name="T3" fmla="*/ 35 h 35"/>
                    <a:gd name="T4" fmla="*/ 1 w 58"/>
                    <a:gd name="T5" fmla="*/ 29 h 35"/>
                    <a:gd name="T6" fmla="*/ 0 w 58"/>
                    <a:gd name="T7" fmla="*/ 27 h 35"/>
                    <a:gd name="T8" fmla="*/ 1 w 58"/>
                    <a:gd name="T9" fmla="*/ 25 h 35"/>
                    <a:gd name="T10" fmla="*/ 44 w 58"/>
                    <a:gd name="T11" fmla="*/ 0 h 35"/>
                    <a:gd name="T12" fmla="*/ 46 w 58"/>
                    <a:gd name="T13" fmla="*/ 0 h 35"/>
                    <a:gd name="T14" fmla="*/ 57 w 58"/>
                    <a:gd name="T15" fmla="*/ 7 h 35"/>
                    <a:gd name="T16" fmla="*/ 58 w 58"/>
                    <a:gd name="T17" fmla="*/ 8 h 35"/>
                    <a:gd name="T18" fmla="*/ 58 w 58"/>
                    <a:gd name="T19" fmla="*/ 28 h 35"/>
                    <a:gd name="T20" fmla="*/ 57 w 58"/>
                    <a:gd name="T21" fmla="*/ 29 h 35"/>
                    <a:gd name="T22" fmla="*/ 55 w 58"/>
                    <a:gd name="T23" fmla="*/ 29 h 35"/>
                    <a:gd name="T24" fmla="*/ 39 w 58"/>
                    <a:gd name="T25" fmla="*/ 20 h 35"/>
                    <a:gd name="T26" fmla="*/ 14 w 58"/>
                    <a:gd name="T27" fmla="*/ 35 h 35"/>
                    <a:gd name="T28" fmla="*/ 13 w 58"/>
                    <a:gd name="T29" fmla="*/ 35 h 35"/>
                    <a:gd name="T30" fmla="*/ 6 w 58"/>
                    <a:gd name="T31" fmla="*/ 27 h 35"/>
                    <a:gd name="T32" fmla="*/ 13 w 58"/>
                    <a:gd name="T33" fmla="*/ 31 h 35"/>
                    <a:gd name="T34" fmla="*/ 38 w 58"/>
                    <a:gd name="T35" fmla="*/ 16 h 35"/>
                    <a:gd name="T36" fmla="*/ 40 w 58"/>
                    <a:gd name="T37" fmla="*/ 16 h 35"/>
                    <a:gd name="T38" fmla="*/ 54 w 58"/>
                    <a:gd name="T39" fmla="*/ 24 h 35"/>
                    <a:gd name="T40" fmla="*/ 54 w 58"/>
                    <a:gd name="T41" fmla="*/ 9 h 35"/>
                    <a:gd name="T42" fmla="*/ 45 w 58"/>
                    <a:gd name="T43" fmla="*/ 4 h 35"/>
                    <a:gd name="T44" fmla="*/ 6 w 58"/>
                    <a:gd name="T45" fmla="*/ 2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8" h="35">
                      <a:moveTo>
                        <a:pt x="13" y="35"/>
                      </a:move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1" y="28"/>
                        <a:pt x="0" y="28"/>
                        <a:pt x="0" y="27"/>
                      </a:cubicBezTo>
                      <a:cubicBezTo>
                        <a:pt x="0" y="26"/>
                        <a:pt x="1" y="25"/>
                        <a:pt x="1" y="25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5" y="0"/>
                        <a:pt x="46" y="0"/>
                        <a:pt x="46" y="0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57" y="7"/>
                        <a:pt x="58" y="8"/>
                        <a:pt x="58" y="8"/>
                      </a:cubicBezTo>
                      <a:cubicBezTo>
                        <a:pt x="58" y="28"/>
                        <a:pt x="58" y="28"/>
                        <a:pt x="58" y="28"/>
                      </a:cubicBezTo>
                      <a:cubicBezTo>
                        <a:pt x="58" y="28"/>
                        <a:pt x="57" y="29"/>
                        <a:pt x="57" y="29"/>
                      </a:cubicBezTo>
                      <a:cubicBezTo>
                        <a:pt x="56" y="30"/>
                        <a:pt x="55" y="30"/>
                        <a:pt x="55" y="29"/>
                      </a:cubicBez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14" y="35"/>
                        <a:pt x="14" y="35"/>
                        <a:pt x="14" y="35"/>
                      </a:cubicBezTo>
                      <a:cubicBezTo>
                        <a:pt x="13" y="35"/>
                        <a:pt x="13" y="35"/>
                        <a:pt x="13" y="35"/>
                      </a:cubicBezTo>
                      <a:close/>
                      <a:moveTo>
                        <a:pt x="6" y="27"/>
                      </a:move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9" y="16"/>
                        <a:pt x="39" y="16"/>
                        <a:pt x="40" y="16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9"/>
                        <a:pt x="54" y="9"/>
                        <a:pt x="54" y="9"/>
                      </a:cubicBezTo>
                      <a:cubicBezTo>
                        <a:pt x="45" y="4"/>
                        <a:pt x="45" y="4"/>
                        <a:pt x="45" y="4"/>
                      </a:cubicBezTo>
                      <a:lnTo>
                        <a:pt x="6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5" name="Freeform 858">
                  <a:extLst>
                    <a:ext uri="{FF2B5EF4-FFF2-40B4-BE49-F238E27FC236}">
                      <a16:creationId xmlns:a16="http://schemas.microsoft.com/office/drawing/2014/main" id="{AD583F21-1708-4842-9B6B-D943E8DF51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0" y="827"/>
                  <a:ext cx="319" cy="269"/>
                </a:xfrm>
                <a:custGeom>
                  <a:avLst/>
                  <a:gdLst>
                    <a:gd name="T0" fmla="*/ 74 w 135"/>
                    <a:gd name="T1" fmla="*/ 114 h 114"/>
                    <a:gd name="T2" fmla="*/ 73 w 135"/>
                    <a:gd name="T3" fmla="*/ 114 h 114"/>
                    <a:gd name="T4" fmla="*/ 55 w 135"/>
                    <a:gd name="T5" fmla="*/ 104 h 114"/>
                    <a:gd name="T6" fmla="*/ 54 w 135"/>
                    <a:gd name="T7" fmla="*/ 102 h 114"/>
                    <a:gd name="T8" fmla="*/ 54 w 135"/>
                    <a:gd name="T9" fmla="*/ 70 h 114"/>
                    <a:gd name="T10" fmla="*/ 1 w 135"/>
                    <a:gd name="T11" fmla="*/ 40 h 114"/>
                    <a:gd name="T12" fmla="*/ 0 w 135"/>
                    <a:gd name="T13" fmla="*/ 38 h 114"/>
                    <a:gd name="T14" fmla="*/ 0 w 135"/>
                    <a:gd name="T15" fmla="*/ 8 h 114"/>
                    <a:gd name="T16" fmla="*/ 1 w 135"/>
                    <a:gd name="T17" fmla="*/ 7 h 114"/>
                    <a:gd name="T18" fmla="*/ 12 w 135"/>
                    <a:gd name="T19" fmla="*/ 0 h 114"/>
                    <a:gd name="T20" fmla="*/ 14 w 135"/>
                    <a:gd name="T21" fmla="*/ 0 h 114"/>
                    <a:gd name="T22" fmla="*/ 74 w 135"/>
                    <a:gd name="T23" fmla="*/ 35 h 114"/>
                    <a:gd name="T24" fmla="*/ 88 w 135"/>
                    <a:gd name="T25" fmla="*/ 27 h 114"/>
                    <a:gd name="T26" fmla="*/ 90 w 135"/>
                    <a:gd name="T27" fmla="*/ 27 h 114"/>
                    <a:gd name="T28" fmla="*/ 134 w 135"/>
                    <a:gd name="T29" fmla="*/ 53 h 114"/>
                    <a:gd name="T30" fmla="*/ 135 w 135"/>
                    <a:gd name="T31" fmla="*/ 55 h 114"/>
                    <a:gd name="T32" fmla="*/ 134 w 135"/>
                    <a:gd name="T33" fmla="*/ 57 h 114"/>
                    <a:gd name="T34" fmla="*/ 76 w 135"/>
                    <a:gd name="T35" fmla="*/ 91 h 114"/>
                    <a:gd name="T36" fmla="*/ 76 w 135"/>
                    <a:gd name="T37" fmla="*/ 112 h 114"/>
                    <a:gd name="T38" fmla="*/ 75 w 135"/>
                    <a:gd name="T39" fmla="*/ 114 h 114"/>
                    <a:gd name="T40" fmla="*/ 74 w 135"/>
                    <a:gd name="T41" fmla="*/ 114 h 114"/>
                    <a:gd name="T42" fmla="*/ 58 w 135"/>
                    <a:gd name="T43" fmla="*/ 101 h 114"/>
                    <a:gd name="T44" fmla="*/ 72 w 135"/>
                    <a:gd name="T45" fmla="*/ 109 h 114"/>
                    <a:gd name="T46" fmla="*/ 72 w 135"/>
                    <a:gd name="T47" fmla="*/ 89 h 114"/>
                    <a:gd name="T48" fmla="*/ 73 w 135"/>
                    <a:gd name="T49" fmla="*/ 88 h 114"/>
                    <a:gd name="T50" fmla="*/ 129 w 135"/>
                    <a:gd name="T51" fmla="*/ 55 h 114"/>
                    <a:gd name="T52" fmla="*/ 89 w 135"/>
                    <a:gd name="T53" fmla="*/ 31 h 114"/>
                    <a:gd name="T54" fmla="*/ 75 w 135"/>
                    <a:gd name="T55" fmla="*/ 39 h 114"/>
                    <a:gd name="T56" fmla="*/ 73 w 135"/>
                    <a:gd name="T57" fmla="*/ 39 h 114"/>
                    <a:gd name="T58" fmla="*/ 13 w 135"/>
                    <a:gd name="T59" fmla="*/ 4 h 114"/>
                    <a:gd name="T60" fmla="*/ 4 w 135"/>
                    <a:gd name="T61" fmla="*/ 10 h 114"/>
                    <a:gd name="T62" fmla="*/ 4 w 135"/>
                    <a:gd name="T63" fmla="*/ 37 h 114"/>
                    <a:gd name="T64" fmla="*/ 57 w 135"/>
                    <a:gd name="T65" fmla="*/ 68 h 114"/>
                    <a:gd name="T66" fmla="*/ 58 w 135"/>
                    <a:gd name="T67" fmla="*/ 69 h 114"/>
                    <a:gd name="T68" fmla="*/ 58 w 135"/>
                    <a:gd name="T69" fmla="*/ 101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5" h="114">
                      <a:moveTo>
                        <a:pt x="74" y="114"/>
                      </a:moveTo>
                      <a:cubicBezTo>
                        <a:pt x="73" y="114"/>
                        <a:pt x="73" y="114"/>
                        <a:pt x="73" y="114"/>
                      </a:cubicBezTo>
                      <a:cubicBezTo>
                        <a:pt x="55" y="104"/>
                        <a:pt x="55" y="104"/>
                        <a:pt x="55" y="104"/>
                      </a:cubicBezTo>
                      <a:cubicBezTo>
                        <a:pt x="54" y="103"/>
                        <a:pt x="54" y="102"/>
                        <a:pt x="54" y="102"/>
                      </a:cubicBezTo>
                      <a:cubicBezTo>
                        <a:pt x="54" y="70"/>
                        <a:pt x="54" y="70"/>
                        <a:pt x="54" y="70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0" y="40"/>
                        <a:pt x="0" y="39"/>
                        <a:pt x="0" y="3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4" y="0"/>
                        <a:pt x="14" y="0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cubicBezTo>
                        <a:pt x="88" y="27"/>
                        <a:pt x="88" y="27"/>
                        <a:pt x="88" y="27"/>
                      </a:cubicBezTo>
                      <a:cubicBezTo>
                        <a:pt x="88" y="27"/>
                        <a:pt x="89" y="27"/>
                        <a:pt x="90" y="27"/>
                      </a:cubicBezTo>
                      <a:cubicBezTo>
                        <a:pt x="134" y="53"/>
                        <a:pt x="134" y="53"/>
                        <a:pt x="134" y="53"/>
                      </a:cubicBezTo>
                      <a:cubicBezTo>
                        <a:pt x="135" y="54"/>
                        <a:pt x="135" y="54"/>
                        <a:pt x="135" y="55"/>
                      </a:cubicBezTo>
                      <a:cubicBezTo>
                        <a:pt x="135" y="56"/>
                        <a:pt x="135" y="56"/>
                        <a:pt x="134" y="57"/>
                      </a:cubicBezTo>
                      <a:cubicBezTo>
                        <a:pt x="76" y="91"/>
                        <a:pt x="76" y="91"/>
                        <a:pt x="76" y="91"/>
                      </a:cubicBezTo>
                      <a:cubicBezTo>
                        <a:pt x="76" y="112"/>
                        <a:pt x="76" y="112"/>
                        <a:pt x="76" y="112"/>
                      </a:cubicBezTo>
                      <a:cubicBezTo>
                        <a:pt x="76" y="113"/>
                        <a:pt x="75" y="114"/>
                        <a:pt x="75" y="114"/>
                      </a:cubicBezTo>
                      <a:cubicBezTo>
                        <a:pt x="74" y="114"/>
                        <a:pt x="74" y="114"/>
                        <a:pt x="74" y="114"/>
                      </a:cubicBezTo>
                      <a:close/>
                      <a:moveTo>
                        <a:pt x="58" y="101"/>
                      </a:moveTo>
                      <a:cubicBezTo>
                        <a:pt x="72" y="109"/>
                        <a:pt x="72" y="109"/>
                        <a:pt x="72" y="109"/>
                      </a:cubicBezTo>
                      <a:cubicBezTo>
                        <a:pt x="72" y="89"/>
                        <a:pt x="72" y="89"/>
                        <a:pt x="72" y="89"/>
                      </a:cubicBezTo>
                      <a:cubicBezTo>
                        <a:pt x="72" y="89"/>
                        <a:pt x="72" y="88"/>
                        <a:pt x="73" y="88"/>
                      </a:cubicBezTo>
                      <a:cubicBezTo>
                        <a:pt x="129" y="55"/>
                        <a:pt x="129" y="55"/>
                        <a:pt x="129" y="55"/>
                      </a:cubicBez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75" y="39"/>
                        <a:pt x="75" y="39"/>
                        <a:pt x="75" y="39"/>
                      </a:cubicBezTo>
                      <a:cubicBezTo>
                        <a:pt x="75" y="39"/>
                        <a:pt x="74" y="39"/>
                        <a:pt x="73" y="39"/>
                      </a:cubicBezTo>
                      <a:cubicBezTo>
                        <a:pt x="13" y="4"/>
                        <a:pt x="13" y="4"/>
                        <a:pt x="13" y="4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57" y="68"/>
                        <a:pt x="57" y="68"/>
                        <a:pt x="57" y="68"/>
                      </a:cubicBezTo>
                      <a:cubicBezTo>
                        <a:pt x="57" y="68"/>
                        <a:pt x="58" y="69"/>
                        <a:pt x="58" y="69"/>
                      </a:cubicBezTo>
                      <a:lnTo>
                        <a:pt x="58" y="10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6" name="Freeform 859">
                  <a:extLst>
                    <a:ext uri="{FF2B5EF4-FFF2-40B4-BE49-F238E27FC236}">
                      <a16:creationId xmlns:a16="http://schemas.microsoft.com/office/drawing/2014/main" id="{4E98D575-FF63-4547-8D11-DAFA3A5827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1" y="730"/>
                  <a:ext cx="179" cy="184"/>
                </a:xfrm>
                <a:custGeom>
                  <a:avLst/>
                  <a:gdLst>
                    <a:gd name="T0" fmla="*/ 61 w 76"/>
                    <a:gd name="T1" fmla="*/ 78 h 78"/>
                    <a:gd name="T2" fmla="*/ 60 w 76"/>
                    <a:gd name="T3" fmla="*/ 78 h 78"/>
                    <a:gd name="T4" fmla="*/ 1 w 76"/>
                    <a:gd name="T5" fmla="*/ 44 h 78"/>
                    <a:gd name="T6" fmla="*/ 0 w 76"/>
                    <a:gd name="T7" fmla="*/ 42 h 78"/>
                    <a:gd name="T8" fmla="*/ 1 w 76"/>
                    <a:gd name="T9" fmla="*/ 40 h 78"/>
                    <a:gd name="T10" fmla="*/ 53 w 76"/>
                    <a:gd name="T11" fmla="*/ 10 h 78"/>
                    <a:gd name="T12" fmla="*/ 53 w 76"/>
                    <a:gd name="T13" fmla="*/ 5 h 78"/>
                    <a:gd name="T14" fmla="*/ 54 w 76"/>
                    <a:gd name="T15" fmla="*/ 3 h 78"/>
                    <a:gd name="T16" fmla="*/ 60 w 76"/>
                    <a:gd name="T17" fmla="*/ 0 h 78"/>
                    <a:gd name="T18" fmla="*/ 62 w 76"/>
                    <a:gd name="T19" fmla="*/ 0 h 78"/>
                    <a:gd name="T20" fmla="*/ 63 w 76"/>
                    <a:gd name="T21" fmla="*/ 2 h 78"/>
                    <a:gd name="T22" fmla="*/ 63 w 76"/>
                    <a:gd name="T23" fmla="*/ 60 h 78"/>
                    <a:gd name="T24" fmla="*/ 75 w 76"/>
                    <a:gd name="T25" fmla="*/ 67 h 78"/>
                    <a:gd name="T26" fmla="*/ 76 w 76"/>
                    <a:gd name="T27" fmla="*/ 69 h 78"/>
                    <a:gd name="T28" fmla="*/ 75 w 76"/>
                    <a:gd name="T29" fmla="*/ 71 h 78"/>
                    <a:gd name="T30" fmla="*/ 62 w 76"/>
                    <a:gd name="T31" fmla="*/ 78 h 78"/>
                    <a:gd name="T32" fmla="*/ 61 w 76"/>
                    <a:gd name="T33" fmla="*/ 78 h 78"/>
                    <a:gd name="T34" fmla="*/ 6 w 76"/>
                    <a:gd name="T35" fmla="*/ 42 h 78"/>
                    <a:gd name="T36" fmla="*/ 61 w 76"/>
                    <a:gd name="T37" fmla="*/ 74 h 78"/>
                    <a:gd name="T38" fmla="*/ 70 w 76"/>
                    <a:gd name="T39" fmla="*/ 69 h 78"/>
                    <a:gd name="T40" fmla="*/ 60 w 76"/>
                    <a:gd name="T41" fmla="*/ 63 h 78"/>
                    <a:gd name="T42" fmla="*/ 59 w 76"/>
                    <a:gd name="T43" fmla="*/ 61 h 78"/>
                    <a:gd name="T44" fmla="*/ 59 w 76"/>
                    <a:gd name="T45" fmla="*/ 5 h 78"/>
                    <a:gd name="T46" fmla="*/ 57 w 76"/>
                    <a:gd name="T47" fmla="*/ 6 h 78"/>
                    <a:gd name="T48" fmla="*/ 57 w 76"/>
                    <a:gd name="T49" fmla="*/ 11 h 78"/>
                    <a:gd name="T50" fmla="*/ 56 w 76"/>
                    <a:gd name="T51" fmla="*/ 13 h 78"/>
                    <a:gd name="T52" fmla="*/ 6 w 76"/>
                    <a:gd name="T53" fmla="*/ 42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76" h="78">
                      <a:moveTo>
                        <a:pt x="61" y="78"/>
                      </a:moveTo>
                      <a:cubicBezTo>
                        <a:pt x="61" y="78"/>
                        <a:pt x="61" y="78"/>
                        <a:pt x="60" y="78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43"/>
                        <a:pt x="0" y="43"/>
                        <a:pt x="0" y="42"/>
                      </a:cubicBezTo>
                      <a:cubicBezTo>
                        <a:pt x="0" y="41"/>
                        <a:pt x="0" y="41"/>
                        <a:pt x="1" y="40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5"/>
                        <a:pt x="53" y="5"/>
                        <a:pt x="53" y="5"/>
                      </a:cubicBezTo>
                      <a:cubicBezTo>
                        <a:pt x="53" y="4"/>
                        <a:pt x="53" y="4"/>
                        <a:pt x="54" y="3"/>
                      </a:cubicBezTo>
                      <a:cubicBezTo>
                        <a:pt x="60" y="0"/>
                        <a:pt x="60" y="0"/>
                        <a:pt x="60" y="0"/>
                      </a:cubicBezTo>
                      <a:cubicBezTo>
                        <a:pt x="60" y="0"/>
                        <a:pt x="61" y="0"/>
                        <a:pt x="62" y="0"/>
                      </a:cubicBezTo>
                      <a:cubicBezTo>
                        <a:pt x="62" y="0"/>
                        <a:pt x="63" y="1"/>
                        <a:pt x="63" y="2"/>
                      </a:cubicBezTo>
                      <a:cubicBezTo>
                        <a:pt x="63" y="60"/>
                        <a:pt x="63" y="60"/>
                        <a:pt x="63" y="60"/>
                      </a:cubicBezTo>
                      <a:cubicBezTo>
                        <a:pt x="75" y="67"/>
                        <a:pt x="75" y="67"/>
                        <a:pt x="75" y="67"/>
                      </a:cubicBezTo>
                      <a:cubicBezTo>
                        <a:pt x="76" y="68"/>
                        <a:pt x="76" y="68"/>
                        <a:pt x="76" y="69"/>
                      </a:cubicBezTo>
                      <a:cubicBezTo>
                        <a:pt x="76" y="70"/>
                        <a:pt x="76" y="71"/>
                        <a:pt x="75" y="71"/>
                      </a:cubicBezTo>
                      <a:cubicBezTo>
                        <a:pt x="62" y="78"/>
                        <a:pt x="62" y="78"/>
                        <a:pt x="62" y="78"/>
                      </a:cubicBezTo>
                      <a:cubicBezTo>
                        <a:pt x="62" y="78"/>
                        <a:pt x="62" y="78"/>
                        <a:pt x="61" y="78"/>
                      </a:cubicBezTo>
                      <a:close/>
                      <a:moveTo>
                        <a:pt x="6" y="42"/>
                      </a:moveTo>
                      <a:cubicBezTo>
                        <a:pt x="61" y="74"/>
                        <a:pt x="61" y="74"/>
                        <a:pt x="61" y="74"/>
                      </a:cubicBezTo>
                      <a:cubicBezTo>
                        <a:pt x="70" y="69"/>
                        <a:pt x="70" y="69"/>
                        <a:pt x="70" y="69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59" y="63"/>
                        <a:pt x="59" y="62"/>
                        <a:pt x="59" y="61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7" y="6"/>
                        <a:pt x="57" y="6"/>
                        <a:pt x="57" y="6"/>
                      </a:cubicBezTo>
                      <a:cubicBezTo>
                        <a:pt x="57" y="11"/>
                        <a:pt x="57" y="11"/>
                        <a:pt x="57" y="11"/>
                      </a:cubicBezTo>
                      <a:cubicBezTo>
                        <a:pt x="57" y="12"/>
                        <a:pt x="56" y="13"/>
                        <a:pt x="56" y="13"/>
                      </a:cubicBezTo>
                      <a:lnTo>
                        <a:pt x="6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7" name="Freeform 860">
                  <a:extLst>
                    <a:ext uri="{FF2B5EF4-FFF2-40B4-BE49-F238E27FC236}">
                      <a16:creationId xmlns:a16="http://schemas.microsoft.com/office/drawing/2014/main" id="{9A9ED735-1919-425F-A8F5-AD77B3BBB2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706"/>
                  <a:ext cx="149" cy="109"/>
                </a:xfrm>
                <a:custGeom>
                  <a:avLst/>
                  <a:gdLst>
                    <a:gd name="T0" fmla="*/ 61 w 63"/>
                    <a:gd name="T1" fmla="*/ 46 h 46"/>
                    <a:gd name="T2" fmla="*/ 60 w 63"/>
                    <a:gd name="T3" fmla="*/ 46 h 46"/>
                    <a:gd name="T4" fmla="*/ 1 w 63"/>
                    <a:gd name="T5" fmla="*/ 12 h 46"/>
                    <a:gd name="T6" fmla="*/ 0 w 63"/>
                    <a:gd name="T7" fmla="*/ 10 h 46"/>
                    <a:gd name="T8" fmla="*/ 0 w 63"/>
                    <a:gd name="T9" fmla="*/ 2 h 46"/>
                    <a:gd name="T10" fmla="*/ 1 w 63"/>
                    <a:gd name="T11" fmla="*/ 1 h 46"/>
                    <a:gd name="T12" fmla="*/ 3 w 63"/>
                    <a:gd name="T13" fmla="*/ 1 h 46"/>
                    <a:gd name="T14" fmla="*/ 62 w 63"/>
                    <a:gd name="T15" fmla="*/ 35 h 46"/>
                    <a:gd name="T16" fmla="*/ 63 w 63"/>
                    <a:gd name="T17" fmla="*/ 36 h 46"/>
                    <a:gd name="T18" fmla="*/ 63 w 63"/>
                    <a:gd name="T19" fmla="*/ 44 h 46"/>
                    <a:gd name="T20" fmla="*/ 62 w 63"/>
                    <a:gd name="T21" fmla="*/ 46 h 46"/>
                    <a:gd name="T22" fmla="*/ 61 w 63"/>
                    <a:gd name="T23" fmla="*/ 46 h 46"/>
                    <a:gd name="T24" fmla="*/ 4 w 63"/>
                    <a:gd name="T25" fmla="*/ 9 h 46"/>
                    <a:gd name="T26" fmla="*/ 59 w 63"/>
                    <a:gd name="T27" fmla="*/ 40 h 46"/>
                    <a:gd name="T28" fmla="*/ 59 w 63"/>
                    <a:gd name="T29" fmla="*/ 38 h 46"/>
                    <a:gd name="T30" fmla="*/ 4 w 63"/>
                    <a:gd name="T31" fmla="*/ 6 h 46"/>
                    <a:gd name="T32" fmla="*/ 4 w 63"/>
                    <a:gd name="T33" fmla="*/ 9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3" h="46">
                      <a:moveTo>
                        <a:pt x="61" y="46"/>
                      </a:moveTo>
                      <a:cubicBezTo>
                        <a:pt x="61" y="46"/>
                        <a:pt x="61" y="46"/>
                        <a:pt x="60" y="46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1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62" y="35"/>
                        <a:pt x="62" y="35"/>
                        <a:pt x="62" y="35"/>
                      </a:cubicBezTo>
                      <a:cubicBezTo>
                        <a:pt x="63" y="35"/>
                        <a:pt x="63" y="36"/>
                        <a:pt x="63" y="36"/>
                      </a:cubicBezTo>
                      <a:cubicBezTo>
                        <a:pt x="63" y="44"/>
                        <a:pt x="63" y="44"/>
                        <a:pt x="63" y="44"/>
                      </a:cubicBezTo>
                      <a:cubicBezTo>
                        <a:pt x="63" y="45"/>
                        <a:pt x="63" y="45"/>
                        <a:pt x="62" y="46"/>
                      </a:cubicBezTo>
                      <a:cubicBezTo>
                        <a:pt x="62" y="46"/>
                        <a:pt x="62" y="46"/>
                        <a:pt x="61" y="46"/>
                      </a:cubicBezTo>
                      <a:close/>
                      <a:moveTo>
                        <a:pt x="4" y="9"/>
                      </a:moveTo>
                      <a:cubicBezTo>
                        <a:pt x="59" y="40"/>
                        <a:pt x="59" y="40"/>
                        <a:pt x="59" y="40"/>
                      </a:cubicBezTo>
                      <a:cubicBezTo>
                        <a:pt x="59" y="38"/>
                        <a:pt x="59" y="38"/>
                        <a:pt x="59" y="38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8" name="Freeform 861">
                  <a:extLst>
                    <a:ext uri="{FF2B5EF4-FFF2-40B4-BE49-F238E27FC236}">
                      <a16:creationId xmlns:a16="http://schemas.microsoft.com/office/drawing/2014/main" id="{7D35E936-A78F-4785-9518-F875BC27D7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16" y="1002"/>
                  <a:ext cx="584" cy="368"/>
                </a:xfrm>
                <a:custGeom>
                  <a:avLst/>
                  <a:gdLst>
                    <a:gd name="T0" fmla="*/ 134 w 247"/>
                    <a:gd name="T1" fmla="*/ 156 h 156"/>
                    <a:gd name="T2" fmla="*/ 133 w 247"/>
                    <a:gd name="T3" fmla="*/ 156 h 156"/>
                    <a:gd name="T4" fmla="*/ 1 w 247"/>
                    <a:gd name="T5" fmla="*/ 80 h 156"/>
                    <a:gd name="T6" fmla="*/ 0 w 247"/>
                    <a:gd name="T7" fmla="*/ 78 h 156"/>
                    <a:gd name="T8" fmla="*/ 1 w 247"/>
                    <a:gd name="T9" fmla="*/ 76 h 156"/>
                    <a:gd name="T10" fmla="*/ 31 w 247"/>
                    <a:gd name="T11" fmla="*/ 59 h 156"/>
                    <a:gd name="T12" fmla="*/ 33 w 247"/>
                    <a:gd name="T13" fmla="*/ 59 h 156"/>
                    <a:gd name="T14" fmla="*/ 47 w 247"/>
                    <a:gd name="T15" fmla="*/ 67 h 156"/>
                    <a:gd name="T16" fmla="*/ 47 w 247"/>
                    <a:gd name="T17" fmla="*/ 51 h 156"/>
                    <a:gd name="T18" fmla="*/ 48 w 247"/>
                    <a:gd name="T19" fmla="*/ 50 h 156"/>
                    <a:gd name="T20" fmla="*/ 66 w 247"/>
                    <a:gd name="T21" fmla="*/ 39 h 156"/>
                    <a:gd name="T22" fmla="*/ 68 w 247"/>
                    <a:gd name="T23" fmla="*/ 39 h 156"/>
                    <a:gd name="T24" fmla="*/ 69 w 247"/>
                    <a:gd name="T25" fmla="*/ 41 h 156"/>
                    <a:gd name="T26" fmla="*/ 69 w 247"/>
                    <a:gd name="T27" fmla="*/ 84 h 156"/>
                    <a:gd name="T28" fmla="*/ 127 w 247"/>
                    <a:gd name="T29" fmla="*/ 50 h 156"/>
                    <a:gd name="T30" fmla="*/ 127 w 247"/>
                    <a:gd name="T31" fmla="*/ 5 h 156"/>
                    <a:gd name="T32" fmla="*/ 128 w 247"/>
                    <a:gd name="T33" fmla="*/ 3 h 156"/>
                    <a:gd name="T34" fmla="*/ 133 w 247"/>
                    <a:gd name="T35" fmla="*/ 0 h 156"/>
                    <a:gd name="T36" fmla="*/ 135 w 247"/>
                    <a:gd name="T37" fmla="*/ 0 h 156"/>
                    <a:gd name="T38" fmla="*/ 198 w 247"/>
                    <a:gd name="T39" fmla="*/ 36 h 156"/>
                    <a:gd name="T40" fmla="*/ 199 w 247"/>
                    <a:gd name="T41" fmla="*/ 38 h 156"/>
                    <a:gd name="T42" fmla="*/ 198 w 247"/>
                    <a:gd name="T43" fmla="*/ 40 h 156"/>
                    <a:gd name="T44" fmla="*/ 180 w 247"/>
                    <a:gd name="T45" fmla="*/ 50 h 156"/>
                    <a:gd name="T46" fmla="*/ 246 w 247"/>
                    <a:gd name="T47" fmla="*/ 89 h 156"/>
                    <a:gd name="T48" fmla="*/ 247 w 247"/>
                    <a:gd name="T49" fmla="*/ 90 h 156"/>
                    <a:gd name="T50" fmla="*/ 246 w 247"/>
                    <a:gd name="T51" fmla="*/ 92 h 156"/>
                    <a:gd name="T52" fmla="*/ 135 w 247"/>
                    <a:gd name="T53" fmla="*/ 156 h 156"/>
                    <a:gd name="T54" fmla="*/ 134 w 247"/>
                    <a:gd name="T55" fmla="*/ 156 h 156"/>
                    <a:gd name="T56" fmla="*/ 6 w 247"/>
                    <a:gd name="T57" fmla="*/ 78 h 156"/>
                    <a:gd name="T58" fmla="*/ 134 w 247"/>
                    <a:gd name="T59" fmla="*/ 152 h 156"/>
                    <a:gd name="T60" fmla="*/ 241 w 247"/>
                    <a:gd name="T61" fmla="*/ 90 h 156"/>
                    <a:gd name="T62" fmla="*/ 175 w 247"/>
                    <a:gd name="T63" fmla="*/ 52 h 156"/>
                    <a:gd name="T64" fmla="*/ 174 w 247"/>
                    <a:gd name="T65" fmla="*/ 50 h 156"/>
                    <a:gd name="T66" fmla="*/ 175 w 247"/>
                    <a:gd name="T67" fmla="*/ 49 h 156"/>
                    <a:gd name="T68" fmla="*/ 193 w 247"/>
                    <a:gd name="T69" fmla="*/ 38 h 156"/>
                    <a:gd name="T70" fmla="*/ 134 w 247"/>
                    <a:gd name="T71" fmla="*/ 4 h 156"/>
                    <a:gd name="T72" fmla="*/ 131 w 247"/>
                    <a:gd name="T73" fmla="*/ 6 h 156"/>
                    <a:gd name="T74" fmla="*/ 131 w 247"/>
                    <a:gd name="T75" fmla="*/ 51 h 156"/>
                    <a:gd name="T76" fmla="*/ 130 w 247"/>
                    <a:gd name="T77" fmla="*/ 53 h 156"/>
                    <a:gd name="T78" fmla="*/ 68 w 247"/>
                    <a:gd name="T79" fmla="*/ 89 h 156"/>
                    <a:gd name="T80" fmla="*/ 66 w 247"/>
                    <a:gd name="T81" fmla="*/ 89 h 156"/>
                    <a:gd name="T82" fmla="*/ 65 w 247"/>
                    <a:gd name="T83" fmla="*/ 87 h 156"/>
                    <a:gd name="T84" fmla="*/ 65 w 247"/>
                    <a:gd name="T85" fmla="*/ 44 h 156"/>
                    <a:gd name="T86" fmla="*/ 51 w 247"/>
                    <a:gd name="T87" fmla="*/ 52 h 156"/>
                    <a:gd name="T88" fmla="*/ 51 w 247"/>
                    <a:gd name="T89" fmla="*/ 71 h 156"/>
                    <a:gd name="T90" fmla="*/ 50 w 247"/>
                    <a:gd name="T91" fmla="*/ 72 h 156"/>
                    <a:gd name="T92" fmla="*/ 48 w 247"/>
                    <a:gd name="T93" fmla="*/ 72 h 156"/>
                    <a:gd name="T94" fmla="*/ 32 w 247"/>
                    <a:gd name="T95" fmla="*/ 63 h 156"/>
                    <a:gd name="T96" fmla="*/ 6 w 247"/>
                    <a:gd name="T97" fmla="*/ 78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7" h="156">
                      <a:moveTo>
                        <a:pt x="134" y="156"/>
                      </a:moveTo>
                      <a:cubicBezTo>
                        <a:pt x="134" y="156"/>
                        <a:pt x="134" y="156"/>
                        <a:pt x="133" y="156"/>
                      </a:cubicBezTo>
                      <a:cubicBezTo>
                        <a:pt x="1" y="80"/>
                        <a:pt x="1" y="80"/>
                        <a:pt x="1" y="80"/>
                      </a:cubicBezTo>
                      <a:cubicBezTo>
                        <a:pt x="1" y="79"/>
                        <a:pt x="0" y="79"/>
                        <a:pt x="0" y="78"/>
                      </a:cubicBezTo>
                      <a:cubicBezTo>
                        <a:pt x="0" y="77"/>
                        <a:pt x="1" y="77"/>
                        <a:pt x="1" y="76"/>
                      </a:cubicBezTo>
                      <a:cubicBezTo>
                        <a:pt x="31" y="59"/>
                        <a:pt x="31" y="59"/>
                        <a:pt x="31" y="59"/>
                      </a:cubicBezTo>
                      <a:cubicBezTo>
                        <a:pt x="32" y="59"/>
                        <a:pt x="32" y="59"/>
                        <a:pt x="33" y="59"/>
                      </a:cubicBezTo>
                      <a:cubicBezTo>
                        <a:pt x="47" y="67"/>
                        <a:pt x="47" y="67"/>
                        <a:pt x="47" y="67"/>
                      </a:cubicBezTo>
                      <a:cubicBezTo>
                        <a:pt x="47" y="51"/>
                        <a:pt x="47" y="51"/>
                        <a:pt x="47" y="51"/>
                      </a:cubicBezTo>
                      <a:cubicBezTo>
                        <a:pt x="47" y="51"/>
                        <a:pt x="47" y="50"/>
                        <a:pt x="48" y="50"/>
                      </a:cubicBez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9"/>
                        <a:pt x="67" y="39"/>
                        <a:pt x="68" y="39"/>
                      </a:cubicBezTo>
                      <a:cubicBezTo>
                        <a:pt x="68" y="40"/>
                        <a:pt x="69" y="40"/>
                        <a:pt x="69" y="41"/>
                      </a:cubicBezTo>
                      <a:cubicBezTo>
                        <a:pt x="69" y="84"/>
                        <a:pt x="69" y="84"/>
                        <a:pt x="69" y="84"/>
                      </a:cubicBezTo>
                      <a:cubicBezTo>
                        <a:pt x="127" y="50"/>
                        <a:pt x="127" y="50"/>
                        <a:pt x="127" y="50"/>
                      </a:cubicBezTo>
                      <a:cubicBezTo>
                        <a:pt x="127" y="5"/>
                        <a:pt x="127" y="5"/>
                        <a:pt x="127" y="5"/>
                      </a:cubicBezTo>
                      <a:cubicBezTo>
                        <a:pt x="127" y="4"/>
                        <a:pt x="127" y="4"/>
                        <a:pt x="128" y="3"/>
                      </a:cubicBezTo>
                      <a:cubicBezTo>
                        <a:pt x="133" y="0"/>
                        <a:pt x="133" y="0"/>
                        <a:pt x="133" y="0"/>
                      </a:cubicBezTo>
                      <a:cubicBezTo>
                        <a:pt x="134" y="0"/>
                        <a:pt x="135" y="0"/>
                        <a:pt x="135" y="0"/>
                      </a:cubicBezTo>
                      <a:cubicBezTo>
                        <a:pt x="198" y="36"/>
                        <a:pt x="198" y="36"/>
                        <a:pt x="198" y="36"/>
                      </a:cubicBezTo>
                      <a:cubicBezTo>
                        <a:pt x="199" y="37"/>
                        <a:pt x="199" y="37"/>
                        <a:pt x="199" y="38"/>
                      </a:cubicBezTo>
                      <a:cubicBezTo>
                        <a:pt x="199" y="39"/>
                        <a:pt x="199" y="39"/>
                        <a:pt x="198" y="40"/>
                      </a:cubicBezTo>
                      <a:cubicBezTo>
                        <a:pt x="180" y="50"/>
                        <a:pt x="180" y="50"/>
                        <a:pt x="180" y="50"/>
                      </a:cubicBezTo>
                      <a:cubicBezTo>
                        <a:pt x="246" y="89"/>
                        <a:pt x="246" y="89"/>
                        <a:pt x="246" y="89"/>
                      </a:cubicBezTo>
                      <a:cubicBezTo>
                        <a:pt x="246" y="89"/>
                        <a:pt x="247" y="90"/>
                        <a:pt x="247" y="90"/>
                      </a:cubicBezTo>
                      <a:cubicBezTo>
                        <a:pt x="247" y="91"/>
                        <a:pt x="246" y="92"/>
                        <a:pt x="246" y="92"/>
                      </a:cubicBezTo>
                      <a:cubicBezTo>
                        <a:pt x="135" y="156"/>
                        <a:pt x="135" y="156"/>
                        <a:pt x="135" y="156"/>
                      </a:cubicBezTo>
                      <a:cubicBezTo>
                        <a:pt x="135" y="156"/>
                        <a:pt x="135" y="156"/>
                        <a:pt x="134" y="156"/>
                      </a:cubicBezTo>
                      <a:close/>
                      <a:moveTo>
                        <a:pt x="6" y="78"/>
                      </a:moveTo>
                      <a:cubicBezTo>
                        <a:pt x="134" y="152"/>
                        <a:pt x="134" y="152"/>
                        <a:pt x="134" y="152"/>
                      </a:cubicBezTo>
                      <a:cubicBezTo>
                        <a:pt x="241" y="90"/>
                        <a:pt x="241" y="90"/>
                        <a:pt x="241" y="90"/>
                      </a:cubicBezTo>
                      <a:cubicBezTo>
                        <a:pt x="175" y="52"/>
                        <a:pt x="175" y="52"/>
                        <a:pt x="175" y="52"/>
                      </a:cubicBezTo>
                      <a:cubicBezTo>
                        <a:pt x="174" y="52"/>
                        <a:pt x="174" y="51"/>
                        <a:pt x="174" y="50"/>
                      </a:cubicBezTo>
                      <a:cubicBezTo>
                        <a:pt x="174" y="50"/>
                        <a:pt x="174" y="49"/>
                        <a:pt x="175" y="49"/>
                      </a:cubicBezTo>
                      <a:cubicBezTo>
                        <a:pt x="193" y="38"/>
                        <a:pt x="193" y="38"/>
                        <a:pt x="193" y="38"/>
                      </a:cubicBezTo>
                      <a:cubicBezTo>
                        <a:pt x="134" y="4"/>
                        <a:pt x="134" y="4"/>
                        <a:pt x="134" y="4"/>
                      </a:cubicBezTo>
                      <a:cubicBezTo>
                        <a:pt x="131" y="6"/>
                        <a:pt x="131" y="6"/>
                        <a:pt x="131" y="6"/>
                      </a:cubicBezTo>
                      <a:cubicBezTo>
                        <a:pt x="131" y="51"/>
                        <a:pt x="131" y="51"/>
                        <a:pt x="131" y="51"/>
                      </a:cubicBezTo>
                      <a:cubicBezTo>
                        <a:pt x="131" y="52"/>
                        <a:pt x="131" y="53"/>
                        <a:pt x="130" y="53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7" y="89"/>
                        <a:pt x="66" y="89"/>
                        <a:pt x="66" y="89"/>
                      </a:cubicBezTo>
                      <a:cubicBezTo>
                        <a:pt x="65" y="89"/>
                        <a:pt x="65" y="88"/>
                        <a:pt x="65" y="87"/>
                      </a:cubicBezTo>
                      <a:cubicBezTo>
                        <a:pt x="65" y="44"/>
                        <a:pt x="65" y="44"/>
                        <a:pt x="65" y="44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71"/>
                        <a:pt x="51" y="71"/>
                        <a:pt x="51" y="71"/>
                      </a:cubicBezTo>
                      <a:cubicBezTo>
                        <a:pt x="51" y="71"/>
                        <a:pt x="50" y="72"/>
                        <a:pt x="50" y="72"/>
                      </a:cubicBezTo>
                      <a:cubicBezTo>
                        <a:pt x="49" y="73"/>
                        <a:pt x="48" y="73"/>
                        <a:pt x="48" y="72"/>
                      </a:cubicBezTo>
                      <a:cubicBezTo>
                        <a:pt x="32" y="63"/>
                        <a:pt x="32" y="63"/>
                        <a:pt x="32" y="63"/>
                      </a:cubicBezTo>
                      <a:lnTo>
                        <a:pt x="6" y="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9" name="Freeform 862">
                  <a:extLst>
                    <a:ext uri="{FF2B5EF4-FFF2-40B4-BE49-F238E27FC236}">
                      <a16:creationId xmlns:a16="http://schemas.microsoft.com/office/drawing/2014/main" id="{C50DD3BB-B76A-4F79-B93D-4EB5793945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72" y="730"/>
                  <a:ext cx="149" cy="165"/>
                </a:xfrm>
                <a:custGeom>
                  <a:avLst/>
                  <a:gdLst>
                    <a:gd name="T0" fmla="*/ 16 w 63"/>
                    <a:gd name="T1" fmla="*/ 70 h 70"/>
                    <a:gd name="T2" fmla="*/ 15 w 63"/>
                    <a:gd name="T3" fmla="*/ 70 h 70"/>
                    <a:gd name="T4" fmla="*/ 1 w 63"/>
                    <a:gd name="T5" fmla="*/ 62 h 70"/>
                    <a:gd name="T6" fmla="*/ 0 w 63"/>
                    <a:gd name="T7" fmla="*/ 60 h 70"/>
                    <a:gd name="T8" fmla="*/ 0 w 63"/>
                    <a:gd name="T9" fmla="*/ 2 h 70"/>
                    <a:gd name="T10" fmla="*/ 1 w 63"/>
                    <a:gd name="T11" fmla="*/ 0 h 70"/>
                    <a:gd name="T12" fmla="*/ 3 w 63"/>
                    <a:gd name="T13" fmla="*/ 0 h 70"/>
                    <a:gd name="T14" fmla="*/ 62 w 63"/>
                    <a:gd name="T15" fmla="*/ 34 h 70"/>
                    <a:gd name="T16" fmla="*/ 63 w 63"/>
                    <a:gd name="T17" fmla="*/ 36 h 70"/>
                    <a:gd name="T18" fmla="*/ 63 w 63"/>
                    <a:gd name="T19" fmla="*/ 42 h 70"/>
                    <a:gd name="T20" fmla="*/ 62 w 63"/>
                    <a:gd name="T21" fmla="*/ 44 h 70"/>
                    <a:gd name="T22" fmla="*/ 17 w 63"/>
                    <a:gd name="T23" fmla="*/ 70 h 70"/>
                    <a:gd name="T24" fmla="*/ 16 w 63"/>
                    <a:gd name="T25" fmla="*/ 70 h 70"/>
                    <a:gd name="T26" fmla="*/ 4 w 63"/>
                    <a:gd name="T27" fmla="*/ 59 h 70"/>
                    <a:gd name="T28" fmla="*/ 16 w 63"/>
                    <a:gd name="T29" fmla="*/ 66 h 70"/>
                    <a:gd name="T30" fmla="*/ 59 w 63"/>
                    <a:gd name="T31" fmla="*/ 41 h 70"/>
                    <a:gd name="T32" fmla="*/ 59 w 63"/>
                    <a:gd name="T33" fmla="*/ 37 h 70"/>
                    <a:gd name="T34" fmla="*/ 4 w 63"/>
                    <a:gd name="T35" fmla="*/ 5 h 70"/>
                    <a:gd name="T36" fmla="*/ 4 w 63"/>
                    <a:gd name="T37" fmla="*/ 5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3" h="70">
                      <a:moveTo>
                        <a:pt x="16" y="70"/>
                      </a:move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1" y="62"/>
                        <a:pt x="1" y="62"/>
                        <a:pt x="1" y="62"/>
                      </a:cubicBezTo>
                      <a:cubicBezTo>
                        <a:pt x="1" y="62"/>
                        <a:pt x="0" y="61"/>
                        <a:pt x="0" y="6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63" y="34"/>
                        <a:pt x="63" y="35"/>
                        <a:pt x="63" y="36"/>
                      </a:cubicBezTo>
                      <a:cubicBezTo>
                        <a:pt x="63" y="42"/>
                        <a:pt x="63" y="42"/>
                        <a:pt x="63" y="42"/>
                      </a:cubicBezTo>
                      <a:cubicBezTo>
                        <a:pt x="63" y="43"/>
                        <a:pt x="63" y="43"/>
                        <a:pt x="62" y="44"/>
                      </a:cubicBezTo>
                      <a:cubicBezTo>
                        <a:pt x="17" y="70"/>
                        <a:pt x="17" y="70"/>
                        <a:pt x="17" y="70"/>
                      </a:cubicBezTo>
                      <a:cubicBezTo>
                        <a:pt x="16" y="70"/>
                        <a:pt x="16" y="70"/>
                        <a:pt x="16" y="70"/>
                      </a:cubicBezTo>
                      <a:close/>
                      <a:moveTo>
                        <a:pt x="4" y="59"/>
                      </a:moveTo>
                      <a:cubicBezTo>
                        <a:pt x="16" y="66"/>
                        <a:pt x="16" y="66"/>
                        <a:pt x="16" y="66"/>
                      </a:cubicBezTo>
                      <a:cubicBezTo>
                        <a:pt x="59" y="41"/>
                        <a:pt x="59" y="41"/>
                        <a:pt x="59" y="41"/>
                      </a:cubicBezTo>
                      <a:cubicBezTo>
                        <a:pt x="59" y="37"/>
                        <a:pt x="59" y="37"/>
                        <a:pt x="59" y="37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0" name="Freeform 863">
                  <a:extLst>
                    <a:ext uri="{FF2B5EF4-FFF2-40B4-BE49-F238E27FC236}">
                      <a16:creationId xmlns:a16="http://schemas.microsoft.com/office/drawing/2014/main" id="{C047F40C-8CE2-4E47-BE1A-F6A4413872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75" y="631"/>
                  <a:ext cx="160" cy="175"/>
                </a:xfrm>
                <a:custGeom>
                  <a:avLst/>
                  <a:gdLst>
                    <a:gd name="T0" fmla="*/ 53 w 68"/>
                    <a:gd name="T1" fmla="*/ 74 h 74"/>
                    <a:gd name="T2" fmla="*/ 52 w 68"/>
                    <a:gd name="T3" fmla="*/ 74 h 74"/>
                    <a:gd name="T4" fmla="*/ 1 w 68"/>
                    <a:gd name="T5" fmla="*/ 44 h 74"/>
                    <a:gd name="T6" fmla="*/ 0 w 68"/>
                    <a:gd name="T7" fmla="*/ 42 h 74"/>
                    <a:gd name="T8" fmla="*/ 0 w 68"/>
                    <a:gd name="T9" fmla="*/ 36 h 74"/>
                    <a:gd name="T10" fmla="*/ 1 w 68"/>
                    <a:gd name="T11" fmla="*/ 35 h 74"/>
                    <a:gd name="T12" fmla="*/ 60 w 68"/>
                    <a:gd name="T13" fmla="*/ 1 h 74"/>
                    <a:gd name="T14" fmla="*/ 62 w 68"/>
                    <a:gd name="T15" fmla="*/ 1 h 74"/>
                    <a:gd name="T16" fmla="*/ 67 w 68"/>
                    <a:gd name="T17" fmla="*/ 4 h 74"/>
                    <a:gd name="T18" fmla="*/ 68 w 68"/>
                    <a:gd name="T19" fmla="*/ 5 h 74"/>
                    <a:gd name="T20" fmla="*/ 68 w 68"/>
                    <a:gd name="T21" fmla="*/ 7 h 74"/>
                    <a:gd name="T22" fmla="*/ 67 w 68"/>
                    <a:gd name="T23" fmla="*/ 9 h 74"/>
                    <a:gd name="T24" fmla="*/ 55 w 68"/>
                    <a:gd name="T25" fmla="*/ 16 h 74"/>
                    <a:gd name="T26" fmla="*/ 55 w 68"/>
                    <a:gd name="T27" fmla="*/ 72 h 74"/>
                    <a:gd name="T28" fmla="*/ 54 w 68"/>
                    <a:gd name="T29" fmla="*/ 74 h 74"/>
                    <a:gd name="T30" fmla="*/ 53 w 68"/>
                    <a:gd name="T31" fmla="*/ 74 h 74"/>
                    <a:gd name="T32" fmla="*/ 4 w 68"/>
                    <a:gd name="T33" fmla="*/ 41 h 74"/>
                    <a:gd name="T34" fmla="*/ 51 w 68"/>
                    <a:gd name="T35" fmla="*/ 69 h 74"/>
                    <a:gd name="T36" fmla="*/ 51 w 68"/>
                    <a:gd name="T37" fmla="*/ 15 h 74"/>
                    <a:gd name="T38" fmla="*/ 52 w 68"/>
                    <a:gd name="T39" fmla="*/ 13 h 74"/>
                    <a:gd name="T40" fmla="*/ 64 w 68"/>
                    <a:gd name="T41" fmla="*/ 6 h 74"/>
                    <a:gd name="T42" fmla="*/ 61 w 68"/>
                    <a:gd name="T43" fmla="*/ 5 h 74"/>
                    <a:gd name="T44" fmla="*/ 4 w 68"/>
                    <a:gd name="T45" fmla="*/ 38 h 74"/>
                    <a:gd name="T46" fmla="*/ 4 w 68"/>
                    <a:gd name="T47" fmla="*/ 4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8" h="74">
                      <a:moveTo>
                        <a:pt x="53" y="74"/>
                      </a:moveTo>
                      <a:cubicBezTo>
                        <a:pt x="53" y="74"/>
                        <a:pt x="53" y="74"/>
                        <a:pt x="52" y="74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44"/>
                        <a:pt x="0" y="43"/>
                        <a:pt x="0" y="42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0" y="1"/>
                        <a:pt x="60" y="1"/>
                        <a:pt x="60" y="1"/>
                      </a:cubicBezTo>
                      <a:cubicBezTo>
                        <a:pt x="61" y="0"/>
                        <a:pt x="61" y="0"/>
                        <a:pt x="62" y="1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68" y="4"/>
                        <a:pt x="68" y="5"/>
                        <a:pt x="68" y="5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8"/>
                        <a:pt x="68" y="9"/>
                        <a:pt x="67" y="9"/>
                      </a:cubicBezTo>
                      <a:cubicBezTo>
                        <a:pt x="55" y="16"/>
                        <a:pt x="55" y="16"/>
                        <a:pt x="55" y="16"/>
                      </a:cubicBezTo>
                      <a:cubicBezTo>
                        <a:pt x="55" y="72"/>
                        <a:pt x="55" y="72"/>
                        <a:pt x="55" y="72"/>
                      </a:cubicBezTo>
                      <a:cubicBezTo>
                        <a:pt x="55" y="73"/>
                        <a:pt x="55" y="74"/>
                        <a:pt x="54" y="74"/>
                      </a:cubicBezTo>
                      <a:cubicBezTo>
                        <a:pt x="54" y="74"/>
                        <a:pt x="54" y="74"/>
                        <a:pt x="53" y="74"/>
                      </a:cubicBezTo>
                      <a:close/>
                      <a:moveTo>
                        <a:pt x="4" y="41"/>
                      </a:move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15"/>
                        <a:pt x="51" y="15"/>
                        <a:pt x="51" y="15"/>
                      </a:cubicBezTo>
                      <a:cubicBezTo>
                        <a:pt x="51" y="14"/>
                        <a:pt x="52" y="13"/>
                        <a:pt x="52" y="13"/>
                      </a:cubicBezTo>
                      <a:cubicBezTo>
                        <a:pt x="64" y="6"/>
                        <a:pt x="64" y="6"/>
                        <a:pt x="64" y="6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4" y="38"/>
                        <a:pt x="4" y="38"/>
                        <a:pt x="4" y="38"/>
                      </a:cubicBezTo>
                      <a:lnTo>
                        <a:pt x="4" y="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1" name="Freeform 864">
                  <a:extLst>
                    <a:ext uri="{FF2B5EF4-FFF2-40B4-BE49-F238E27FC236}">
                      <a16:creationId xmlns:a16="http://schemas.microsoft.com/office/drawing/2014/main" id="{E09841FB-F91F-4B3A-9424-E070FE9CFF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574"/>
                  <a:ext cx="109" cy="187"/>
                </a:xfrm>
                <a:custGeom>
                  <a:avLst/>
                  <a:gdLst>
                    <a:gd name="T0" fmla="*/ 27 w 46"/>
                    <a:gd name="T1" fmla="*/ 79 h 79"/>
                    <a:gd name="T2" fmla="*/ 26 w 46"/>
                    <a:gd name="T3" fmla="*/ 78 h 79"/>
                    <a:gd name="T4" fmla="*/ 1 w 46"/>
                    <a:gd name="T5" fmla="*/ 64 h 79"/>
                    <a:gd name="T6" fmla="*/ 0 w 46"/>
                    <a:gd name="T7" fmla="*/ 63 h 79"/>
                    <a:gd name="T8" fmla="*/ 0 w 46"/>
                    <a:gd name="T9" fmla="*/ 26 h 79"/>
                    <a:gd name="T10" fmla="*/ 1 w 46"/>
                    <a:gd name="T11" fmla="*/ 25 h 79"/>
                    <a:gd name="T12" fmla="*/ 43 w 46"/>
                    <a:gd name="T13" fmla="*/ 1 h 79"/>
                    <a:gd name="T14" fmla="*/ 45 w 46"/>
                    <a:gd name="T15" fmla="*/ 1 h 79"/>
                    <a:gd name="T16" fmla="*/ 46 w 46"/>
                    <a:gd name="T17" fmla="*/ 3 h 79"/>
                    <a:gd name="T18" fmla="*/ 46 w 46"/>
                    <a:gd name="T19" fmla="*/ 67 h 79"/>
                    <a:gd name="T20" fmla="*/ 45 w 46"/>
                    <a:gd name="T21" fmla="*/ 68 h 79"/>
                    <a:gd name="T22" fmla="*/ 28 w 46"/>
                    <a:gd name="T23" fmla="*/ 78 h 79"/>
                    <a:gd name="T24" fmla="*/ 27 w 46"/>
                    <a:gd name="T25" fmla="*/ 79 h 79"/>
                    <a:gd name="T26" fmla="*/ 4 w 46"/>
                    <a:gd name="T27" fmla="*/ 61 h 79"/>
                    <a:gd name="T28" fmla="*/ 27 w 46"/>
                    <a:gd name="T29" fmla="*/ 74 h 79"/>
                    <a:gd name="T30" fmla="*/ 42 w 46"/>
                    <a:gd name="T31" fmla="*/ 66 h 79"/>
                    <a:gd name="T32" fmla="*/ 42 w 46"/>
                    <a:gd name="T33" fmla="*/ 6 h 79"/>
                    <a:gd name="T34" fmla="*/ 4 w 46"/>
                    <a:gd name="T35" fmla="*/ 28 h 79"/>
                    <a:gd name="T36" fmla="*/ 4 w 46"/>
                    <a:gd name="T37" fmla="*/ 6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6" h="79">
                      <a:moveTo>
                        <a:pt x="27" y="79"/>
                      </a:moveTo>
                      <a:cubicBezTo>
                        <a:pt x="26" y="79"/>
                        <a:pt x="26" y="78"/>
                        <a:pt x="26" y="78"/>
                      </a:cubicBez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3"/>
                        <a:pt x="0" y="63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0" y="26"/>
                        <a:pt x="1" y="25"/>
                        <a:pt x="1" y="25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3" y="0"/>
                        <a:pt x="44" y="0"/>
                        <a:pt x="45" y="1"/>
                      </a:cubicBezTo>
                      <a:cubicBezTo>
                        <a:pt x="45" y="1"/>
                        <a:pt x="46" y="2"/>
                        <a:pt x="46" y="3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46" y="67"/>
                        <a:pt x="45" y="68"/>
                        <a:pt x="45" y="68"/>
                      </a:cubicBezTo>
                      <a:cubicBezTo>
                        <a:pt x="28" y="78"/>
                        <a:pt x="28" y="78"/>
                        <a:pt x="28" y="78"/>
                      </a:cubicBezTo>
                      <a:cubicBezTo>
                        <a:pt x="27" y="78"/>
                        <a:pt x="27" y="79"/>
                        <a:pt x="27" y="79"/>
                      </a:cubicBezTo>
                      <a:close/>
                      <a:moveTo>
                        <a:pt x="4" y="61"/>
                      </a:moveTo>
                      <a:cubicBezTo>
                        <a:pt x="27" y="74"/>
                        <a:pt x="27" y="74"/>
                        <a:pt x="27" y="74"/>
                      </a:cubicBezTo>
                      <a:cubicBezTo>
                        <a:pt x="42" y="66"/>
                        <a:pt x="42" y="66"/>
                        <a:pt x="42" y="66"/>
                      </a:cubicBezTo>
                      <a:cubicBezTo>
                        <a:pt x="42" y="6"/>
                        <a:pt x="42" y="6"/>
                        <a:pt x="42" y="6"/>
                      </a:cubicBezTo>
                      <a:cubicBezTo>
                        <a:pt x="4" y="28"/>
                        <a:pt x="4" y="28"/>
                        <a:pt x="4" y="28"/>
                      </a:cubicBezTo>
                      <a:lnTo>
                        <a:pt x="4" y="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2" name="Freeform 865">
                  <a:extLst>
                    <a:ext uri="{FF2B5EF4-FFF2-40B4-BE49-F238E27FC236}">
                      <a16:creationId xmlns:a16="http://schemas.microsoft.com/office/drawing/2014/main" id="{1786E111-9DB2-4321-B12D-6DEF63BDA2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721"/>
                  <a:ext cx="64" cy="73"/>
                </a:xfrm>
                <a:custGeom>
                  <a:avLst/>
                  <a:gdLst>
                    <a:gd name="T0" fmla="*/ 2 w 27"/>
                    <a:gd name="T1" fmla="*/ 31 h 31"/>
                    <a:gd name="T2" fmla="*/ 1 w 27"/>
                    <a:gd name="T3" fmla="*/ 30 h 31"/>
                    <a:gd name="T4" fmla="*/ 0 w 27"/>
                    <a:gd name="T5" fmla="*/ 29 h 31"/>
                    <a:gd name="T6" fmla="*/ 0 w 27"/>
                    <a:gd name="T7" fmla="*/ 3 h 31"/>
                    <a:gd name="T8" fmla="*/ 1 w 27"/>
                    <a:gd name="T9" fmla="*/ 1 h 31"/>
                    <a:gd name="T10" fmla="*/ 3 w 27"/>
                    <a:gd name="T11" fmla="*/ 1 h 31"/>
                    <a:gd name="T12" fmla="*/ 26 w 27"/>
                    <a:gd name="T13" fmla="*/ 14 h 31"/>
                    <a:gd name="T14" fmla="*/ 27 w 27"/>
                    <a:gd name="T15" fmla="*/ 16 h 31"/>
                    <a:gd name="T16" fmla="*/ 26 w 27"/>
                    <a:gd name="T17" fmla="*/ 17 h 31"/>
                    <a:gd name="T18" fmla="*/ 3 w 27"/>
                    <a:gd name="T19" fmla="*/ 30 h 31"/>
                    <a:gd name="T20" fmla="*/ 2 w 27"/>
                    <a:gd name="T21" fmla="*/ 31 h 31"/>
                    <a:gd name="T22" fmla="*/ 4 w 27"/>
                    <a:gd name="T23" fmla="*/ 6 h 31"/>
                    <a:gd name="T24" fmla="*/ 4 w 27"/>
                    <a:gd name="T25" fmla="*/ 25 h 31"/>
                    <a:gd name="T26" fmla="*/ 21 w 27"/>
                    <a:gd name="T27" fmla="*/ 16 h 31"/>
                    <a:gd name="T28" fmla="*/ 4 w 27"/>
                    <a:gd name="T29" fmla="*/ 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7" h="31">
                      <a:moveTo>
                        <a:pt x="2" y="31"/>
                      </a:moveTo>
                      <a:cubicBezTo>
                        <a:pt x="2" y="31"/>
                        <a:pt x="2" y="30"/>
                        <a:pt x="1" y="30"/>
                      </a:cubicBezTo>
                      <a:cubicBezTo>
                        <a:pt x="1" y="30"/>
                        <a:pt x="0" y="29"/>
                        <a:pt x="0" y="29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26" y="14"/>
                        <a:pt x="26" y="14"/>
                        <a:pt x="26" y="14"/>
                      </a:cubicBezTo>
                      <a:cubicBezTo>
                        <a:pt x="27" y="14"/>
                        <a:pt x="27" y="15"/>
                        <a:pt x="27" y="16"/>
                      </a:cubicBezTo>
                      <a:cubicBezTo>
                        <a:pt x="27" y="16"/>
                        <a:pt x="27" y="17"/>
                        <a:pt x="26" y="17"/>
                      </a:cubicBezTo>
                      <a:cubicBezTo>
                        <a:pt x="3" y="30"/>
                        <a:pt x="3" y="30"/>
                        <a:pt x="3" y="30"/>
                      </a:cubicBezTo>
                      <a:cubicBezTo>
                        <a:pt x="3" y="30"/>
                        <a:pt x="3" y="31"/>
                        <a:pt x="2" y="31"/>
                      </a:cubicBezTo>
                      <a:close/>
                      <a:moveTo>
                        <a:pt x="4" y="6"/>
                      </a:move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21" y="16"/>
                        <a:pt x="21" y="16"/>
                        <a:pt x="21" y="1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3" name="Freeform 866">
                  <a:extLst>
                    <a:ext uri="{FF2B5EF4-FFF2-40B4-BE49-F238E27FC236}">
                      <a16:creationId xmlns:a16="http://schemas.microsoft.com/office/drawing/2014/main" id="{858A9044-FC13-4C94-B60A-7E497FDD8D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31" y="257"/>
                  <a:ext cx="274" cy="164"/>
                </a:xfrm>
                <a:custGeom>
                  <a:avLst/>
                  <a:gdLst>
                    <a:gd name="T0" fmla="*/ 38 w 116"/>
                    <a:gd name="T1" fmla="*/ 69 h 69"/>
                    <a:gd name="T2" fmla="*/ 37 w 116"/>
                    <a:gd name="T3" fmla="*/ 69 h 69"/>
                    <a:gd name="T4" fmla="*/ 1 w 116"/>
                    <a:gd name="T5" fmla="*/ 48 h 69"/>
                    <a:gd name="T6" fmla="*/ 0 w 116"/>
                    <a:gd name="T7" fmla="*/ 46 h 69"/>
                    <a:gd name="T8" fmla="*/ 1 w 116"/>
                    <a:gd name="T9" fmla="*/ 44 h 69"/>
                    <a:gd name="T10" fmla="*/ 77 w 116"/>
                    <a:gd name="T11" fmla="*/ 1 h 69"/>
                    <a:gd name="T12" fmla="*/ 79 w 116"/>
                    <a:gd name="T13" fmla="*/ 1 h 69"/>
                    <a:gd name="T14" fmla="*/ 115 w 116"/>
                    <a:gd name="T15" fmla="*/ 21 h 69"/>
                    <a:gd name="T16" fmla="*/ 116 w 116"/>
                    <a:gd name="T17" fmla="*/ 23 h 69"/>
                    <a:gd name="T18" fmla="*/ 115 w 116"/>
                    <a:gd name="T19" fmla="*/ 25 h 69"/>
                    <a:gd name="T20" fmla="*/ 39 w 116"/>
                    <a:gd name="T21" fmla="*/ 69 h 69"/>
                    <a:gd name="T22" fmla="*/ 38 w 116"/>
                    <a:gd name="T23" fmla="*/ 69 h 69"/>
                    <a:gd name="T24" fmla="*/ 6 w 116"/>
                    <a:gd name="T25" fmla="*/ 46 h 69"/>
                    <a:gd name="T26" fmla="*/ 38 w 116"/>
                    <a:gd name="T27" fmla="*/ 65 h 69"/>
                    <a:gd name="T28" fmla="*/ 110 w 116"/>
                    <a:gd name="T29" fmla="*/ 23 h 69"/>
                    <a:gd name="T30" fmla="*/ 78 w 116"/>
                    <a:gd name="T31" fmla="*/ 5 h 69"/>
                    <a:gd name="T32" fmla="*/ 6 w 116"/>
                    <a:gd name="T33" fmla="*/ 46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6" h="69">
                      <a:moveTo>
                        <a:pt x="38" y="69"/>
                      </a:moveTo>
                      <a:cubicBezTo>
                        <a:pt x="38" y="69"/>
                        <a:pt x="37" y="69"/>
                        <a:pt x="37" y="69"/>
                      </a:cubicBezTo>
                      <a:cubicBezTo>
                        <a:pt x="1" y="48"/>
                        <a:pt x="1" y="48"/>
                        <a:pt x="1" y="48"/>
                      </a:cubicBezTo>
                      <a:cubicBezTo>
                        <a:pt x="0" y="47"/>
                        <a:pt x="0" y="47"/>
                        <a:pt x="0" y="46"/>
                      </a:cubicBezTo>
                      <a:cubicBezTo>
                        <a:pt x="0" y="45"/>
                        <a:pt x="0" y="45"/>
                        <a:pt x="1" y="44"/>
                      </a:cubicBezTo>
                      <a:cubicBezTo>
                        <a:pt x="77" y="1"/>
                        <a:pt x="77" y="1"/>
                        <a:pt x="77" y="1"/>
                      </a:cubicBezTo>
                      <a:cubicBezTo>
                        <a:pt x="77" y="0"/>
                        <a:pt x="78" y="0"/>
                        <a:pt x="79" y="1"/>
                      </a:cubicBezTo>
                      <a:cubicBezTo>
                        <a:pt x="115" y="21"/>
                        <a:pt x="115" y="21"/>
                        <a:pt x="115" y="21"/>
                      </a:cubicBezTo>
                      <a:cubicBezTo>
                        <a:pt x="115" y="22"/>
                        <a:pt x="116" y="22"/>
                        <a:pt x="116" y="23"/>
                      </a:cubicBezTo>
                      <a:cubicBezTo>
                        <a:pt x="116" y="24"/>
                        <a:pt x="115" y="25"/>
                        <a:pt x="115" y="25"/>
                      </a:cubicBezTo>
                      <a:cubicBezTo>
                        <a:pt x="39" y="69"/>
                        <a:pt x="39" y="69"/>
                        <a:pt x="39" y="69"/>
                      </a:cubicBezTo>
                      <a:cubicBezTo>
                        <a:pt x="39" y="69"/>
                        <a:pt x="38" y="69"/>
                        <a:pt x="38" y="69"/>
                      </a:cubicBezTo>
                      <a:close/>
                      <a:moveTo>
                        <a:pt x="6" y="46"/>
                      </a:moveTo>
                      <a:cubicBezTo>
                        <a:pt x="38" y="65"/>
                        <a:pt x="38" y="65"/>
                        <a:pt x="38" y="65"/>
                      </a:cubicBezTo>
                      <a:cubicBezTo>
                        <a:pt x="110" y="23"/>
                        <a:pt x="110" y="23"/>
                        <a:pt x="110" y="23"/>
                      </a:cubicBezTo>
                      <a:cubicBezTo>
                        <a:pt x="78" y="5"/>
                        <a:pt x="78" y="5"/>
                        <a:pt x="78" y="5"/>
                      </a:cubicBezTo>
                      <a:lnTo>
                        <a:pt x="6" y="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4" name="Freeform 867">
                  <a:extLst>
                    <a:ext uri="{FF2B5EF4-FFF2-40B4-BE49-F238E27FC236}">
                      <a16:creationId xmlns:a16="http://schemas.microsoft.com/office/drawing/2014/main" id="{8EC60610-C91C-45A1-B8A9-82E5F0F03B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42" y="402"/>
                  <a:ext cx="293" cy="333"/>
                </a:xfrm>
                <a:custGeom>
                  <a:avLst/>
                  <a:gdLst>
                    <a:gd name="T0" fmla="*/ 45 w 124"/>
                    <a:gd name="T1" fmla="*/ 141 h 141"/>
                    <a:gd name="T2" fmla="*/ 44 w 124"/>
                    <a:gd name="T3" fmla="*/ 141 h 141"/>
                    <a:gd name="T4" fmla="*/ 43 w 124"/>
                    <a:gd name="T5" fmla="*/ 139 h 141"/>
                    <a:gd name="T6" fmla="*/ 43 w 124"/>
                    <a:gd name="T7" fmla="*/ 76 h 141"/>
                    <a:gd name="T8" fmla="*/ 3 w 124"/>
                    <a:gd name="T9" fmla="*/ 99 h 141"/>
                    <a:gd name="T10" fmla="*/ 1 w 124"/>
                    <a:gd name="T11" fmla="*/ 99 h 141"/>
                    <a:gd name="T12" fmla="*/ 0 w 124"/>
                    <a:gd name="T13" fmla="*/ 97 h 141"/>
                    <a:gd name="T14" fmla="*/ 0 w 124"/>
                    <a:gd name="T15" fmla="*/ 25 h 141"/>
                    <a:gd name="T16" fmla="*/ 1 w 124"/>
                    <a:gd name="T17" fmla="*/ 24 h 141"/>
                    <a:gd name="T18" fmla="*/ 32 w 124"/>
                    <a:gd name="T19" fmla="*/ 6 h 141"/>
                    <a:gd name="T20" fmla="*/ 34 w 124"/>
                    <a:gd name="T21" fmla="*/ 6 h 141"/>
                    <a:gd name="T22" fmla="*/ 73 w 124"/>
                    <a:gd name="T23" fmla="*/ 28 h 141"/>
                    <a:gd name="T24" fmla="*/ 121 w 124"/>
                    <a:gd name="T25" fmla="*/ 0 h 141"/>
                    <a:gd name="T26" fmla="*/ 123 w 124"/>
                    <a:gd name="T27" fmla="*/ 0 h 141"/>
                    <a:gd name="T28" fmla="*/ 124 w 124"/>
                    <a:gd name="T29" fmla="*/ 2 h 141"/>
                    <a:gd name="T30" fmla="*/ 124 w 124"/>
                    <a:gd name="T31" fmla="*/ 94 h 141"/>
                    <a:gd name="T32" fmla="*/ 123 w 124"/>
                    <a:gd name="T33" fmla="*/ 96 h 141"/>
                    <a:gd name="T34" fmla="*/ 118 w 124"/>
                    <a:gd name="T35" fmla="*/ 99 h 141"/>
                    <a:gd name="T36" fmla="*/ 116 w 124"/>
                    <a:gd name="T37" fmla="*/ 99 h 141"/>
                    <a:gd name="T38" fmla="*/ 58 w 124"/>
                    <a:gd name="T39" fmla="*/ 66 h 141"/>
                    <a:gd name="T40" fmla="*/ 58 w 124"/>
                    <a:gd name="T41" fmla="*/ 133 h 141"/>
                    <a:gd name="T42" fmla="*/ 57 w 124"/>
                    <a:gd name="T43" fmla="*/ 134 h 141"/>
                    <a:gd name="T44" fmla="*/ 46 w 124"/>
                    <a:gd name="T45" fmla="*/ 141 h 141"/>
                    <a:gd name="T46" fmla="*/ 45 w 124"/>
                    <a:gd name="T47" fmla="*/ 141 h 141"/>
                    <a:gd name="T48" fmla="*/ 45 w 124"/>
                    <a:gd name="T49" fmla="*/ 71 h 141"/>
                    <a:gd name="T50" fmla="*/ 46 w 124"/>
                    <a:gd name="T51" fmla="*/ 71 h 141"/>
                    <a:gd name="T52" fmla="*/ 47 w 124"/>
                    <a:gd name="T53" fmla="*/ 73 h 141"/>
                    <a:gd name="T54" fmla="*/ 47 w 124"/>
                    <a:gd name="T55" fmla="*/ 135 h 141"/>
                    <a:gd name="T56" fmla="*/ 54 w 124"/>
                    <a:gd name="T57" fmla="*/ 131 h 141"/>
                    <a:gd name="T58" fmla="*/ 54 w 124"/>
                    <a:gd name="T59" fmla="*/ 62 h 141"/>
                    <a:gd name="T60" fmla="*/ 55 w 124"/>
                    <a:gd name="T61" fmla="*/ 61 h 141"/>
                    <a:gd name="T62" fmla="*/ 57 w 124"/>
                    <a:gd name="T63" fmla="*/ 61 h 141"/>
                    <a:gd name="T64" fmla="*/ 117 w 124"/>
                    <a:gd name="T65" fmla="*/ 95 h 141"/>
                    <a:gd name="T66" fmla="*/ 120 w 124"/>
                    <a:gd name="T67" fmla="*/ 93 h 141"/>
                    <a:gd name="T68" fmla="*/ 120 w 124"/>
                    <a:gd name="T69" fmla="*/ 6 h 141"/>
                    <a:gd name="T70" fmla="*/ 74 w 124"/>
                    <a:gd name="T71" fmla="*/ 32 h 141"/>
                    <a:gd name="T72" fmla="*/ 72 w 124"/>
                    <a:gd name="T73" fmla="*/ 32 h 141"/>
                    <a:gd name="T74" fmla="*/ 33 w 124"/>
                    <a:gd name="T75" fmla="*/ 10 h 141"/>
                    <a:gd name="T76" fmla="*/ 4 w 124"/>
                    <a:gd name="T77" fmla="*/ 27 h 141"/>
                    <a:gd name="T78" fmla="*/ 4 w 124"/>
                    <a:gd name="T79" fmla="*/ 94 h 141"/>
                    <a:gd name="T80" fmla="*/ 44 w 124"/>
                    <a:gd name="T81" fmla="*/ 71 h 141"/>
                    <a:gd name="T82" fmla="*/ 45 w 124"/>
                    <a:gd name="T83" fmla="*/ 7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24" h="141">
                      <a:moveTo>
                        <a:pt x="45" y="141"/>
                      </a:moveTo>
                      <a:cubicBezTo>
                        <a:pt x="45" y="141"/>
                        <a:pt x="45" y="141"/>
                        <a:pt x="44" y="141"/>
                      </a:cubicBezTo>
                      <a:cubicBezTo>
                        <a:pt x="44" y="140"/>
                        <a:pt x="43" y="140"/>
                        <a:pt x="43" y="139"/>
                      </a:cubicBezTo>
                      <a:cubicBezTo>
                        <a:pt x="43" y="76"/>
                        <a:pt x="43" y="76"/>
                        <a:pt x="43" y="76"/>
                      </a:cubicBezTo>
                      <a:cubicBezTo>
                        <a:pt x="3" y="99"/>
                        <a:pt x="3" y="99"/>
                        <a:pt x="3" y="99"/>
                      </a:cubicBezTo>
                      <a:cubicBezTo>
                        <a:pt x="3" y="100"/>
                        <a:pt x="2" y="100"/>
                        <a:pt x="1" y="99"/>
                      </a:cubicBezTo>
                      <a:cubicBezTo>
                        <a:pt x="1" y="99"/>
                        <a:pt x="0" y="98"/>
                        <a:pt x="0" y="97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5"/>
                        <a:pt x="1" y="24"/>
                        <a:pt x="1" y="24"/>
                      </a:cubicBezTo>
                      <a:cubicBezTo>
                        <a:pt x="32" y="6"/>
                        <a:pt x="32" y="6"/>
                        <a:pt x="32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73" y="28"/>
                        <a:pt x="73" y="28"/>
                        <a:pt x="73" y="28"/>
                      </a:cubicBezTo>
                      <a:cubicBezTo>
                        <a:pt x="121" y="0"/>
                        <a:pt x="121" y="0"/>
                        <a:pt x="121" y="0"/>
                      </a:cubicBezTo>
                      <a:cubicBezTo>
                        <a:pt x="122" y="0"/>
                        <a:pt x="122" y="0"/>
                        <a:pt x="123" y="0"/>
                      </a:cubicBezTo>
                      <a:cubicBezTo>
                        <a:pt x="124" y="1"/>
                        <a:pt x="124" y="1"/>
                        <a:pt x="124" y="2"/>
                      </a:cubicBezTo>
                      <a:cubicBezTo>
                        <a:pt x="124" y="94"/>
                        <a:pt x="124" y="94"/>
                        <a:pt x="124" y="94"/>
                      </a:cubicBezTo>
                      <a:cubicBezTo>
                        <a:pt x="124" y="95"/>
                        <a:pt x="124" y="96"/>
                        <a:pt x="123" y="96"/>
                      </a:cubicBezTo>
                      <a:cubicBezTo>
                        <a:pt x="118" y="99"/>
                        <a:pt x="118" y="99"/>
                        <a:pt x="118" y="99"/>
                      </a:cubicBezTo>
                      <a:cubicBezTo>
                        <a:pt x="117" y="100"/>
                        <a:pt x="117" y="100"/>
                        <a:pt x="116" y="99"/>
                      </a:cubicBezTo>
                      <a:cubicBezTo>
                        <a:pt x="58" y="66"/>
                        <a:pt x="58" y="66"/>
                        <a:pt x="58" y="66"/>
                      </a:cubicBezTo>
                      <a:cubicBezTo>
                        <a:pt x="58" y="133"/>
                        <a:pt x="58" y="133"/>
                        <a:pt x="58" y="133"/>
                      </a:cubicBezTo>
                      <a:cubicBezTo>
                        <a:pt x="58" y="133"/>
                        <a:pt x="58" y="134"/>
                        <a:pt x="57" y="134"/>
                      </a:cubicBezTo>
                      <a:cubicBezTo>
                        <a:pt x="46" y="141"/>
                        <a:pt x="46" y="141"/>
                        <a:pt x="46" y="141"/>
                      </a:cubicBezTo>
                      <a:cubicBezTo>
                        <a:pt x="46" y="141"/>
                        <a:pt x="46" y="141"/>
                        <a:pt x="45" y="141"/>
                      </a:cubicBezTo>
                      <a:close/>
                      <a:moveTo>
                        <a:pt x="45" y="71"/>
                      </a:moveTo>
                      <a:cubicBezTo>
                        <a:pt x="46" y="71"/>
                        <a:pt x="46" y="71"/>
                        <a:pt x="46" y="71"/>
                      </a:cubicBezTo>
                      <a:cubicBezTo>
                        <a:pt x="47" y="71"/>
                        <a:pt x="47" y="72"/>
                        <a:pt x="47" y="73"/>
                      </a:cubicBezTo>
                      <a:cubicBezTo>
                        <a:pt x="47" y="135"/>
                        <a:pt x="47" y="135"/>
                        <a:pt x="47" y="135"/>
                      </a:cubicBezTo>
                      <a:cubicBezTo>
                        <a:pt x="54" y="131"/>
                        <a:pt x="54" y="131"/>
                        <a:pt x="54" y="131"/>
                      </a:cubicBezTo>
                      <a:cubicBezTo>
                        <a:pt x="54" y="62"/>
                        <a:pt x="54" y="62"/>
                        <a:pt x="54" y="62"/>
                      </a:cubicBezTo>
                      <a:cubicBezTo>
                        <a:pt x="54" y="62"/>
                        <a:pt x="54" y="61"/>
                        <a:pt x="55" y="61"/>
                      </a:cubicBezTo>
                      <a:cubicBezTo>
                        <a:pt x="56" y="60"/>
                        <a:pt x="56" y="60"/>
                        <a:pt x="57" y="61"/>
                      </a:cubicBezTo>
                      <a:cubicBezTo>
                        <a:pt x="117" y="95"/>
                        <a:pt x="117" y="95"/>
                        <a:pt x="117" y="95"/>
                      </a:cubicBezTo>
                      <a:cubicBezTo>
                        <a:pt x="120" y="93"/>
                        <a:pt x="120" y="93"/>
                        <a:pt x="120" y="93"/>
                      </a:cubicBezTo>
                      <a:cubicBezTo>
                        <a:pt x="120" y="6"/>
                        <a:pt x="120" y="6"/>
                        <a:pt x="120" y="6"/>
                      </a:cubicBezTo>
                      <a:cubicBezTo>
                        <a:pt x="74" y="32"/>
                        <a:pt x="74" y="32"/>
                        <a:pt x="74" y="32"/>
                      </a:cubicBezTo>
                      <a:cubicBezTo>
                        <a:pt x="73" y="33"/>
                        <a:pt x="72" y="33"/>
                        <a:pt x="72" y="32"/>
                      </a:cubicBezTo>
                      <a:cubicBezTo>
                        <a:pt x="33" y="10"/>
                        <a:pt x="33" y="10"/>
                        <a:pt x="33" y="10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4" y="94"/>
                        <a:pt x="4" y="94"/>
                        <a:pt x="4" y="94"/>
                      </a:cubicBezTo>
                      <a:cubicBezTo>
                        <a:pt x="44" y="71"/>
                        <a:pt x="44" y="71"/>
                        <a:pt x="44" y="71"/>
                      </a:cubicBezTo>
                      <a:cubicBezTo>
                        <a:pt x="45" y="71"/>
                        <a:pt x="45" y="71"/>
                        <a:pt x="45" y="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5" name="Freeform 868">
                  <a:extLst>
                    <a:ext uri="{FF2B5EF4-FFF2-40B4-BE49-F238E27FC236}">
                      <a16:creationId xmlns:a16="http://schemas.microsoft.com/office/drawing/2014/main" id="{DDE24650-07CC-488B-BE25-59763254653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02" y="293"/>
                  <a:ext cx="33" cy="38"/>
                </a:xfrm>
                <a:custGeom>
                  <a:avLst/>
                  <a:gdLst>
                    <a:gd name="T0" fmla="*/ 12 w 14"/>
                    <a:gd name="T1" fmla="*/ 16 h 16"/>
                    <a:gd name="T2" fmla="*/ 11 w 14"/>
                    <a:gd name="T3" fmla="*/ 16 h 16"/>
                    <a:gd name="T4" fmla="*/ 1 w 14"/>
                    <a:gd name="T5" fmla="*/ 10 h 16"/>
                    <a:gd name="T6" fmla="*/ 0 w 14"/>
                    <a:gd name="T7" fmla="*/ 8 h 16"/>
                    <a:gd name="T8" fmla="*/ 1 w 14"/>
                    <a:gd name="T9" fmla="*/ 6 h 16"/>
                    <a:gd name="T10" fmla="*/ 11 w 14"/>
                    <a:gd name="T11" fmla="*/ 1 h 16"/>
                    <a:gd name="T12" fmla="*/ 13 w 14"/>
                    <a:gd name="T13" fmla="*/ 1 h 16"/>
                    <a:gd name="T14" fmla="*/ 14 w 14"/>
                    <a:gd name="T15" fmla="*/ 2 h 16"/>
                    <a:gd name="T16" fmla="*/ 14 w 14"/>
                    <a:gd name="T17" fmla="*/ 14 h 16"/>
                    <a:gd name="T18" fmla="*/ 13 w 14"/>
                    <a:gd name="T19" fmla="*/ 16 h 16"/>
                    <a:gd name="T20" fmla="*/ 12 w 14"/>
                    <a:gd name="T21" fmla="*/ 16 h 16"/>
                    <a:gd name="T22" fmla="*/ 6 w 14"/>
                    <a:gd name="T23" fmla="*/ 8 h 16"/>
                    <a:gd name="T24" fmla="*/ 10 w 14"/>
                    <a:gd name="T25" fmla="*/ 10 h 16"/>
                    <a:gd name="T26" fmla="*/ 10 w 14"/>
                    <a:gd name="T27" fmla="*/ 6 h 16"/>
                    <a:gd name="T28" fmla="*/ 6 w 14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6">
                      <a:moveTo>
                        <a:pt x="12" y="16"/>
                      </a:moveTo>
                      <a:cubicBezTo>
                        <a:pt x="12" y="16"/>
                        <a:pt x="11" y="16"/>
                        <a:pt x="11" y="1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0" y="10"/>
                        <a:pt x="0" y="9"/>
                        <a:pt x="0" y="8"/>
                      </a:cubicBez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2" y="0"/>
                        <a:pt x="12" y="0"/>
                        <a:pt x="13" y="1"/>
                      </a:cubicBezTo>
                      <a:cubicBezTo>
                        <a:pt x="14" y="1"/>
                        <a:pt x="14" y="2"/>
                        <a:pt x="14" y="2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4" y="15"/>
                        <a:pt x="14" y="15"/>
                        <a:pt x="13" y="16"/>
                      </a:cubicBezTo>
                      <a:cubicBezTo>
                        <a:pt x="13" y="16"/>
                        <a:pt x="12" y="16"/>
                        <a:pt x="12" y="16"/>
                      </a:cubicBezTo>
                      <a:close/>
                      <a:moveTo>
                        <a:pt x="6" y="8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6" name="Freeform 869">
                  <a:extLst>
                    <a:ext uri="{FF2B5EF4-FFF2-40B4-BE49-F238E27FC236}">
                      <a16:creationId xmlns:a16="http://schemas.microsoft.com/office/drawing/2014/main" id="{34D65BDE-787A-4721-AD4E-2ECDC7BEF6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20" y="309"/>
                  <a:ext cx="215" cy="166"/>
                </a:xfrm>
                <a:custGeom>
                  <a:avLst/>
                  <a:gdLst>
                    <a:gd name="T0" fmla="*/ 40 w 91"/>
                    <a:gd name="T1" fmla="*/ 70 h 70"/>
                    <a:gd name="T2" fmla="*/ 39 w 91"/>
                    <a:gd name="T3" fmla="*/ 69 h 70"/>
                    <a:gd name="T4" fmla="*/ 1 w 91"/>
                    <a:gd name="T5" fmla="*/ 48 h 70"/>
                    <a:gd name="T6" fmla="*/ 0 w 91"/>
                    <a:gd name="T7" fmla="*/ 46 h 70"/>
                    <a:gd name="T8" fmla="*/ 1 w 91"/>
                    <a:gd name="T9" fmla="*/ 44 h 70"/>
                    <a:gd name="T10" fmla="*/ 76 w 91"/>
                    <a:gd name="T11" fmla="*/ 0 h 70"/>
                    <a:gd name="T12" fmla="*/ 78 w 91"/>
                    <a:gd name="T13" fmla="*/ 0 h 70"/>
                    <a:gd name="T14" fmla="*/ 90 w 91"/>
                    <a:gd name="T15" fmla="*/ 7 h 70"/>
                    <a:gd name="T16" fmla="*/ 91 w 91"/>
                    <a:gd name="T17" fmla="*/ 9 h 70"/>
                    <a:gd name="T18" fmla="*/ 91 w 91"/>
                    <a:gd name="T19" fmla="*/ 39 h 70"/>
                    <a:gd name="T20" fmla="*/ 90 w 91"/>
                    <a:gd name="T21" fmla="*/ 41 h 70"/>
                    <a:gd name="T22" fmla="*/ 41 w 91"/>
                    <a:gd name="T23" fmla="*/ 69 h 70"/>
                    <a:gd name="T24" fmla="*/ 40 w 91"/>
                    <a:gd name="T25" fmla="*/ 70 h 70"/>
                    <a:gd name="T26" fmla="*/ 6 w 91"/>
                    <a:gd name="T27" fmla="*/ 46 h 70"/>
                    <a:gd name="T28" fmla="*/ 40 w 91"/>
                    <a:gd name="T29" fmla="*/ 65 h 70"/>
                    <a:gd name="T30" fmla="*/ 87 w 91"/>
                    <a:gd name="T31" fmla="*/ 38 h 70"/>
                    <a:gd name="T32" fmla="*/ 87 w 91"/>
                    <a:gd name="T33" fmla="*/ 10 h 70"/>
                    <a:gd name="T34" fmla="*/ 77 w 91"/>
                    <a:gd name="T35" fmla="*/ 4 h 70"/>
                    <a:gd name="T36" fmla="*/ 6 w 91"/>
                    <a:gd name="T37" fmla="*/ 46 h 70"/>
                    <a:gd name="T38" fmla="*/ 89 w 91"/>
                    <a:gd name="T39" fmla="*/ 39 h 70"/>
                    <a:gd name="T40" fmla="*/ 89 w 91"/>
                    <a:gd name="T41" fmla="*/ 3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1" h="70">
                      <a:moveTo>
                        <a:pt x="40" y="70"/>
                      </a:moveTo>
                      <a:cubicBezTo>
                        <a:pt x="39" y="70"/>
                        <a:pt x="39" y="70"/>
                        <a:pt x="39" y="69"/>
                      </a:cubicBezTo>
                      <a:cubicBezTo>
                        <a:pt x="1" y="48"/>
                        <a:pt x="1" y="48"/>
                        <a:pt x="1" y="48"/>
                      </a:cubicBezTo>
                      <a:cubicBezTo>
                        <a:pt x="0" y="47"/>
                        <a:pt x="0" y="47"/>
                        <a:pt x="0" y="46"/>
                      </a:cubicBezTo>
                      <a:cubicBezTo>
                        <a:pt x="0" y="45"/>
                        <a:pt x="0" y="44"/>
                        <a:pt x="1" y="44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77" y="0"/>
                        <a:pt x="78" y="0"/>
                        <a:pt x="78" y="0"/>
                      </a:cubicBezTo>
                      <a:cubicBezTo>
                        <a:pt x="90" y="7"/>
                        <a:pt x="90" y="7"/>
                        <a:pt x="90" y="7"/>
                      </a:cubicBezTo>
                      <a:cubicBezTo>
                        <a:pt x="91" y="7"/>
                        <a:pt x="91" y="8"/>
                        <a:pt x="91" y="9"/>
                      </a:cubicBezTo>
                      <a:cubicBezTo>
                        <a:pt x="91" y="39"/>
                        <a:pt x="91" y="39"/>
                        <a:pt x="91" y="39"/>
                      </a:cubicBezTo>
                      <a:cubicBezTo>
                        <a:pt x="91" y="40"/>
                        <a:pt x="91" y="41"/>
                        <a:pt x="90" y="41"/>
                      </a:cubicBezTo>
                      <a:cubicBezTo>
                        <a:pt x="41" y="69"/>
                        <a:pt x="41" y="69"/>
                        <a:pt x="41" y="69"/>
                      </a:cubicBezTo>
                      <a:cubicBezTo>
                        <a:pt x="40" y="70"/>
                        <a:pt x="40" y="70"/>
                        <a:pt x="40" y="70"/>
                      </a:cubicBezTo>
                      <a:close/>
                      <a:moveTo>
                        <a:pt x="6" y="46"/>
                      </a:moveTo>
                      <a:cubicBezTo>
                        <a:pt x="40" y="65"/>
                        <a:pt x="40" y="65"/>
                        <a:pt x="40" y="65"/>
                      </a:cubicBezTo>
                      <a:cubicBezTo>
                        <a:pt x="87" y="38"/>
                        <a:pt x="87" y="38"/>
                        <a:pt x="87" y="38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77" y="4"/>
                        <a:pt x="77" y="4"/>
                        <a:pt x="77" y="4"/>
                      </a:cubicBezTo>
                      <a:lnTo>
                        <a:pt x="6" y="46"/>
                      </a:lnTo>
                      <a:close/>
                      <a:moveTo>
                        <a:pt x="89" y="39"/>
                      </a:moveTo>
                      <a:cubicBezTo>
                        <a:pt x="89" y="39"/>
                        <a:pt x="89" y="39"/>
                        <a:pt x="89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7" name="Freeform 870">
                  <a:extLst>
                    <a:ext uri="{FF2B5EF4-FFF2-40B4-BE49-F238E27FC236}">
                      <a16:creationId xmlns:a16="http://schemas.microsoft.com/office/drawing/2014/main" id="{55D810EB-19C1-4BE6-A61D-ACE92C2A2A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16" y="815"/>
                  <a:ext cx="24" cy="17"/>
                </a:xfrm>
                <a:custGeom>
                  <a:avLst/>
                  <a:gdLst>
                    <a:gd name="T0" fmla="*/ 6 w 10"/>
                    <a:gd name="T1" fmla="*/ 7 h 7"/>
                    <a:gd name="T2" fmla="*/ 5 w 10"/>
                    <a:gd name="T3" fmla="*/ 7 h 7"/>
                    <a:gd name="T4" fmla="*/ 1 w 10"/>
                    <a:gd name="T5" fmla="*/ 5 h 7"/>
                    <a:gd name="T6" fmla="*/ 0 w 10"/>
                    <a:gd name="T7" fmla="*/ 3 h 7"/>
                    <a:gd name="T8" fmla="*/ 1 w 10"/>
                    <a:gd name="T9" fmla="*/ 1 h 7"/>
                    <a:gd name="T10" fmla="*/ 3 w 10"/>
                    <a:gd name="T11" fmla="*/ 0 h 7"/>
                    <a:gd name="T12" fmla="*/ 5 w 10"/>
                    <a:gd name="T13" fmla="*/ 0 h 7"/>
                    <a:gd name="T14" fmla="*/ 9 w 10"/>
                    <a:gd name="T15" fmla="*/ 3 h 7"/>
                    <a:gd name="T16" fmla="*/ 10 w 10"/>
                    <a:gd name="T17" fmla="*/ 4 h 7"/>
                    <a:gd name="T18" fmla="*/ 9 w 10"/>
                    <a:gd name="T19" fmla="*/ 6 h 7"/>
                    <a:gd name="T20" fmla="*/ 7 w 10"/>
                    <a:gd name="T21" fmla="*/ 7 h 7"/>
                    <a:gd name="T22" fmla="*/ 6 w 10"/>
                    <a:gd name="T2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" h="7">
                      <a:moveTo>
                        <a:pt x="6" y="7"/>
                      </a:moveTo>
                      <a:cubicBezTo>
                        <a:pt x="6" y="7"/>
                        <a:pt x="6" y="7"/>
                        <a:pt x="5" y="7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4"/>
                        <a:pt x="0" y="4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9" y="3"/>
                        <a:pt x="10" y="4"/>
                        <a:pt x="10" y="4"/>
                      </a:cubicBezTo>
                      <a:cubicBezTo>
                        <a:pt x="10" y="5"/>
                        <a:pt x="9" y="6"/>
                        <a:pt x="9" y="6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7" y="7"/>
                        <a:pt x="6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8" name="Freeform 871">
                  <a:extLst>
                    <a:ext uri="{FF2B5EF4-FFF2-40B4-BE49-F238E27FC236}">
                      <a16:creationId xmlns:a16="http://schemas.microsoft.com/office/drawing/2014/main" id="{1E7F03C0-5C2A-45BB-882D-37D556C9DB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38" y="1077"/>
                  <a:ext cx="29" cy="36"/>
                </a:xfrm>
                <a:custGeom>
                  <a:avLst/>
                  <a:gdLst>
                    <a:gd name="T0" fmla="*/ 10 w 12"/>
                    <a:gd name="T1" fmla="*/ 15 h 15"/>
                    <a:gd name="T2" fmla="*/ 9 w 12"/>
                    <a:gd name="T3" fmla="*/ 14 h 15"/>
                    <a:gd name="T4" fmla="*/ 1 w 12"/>
                    <a:gd name="T5" fmla="*/ 9 h 15"/>
                    <a:gd name="T6" fmla="*/ 0 w 12"/>
                    <a:gd name="T7" fmla="*/ 8 h 15"/>
                    <a:gd name="T8" fmla="*/ 1 w 12"/>
                    <a:gd name="T9" fmla="*/ 6 h 15"/>
                    <a:gd name="T10" fmla="*/ 9 w 12"/>
                    <a:gd name="T11" fmla="*/ 1 h 15"/>
                    <a:gd name="T12" fmla="*/ 11 w 12"/>
                    <a:gd name="T13" fmla="*/ 1 h 15"/>
                    <a:gd name="T14" fmla="*/ 12 w 12"/>
                    <a:gd name="T15" fmla="*/ 3 h 15"/>
                    <a:gd name="T16" fmla="*/ 12 w 12"/>
                    <a:gd name="T17" fmla="*/ 13 h 15"/>
                    <a:gd name="T18" fmla="*/ 11 w 12"/>
                    <a:gd name="T19" fmla="*/ 14 h 15"/>
                    <a:gd name="T20" fmla="*/ 10 w 12"/>
                    <a:gd name="T21" fmla="*/ 15 h 15"/>
                    <a:gd name="T22" fmla="*/ 6 w 12"/>
                    <a:gd name="T23" fmla="*/ 8 h 15"/>
                    <a:gd name="T24" fmla="*/ 8 w 12"/>
                    <a:gd name="T25" fmla="*/ 9 h 15"/>
                    <a:gd name="T26" fmla="*/ 8 w 12"/>
                    <a:gd name="T27" fmla="*/ 6 h 15"/>
                    <a:gd name="T28" fmla="*/ 6 w 12"/>
                    <a:gd name="T29" fmla="*/ 8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5">
                      <a:moveTo>
                        <a:pt x="10" y="15"/>
                      </a:moveTo>
                      <a:cubicBezTo>
                        <a:pt x="10" y="15"/>
                        <a:pt x="10" y="14"/>
                        <a:pt x="9" y="14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9"/>
                        <a:pt x="0" y="8"/>
                        <a:pt x="0" y="8"/>
                      </a:cubicBezTo>
                      <a:cubicBezTo>
                        <a:pt x="0" y="7"/>
                        <a:pt x="0" y="6"/>
                        <a:pt x="1" y="6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0"/>
                        <a:pt x="11" y="0"/>
                        <a:pt x="11" y="1"/>
                      </a:cubicBezTo>
                      <a:cubicBezTo>
                        <a:pt x="12" y="1"/>
                        <a:pt x="12" y="2"/>
                        <a:pt x="12" y="3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2" y="13"/>
                        <a:pt x="12" y="14"/>
                        <a:pt x="11" y="14"/>
                      </a:cubicBezTo>
                      <a:cubicBezTo>
                        <a:pt x="11" y="14"/>
                        <a:pt x="11" y="15"/>
                        <a:pt x="10" y="15"/>
                      </a:cubicBezTo>
                      <a:close/>
                      <a:moveTo>
                        <a:pt x="6" y="8"/>
                      </a:move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6"/>
                        <a:pt x="8" y="6"/>
                        <a:pt x="8" y="6"/>
                      </a:cubicBez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9" name="Freeform 872">
                  <a:extLst>
                    <a:ext uri="{FF2B5EF4-FFF2-40B4-BE49-F238E27FC236}">
                      <a16:creationId xmlns:a16="http://schemas.microsoft.com/office/drawing/2014/main" id="{33358C3C-AAEE-4A16-9277-4F297F09CB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395"/>
                  <a:ext cx="62" cy="153"/>
                </a:xfrm>
                <a:custGeom>
                  <a:avLst/>
                  <a:gdLst>
                    <a:gd name="T0" fmla="*/ 2 w 26"/>
                    <a:gd name="T1" fmla="*/ 65 h 65"/>
                    <a:gd name="T2" fmla="*/ 1 w 26"/>
                    <a:gd name="T3" fmla="*/ 65 h 65"/>
                    <a:gd name="T4" fmla="*/ 0 w 26"/>
                    <a:gd name="T5" fmla="*/ 63 h 65"/>
                    <a:gd name="T6" fmla="*/ 0 w 26"/>
                    <a:gd name="T7" fmla="*/ 2 h 65"/>
                    <a:gd name="T8" fmla="*/ 1 w 26"/>
                    <a:gd name="T9" fmla="*/ 0 h 65"/>
                    <a:gd name="T10" fmla="*/ 3 w 26"/>
                    <a:gd name="T11" fmla="*/ 0 h 65"/>
                    <a:gd name="T12" fmla="*/ 25 w 26"/>
                    <a:gd name="T13" fmla="*/ 13 h 65"/>
                    <a:gd name="T14" fmla="*/ 26 w 26"/>
                    <a:gd name="T15" fmla="*/ 14 h 65"/>
                    <a:gd name="T16" fmla="*/ 26 w 26"/>
                    <a:gd name="T17" fmla="*/ 51 h 65"/>
                    <a:gd name="T18" fmla="*/ 25 w 26"/>
                    <a:gd name="T19" fmla="*/ 53 h 65"/>
                    <a:gd name="T20" fmla="*/ 3 w 26"/>
                    <a:gd name="T21" fmla="*/ 65 h 65"/>
                    <a:gd name="T22" fmla="*/ 2 w 26"/>
                    <a:gd name="T23" fmla="*/ 65 h 65"/>
                    <a:gd name="T24" fmla="*/ 4 w 26"/>
                    <a:gd name="T25" fmla="*/ 6 h 65"/>
                    <a:gd name="T26" fmla="*/ 4 w 26"/>
                    <a:gd name="T27" fmla="*/ 60 h 65"/>
                    <a:gd name="T28" fmla="*/ 22 w 26"/>
                    <a:gd name="T29" fmla="*/ 50 h 65"/>
                    <a:gd name="T30" fmla="*/ 22 w 26"/>
                    <a:gd name="T31" fmla="*/ 16 h 65"/>
                    <a:gd name="T32" fmla="*/ 4 w 26"/>
                    <a:gd name="T33" fmla="*/ 6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65">
                      <a:moveTo>
                        <a:pt x="2" y="65"/>
                      </a:moveTo>
                      <a:cubicBezTo>
                        <a:pt x="2" y="65"/>
                        <a:pt x="2" y="65"/>
                        <a:pt x="1" y="65"/>
                      </a:cubicBezTo>
                      <a:cubicBezTo>
                        <a:pt x="1" y="65"/>
                        <a:pt x="0" y="64"/>
                        <a:pt x="0" y="6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5" y="13"/>
                        <a:pt x="26" y="14"/>
                        <a:pt x="26" y="14"/>
                      </a:cubicBezTo>
                      <a:cubicBezTo>
                        <a:pt x="26" y="51"/>
                        <a:pt x="26" y="51"/>
                        <a:pt x="26" y="51"/>
                      </a:cubicBezTo>
                      <a:cubicBezTo>
                        <a:pt x="26" y="52"/>
                        <a:pt x="25" y="52"/>
                        <a:pt x="25" y="53"/>
                      </a:cubicBezTo>
                      <a:cubicBezTo>
                        <a:pt x="3" y="65"/>
                        <a:pt x="3" y="65"/>
                        <a:pt x="3" y="65"/>
                      </a:cubicBezTo>
                      <a:cubicBezTo>
                        <a:pt x="3" y="65"/>
                        <a:pt x="3" y="65"/>
                        <a:pt x="2" y="65"/>
                      </a:cubicBezTo>
                      <a:close/>
                      <a:moveTo>
                        <a:pt x="4" y="6"/>
                      </a:move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0" name="Freeform 873">
                  <a:extLst>
                    <a:ext uri="{FF2B5EF4-FFF2-40B4-BE49-F238E27FC236}">
                      <a16:creationId xmlns:a16="http://schemas.microsoft.com/office/drawing/2014/main" id="{22AC123D-DEC4-4E36-B3D0-2D0FAC508E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05" y="761"/>
                  <a:ext cx="278" cy="491"/>
                </a:xfrm>
                <a:custGeom>
                  <a:avLst/>
                  <a:gdLst>
                    <a:gd name="T0" fmla="*/ 115 w 118"/>
                    <a:gd name="T1" fmla="*/ 208 h 208"/>
                    <a:gd name="T2" fmla="*/ 114 w 118"/>
                    <a:gd name="T3" fmla="*/ 208 h 208"/>
                    <a:gd name="T4" fmla="*/ 41 w 118"/>
                    <a:gd name="T5" fmla="*/ 165 h 208"/>
                    <a:gd name="T6" fmla="*/ 40 w 118"/>
                    <a:gd name="T7" fmla="*/ 164 h 208"/>
                    <a:gd name="T8" fmla="*/ 41 w 118"/>
                    <a:gd name="T9" fmla="*/ 162 h 208"/>
                    <a:gd name="T10" fmla="*/ 57 w 118"/>
                    <a:gd name="T11" fmla="*/ 152 h 208"/>
                    <a:gd name="T12" fmla="*/ 1 w 118"/>
                    <a:gd name="T13" fmla="*/ 120 h 208"/>
                    <a:gd name="T14" fmla="*/ 0 w 118"/>
                    <a:gd name="T15" fmla="*/ 119 h 208"/>
                    <a:gd name="T16" fmla="*/ 1 w 118"/>
                    <a:gd name="T17" fmla="*/ 117 h 208"/>
                    <a:gd name="T18" fmla="*/ 11 w 118"/>
                    <a:gd name="T19" fmla="*/ 111 h 208"/>
                    <a:gd name="T20" fmla="*/ 11 w 118"/>
                    <a:gd name="T21" fmla="*/ 2 h 208"/>
                    <a:gd name="T22" fmla="*/ 12 w 118"/>
                    <a:gd name="T23" fmla="*/ 1 h 208"/>
                    <a:gd name="T24" fmla="*/ 14 w 118"/>
                    <a:gd name="T25" fmla="*/ 1 h 208"/>
                    <a:gd name="T26" fmla="*/ 117 w 118"/>
                    <a:gd name="T27" fmla="*/ 60 h 208"/>
                    <a:gd name="T28" fmla="*/ 118 w 118"/>
                    <a:gd name="T29" fmla="*/ 62 h 208"/>
                    <a:gd name="T30" fmla="*/ 118 w 118"/>
                    <a:gd name="T31" fmla="*/ 82 h 208"/>
                    <a:gd name="T32" fmla="*/ 117 w 118"/>
                    <a:gd name="T33" fmla="*/ 84 h 208"/>
                    <a:gd name="T34" fmla="*/ 117 w 118"/>
                    <a:gd name="T35" fmla="*/ 206 h 208"/>
                    <a:gd name="T36" fmla="*/ 116 w 118"/>
                    <a:gd name="T37" fmla="*/ 208 h 208"/>
                    <a:gd name="T38" fmla="*/ 115 w 118"/>
                    <a:gd name="T39" fmla="*/ 208 h 208"/>
                    <a:gd name="T40" fmla="*/ 46 w 118"/>
                    <a:gd name="T41" fmla="*/ 164 h 208"/>
                    <a:gd name="T42" fmla="*/ 113 w 118"/>
                    <a:gd name="T43" fmla="*/ 202 h 208"/>
                    <a:gd name="T44" fmla="*/ 113 w 118"/>
                    <a:gd name="T45" fmla="*/ 82 h 208"/>
                    <a:gd name="T46" fmla="*/ 114 w 118"/>
                    <a:gd name="T47" fmla="*/ 81 h 208"/>
                    <a:gd name="T48" fmla="*/ 114 w 118"/>
                    <a:gd name="T49" fmla="*/ 63 h 208"/>
                    <a:gd name="T50" fmla="*/ 15 w 118"/>
                    <a:gd name="T51" fmla="*/ 6 h 208"/>
                    <a:gd name="T52" fmla="*/ 15 w 118"/>
                    <a:gd name="T53" fmla="*/ 112 h 208"/>
                    <a:gd name="T54" fmla="*/ 14 w 118"/>
                    <a:gd name="T55" fmla="*/ 114 h 208"/>
                    <a:gd name="T56" fmla="*/ 6 w 118"/>
                    <a:gd name="T57" fmla="*/ 119 h 208"/>
                    <a:gd name="T58" fmla="*/ 62 w 118"/>
                    <a:gd name="T59" fmla="*/ 151 h 208"/>
                    <a:gd name="T60" fmla="*/ 63 w 118"/>
                    <a:gd name="T61" fmla="*/ 152 h 208"/>
                    <a:gd name="T62" fmla="*/ 62 w 118"/>
                    <a:gd name="T63" fmla="*/ 154 h 208"/>
                    <a:gd name="T64" fmla="*/ 46 w 118"/>
                    <a:gd name="T65" fmla="*/ 164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8" h="208">
                      <a:moveTo>
                        <a:pt x="115" y="208"/>
                      </a:moveTo>
                      <a:cubicBezTo>
                        <a:pt x="115" y="208"/>
                        <a:pt x="114" y="208"/>
                        <a:pt x="114" y="208"/>
                      </a:cubicBezTo>
                      <a:cubicBezTo>
                        <a:pt x="41" y="165"/>
                        <a:pt x="41" y="165"/>
                        <a:pt x="41" y="165"/>
                      </a:cubicBezTo>
                      <a:cubicBezTo>
                        <a:pt x="40" y="165"/>
                        <a:pt x="40" y="164"/>
                        <a:pt x="40" y="164"/>
                      </a:cubicBezTo>
                      <a:cubicBezTo>
                        <a:pt x="40" y="163"/>
                        <a:pt x="40" y="162"/>
                        <a:pt x="41" y="162"/>
                      </a:cubicBezTo>
                      <a:cubicBezTo>
                        <a:pt x="57" y="152"/>
                        <a:pt x="57" y="152"/>
                        <a:pt x="57" y="152"/>
                      </a:cubicBez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1" y="120"/>
                        <a:pt x="0" y="119"/>
                        <a:pt x="0" y="119"/>
                      </a:cubicBezTo>
                      <a:cubicBezTo>
                        <a:pt x="0" y="118"/>
                        <a:pt x="1" y="117"/>
                        <a:pt x="1" y="117"/>
                      </a:cubicBezTo>
                      <a:cubicBezTo>
                        <a:pt x="11" y="111"/>
                        <a:pt x="11" y="111"/>
                        <a:pt x="11" y="111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11" y="2"/>
                        <a:pt x="12" y="1"/>
                        <a:pt x="12" y="1"/>
                      </a:cubicBezTo>
                      <a:cubicBezTo>
                        <a:pt x="13" y="0"/>
                        <a:pt x="14" y="0"/>
                        <a:pt x="14" y="1"/>
                      </a:cubicBezTo>
                      <a:cubicBezTo>
                        <a:pt x="117" y="60"/>
                        <a:pt x="117" y="60"/>
                        <a:pt x="117" y="60"/>
                      </a:cubicBezTo>
                      <a:cubicBezTo>
                        <a:pt x="117" y="60"/>
                        <a:pt x="118" y="61"/>
                        <a:pt x="118" y="62"/>
                      </a:cubicBezTo>
                      <a:cubicBezTo>
                        <a:pt x="118" y="82"/>
                        <a:pt x="118" y="82"/>
                        <a:pt x="118" y="82"/>
                      </a:cubicBezTo>
                      <a:cubicBezTo>
                        <a:pt x="118" y="83"/>
                        <a:pt x="118" y="83"/>
                        <a:pt x="117" y="84"/>
                      </a:cubicBezTo>
                      <a:cubicBezTo>
                        <a:pt x="117" y="206"/>
                        <a:pt x="117" y="206"/>
                        <a:pt x="117" y="206"/>
                      </a:cubicBezTo>
                      <a:cubicBezTo>
                        <a:pt x="117" y="207"/>
                        <a:pt x="117" y="207"/>
                        <a:pt x="116" y="208"/>
                      </a:cubicBezTo>
                      <a:cubicBezTo>
                        <a:pt x="116" y="208"/>
                        <a:pt x="115" y="208"/>
                        <a:pt x="115" y="208"/>
                      </a:cubicBezTo>
                      <a:close/>
                      <a:moveTo>
                        <a:pt x="46" y="164"/>
                      </a:moveTo>
                      <a:cubicBezTo>
                        <a:pt x="113" y="202"/>
                        <a:pt x="113" y="202"/>
                        <a:pt x="113" y="202"/>
                      </a:cubicBezTo>
                      <a:cubicBezTo>
                        <a:pt x="113" y="82"/>
                        <a:pt x="113" y="82"/>
                        <a:pt x="113" y="82"/>
                      </a:cubicBezTo>
                      <a:cubicBezTo>
                        <a:pt x="113" y="82"/>
                        <a:pt x="113" y="81"/>
                        <a:pt x="114" y="81"/>
                      </a:cubicBezTo>
                      <a:cubicBezTo>
                        <a:pt x="114" y="63"/>
                        <a:pt x="114" y="63"/>
                        <a:pt x="114" y="63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15" y="112"/>
                        <a:pt x="15" y="112"/>
                        <a:pt x="15" y="112"/>
                      </a:cubicBezTo>
                      <a:cubicBezTo>
                        <a:pt x="15" y="113"/>
                        <a:pt x="15" y="114"/>
                        <a:pt x="14" y="114"/>
                      </a:cubicBezTo>
                      <a:cubicBezTo>
                        <a:pt x="6" y="119"/>
                        <a:pt x="6" y="119"/>
                        <a:pt x="6" y="119"/>
                      </a:cubicBezTo>
                      <a:cubicBezTo>
                        <a:pt x="62" y="151"/>
                        <a:pt x="62" y="151"/>
                        <a:pt x="62" y="151"/>
                      </a:cubicBezTo>
                      <a:cubicBezTo>
                        <a:pt x="62" y="151"/>
                        <a:pt x="63" y="152"/>
                        <a:pt x="63" y="152"/>
                      </a:cubicBezTo>
                      <a:cubicBezTo>
                        <a:pt x="63" y="153"/>
                        <a:pt x="62" y="154"/>
                        <a:pt x="62" y="154"/>
                      </a:cubicBezTo>
                      <a:lnTo>
                        <a:pt x="46" y="1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1" name="Freeform 874">
                  <a:extLst>
                    <a:ext uri="{FF2B5EF4-FFF2-40B4-BE49-F238E27FC236}">
                      <a16:creationId xmlns:a16="http://schemas.microsoft.com/office/drawing/2014/main" id="{04CECDB8-E8E7-441C-A239-CCD93365B4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80" y="1344"/>
                  <a:ext cx="45" cy="40"/>
                </a:xfrm>
                <a:custGeom>
                  <a:avLst/>
                  <a:gdLst>
                    <a:gd name="T0" fmla="*/ 9 w 19"/>
                    <a:gd name="T1" fmla="*/ 17 h 17"/>
                    <a:gd name="T2" fmla="*/ 8 w 19"/>
                    <a:gd name="T3" fmla="*/ 16 h 17"/>
                    <a:gd name="T4" fmla="*/ 1 w 19"/>
                    <a:gd name="T5" fmla="*/ 12 h 17"/>
                    <a:gd name="T6" fmla="*/ 0 w 19"/>
                    <a:gd name="T7" fmla="*/ 10 h 17"/>
                    <a:gd name="T8" fmla="*/ 1 w 19"/>
                    <a:gd name="T9" fmla="*/ 9 h 17"/>
                    <a:gd name="T10" fmla="*/ 16 w 19"/>
                    <a:gd name="T11" fmla="*/ 0 h 17"/>
                    <a:gd name="T12" fmla="*/ 18 w 19"/>
                    <a:gd name="T13" fmla="*/ 0 h 17"/>
                    <a:gd name="T14" fmla="*/ 19 w 19"/>
                    <a:gd name="T15" fmla="*/ 2 h 17"/>
                    <a:gd name="T16" fmla="*/ 19 w 19"/>
                    <a:gd name="T17" fmla="*/ 10 h 17"/>
                    <a:gd name="T18" fmla="*/ 18 w 19"/>
                    <a:gd name="T19" fmla="*/ 12 h 17"/>
                    <a:gd name="T20" fmla="*/ 10 w 19"/>
                    <a:gd name="T21" fmla="*/ 16 h 17"/>
                    <a:gd name="T22" fmla="*/ 9 w 19"/>
                    <a:gd name="T23" fmla="*/ 17 h 17"/>
                    <a:gd name="T24" fmla="*/ 6 w 19"/>
                    <a:gd name="T25" fmla="*/ 10 h 17"/>
                    <a:gd name="T26" fmla="*/ 9 w 19"/>
                    <a:gd name="T27" fmla="*/ 12 h 17"/>
                    <a:gd name="T28" fmla="*/ 15 w 19"/>
                    <a:gd name="T29" fmla="*/ 9 h 17"/>
                    <a:gd name="T30" fmla="*/ 15 w 19"/>
                    <a:gd name="T31" fmla="*/ 5 h 17"/>
                    <a:gd name="T32" fmla="*/ 6 w 19"/>
                    <a:gd name="T33" fmla="*/ 1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9" h="17">
                      <a:moveTo>
                        <a:pt x="9" y="17"/>
                      </a:moveTo>
                      <a:cubicBezTo>
                        <a:pt x="9" y="17"/>
                        <a:pt x="9" y="17"/>
                        <a:pt x="8" y="16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1"/>
                        <a:pt x="0" y="10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7" y="0"/>
                        <a:pt x="18" y="0"/>
                      </a:cubicBezTo>
                      <a:cubicBezTo>
                        <a:pt x="18" y="0"/>
                        <a:pt x="19" y="1"/>
                        <a:pt x="19" y="2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19" y="11"/>
                        <a:pt x="18" y="12"/>
                        <a:pt x="18" y="12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7"/>
                        <a:pt x="10" y="17"/>
                        <a:pt x="9" y="17"/>
                      </a:cubicBezTo>
                      <a:close/>
                      <a:moveTo>
                        <a:pt x="6" y="10"/>
                      </a:move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5" y="5"/>
                        <a:pt x="15" y="5"/>
                        <a:pt x="15" y="5"/>
                      </a:cubicBez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2" name="Freeform 875">
                  <a:extLst>
                    <a:ext uri="{FF2B5EF4-FFF2-40B4-BE49-F238E27FC236}">
                      <a16:creationId xmlns:a16="http://schemas.microsoft.com/office/drawing/2014/main" id="{B12F64A7-3271-4ED5-801D-4158BD991A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18" y="1198"/>
                  <a:ext cx="14" cy="149"/>
                </a:xfrm>
                <a:custGeom>
                  <a:avLst/>
                  <a:gdLst>
                    <a:gd name="T0" fmla="*/ 2 w 6"/>
                    <a:gd name="T1" fmla="*/ 63 h 63"/>
                    <a:gd name="T2" fmla="*/ 1 w 6"/>
                    <a:gd name="T3" fmla="*/ 63 h 63"/>
                    <a:gd name="T4" fmla="*/ 0 w 6"/>
                    <a:gd name="T5" fmla="*/ 61 h 63"/>
                    <a:gd name="T6" fmla="*/ 0 w 6"/>
                    <a:gd name="T7" fmla="*/ 3 h 63"/>
                    <a:gd name="T8" fmla="*/ 1 w 6"/>
                    <a:gd name="T9" fmla="*/ 2 h 63"/>
                    <a:gd name="T10" fmla="*/ 3 w 6"/>
                    <a:gd name="T11" fmla="*/ 0 h 63"/>
                    <a:gd name="T12" fmla="*/ 5 w 6"/>
                    <a:gd name="T13" fmla="*/ 0 h 63"/>
                    <a:gd name="T14" fmla="*/ 6 w 6"/>
                    <a:gd name="T15" fmla="*/ 2 h 63"/>
                    <a:gd name="T16" fmla="*/ 6 w 6"/>
                    <a:gd name="T17" fmla="*/ 60 h 63"/>
                    <a:gd name="T18" fmla="*/ 5 w 6"/>
                    <a:gd name="T19" fmla="*/ 61 h 63"/>
                    <a:gd name="T20" fmla="*/ 3 w 6"/>
                    <a:gd name="T21" fmla="*/ 63 h 63"/>
                    <a:gd name="T22" fmla="*/ 2 w 6"/>
                    <a:gd name="T23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63">
                      <a:moveTo>
                        <a:pt x="2" y="63"/>
                      </a:moveTo>
                      <a:cubicBezTo>
                        <a:pt x="2" y="63"/>
                        <a:pt x="2" y="63"/>
                        <a:pt x="1" y="63"/>
                      </a:cubicBezTo>
                      <a:cubicBezTo>
                        <a:pt x="1" y="62"/>
                        <a:pt x="0" y="62"/>
                        <a:pt x="0" y="6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1" y="2"/>
                        <a:pt x="1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0"/>
                      </a:cubicBezTo>
                      <a:cubicBezTo>
                        <a:pt x="6" y="1"/>
                        <a:pt x="6" y="1"/>
                        <a:pt x="6" y="2"/>
                      </a:cubicBezTo>
                      <a:cubicBezTo>
                        <a:pt x="6" y="60"/>
                        <a:pt x="6" y="60"/>
                        <a:pt x="6" y="60"/>
                      </a:cubicBezTo>
                      <a:cubicBezTo>
                        <a:pt x="6" y="60"/>
                        <a:pt x="6" y="61"/>
                        <a:pt x="5" y="61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2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3" name="Freeform 876">
                  <a:extLst>
                    <a:ext uri="{FF2B5EF4-FFF2-40B4-BE49-F238E27FC236}">
                      <a16:creationId xmlns:a16="http://schemas.microsoft.com/office/drawing/2014/main" id="{0FA62AE7-FAB1-49C2-926A-A8D4C202C5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27" y="1179"/>
                  <a:ext cx="128" cy="163"/>
                </a:xfrm>
                <a:custGeom>
                  <a:avLst/>
                  <a:gdLst>
                    <a:gd name="T0" fmla="*/ 2 w 54"/>
                    <a:gd name="T1" fmla="*/ 69 h 69"/>
                    <a:gd name="T2" fmla="*/ 1 w 54"/>
                    <a:gd name="T3" fmla="*/ 68 h 69"/>
                    <a:gd name="T4" fmla="*/ 0 w 54"/>
                    <a:gd name="T5" fmla="*/ 67 h 69"/>
                    <a:gd name="T6" fmla="*/ 0 w 54"/>
                    <a:gd name="T7" fmla="*/ 9 h 69"/>
                    <a:gd name="T8" fmla="*/ 1 w 54"/>
                    <a:gd name="T9" fmla="*/ 8 h 69"/>
                    <a:gd name="T10" fmla="*/ 13 w 54"/>
                    <a:gd name="T11" fmla="*/ 1 h 69"/>
                    <a:gd name="T12" fmla="*/ 15 w 54"/>
                    <a:gd name="T13" fmla="*/ 1 h 69"/>
                    <a:gd name="T14" fmla="*/ 53 w 54"/>
                    <a:gd name="T15" fmla="*/ 22 h 69"/>
                    <a:gd name="T16" fmla="*/ 54 w 54"/>
                    <a:gd name="T17" fmla="*/ 24 h 69"/>
                    <a:gd name="T18" fmla="*/ 53 w 54"/>
                    <a:gd name="T19" fmla="*/ 26 h 69"/>
                    <a:gd name="T20" fmla="*/ 11 w 54"/>
                    <a:gd name="T21" fmla="*/ 50 h 69"/>
                    <a:gd name="T22" fmla="*/ 20 w 54"/>
                    <a:gd name="T23" fmla="*/ 55 h 69"/>
                    <a:gd name="T24" fmla="*/ 21 w 54"/>
                    <a:gd name="T25" fmla="*/ 57 h 69"/>
                    <a:gd name="T26" fmla="*/ 20 w 54"/>
                    <a:gd name="T27" fmla="*/ 58 h 69"/>
                    <a:gd name="T28" fmla="*/ 3 w 54"/>
                    <a:gd name="T29" fmla="*/ 68 h 69"/>
                    <a:gd name="T30" fmla="*/ 2 w 54"/>
                    <a:gd name="T31" fmla="*/ 69 h 69"/>
                    <a:gd name="T32" fmla="*/ 4 w 54"/>
                    <a:gd name="T33" fmla="*/ 10 h 69"/>
                    <a:gd name="T34" fmla="*/ 4 w 54"/>
                    <a:gd name="T35" fmla="*/ 63 h 69"/>
                    <a:gd name="T36" fmla="*/ 15 w 54"/>
                    <a:gd name="T37" fmla="*/ 57 h 69"/>
                    <a:gd name="T38" fmla="*/ 6 w 54"/>
                    <a:gd name="T39" fmla="*/ 52 h 69"/>
                    <a:gd name="T40" fmla="*/ 5 w 54"/>
                    <a:gd name="T41" fmla="*/ 50 h 69"/>
                    <a:gd name="T42" fmla="*/ 6 w 54"/>
                    <a:gd name="T43" fmla="*/ 48 h 69"/>
                    <a:gd name="T44" fmla="*/ 48 w 54"/>
                    <a:gd name="T45" fmla="*/ 24 h 69"/>
                    <a:gd name="T46" fmla="*/ 14 w 54"/>
                    <a:gd name="T47" fmla="*/ 5 h 69"/>
                    <a:gd name="T48" fmla="*/ 4 w 54"/>
                    <a:gd name="T49" fmla="*/ 1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4" h="69">
                      <a:moveTo>
                        <a:pt x="2" y="69"/>
                      </a:moveTo>
                      <a:cubicBezTo>
                        <a:pt x="2" y="69"/>
                        <a:pt x="1" y="69"/>
                        <a:pt x="1" y="68"/>
                      </a:cubicBezTo>
                      <a:cubicBezTo>
                        <a:pt x="0" y="68"/>
                        <a:pt x="0" y="67"/>
                        <a:pt x="0" y="67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0" y="8"/>
                        <a:pt x="1" y="8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53" y="22"/>
                        <a:pt x="53" y="22"/>
                        <a:pt x="53" y="22"/>
                      </a:cubicBezTo>
                      <a:cubicBezTo>
                        <a:pt x="53" y="23"/>
                        <a:pt x="54" y="24"/>
                        <a:pt x="54" y="24"/>
                      </a:cubicBezTo>
                      <a:cubicBezTo>
                        <a:pt x="54" y="25"/>
                        <a:pt x="53" y="26"/>
                        <a:pt x="53" y="26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20" y="55"/>
                        <a:pt x="20" y="55"/>
                        <a:pt x="20" y="55"/>
                      </a:cubicBezTo>
                      <a:cubicBezTo>
                        <a:pt x="21" y="55"/>
                        <a:pt x="21" y="56"/>
                        <a:pt x="21" y="57"/>
                      </a:cubicBezTo>
                      <a:cubicBezTo>
                        <a:pt x="21" y="57"/>
                        <a:pt x="21" y="58"/>
                        <a:pt x="20" y="58"/>
                      </a:cubicBezTo>
                      <a:cubicBezTo>
                        <a:pt x="3" y="68"/>
                        <a:pt x="3" y="68"/>
                        <a:pt x="3" y="68"/>
                      </a:cubicBezTo>
                      <a:cubicBezTo>
                        <a:pt x="3" y="69"/>
                        <a:pt x="2" y="69"/>
                        <a:pt x="2" y="69"/>
                      </a:cubicBezTo>
                      <a:close/>
                      <a:moveTo>
                        <a:pt x="4" y="10"/>
                      </a:moveTo>
                      <a:cubicBezTo>
                        <a:pt x="4" y="63"/>
                        <a:pt x="4" y="63"/>
                        <a:pt x="4" y="63"/>
                      </a:cubicBezTo>
                      <a:cubicBezTo>
                        <a:pt x="15" y="57"/>
                        <a:pt x="15" y="57"/>
                        <a:pt x="15" y="57"/>
                      </a:cubicBezTo>
                      <a:cubicBezTo>
                        <a:pt x="6" y="52"/>
                        <a:pt x="6" y="52"/>
                        <a:pt x="6" y="52"/>
                      </a:cubicBezTo>
                      <a:cubicBezTo>
                        <a:pt x="6" y="51"/>
                        <a:pt x="5" y="51"/>
                        <a:pt x="5" y="50"/>
                      </a:cubicBezTo>
                      <a:cubicBezTo>
                        <a:pt x="5" y="49"/>
                        <a:pt x="6" y="48"/>
                        <a:pt x="6" y="48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14" y="5"/>
                        <a:pt x="14" y="5"/>
                        <a:pt x="14" y="5"/>
                      </a:cubicBezTo>
                      <a:lnTo>
                        <a:pt x="4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4" name="Freeform 877">
                  <a:extLst>
                    <a:ext uri="{FF2B5EF4-FFF2-40B4-BE49-F238E27FC236}">
                      <a16:creationId xmlns:a16="http://schemas.microsoft.com/office/drawing/2014/main" id="{EE768EC1-E6FF-4FF1-B9E8-2D88156B7A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27" y="1162"/>
                  <a:ext cx="33" cy="38"/>
                </a:xfrm>
                <a:custGeom>
                  <a:avLst/>
                  <a:gdLst>
                    <a:gd name="T0" fmla="*/ 2 w 14"/>
                    <a:gd name="T1" fmla="*/ 16 h 16"/>
                    <a:gd name="T2" fmla="*/ 1 w 14"/>
                    <a:gd name="T3" fmla="*/ 16 h 16"/>
                    <a:gd name="T4" fmla="*/ 0 w 14"/>
                    <a:gd name="T5" fmla="*/ 14 h 16"/>
                    <a:gd name="T6" fmla="*/ 0 w 14"/>
                    <a:gd name="T7" fmla="*/ 3 h 16"/>
                    <a:gd name="T8" fmla="*/ 1 w 14"/>
                    <a:gd name="T9" fmla="*/ 1 h 16"/>
                    <a:gd name="T10" fmla="*/ 3 w 14"/>
                    <a:gd name="T11" fmla="*/ 1 h 16"/>
                    <a:gd name="T12" fmla="*/ 13 w 14"/>
                    <a:gd name="T13" fmla="*/ 7 h 16"/>
                    <a:gd name="T14" fmla="*/ 14 w 14"/>
                    <a:gd name="T15" fmla="*/ 8 h 16"/>
                    <a:gd name="T16" fmla="*/ 13 w 14"/>
                    <a:gd name="T17" fmla="*/ 10 h 16"/>
                    <a:gd name="T18" fmla="*/ 3 w 14"/>
                    <a:gd name="T19" fmla="*/ 16 h 16"/>
                    <a:gd name="T20" fmla="*/ 2 w 14"/>
                    <a:gd name="T21" fmla="*/ 16 h 16"/>
                    <a:gd name="T22" fmla="*/ 4 w 14"/>
                    <a:gd name="T23" fmla="*/ 6 h 16"/>
                    <a:gd name="T24" fmla="*/ 4 w 14"/>
                    <a:gd name="T25" fmla="*/ 11 h 16"/>
                    <a:gd name="T26" fmla="*/ 8 w 14"/>
                    <a:gd name="T27" fmla="*/ 8 h 16"/>
                    <a:gd name="T28" fmla="*/ 4 w 14"/>
                    <a:gd name="T29" fmla="*/ 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16">
                      <a:moveTo>
                        <a:pt x="2" y="16"/>
                      </a:moveTo>
                      <a:cubicBezTo>
                        <a:pt x="2" y="16"/>
                        <a:pt x="1" y="16"/>
                        <a:pt x="1" y="16"/>
                      </a:cubicBezTo>
                      <a:cubicBezTo>
                        <a:pt x="0" y="16"/>
                        <a:pt x="0" y="15"/>
                        <a:pt x="0" y="14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4" y="7"/>
                        <a:pt x="14" y="8"/>
                        <a:pt x="14" y="8"/>
                      </a:cubicBezTo>
                      <a:cubicBezTo>
                        <a:pt x="14" y="9"/>
                        <a:pt x="14" y="10"/>
                        <a:pt x="13" y="10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3" y="16"/>
                        <a:pt x="2" y="16"/>
                        <a:pt x="2" y="16"/>
                      </a:cubicBezTo>
                      <a:close/>
                      <a:moveTo>
                        <a:pt x="4" y="6"/>
                      </a:move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5" name="Freeform 878">
                  <a:extLst>
                    <a:ext uri="{FF2B5EF4-FFF2-40B4-BE49-F238E27FC236}">
                      <a16:creationId xmlns:a16="http://schemas.microsoft.com/office/drawing/2014/main" id="{024D24E0-76E2-4440-B903-E24147D966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515"/>
                  <a:ext cx="62" cy="184"/>
                </a:xfrm>
                <a:custGeom>
                  <a:avLst/>
                  <a:gdLst>
                    <a:gd name="T0" fmla="*/ 2 w 26"/>
                    <a:gd name="T1" fmla="*/ 78 h 78"/>
                    <a:gd name="T2" fmla="*/ 1 w 26"/>
                    <a:gd name="T3" fmla="*/ 78 h 78"/>
                    <a:gd name="T4" fmla="*/ 0 w 26"/>
                    <a:gd name="T5" fmla="*/ 76 h 78"/>
                    <a:gd name="T6" fmla="*/ 0 w 26"/>
                    <a:gd name="T7" fmla="*/ 14 h 78"/>
                    <a:gd name="T8" fmla="*/ 1 w 26"/>
                    <a:gd name="T9" fmla="*/ 12 h 78"/>
                    <a:gd name="T10" fmla="*/ 23 w 26"/>
                    <a:gd name="T11" fmla="*/ 0 h 78"/>
                    <a:gd name="T12" fmla="*/ 25 w 26"/>
                    <a:gd name="T13" fmla="*/ 0 h 78"/>
                    <a:gd name="T14" fmla="*/ 26 w 26"/>
                    <a:gd name="T15" fmla="*/ 2 h 78"/>
                    <a:gd name="T16" fmla="*/ 26 w 26"/>
                    <a:gd name="T17" fmla="*/ 64 h 78"/>
                    <a:gd name="T18" fmla="*/ 25 w 26"/>
                    <a:gd name="T19" fmla="*/ 65 h 78"/>
                    <a:gd name="T20" fmla="*/ 3 w 26"/>
                    <a:gd name="T21" fmla="*/ 78 h 78"/>
                    <a:gd name="T22" fmla="*/ 2 w 26"/>
                    <a:gd name="T23" fmla="*/ 78 h 78"/>
                    <a:gd name="T24" fmla="*/ 4 w 26"/>
                    <a:gd name="T25" fmla="*/ 15 h 78"/>
                    <a:gd name="T26" fmla="*/ 4 w 26"/>
                    <a:gd name="T27" fmla="*/ 72 h 78"/>
                    <a:gd name="T28" fmla="*/ 22 w 26"/>
                    <a:gd name="T29" fmla="*/ 62 h 78"/>
                    <a:gd name="T30" fmla="*/ 22 w 26"/>
                    <a:gd name="T31" fmla="*/ 5 h 78"/>
                    <a:gd name="T32" fmla="*/ 4 w 26"/>
                    <a:gd name="T33" fmla="*/ 15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78">
                      <a:moveTo>
                        <a:pt x="2" y="78"/>
                      </a:moveTo>
                      <a:cubicBezTo>
                        <a:pt x="2" y="78"/>
                        <a:pt x="2" y="78"/>
                        <a:pt x="1" y="78"/>
                      </a:cubicBezTo>
                      <a:cubicBezTo>
                        <a:pt x="1" y="77"/>
                        <a:pt x="0" y="77"/>
                        <a:pt x="0" y="76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3"/>
                        <a:pt x="1" y="13"/>
                        <a:pt x="1" y="12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3" y="0"/>
                        <a:pt x="24" y="0"/>
                        <a:pt x="25" y="0"/>
                      </a:cubicBezTo>
                      <a:cubicBezTo>
                        <a:pt x="25" y="0"/>
                        <a:pt x="26" y="1"/>
                        <a:pt x="26" y="2"/>
                      </a:cubicBezTo>
                      <a:cubicBezTo>
                        <a:pt x="26" y="64"/>
                        <a:pt x="26" y="64"/>
                        <a:pt x="26" y="64"/>
                      </a:cubicBezTo>
                      <a:cubicBezTo>
                        <a:pt x="26" y="64"/>
                        <a:pt x="25" y="65"/>
                        <a:pt x="25" y="65"/>
                      </a:cubicBezTo>
                      <a:cubicBezTo>
                        <a:pt x="3" y="78"/>
                        <a:pt x="3" y="78"/>
                        <a:pt x="3" y="78"/>
                      </a:cubicBezTo>
                      <a:cubicBezTo>
                        <a:pt x="3" y="78"/>
                        <a:pt x="3" y="78"/>
                        <a:pt x="2" y="78"/>
                      </a:cubicBezTo>
                      <a:close/>
                      <a:moveTo>
                        <a:pt x="4" y="15"/>
                      </a:move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5"/>
                        <a:pt x="22" y="5"/>
                        <a:pt x="22" y="5"/>
                      </a:cubicBezTo>
                      <a:lnTo>
                        <a:pt x="4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6" name="Freeform 879">
                  <a:extLst>
                    <a:ext uri="{FF2B5EF4-FFF2-40B4-BE49-F238E27FC236}">
                      <a16:creationId xmlns:a16="http://schemas.microsoft.com/office/drawing/2014/main" id="{914360A4-A280-43E4-A198-92C5E22DB08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93"/>
                  <a:ext cx="33" cy="281"/>
                </a:xfrm>
                <a:custGeom>
                  <a:avLst/>
                  <a:gdLst>
                    <a:gd name="T0" fmla="*/ 12 w 14"/>
                    <a:gd name="T1" fmla="*/ 119 h 119"/>
                    <a:gd name="T2" fmla="*/ 11 w 14"/>
                    <a:gd name="T3" fmla="*/ 119 h 119"/>
                    <a:gd name="T4" fmla="*/ 1 w 14"/>
                    <a:gd name="T5" fmla="*/ 114 h 119"/>
                    <a:gd name="T6" fmla="*/ 0 w 14"/>
                    <a:gd name="T7" fmla="*/ 112 h 119"/>
                    <a:gd name="T8" fmla="*/ 0 w 14"/>
                    <a:gd name="T9" fmla="*/ 8 h 119"/>
                    <a:gd name="T10" fmla="*/ 1 w 14"/>
                    <a:gd name="T11" fmla="*/ 6 h 119"/>
                    <a:gd name="T12" fmla="*/ 11 w 14"/>
                    <a:gd name="T13" fmla="*/ 1 h 119"/>
                    <a:gd name="T14" fmla="*/ 13 w 14"/>
                    <a:gd name="T15" fmla="*/ 1 h 119"/>
                    <a:gd name="T16" fmla="*/ 14 w 14"/>
                    <a:gd name="T17" fmla="*/ 2 h 119"/>
                    <a:gd name="T18" fmla="*/ 14 w 14"/>
                    <a:gd name="T19" fmla="*/ 117 h 119"/>
                    <a:gd name="T20" fmla="*/ 13 w 14"/>
                    <a:gd name="T21" fmla="*/ 119 h 119"/>
                    <a:gd name="T22" fmla="*/ 12 w 14"/>
                    <a:gd name="T23" fmla="*/ 119 h 119"/>
                    <a:gd name="T24" fmla="*/ 4 w 14"/>
                    <a:gd name="T25" fmla="*/ 111 h 119"/>
                    <a:gd name="T26" fmla="*/ 10 w 14"/>
                    <a:gd name="T27" fmla="*/ 114 h 119"/>
                    <a:gd name="T28" fmla="*/ 10 w 14"/>
                    <a:gd name="T29" fmla="*/ 6 h 119"/>
                    <a:gd name="T30" fmla="*/ 4 w 14"/>
                    <a:gd name="T31" fmla="*/ 9 h 119"/>
                    <a:gd name="T32" fmla="*/ 4 w 14"/>
                    <a:gd name="T33" fmla="*/ 111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" h="119">
                      <a:moveTo>
                        <a:pt x="12" y="119"/>
                      </a:moveTo>
                      <a:cubicBezTo>
                        <a:pt x="11" y="119"/>
                        <a:pt x="11" y="119"/>
                        <a:pt x="11" y="119"/>
                      </a:cubicBezTo>
                      <a:cubicBezTo>
                        <a:pt x="1" y="114"/>
                        <a:pt x="1" y="114"/>
                        <a:pt x="1" y="114"/>
                      </a:cubicBezTo>
                      <a:cubicBezTo>
                        <a:pt x="1" y="113"/>
                        <a:pt x="0" y="113"/>
                        <a:pt x="0" y="112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7"/>
                        <a:pt x="1" y="6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13" y="1"/>
                        <a:pt x="14" y="2"/>
                        <a:pt x="14" y="2"/>
                      </a:cubicBezTo>
                      <a:cubicBezTo>
                        <a:pt x="14" y="117"/>
                        <a:pt x="14" y="117"/>
                        <a:pt x="14" y="117"/>
                      </a:cubicBezTo>
                      <a:cubicBezTo>
                        <a:pt x="14" y="118"/>
                        <a:pt x="13" y="119"/>
                        <a:pt x="13" y="119"/>
                      </a:cubicBezTo>
                      <a:cubicBezTo>
                        <a:pt x="12" y="119"/>
                        <a:pt x="12" y="119"/>
                        <a:pt x="12" y="119"/>
                      </a:cubicBezTo>
                      <a:close/>
                      <a:moveTo>
                        <a:pt x="4" y="111"/>
                      </a:moveTo>
                      <a:cubicBezTo>
                        <a:pt x="10" y="114"/>
                        <a:pt x="10" y="114"/>
                        <a:pt x="10" y="114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lnTo>
                        <a:pt x="4" y="1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7" name="Freeform 880">
                  <a:extLst>
                    <a:ext uri="{FF2B5EF4-FFF2-40B4-BE49-F238E27FC236}">
                      <a16:creationId xmlns:a16="http://schemas.microsoft.com/office/drawing/2014/main" id="{A452176E-9F20-4264-ACFE-9D16377AC6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57"/>
                  <a:ext cx="307" cy="386"/>
                </a:xfrm>
                <a:custGeom>
                  <a:avLst/>
                  <a:gdLst>
                    <a:gd name="T0" fmla="*/ 61 w 130"/>
                    <a:gd name="T1" fmla="*/ 163 h 163"/>
                    <a:gd name="T2" fmla="*/ 60 w 130"/>
                    <a:gd name="T3" fmla="*/ 162 h 163"/>
                    <a:gd name="T4" fmla="*/ 12 w 130"/>
                    <a:gd name="T5" fmla="*/ 135 h 163"/>
                    <a:gd name="T6" fmla="*/ 11 w 130"/>
                    <a:gd name="T7" fmla="*/ 133 h 163"/>
                    <a:gd name="T8" fmla="*/ 11 w 130"/>
                    <a:gd name="T9" fmla="*/ 18 h 163"/>
                    <a:gd name="T10" fmla="*/ 3 w 130"/>
                    <a:gd name="T11" fmla="*/ 23 h 163"/>
                    <a:gd name="T12" fmla="*/ 1 w 130"/>
                    <a:gd name="T13" fmla="*/ 23 h 163"/>
                    <a:gd name="T14" fmla="*/ 0 w 130"/>
                    <a:gd name="T15" fmla="*/ 21 h 163"/>
                    <a:gd name="T16" fmla="*/ 0 w 130"/>
                    <a:gd name="T17" fmla="*/ 18 h 163"/>
                    <a:gd name="T18" fmla="*/ 1 w 130"/>
                    <a:gd name="T19" fmla="*/ 16 h 163"/>
                    <a:gd name="T20" fmla="*/ 28 w 130"/>
                    <a:gd name="T21" fmla="*/ 1 h 163"/>
                    <a:gd name="T22" fmla="*/ 30 w 130"/>
                    <a:gd name="T23" fmla="*/ 1 h 163"/>
                    <a:gd name="T24" fmla="*/ 129 w 130"/>
                    <a:gd name="T25" fmla="*/ 58 h 163"/>
                    <a:gd name="T26" fmla="*/ 130 w 130"/>
                    <a:gd name="T27" fmla="*/ 59 h 163"/>
                    <a:gd name="T28" fmla="*/ 130 w 130"/>
                    <a:gd name="T29" fmla="*/ 122 h 163"/>
                    <a:gd name="T30" fmla="*/ 129 w 130"/>
                    <a:gd name="T31" fmla="*/ 124 h 163"/>
                    <a:gd name="T32" fmla="*/ 62 w 130"/>
                    <a:gd name="T33" fmla="*/ 162 h 163"/>
                    <a:gd name="T34" fmla="*/ 61 w 130"/>
                    <a:gd name="T35" fmla="*/ 163 h 163"/>
                    <a:gd name="T36" fmla="*/ 15 w 130"/>
                    <a:gd name="T37" fmla="*/ 132 h 163"/>
                    <a:gd name="T38" fmla="*/ 61 w 130"/>
                    <a:gd name="T39" fmla="*/ 158 h 163"/>
                    <a:gd name="T40" fmla="*/ 126 w 130"/>
                    <a:gd name="T41" fmla="*/ 121 h 163"/>
                    <a:gd name="T42" fmla="*/ 126 w 130"/>
                    <a:gd name="T43" fmla="*/ 60 h 163"/>
                    <a:gd name="T44" fmla="*/ 29 w 130"/>
                    <a:gd name="T45" fmla="*/ 5 h 163"/>
                    <a:gd name="T46" fmla="*/ 14 w 130"/>
                    <a:gd name="T47" fmla="*/ 13 h 163"/>
                    <a:gd name="T48" fmla="*/ 15 w 130"/>
                    <a:gd name="T49" fmla="*/ 15 h 163"/>
                    <a:gd name="T50" fmla="*/ 15 w 130"/>
                    <a:gd name="T51" fmla="*/ 132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0" h="163">
                      <a:moveTo>
                        <a:pt x="61" y="163"/>
                      </a:moveTo>
                      <a:cubicBezTo>
                        <a:pt x="60" y="163"/>
                        <a:pt x="60" y="163"/>
                        <a:pt x="60" y="162"/>
                      </a:cubicBezTo>
                      <a:cubicBezTo>
                        <a:pt x="12" y="135"/>
                        <a:pt x="12" y="135"/>
                        <a:pt x="12" y="135"/>
                      </a:cubicBezTo>
                      <a:cubicBezTo>
                        <a:pt x="12" y="135"/>
                        <a:pt x="11" y="134"/>
                        <a:pt x="11" y="133"/>
                      </a:cubicBezTo>
                      <a:cubicBezTo>
                        <a:pt x="11" y="18"/>
                        <a:pt x="11" y="18"/>
                        <a:pt x="11" y="18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3" y="23"/>
                        <a:pt x="2" y="23"/>
                        <a:pt x="1" y="23"/>
                      </a:cubicBezTo>
                      <a:cubicBezTo>
                        <a:pt x="1" y="22"/>
                        <a:pt x="0" y="21"/>
                        <a:pt x="0" y="21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7"/>
                        <a:pt x="1" y="16"/>
                        <a:pt x="1" y="16"/>
                      </a:cubicBezTo>
                      <a:cubicBezTo>
                        <a:pt x="28" y="1"/>
                        <a:pt x="28" y="1"/>
                        <a:pt x="28" y="1"/>
                      </a:cubicBezTo>
                      <a:cubicBezTo>
                        <a:pt x="29" y="0"/>
                        <a:pt x="29" y="0"/>
                        <a:pt x="30" y="1"/>
                      </a:cubicBezTo>
                      <a:cubicBezTo>
                        <a:pt x="129" y="58"/>
                        <a:pt x="129" y="58"/>
                        <a:pt x="129" y="58"/>
                      </a:cubicBezTo>
                      <a:cubicBezTo>
                        <a:pt x="129" y="58"/>
                        <a:pt x="130" y="59"/>
                        <a:pt x="130" y="59"/>
                      </a:cubicBezTo>
                      <a:cubicBezTo>
                        <a:pt x="130" y="122"/>
                        <a:pt x="130" y="122"/>
                        <a:pt x="130" y="122"/>
                      </a:cubicBezTo>
                      <a:cubicBezTo>
                        <a:pt x="130" y="123"/>
                        <a:pt x="129" y="123"/>
                        <a:pt x="129" y="124"/>
                      </a:cubicBezTo>
                      <a:cubicBezTo>
                        <a:pt x="62" y="162"/>
                        <a:pt x="62" y="162"/>
                        <a:pt x="62" y="162"/>
                      </a:cubicBezTo>
                      <a:cubicBezTo>
                        <a:pt x="62" y="163"/>
                        <a:pt x="61" y="163"/>
                        <a:pt x="61" y="163"/>
                      </a:cubicBezTo>
                      <a:close/>
                      <a:moveTo>
                        <a:pt x="15" y="132"/>
                      </a:moveTo>
                      <a:cubicBezTo>
                        <a:pt x="61" y="158"/>
                        <a:pt x="61" y="158"/>
                        <a:pt x="61" y="158"/>
                      </a:cubicBezTo>
                      <a:cubicBezTo>
                        <a:pt x="126" y="121"/>
                        <a:pt x="126" y="121"/>
                        <a:pt x="126" y="121"/>
                      </a:cubicBezTo>
                      <a:cubicBezTo>
                        <a:pt x="126" y="60"/>
                        <a:pt x="126" y="60"/>
                        <a:pt x="126" y="60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5" y="13"/>
                        <a:pt x="15" y="14"/>
                        <a:pt x="15" y="15"/>
                      </a:cubicBezTo>
                      <a:lnTo>
                        <a:pt x="15" y="13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8" name="Freeform 881">
                  <a:extLst>
                    <a:ext uri="{FF2B5EF4-FFF2-40B4-BE49-F238E27FC236}">
                      <a16:creationId xmlns:a16="http://schemas.microsoft.com/office/drawing/2014/main" id="{46231B30-42F8-4A5C-9001-5B1F85CCBE7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679" y="298"/>
                  <a:ext cx="304" cy="198"/>
                </a:xfrm>
                <a:custGeom>
                  <a:avLst/>
                  <a:gdLst>
                    <a:gd name="T0" fmla="*/ 16 w 129"/>
                    <a:gd name="T1" fmla="*/ 84 h 84"/>
                    <a:gd name="T2" fmla="*/ 15 w 129"/>
                    <a:gd name="T3" fmla="*/ 84 h 84"/>
                    <a:gd name="T4" fmla="*/ 1 w 129"/>
                    <a:gd name="T5" fmla="*/ 75 h 84"/>
                    <a:gd name="T6" fmla="*/ 0 w 129"/>
                    <a:gd name="T7" fmla="*/ 74 h 84"/>
                    <a:gd name="T8" fmla="*/ 1 w 129"/>
                    <a:gd name="T9" fmla="*/ 72 h 84"/>
                    <a:gd name="T10" fmla="*/ 126 w 129"/>
                    <a:gd name="T11" fmla="*/ 0 h 84"/>
                    <a:gd name="T12" fmla="*/ 128 w 129"/>
                    <a:gd name="T13" fmla="*/ 0 h 84"/>
                    <a:gd name="T14" fmla="*/ 129 w 129"/>
                    <a:gd name="T15" fmla="*/ 2 h 84"/>
                    <a:gd name="T16" fmla="*/ 129 w 129"/>
                    <a:gd name="T17" fmla="*/ 5 h 84"/>
                    <a:gd name="T18" fmla="*/ 128 w 129"/>
                    <a:gd name="T19" fmla="*/ 6 h 84"/>
                    <a:gd name="T20" fmla="*/ 18 w 129"/>
                    <a:gd name="T21" fmla="*/ 70 h 84"/>
                    <a:gd name="T22" fmla="*/ 18 w 129"/>
                    <a:gd name="T23" fmla="*/ 82 h 84"/>
                    <a:gd name="T24" fmla="*/ 17 w 129"/>
                    <a:gd name="T25" fmla="*/ 84 h 84"/>
                    <a:gd name="T26" fmla="*/ 16 w 129"/>
                    <a:gd name="T27" fmla="*/ 84 h 84"/>
                    <a:gd name="T28" fmla="*/ 6 w 129"/>
                    <a:gd name="T29" fmla="*/ 74 h 84"/>
                    <a:gd name="T30" fmla="*/ 14 w 129"/>
                    <a:gd name="T31" fmla="*/ 78 h 84"/>
                    <a:gd name="T32" fmla="*/ 14 w 129"/>
                    <a:gd name="T33" fmla="*/ 69 h 84"/>
                    <a:gd name="T34" fmla="*/ 6 w 129"/>
                    <a:gd name="T35" fmla="*/ 7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29" h="84">
                      <a:moveTo>
                        <a:pt x="16" y="84"/>
                      </a:moveTo>
                      <a:cubicBezTo>
                        <a:pt x="16" y="84"/>
                        <a:pt x="16" y="84"/>
                        <a:pt x="15" y="84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0" y="75"/>
                        <a:pt x="0" y="74"/>
                        <a:pt x="0" y="74"/>
                      </a:cubicBezTo>
                      <a:cubicBezTo>
                        <a:pt x="0" y="73"/>
                        <a:pt x="0" y="72"/>
                        <a:pt x="1" y="72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7" y="0"/>
                        <a:pt x="128" y="0"/>
                      </a:cubicBezTo>
                      <a:cubicBezTo>
                        <a:pt x="128" y="0"/>
                        <a:pt x="129" y="1"/>
                        <a:pt x="129" y="2"/>
                      </a:cubicBezTo>
                      <a:cubicBezTo>
                        <a:pt x="129" y="5"/>
                        <a:pt x="129" y="5"/>
                        <a:pt x="129" y="5"/>
                      </a:cubicBezTo>
                      <a:cubicBezTo>
                        <a:pt x="129" y="5"/>
                        <a:pt x="128" y="6"/>
                        <a:pt x="128" y="6"/>
                      </a:cubicBezTo>
                      <a:cubicBezTo>
                        <a:pt x="18" y="70"/>
                        <a:pt x="18" y="70"/>
                        <a:pt x="18" y="70"/>
                      </a:cubicBezTo>
                      <a:cubicBezTo>
                        <a:pt x="18" y="82"/>
                        <a:pt x="18" y="82"/>
                        <a:pt x="18" y="82"/>
                      </a:cubicBezTo>
                      <a:cubicBezTo>
                        <a:pt x="18" y="83"/>
                        <a:pt x="18" y="83"/>
                        <a:pt x="17" y="84"/>
                      </a:cubicBezTo>
                      <a:cubicBezTo>
                        <a:pt x="17" y="84"/>
                        <a:pt x="17" y="84"/>
                        <a:pt x="16" y="84"/>
                      </a:cubicBezTo>
                      <a:close/>
                      <a:moveTo>
                        <a:pt x="6" y="74"/>
                      </a:moveTo>
                      <a:cubicBezTo>
                        <a:pt x="14" y="78"/>
                        <a:pt x="14" y="78"/>
                        <a:pt x="14" y="78"/>
                      </a:cubicBezTo>
                      <a:cubicBezTo>
                        <a:pt x="14" y="69"/>
                        <a:pt x="14" y="69"/>
                        <a:pt x="14" y="69"/>
                      </a:cubicBezTo>
                      <a:lnTo>
                        <a:pt x="6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9" name="Freeform 882">
                  <a:extLst>
                    <a:ext uri="{FF2B5EF4-FFF2-40B4-BE49-F238E27FC236}">
                      <a16:creationId xmlns:a16="http://schemas.microsoft.com/office/drawing/2014/main" id="{E6339A64-7AEB-44A6-97C9-904E146D92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309"/>
                  <a:ext cx="293" cy="336"/>
                </a:xfrm>
                <a:custGeom>
                  <a:avLst/>
                  <a:gdLst>
                    <a:gd name="T0" fmla="*/ 110 w 124"/>
                    <a:gd name="T1" fmla="*/ 142 h 142"/>
                    <a:gd name="T2" fmla="*/ 109 w 124"/>
                    <a:gd name="T3" fmla="*/ 142 h 142"/>
                    <a:gd name="T4" fmla="*/ 1 w 124"/>
                    <a:gd name="T5" fmla="*/ 80 h 142"/>
                    <a:gd name="T6" fmla="*/ 0 w 124"/>
                    <a:gd name="T7" fmla="*/ 78 h 142"/>
                    <a:gd name="T8" fmla="*/ 0 w 124"/>
                    <a:gd name="T9" fmla="*/ 64 h 142"/>
                    <a:gd name="T10" fmla="*/ 1 w 124"/>
                    <a:gd name="T11" fmla="*/ 63 h 142"/>
                    <a:gd name="T12" fmla="*/ 110 w 124"/>
                    <a:gd name="T13" fmla="*/ 0 h 142"/>
                    <a:gd name="T14" fmla="*/ 112 w 124"/>
                    <a:gd name="T15" fmla="*/ 0 h 142"/>
                    <a:gd name="T16" fmla="*/ 113 w 124"/>
                    <a:gd name="T17" fmla="*/ 2 h 142"/>
                    <a:gd name="T18" fmla="*/ 113 w 124"/>
                    <a:gd name="T19" fmla="*/ 105 h 142"/>
                    <a:gd name="T20" fmla="*/ 123 w 124"/>
                    <a:gd name="T21" fmla="*/ 110 h 142"/>
                    <a:gd name="T22" fmla="*/ 124 w 124"/>
                    <a:gd name="T23" fmla="*/ 112 h 142"/>
                    <a:gd name="T24" fmla="*/ 124 w 124"/>
                    <a:gd name="T25" fmla="*/ 133 h 142"/>
                    <a:gd name="T26" fmla="*/ 123 w 124"/>
                    <a:gd name="T27" fmla="*/ 135 h 142"/>
                    <a:gd name="T28" fmla="*/ 111 w 124"/>
                    <a:gd name="T29" fmla="*/ 142 h 142"/>
                    <a:gd name="T30" fmla="*/ 110 w 124"/>
                    <a:gd name="T31" fmla="*/ 142 h 142"/>
                    <a:gd name="T32" fmla="*/ 4 w 124"/>
                    <a:gd name="T33" fmla="*/ 77 h 142"/>
                    <a:gd name="T34" fmla="*/ 110 w 124"/>
                    <a:gd name="T35" fmla="*/ 138 h 142"/>
                    <a:gd name="T36" fmla="*/ 120 w 124"/>
                    <a:gd name="T37" fmla="*/ 132 h 142"/>
                    <a:gd name="T38" fmla="*/ 120 w 124"/>
                    <a:gd name="T39" fmla="*/ 113 h 142"/>
                    <a:gd name="T40" fmla="*/ 110 w 124"/>
                    <a:gd name="T41" fmla="*/ 108 h 142"/>
                    <a:gd name="T42" fmla="*/ 109 w 124"/>
                    <a:gd name="T43" fmla="*/ 106 h 142"/>
                    <a:gd name="T44" fmla="*/ 109 w 124"/>
                    <a:gd name="T45" fmla="*/ 5 h 142"/>
                    <a:gd name="T46" fmla="*/ 4 w 124"/>
                    <a:gd name="T47" fmla="*/ 66 h 142"/>
                    <a:gd name="T48" fmla="*/ 4 w 124"/>
                    <a:gd name="T49" fmla="*/ 77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4" h="142">
                      <a:moveTo>
                        <a:pt x="110" y="142"/>
                      </a:moveTo>
                      <a:cubicBezTo>
                        <a:pt x="110" y="142"/>
                        <a:pt x="109" y="142"/>
                        <a:pt x="109" y="142"/>
                      </a:cubicBezTo>
                      <a:cubicBezTo>
                        <a:pt x="1" y="80"/>
                        <a:pt x="1" y="80"/>
                        <a:pt x="1" y="80"/>
                      </a:cubicBezTo>
                      <a:cubicBezTo>
                        <a:pt x="0" y="79"/>
                        <a:pt x="0" y="79"/>
                        <a:pt x="0" y="7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3"/>
                        <a:pt x="1" y="63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110" y="0"/>
                        <a:pt x="111" y="0"/>
                        <a:pt x="112" y="0"/>
                      </a:cubicBezTo>
                      <a:cubicBezTo>
                        <a:pt x="112" y="0"/>
                        <a:pt x="113" y="1"/>
                        <a:pt x="113" y="2"/>
                      </a:cubicBezTo>
                      <a:cubicBezTo>
                        <a:pt x="113" y="105"/>
                        <a:pt x="113" y="105"/>
                        <a:pt x="113" y="105"/>
                      </a:cubicBezTo>
                      <a:cubicBezTo>
                        <a:pt x="123" y="110"/>
                        <a:pt x="123" y="110"/>
                        <a:pt x="123" y="110"/>
                      </a:cubicBezTo>
                      <a:cubicBezTo>
                        <a:pt x="123" y="111"/>
                        <a:pt x="124" y="111"/>
                        <a:pt x="124" y="112"/>
                      </a:cubicBezTo>
                      <a:cubicBezTo>
                        <a:pt x="124" y="133"/>
                        <a:pt x="124" y="133"/>
                        <a:pt x="124" y="133"/>
                      </a:cubicBezTo>
                      <a:cubicBezTo>
                        <a:pt x="124" y="134"/>
                        <a:pt x="123" y="135"/>
                        <a:pt x="123" y="135"/>
                      </a:cubicBezTo>
                      <a:cubicBezTo>
                        <a:pt x="111" y="142"/>
                        <a:pt x="111" y="142"/>
                        <a:pt x="111" y="142"/>
                      </a:cubicBezTo>
                      <a:cubicBezTo>
                        <a:pt x="111" y="142"/>
                        <a:pt x="110" y="142"/>
                        <a:pt x="110" y="142"/>
                      </a:cubicBezTo>
                      <a:close/>
                      <a:moveTo>
                        <a:pt x="4" y="77"/>
                      </a:moveTo>
                      <a:cubicBezTo>
                        <a:pt x="110" y="138"/>
                        <a:pt x="110" y="138"/>
                        <a:pt x="110" y="138"/>
                      </a:cubicBezTo>
                      <a:cubicBezTo>
                        <a:pt x="120" y="132"/>
                        <a:pt x="120" y="132"/>
                        <a:pt x="120" y="132"/>
                      </a:cubicBezTo>
                      <a:cubicBezTo>
                        <a:pt x="120" y="113"/>
                        <a:pt x="120" y="113"/>
                        <a:pt x="120" y="113"/>
                      </a:cubicBezTo>
                      <a:cubicBezTo>
                        <a:pt x="110" y="108"/>
                        <a:pt x="110" y="108"/>
                        <a:pt x="110" y="108"/>
                      </a:cubicBezTo>
                      <a:cubicBezTo>
                        <a:pt x="109" y="107"/>
                        <a:pt x="109" y="107"/>
                        <a:pt x="109" y="106"/>
                      </a:cubicBezTo>
                      <a:cubicBezTo>
                        <a:pt x="109" y="5"/>
                        <a:pt x="109" y="5"/>
                        <a:pt x="109" y="5"/>
                      </a:cubicBezTo>
                      <a:cubicBezTo>
                        <a:pt x="4" y="66"/>
                        <a:pt x="4" y="66"/>
                        <a:pt x="4" y="66"/>
                      </a:cubicBezTo>
                      <a:lnTo>
                        <a:pt x="4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0" name="Freeform 883">
                  <a:extLst>
                    <a:ext uri="{FF2B5EF4-FFF2-40B4-BE49-F238E27FC236}">
                      <a16:creationId xmlns:a16="http://schemas.microsoft.com/office/drawing/2014/main" id="{277CBF34-83C4-45DA-BAED-9C407C28BA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664"/>
                  <a:ext cx="62" cy="101"/>
                </a:xfrm>
                <a:custGeom>
                  <a:avLst/>
                  <a:gdLst>
                    <a:gd name="T0" fmla="*/ 24 w 26"/>
                    <a:gd name="T1" fmla="*/ 43 h 43"/>
                    <a:gd name="T2" fmla="*/ 23 w 26"/>
                    <a:gd name="T3" fmla="*/ 42 h 43"/>
                    <a:gd name="T4" fmla="*/ 1 w 26"/>
                    <a:gd name="T5" fmla="*/ 30 h 43"/>
                    <a:gd name="T6" fmla="*/ 0 w 26"/>
                    <a:gd name="T7" fmla="*/ 28 h 43"/>
                    <a:gd name="T8" fmla="*/ 0 w 26"/>
                    <a:gd name="T9" fmla="*/ 15 h 43"/>
                    <a:gd name="T10" fmla="*/ 1 w 26"/>
                    <a:gd name="T11" fmla="*/ 13 h 43"/>
                    <a:gd name="T12" fmla="*/ 23 w 26"/>
                    <a:gd name="T13" fmla="*/ 1 h 43"/>
                    <a:gd name="T14" fmla="*/ 25 w 26"/>
                    <a:gd name="T15" fmla="*/ 1 h 43"/>
                    <a:gd name="T16" fmla="*/ 26 w 26"/>
                    <a:gd name="T17" fmla="*/ 3 h 43"/>
                    <a:gd name="T18" fmla="*/ 26 w 26"/>
                    <a:gd name="T19" fmla="*/ 41 h 43"/>
                    <a:gd name="T20" fmla="*/ 25 w 26"/>
                    <a:gd name="T21" fmla="*/ 42 h 43"/>
                    <a:gd name="T22" fmla="*/ 24 w 26"/>
                    <a:gd name="T23" fmla="*/ 43 h 43"/>
                    <a:gd name="T24" fmla="*/ 4 w 26"/>
                    <a:gd name="T25" fmla="*/ 27 h 43"/>
                    <a:gd name="T26" fmla="*/ 22 w 26"/>
                    <a:gd name="T27" fmla="*/ 37 h 43"/>
                    <a:gd name="T28" fmla="*/ 22 w 26"/>
                    <a:gd name="T29" fmla="*/ 6 h 43"/>
                    <a:gd name="T30" fmla="*/ 4 w 26"/>
                    <a:gd name="T31" fmla="*/ 16 h 43"/>
                    <a:gd name="T32" fmla="*/ 4 w 26"/>
                    <a:gd name="T33" fmla="*/ 27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43">
                      <a:moveTo>
                        <a:pt x="24" y="43"/>
                      </a:moveTo>
                      <a:cubicBezTo>
                        <a:pt x="23" y="43"/>
                        <a:pt x="23" y="42"/>
                        <a:pt x="23" y="42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1" y="30"/>
                        <a:pt x="0" y="29"/>
                        <a:pt x="0" y="28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4"/>
                        <a:pt x="1" y="13"/>
                        <a:pt x="1" y="13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3" y="0"/>
                        <a:pt x="24" y="0"/>
                        <a:pt x="25" y="1"/>
                      </a:cubicBezTo>
                      <a:cubicBezTo>
                        <a:pt x="25" y="1"/>
                        <a:pt x="26" y="2"/>
                        <a:pt x="26" y="3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26" y="41"/>
                        <a:pt x="25" y="42"/>
                        <a:pt x="25" y="42"/>
                      </a:cubicBezTo>
                      <a:cubicBezTo>
                        <a:pt x="24" y="42"/>
                        <a:pt x="24" y="43"/>
                        <a:pt x="24" y="43"/>
                      </a:cubicBezTo>
                      <a:close/>
                      <a:moveTo>
                        <a:pt x="4" y="27"/>
                      </a:moveTo>
                      <a:cubicBezTo>
                        <a:pt x="22" y="37"/>
                        <a:pt x="22" y="37"/>
                        <a:pt x="22" y="37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4" y="16"/>
                        <a:pt x="4" y="16"/>
                        <a:pt x="4" y="16"/>
                      </a:cubicBezTo>
                      <a:lnTo>
                        <a:pt x="4" y="2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1" name="Freeform 884">
                  <a:extLst>
                    <a:ext uri="{FF2B5EF4-FFF2-40B4-BE49-F238E27FC236}">
                      <a16:creationId xmlns:a16="http://schemas.microsoft.com/office/drawing/2014/main" id="{CD5761E7-9197-4F97-A72E-2589F15081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76" y="210"/>
                  <a:ext cx="307" cy="187"/>
                </a:xfrm>
                <a:custGeom>
                  <a:avLst/>
                  <a:gdLst>
                    <a:gd name="T0" fmla="*/ 128 w 130"/>
                    <a:gd name="T1" fmla="*/ 79 h 79"/>
                    <a:gd name="T2" fmla="*/ 127 w 130"/>
                    <a:gd name="T3" fmla="*/ 79 h 79"/>
                    <a:gd name="T4" fmla="*/ 29 w 130"/>
                    <a:gd name="T5" fmla="*/ 23 h 79"/>
                    <a:gd name="T6" fmla="*/ 3 w 130"/>
                    <a:gd name="T7" fmla="*/ 38 h 79"/>
                    <a:gd name="T8" fmla="*/ 1 w 130"/>
                    <a:gd name="T9" fmla="*/ 38 h 79"/>
                    <a:gd name="T10" fmla="*/ 0 w 130"/>
                    <a:gd name="T11" fmla="*/ 36 h 79"/>
                    <a:gd name="T12" fmla="*/ 0 w 130"/>
                    <a:gd name="T13" fmla="*/ 2 h 79"/>
                    <a:gd name="T14" fmla="*/ 1 w 130"/>
                    <a:gd name="T15" fmla="*/ 0 h 79"/>
                    <a:gd name="T16" fmla="*/ 3 w 130"/>
                    <a:gd name="T17" fmla="*/ 0 h 79"/>
                    <a:gd name="T18" fmla="*/ 129 w 130"/>
                    <a:gd name="T19" fmla="*/ 73 h 79"/>
                    <a:gd name="T20" fmla="*/ 130 w 130"/>
                    <a:gd name="T21" fmla="*/ 75 h 79"/>
                    <a:gd name="T22" fmla="*/ 130 w 130"/>
                    <a:gd name="T23" fmla="*/ 77 h 79"/>
                    <a:gd name="T24" fmla="*/ 129 w 130"/>
                    <a:gd name="T25" fmla="*/ 79 h 79"/>
                    <a:gd name="T26" fmla="*/ 128 w 130"/>
                    <a:gd name="T27" fmla="*/ 79 h 79"/>
                    <a:gd name="T28" fmla="*/ 4 w 130"/>
                    <a:gd name="T29" fmla="*/ 6 h 79"/>
                    <a:gd name="T30" fmla="*/ 4 w 130"/>
                    <a:gd name="T31" fmla="*/ 32 h 79"/>
                    <a:gd name="T32" fmla="*/ 28 w 130"/>
                    <a:gd name="T33" fmla="*/ 19 h 79"/>
                    <a:gd name="T34" fmla="*/ 4 w 130"/>
                    <a:gd name="T35" fmla="*/ 6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30" h="79">
                      <a:moveTo>
                        <a:pt x="128" y="79"/>
                      </a:moveTo>
                      <a:cubicBezTo>
                        <a:pt x="127" y="79"/>
                        <a:pt x="127" y="79"/>
                        <a:pt x="127" y="79"/>
                      </a:cubicBezTo>
                      <a:cubicBezTo>
                        <a:pt x="29" y="23"/>
                        <a:pt x="29" y="23"/>
                        <a:pt x="29" y="23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2" y="38"/>
                        <a:pt x="1" y="38"/>
                      </a:cubicBezTo>
                      <a:cubicBezTo>
                        <a:pt x="1" y="37"/>
                        <a:pt x="0" y="37"/>
                        <a:pt x="0" y="3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29" y="73"/>
                        <a:pt x="129" y="73"/>
                        <a:pt x="129" y="73"/>
                      </a:cubicBezTo>
                      <a:cubicBezTo>
                        <a:pt x="129" y="73"/>
                        <a:pt x="130" y="74"/>
                        <a:pt x="130" y="75"/>
                      </a:cubicBezTo>
                      <a:cubicBezTo>
                        <a:pt x="130" y="77"/>
                        <a:pt x="130" y="77"/>
                        <a:pt x="130" y="77"/>
                      </a:cubicBezTo>
                      <a:cubicBezTo>
                        <a:pt x="130" y="78"/>
                        <a:pt x="129" y="79"/>
                        <a:pt x="129" y="79"/>
                      </a:cubicBezTo>
                      <a:cubicBezTo>
                        <a:pt x="128" y="79"/>
                        <a:pt x="128" y="79"/>
                        <a:pt x="128" y="79"/>
                      </a:cubicBezTo>
                      <a:close/>
                      <a:moveTo>
                        <a:pt x="4" y="6"/>
                      </a:move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2" name="Freeform 885">
                  <a:extLst>
                    <a:ext uri="{FF2B5EF4-FFF2-40B4-BE49-F238E27FC236}">
                      <a16:creationId xmlns:a16="http://schemas.microsoft.com/office/drawing/2014/main" id="{41EA93EC-C994-4A6B-AF9C-CFBFF4DF5A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1054"/>
                  <a:ext cx="378" cy="245"/>
                </a:xfrm>
                <a:custGeom>
                  <a:avLst/>
                  <a:gdLst>
                    <a:gd name="T0" fmla="*/ 50 w 160"/>
                    <a:gd name="T1" fmla="*/ 104 h 104"/>
                    <a:gd name="T2" fmla="*/ 49 w 160"/>
                    <a:gd name="T3" fmla="*/ 104 h 104"/>
                    <a:gd name="T4" fmla="*/ 1 w 160"/>
                    <a:gd name="T5" fmla="*/ 76 h 104"/>
                    <a:gd name="T6" fmla="*/ 0 w 160"/>
                    <a:gd name="T7" fmla="*/ 74 h 104"/>
                    <a:gd name="T8" fmla="*/ 0 w 160"/>
                    <a:gd name="T9" fmla="*/ 64 h 104"/>
                    <a:gd name="T10" fmla="*/ 1 w 160"/>
                    <a:gd name="T11" fmla="*/ 62 h 104"/>
                    <a:gd name="T12" fmla="*/ 108 w 160"/>
                    <a:gd name="T13" fmla="*/ 1 h 104"/>
                    <a:gd name="T14" fmla="*/ 110 w 160"/>
                    <a:gd name="T15" fmla="*/ 1 h 104"/>
                    <a:gd name="T16" fmla="*/ 111 w 160"/>
                    <a:gd name="T17" fmla="*/ 2 h 104"/>
                    <a:gd name="T18" fmla="*/ 111 w 160"/>
                    <a:gd name="T19" fmla="*/ 10 h 104"/>
                    <a:gd name="T20" fmla="*/ 159 w 160"/>
                    <a:gd name="T21" fmla="*/ 38 h 104"/>
                    <a:gd name="T22" fmla="*/ 160 w 160"/>
                    <a:gd name="T23" fmla="*/ 40 h 104"/>
                    <a:gd name="T24" fmla="*/ 159 w 160"/>
                    <a:gd name="T25" fmla="*/ 41 h 104"/>
                    <a:gd name="T26" fmla="*/ 51 w 160"/>
                    <a:gd name="T27" fmla="*/ 104 h 104"/>
                    <a:gd name="T28" fmla="*/ 50 w 160"/>
                    <a:gd name="T29" fmla="*/ 104 h 104"/>
                    <a:gd name="T30" fmla="*/ 4 w 160"/>
                    <a:gd name="T31" fmla="*/ 73 h 104"/>
                    <a:gd name="T32" fmla="*/ 50 w 160"/>
                    <a:gd name="T33" fmla="*/ 100 h 104"/>
                    <a:gd name="T34" fmla="*/ 154 w 160"/>
                    <a:gd name="T35" fmla="*/ 40 h 104"/>
                    <a:gd name="T36" fmla="*/ 108 w 160"/>
                    <a:gd name="T37" fmla="*/ 13 h 104"/>
                    <a:gd name="T38" fmla="*/ 107 w 160"/>
                    <a:gd name="T39" fmla="*/ 11 h 104"/>
                    <a:gd name="T40" fmla="*/ 107 w 160"/>
                    <a:gd name="T41" fmla="*/ 6 h 104"/>
                    <a:gd name="T42" fmla="*/ 4 w 160"/>
                    <a:gd name="T43" fmla="*/ 65 h 104"/>
                    <a:gd name="T44" fmla="*/ 4 w 160"/>
                    <a:gd name="T45" fmla="*/ 7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0" h="104">
                      <a:moveTo>
                        <a:pt x="50" y="104"/>
                      </a:moveTo>
                      <a:cubicBezTo>
                        <a:pt x="50" y="104"/>
                        <a:pt x="49" y="104"/>
                        <a:pt x="49" y="104"/>
                      </a:cubicBezTo>
                      <a:cubicBezTo>
                        <a:pt x="1" y="76"/>
                        <a:pt x="1" y="76"/>
                        <a:pt x="1" y="76"/>
                      </a:cubicBezTo>
                      <a:cubicBezTo>
                        <a:pt x="0" y="75"/>
                        <a:pt x="0" y="75"/>
                        <a:pt x="0" y="7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3"/>
                        <a:pt x="0" y="63"/>
                        <a:pt x="1" y="62"/>
                      </a:cubicBezTo>
                      <a:cubicBezTo>
                        <a:pt x="108" y="1"/>
                        <a:pt x="108" y="1"/>
                        <a:pt x="108" y="1"/>
                      </a:cubicBezTo>
                      <a:cubicBezTo>
                        <a:pt x="108" y="0"/>
                        <a:pt x="109" y="0"/>
                        <a:pt x="110" y="1"/>
                      </a:cubicBezTo>
                      <a:cubicBezTo>
                        <a:pt x="110" y="1"/>
                        <a:pt x="111" y="2"/>
                        <a:pt x="111" y="2"/>
                      </a:cubicBezTo>
                      <a:cubicBezTo>
                        <a:pt x="111" y="10"/>
                        <a:pt x="111" y="10"/>
                        <a:pt x="111" y="10"/>
                      </a:cubicBezTo>
                      <a:cubicBezTo>
                        <a:pt x="159" y="38"/>
                        <a:pt x="159" y="38"/>
                        <a:pt x="159" y="38"/>
                      </a:cubicBezTo>
                      <a:cubicBezTo>
                        <a:pt x="160" y="38"/>
                        <a:pt x="160" y="39"/>
                        <a:pt x="160" y="40"/>
                      </a:cubicBezTo>
                      <a:cubicBezTo>
                        <a:pt x="160" y="40"/>
                        <a:pt x="160" y="41"/>
                        <a:pt x="159" y="41"/>
                      </a:cubicBezTo>
                      <a:cubicBezTo>
                        <a:pt x="51" y="104"/>
                        <a:pt x="51" y="104"/>
                        <a:pt x="51" y="104"/>
                      </a:cubicBezTo>
                      <a:cubicBezTo>
                        <a:pt x="51" y="104"/>
                        <a:pt x="50" y="104"/>
                        <a:pt x="50" y="104"/>
                      </a:cubicBezTo>
                      <a:close/>
                      <a:moveTo>
                        <a:pt x="4" y="73"/>
                      </a:move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154" y="40"/>
                        <a:pt x="154" y="40"/>
                        <a:pt x="154" y="40"/>
                      </a:cubicBezTo>
                      <a:cubicBezTo>
                        <a:pt x="108" y="13"/>
                        <a:pt x="108" y="13"/>
                        <a:pt x="108" y="13"/>
                      </a:cubicBezTo>
                      <a:cubicBezTo>
                        <a:pt x="107" y="12"/>
                        <a:pt x="107" y="12"/>
                        <a:pt x="107" y="11"/>
                      </a:cubicBezTo>
                      <a:cubicBezTo>
                        <a:pt x="107" y="6"/>
                        <a:pt x="107" y="6"/>
                        <a:pt x="107" y="6"/>
                      </a:cubicBezTo>
                      <a:cubicBezTo>
                        <a:pt x="4" y="65"/>
                        <a:pt x="4" y="65"/>
                        <a:pt x="4" y="65"/>
                      </a:cubicBezTo>
                      <a:lnTo>
                        <a:pt x="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3" name="Freeform 886">
                  <a:extLst>
                    <a:ext uri="{FF2B5EF4-FFF2-40B4-BE49-F238E27FC236}">
                      <a16:creationId xmlns:a16="http://schemas.microsoft.com/office/drawing/2014/main" id="{B55EF2E2-4376-4B37-982D-D5DEBDE6AF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" y="1361"/>
                  <a:ext cx="42" cy="33"/>
                </a:xfrm>
                <a:custGeom>
                  <a:avLst/>
                  <a:gdLst>
                    <a:gd name="T0" fmla="*/ 2 w 18"/>
                    <a:gd name="T1" fmla="*/ 14 h 14"/>
                    <a:gd name="T2" fmla="*/ 1 w 18"/>
                    <a:gd name="T3" fmla="*/ 14 h 14"/>
                    <a:gd name="T4" fmla="*/ 0 w 18"/>
                    <a:gd name="T5" fmla="*/ 12 h 14"/>
                    <a:gd name="T6" fmla="*/ 0 w 18"/>
                    <a:gd name="T7" fmla="*/ 10 h 14"/>
                    <a:gd name="T8" fmla="*/ 1 w 18"/>
                    <a:gd name="T9" fmla="*/ 8 h 14"/>
                    <a:gd name="T10" fmla="*/ 14 w 18"/>
                    <a:gd name="T11" fmla="*/ 1 h 14"/>
                    <a:gd name="T12" fmla="*/ 16 w 18"/>
                    <a:gd name="T13" fmla="*/ 1 h 14"/>
                    <a:gd name="T14" fmla="*/ 18 w 18"/>
                    <a:gd name="T15" fmla="*/ 2 h 14"/>
                    <a:gd name="T16" fmla="*/ 18 w 18"/>
                    <a:gd name="T17" fmla="*/ 4 h 14"/>
                    <a:gd name="T18" fmla="*/ 17 w 18"/>
                    <a:gd name="T19" fmla="*/ 6 h 14"/>
                    <a:gd name="T20" fmla="*/ 3 w 18"/>
                    <a:gd name="T21" fmla="*/ 14 h 14"/>
                    <a:gd name="T22" fmla="*/ 2 w 18"/>
                    <a:gd name="T23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14">
                      <a:moveTo>
                        <a:pt x="2" y="14"/>
                      </a:moveTo>
                      <a:cubicBezTo>
                        <a:pt x="2" y="14"/>
                        <a:pt x="1" y="14"/>
                        <a:pt x="1" y="14"/>
                      </a:cubicBezTo>
                      <a:cubicBezTo>
                        <a:pt x="0" y="13"/>
                        <a:pt x="0" y="13"/>
                        <a:pt x="0" y="1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5" y="0"/>
                        <a:pt x="16" y="0"/>
                        <a:pt x="16" y="1"/>
                      </a:cubicBezTo>
                      <a:cubicBezTo>
                        <a:pt x="17" y="1"/>
                        <a:pt x="18" y="2"/>
                        <a:pt x="18" y="2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8" y="5"/>
                        <a:pt x="17" y="5"/>
                        <a:pt x="17" y="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2" y="14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4" name="Freeform 887">
                  <a:extLst>
                    <a:ext uri="{FF2B5EF4-FFF2-40B4-BE49-F238E27FC236}">
                      <a16:creationId xmlns:a16="http://schemas.microsoft.com/office/drawing/2014/main" id="{4D759B1A-5535-4812-B18A-43E1F7383E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1299"/>
                  <a:ext cx="78" cy="88"/>
                </a:xfrm>
                <a:custGeom>
                  <a:avLst/>
                  <a:gdLst>
                    <a:gd name="T0" fmla="*/ 9 w 33"/>
                    <a:gd name="T1" fmla="*/ 37 h 37"/>
                    <a:gd name="T2" fmla="*/ 8 w 33"/>
                    <a:gd name="T3" fmla="*/ 37 h 37"/>
                    <a:gd name="T4" fmla="*/ 1 w 33"/>
                    <a:gd name="T5" fmla="*/ 32 h 37"/>
                    <a:gd name="T6" fmla="*/ 0 w 33"/>
                    <a:gd name="T7" fmla="*/ 31 h 37"/>
                    <a:gd name="T8" fmla="*/ 0 w 33"/>
                    <a:gd name="T9" fmla="*/ 2 h 37"/>
                    <a:gd name="T10" fmla="*/ 1 w 33"/>
                    <a:gd name="T11" fmla="*/ 1 h 37"/>
                    <a:gd name="T12" fmla="*/ 3 w 33"/>
                    <a:gd name="T13" fmla="*/ 1 h 37"/>
                    <a:gd name="T14" fmla="*/ 32 w 33"/>
                    <a:gd name="T15" fmla="*/ 18 h 37"/>
                    <a:gd name="T16" fmla="*/ 33 w 33"/>
                    <a:gd name="T17" fmla="*/ 20 h 37"/>
                    <a:gd name="T18" fmla="*/ 33 w 33"/>
                    <a:gd name="T19" fmla="*/ 22 h 37"/>
                    <a:gd name="T20" fmla="*/ 32 w 33"/>
                    <a:gd name="T21" fmla="*/ 24 h 37"/>
                    <a:gd name="T22" fmla="*/ 10 w 33"/>
                    <a:gd name="T23" fmla="*/ 37 h 37"/>
                    <a:gd name="T24" fmla="*/ 9 w 33"/>
                    <a:gd name="T25" fmla="*/ 37 h 37"/>
                    <a:gd name="T26" fmla="*/ 4 w 33"/>
                    <a:gd name="T27" fmla="*/ 29 h 37"/>
                    <a:gd name="T28" fmla="*/ 9 w 33"/>
                    <a:gd name="T29" fmla="*/ 33 h 37"/>
                    <a:gd name="T30" fmla="*/ 29 w 33"/>
                    <a:gd name="T31" fmla="*/ 21 h 37"/>
                    <a:gd name="T32" fmla="*/ 29 w 33"/>
                    <a:gd name="T33" fmla="*/ 21 h 37"/>
                    <a:gd name="T34" fmla="*/ 4 w 33"/>
                    <a:gd name="T35" fmla="*/ 6 h 37"/>
                    <a:gd name="T36" fmla="*/ 4 w 33"/>
                    <a:gd name="T37" fmla="*/ 29 h 37"/>
                    <a:gd name="T38" fmla="*/ 31 w 33"/>
                    <a:gd name="T39" fmla="*/ 22 h 37"/>
                    <a:gd name="T40" fmla="*/ 31 w 33"/>
                    <a:gd name="T41" fmla="*/ 22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37">
                      <a:moveTo>
                        <a:pt x="9" y="37"/>
                      </a:moveTo>
                      <a:cubicBezTo>
                        <a:pt x="9" y="37"/>
                        <a:pt x="9" y="37"/>
                        <a:pt x="8" y="37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1" y="0"/>
                        <a:pt x="2" y="0"/>
                        <a:pt x="3" y="1"/>
                      </a:cubicBezTo>
                      <a:cubicBezTo>
                        <a:pt x="32" y="18"/>
                        <a:pt x="32" y="18"/>
                        <a:pt x="32" y="18"/>
                      </a:cubicBezTo>
                      <a:cubicBezTo>
                        <a:pt x="33" y="18"/>
                        <a:pt x="33" y="19"/>
                        <a:pt x="33" y="20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3"/>
                        <a:pt x="33" y="24"/>
                        <a:pt x="32" y="24"/>
                      </a:cubicBezTo>
                      <a:cubicBezTo>
                        <a:pt x="10" y="37"/>
                        <a:pt x="10" y="37"/>
                        <a:pt x="10" y="37"/>
                      </a:cubicBezTo>
                      <a:cubicBezTo>
                        <a:pt x="10" y="37"/>
                        <a:pt x="10" y="37"/>
                        <a:pt x="9" y="37"/>
                      </a:cubicBezTo>
                      <a:close/>
                      <a:moveTo>
                        <a:pt x="4" y="29"/>
                      </a:moveTo>
                      <a:cubicBezTo>
                        <a:pt x="9" y="33"/>
                        <a:pt x="9" y="33"/>
                        <a:pt x="9" y="33"/>
                      </a:cubicBezTo>
                      <a:cubicBezTo>
                        <a:pt x="29" y="21"/>
                        <a:pt x="29" y="21"/>
                        <a:pt x="29" y="21"/>
                      </a:cubicBezTo>
                      <a:cubicBezTo>
                        <a:pt x="29" y="21"/>
                        <a:pt x="29" y="21"/>
                        <a:pt x="29" y="21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29"/>
                      </a:lnTo>
                      <a:close/>
                      <a:moveTo>
                        <a:pt x="31" y="22"/>
                      </a:moveTo>
                      <a:cubicBezTo>
                        <a:pt x="31" y="22"/>
                        <a:pt x="31" y="22"/>
                        <a:pt x="3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5" name="Freeform 888">
                  <a:extLst>
                    <a:ext uri="{FF2B5EF4-FFF2-40B4-BE49-F238E27FC236}">
                      <a16:creationId xmlns:a16="http://schemas.microsoft.com/office/drawing/2014/main" id="{E10D00D8-B0EA-4DD6-9C23-A778D68C87C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33" y="3187"/>
                  <a:ext cx="508" cy="361"/>
                </a:xfrm>
                <a:custGeom>
                  <a:avLst/>
                  <a:gdLst>
                    <a:gd name="T0" fmla="*/ 120 w 215"/>
                    <a:gd name="T1" fmla="*/ 153 h 153"/>
                    <a:gd name="T2" fmla="*/ 119 w 215"/>
                    <a:gd name="T3" fmla="*/ 153 h 153"/>
                    <a:gd name="T4" fmla="*/ 104 w 215"/>
                    <a:gd name="T5" fmla="*/ 144 h 153"/>
                    <a:gd name="T6" fmla="*/ 103 w 215"/>
                    <a:gd name="T7" fmla="*/ 142 h 153"/>
                    <a:gd name="T8" fmla="*/ 103 w 215"/>
                    <a:gd name="T9" fmla="*/ 135 h 153"/>
                    <a:gd name="T10" fmla="*/ 1 w 215"/>
                    <a:gd name="T11" fmla="*/ 76 h 153"/>
                    <a:gd name="T12" fmla="*/ 0 w 215"/>
                    <a:gd name="T13" fmla="*/ 75 h 153"/>
                    <a:gd name="T14" fmla="*/ 1 w 215"/>
                    <a:gd name="T15" fmla="*/ 73 h 153"/>
                    <a:gd name="T16" fmla="*/ 126 w 215"/>
                    <a:gd name="T17" fmla="*/ 1 h 153"/>
                    <a:gd name="T18" fmla="*/ 128 w 215"/>
                    <a:gd name="T19" fmla="*/ 1 h 153"/>
                    <a:gd name="T20" fmla="*/ 214 w 215"/>
                    <a:gd name="T21" fmla="*/ 50 h 153"/>
                    <a:gd name="T22" fmla="*/ 215 w 215"/>
                    <a:gd name="T23" fmla="*/ 52 h 153"/>
                    <a:gd name="T24" fmla="*/ 214 w 215"/>
                    <a:gd name="T25" fmla="*/ 54 h 153"/>
                    <a:gd name="T26" fmla="*/ 122 w 215"/>
                    <a:gd name="T27" fmla="*/ 107 h 153"/>
                    <a:gd name="T28" fmla="*/ 122 w 215"/>
                    <a:gd name="T29" fmla="*/ 151 h 153"/>
                    <a:gd name="T30" fmla="*/ 121 w 215"/>
                    <a:gd name="T31" fmla="*/ 153 h 153"/>
                    <a:gd name="T32" fmla="*/ 120 w 215"/>
                    <a:gd name="T33" fmla="*/ 153 h 153"/>
                    <a:gd name="T34" fmla="*/ 107 w 215"/>
                    <a:gd name="T35" fmla="*/ 141 h 153"/>
                    <a:gd name="T36" fmla="*/ 118 w 215"/>
                    <a:gd name="T37" fmla="*/ 147 h 153"/>
                    <a:gd name="T38" fmla="*/ 118 w 215"/>
                    <a:gd name="T39" fmla="*/ 105 h 153"/>
                    <a:gd name="T40" fmla="*/ 119 w 215"/>
                    <a:gd name="T41" fmla="*/ 104 h 153"/>
                    <a:gd name="T42" fmla="*/ 209 w 215"/>
                    <a:gd name="T43" fmla="*/ 52 h 153"/>
                    <a:gd name="T44" fmla="*/ 127 w 215"/>
                    <a:gd name="T45" fmla="*/ 5 h 153"/>
                    <a:gd name="T46" fmla="*/ 6 w 215"/>
                    <a:gd name="T47" fmla="*/ 75 h 153"/>
                    <a:gd name="T48" fmla="*/ 106 w 215"/>
                    <a:gd name="T49" fmla="*/ 132 h 153"/>
                    <a:gd name="T50" fmla="*/ 107 w 215"/>
                    <a:gd name="T51" fmla="*/ 134 h 153"/>
                    <a:gd name="T52" fmla="*/ 107 w 215"/>
                    <a:gd name="T53" fmla="*/ 141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5" h="153">
                      <a:moveTo>
                        <a:pt x="120" y="153"/>
                      </a:moveTo>
                      <a:cubicBezTo>
                        <a:pt x="120" y="153"/>
                        <a:pt x="120" y="153"/>
                        <a:pt x="119" y="153"/>
                      </a:cubicBezTo>
                      <a:cubicBezTo>
                        <a:pt x="104" y="144"/>
                        <a:pt x="104" y="144"/>
                        <a:pt x="104" y="144"/>
                      </a:cubicBezTo>
                      <a:cubicBezTo>
                        <a:pt x="104" y="144"/>
                        <a:pt x="103" y="143"/>
                        <a:pt x="103" y="142"/>
                      </a:cubicBezTo>
                      <a:cubicBezTo>
                        <a:pt x="103" y="135"/>
                        <a:pt x="103" y="135"/>
                        <a:pt x="103" y="135"/>
                      </a:cubicBezTo>
                      <a:cubicBezTo>
                        <a:pt x="1" y="76"/>
                        <a:pt x="1" y="76"/>
                        <a:pt x="1" y="76"/>
                      </a:cubicBezTo>
                      <a:cubicBezTo>
                        <a:pt x="1" y="76"/>
                        <a:pt x="0" y="75"/>
                        <a:pt x="0" y="75"/>
                      </a:cubicBezTo>
                      <a:cubicBezTo>
                        <a:pt x="0" y="74"/>
                        <a:pt x="1" y="73"/>
                        <a:pt x="1" y="73"/>
                      </a:cubicBezTo>
                      <a:cubicBezTo>
                        <a:pt x="126" y="1"/>
                        <a:pt x="126" y="1"/>
                        <a:pt x="126" y="1"/>
                      </a:cubicBezTo>
                      <a:cubicBezTo>
                        <a:pt x="127" y="0"/>
                        <a:pt x="128" y="0"/>
                        <a:pt x="128" y="1"/>
                      </a:cubicBezTo>
                      <a:cubicBezTo>
                        <a:pt x="214" y="50"/>
                        <a:pt x="214" y="50"/>
                        <a:pt x="214" y="50"/>
                      </a:cubicBezTo>
                      <a:cubicBezTo>
                        <a:pt x="215" y="51"/>
                        <a:pt x="215" y="51"/>
                        <a:pt x="215" y="52"/>
                      </a:cubicBezTo>
                      <a:cubicBezTo>
                        <a:pt x="215" y="53"/>
                        <a:pt x="215" y="53"/>
                        <a:pt x="214" y="54"/>
                      </a:cubicBezTo>
                      <a:cubicBezTo>
                        <a:pt x="122" y="107"/>
                        <a:pt x="122" y="107"/>
                        <a:pt x="122" y="107"/>
                      </a:cubicBezTo>
                      <a:cubicBezTo>
                        <a:pt x="122" y="151"/>
                        <a:pt x="122" y="151"/>
                        <a:pt x="122" y="151"/>
                      </a:cubicBezTo>
                      <a:cubicBezTo>
                        <a:pt x="122" y="152"/>
                        <a:pt x="122" y="152"/>
                        <a:pt x="121" y="153"/>
                      </a:cubicBezTo>
                      <a:cubicBezTo>
                        <a:pt x="121" y="153"/>
                        <a:pt x="121" y="153"/>
                        <a:pt x="120" y="153"/>
                      </a:cubicBezTo>
                      <a:close/>
                      <a:moveTo>
                        <a:pt x="107" y="141"/>
                      </a:moveTo>
                      <a:cubicBezTo>
                        <a:pt x="118" y="147"/>
                        <a:pt x="118" y="147"/>
                        <a:pt x="118" y="147"/>
                      </a:cubicBezTo>
                      <a:cubicBezTo>
                        <a:pt x="118" y="105"/>
                        <a:pt x="118" y="105"/>
                        <a:pt x="118" y="105"/>
                      </a:cubicBezTo>
                      <a:cubicBezTo>
                        <a:pt x="118" y="105"/>
                        <a:pt x="119" y="104"/>
                        <a:pt x="119" y="104"/>
                      </a:cubicBezTo>
                      <a:cubicBezTo>
                        <a:pt x="209" y="52"/>
                        <a:pt x="209" y="52"/>
                        <a:pt x="209" y="52"/>
                      </a:cubicBezTo>
                      <a:cubicBezTo>
                        <a:pt x="127" y="5"/>
                        <a:pt x="127" y="5"/>
                        <a:pt x="127" y="5"/>
                      </a:cubicBezTo>
                      <a:cubicBezTo>
                        <a:pt x="6" y="75"/>
                        <a:pt x="6" y="75"/>
                        <a:pt x="6" y="75"/>
                      </a:cubicBezTo>
                      <a:cubicBezTo>
                        <a:pt x="106" y="132"/>
                        <a:pt x="106" y="132"/>
                        <a:pt x="106" y="132"/>
                      </a:cubicBezTo>
                      <a:cubicBezTo>
                        <a:pt x="107" y="133"/>
                        <a:pt x="107" y="133"/>
                        <a:pt x="107" y="134"/>
                      </a:cubicBezTo>
                      <a:lnTo>
                        <a:pt x="10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6" name="Freeform 889">
                  <a:extLst>
                    <a:ext uri="{FF2B5EF4-FFF2-40B4-BE49-F238E27FC236}">
                      <a16:creationId xmlns:a16="http://schemas.microsoft.com/office/drawing/2014/main" id="{9B52061B-27A1-42FA-BB9A-CA0CAADE7D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3352"/>
                  <a:ext cx="29" cy="341"/>
                </a:xfrm>
                <a:custGeom>
                  <a:avLst/>
                  <a:gdLst>
                    <a:gd name="T0" fmla="*/ 10 w 12"/>
                    <a:gd name="T1" fmla="*/ 144 h 144"/>
                    <a:gd name="T2" fmla="*/ 9 w 12"/>
                    <a:gd name="T3" fmla="*/ 144 h 144"/>
                    <a:gd name="T4" fmla="*/ 1 w 12"/>
                    <a:gd name="T5" fmla="*/ 139 h 144"/>
                    <a:gd name="T6" fmla="*/ 0 w 12"/>
                    <a:gd name="T7" fmla="*/ 137 h 144"/>
                    <a:gd name="T8" fmla="*/ 0 w 12"/>
                    <a:gd name="T9" fmla="*/ 7 h 144"/>
                    <a:gd name="T10" fmla="*/ 1 w 12"/>
                    <a:gd name="T11" fmla="*/ 5 h 144"/>
                    <a:gd name="T12" fmla="*/ 9 w 12"/>
                    <a:gd name="T13" fmla="*/ 1 h 144"/>
                    <a:gd name="T14" fmla="*/ 11 w 12"/>
                    <a:gd name="T15" fmla="*/ 1 h 144"/>
                    <a:gd name="T16" fmla="*/ 12 w 12"/>
                    <a:gd name="T17" fmla="*/ 3 h 144"/>
                    <a:gd name="T18" fmla="*/ 12 w 12"/>
                    <a:gd name="T19" fmla="*/ 142 h 144"/>
                    <a:gd name="T20" fmla="*/ 11 w 12"/>
                    <a:gd name="T21" fmla="*/ 144 h 144"/>
                    <a:gd name="T22" fmla="*/ 10 w 12"/>
                    <a:gd name="T23" fmla="*/ 144 h 144"/>
                    <a:gd name="T24" fmla="*/ 4 w 12"/>
                    <a:gd name="T25" fmla="*/ 136 h 144"/>
                    <a:gd name="T26" fmla="*/ 8 w 12"/>
                    <a:gd name="T27" fmla="*/ 139 h 144"/>
                    <a:gd name="T28" fmla="*/ 8 w 12"/>
                    <a:gd name="T29" fmla="*/ 6 h 144"/>
                    <a:gd name="T30" fmla="*/ 4 w 12"/>
                    <a:gd name="T31" fmla="*/ 8 h 144"/>
                    <a:gd name="T32" fmla="*/ 4 w 12"/>
                    <a:gd name="T33" fmla="*/ 136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" h="144">
                      <a:moveTo>
                        <a:pt x="10" y="144"/>
                      </a:moveTo>
                      <a:cubicBezTo>
                        <a:pt x="10" y="144"/>
                        <a:pt x="10" y="144"/>
                        <a:pt x="9" y="144"/>
                      </a:cubicBezTo>
                      <a:cubicBezTo>
                        <a:pt x="1" y="139"/>
                        <a:pt x="1" y="139"/>
                        <a:pt x="1" y="139"/>
                      </a:cubicBezTo>
                      <a:cubicBezTo>
                        <a:pt x="1" y="139"/>
                        <a:pt x="0" y="138"/>
                        <a:pt x="0" y="13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1" y="6"/>
                        <a:pt x="1" y="5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10" y="0"/>
                        <a:pt x="11" y="0"/>
                        <a:pt x="11" y="1"/>
                      </a:cubicBezTo>
                      <a:cubicBezTo>
                        <a:pt x="12" y="1"/>
                        <a:pt x="12" y="2"/>
                        <a:pt x="12" y="3"/>
                      </a:cubicBezTo>
                      <a:cubicBezTo>
                        <a:pt x="12" y="142"/>
                        <a:pt x="12" y="142"/>
                        <a:pt x="12" y="142"/>
                      </a:cubicBezTo>
                      <a:cubicBezTo>
                        <a:pt x="12" y="143"/>
                        <a:pt x="12" y="143"/>
                        <a:pt x="11" y="144"/>
                      </a:cubicBezTo>
                      <a:cubicBezTo>
                        <a:pt x="11" y="144"/>
                        <a:pt x="11" y="144"/>
                        <a:pt x="10" y="144"/>
                      </a:cubicBezTo>
                      <a:close/>
                      <a:moveTo>
                        <a:pt x="4" y="136"/>
                      </a:moveTo>
                      <a:cubicBezTo>
                        <a:pt x="8" y="139"/>
                        <a:pt x="8" y="139"/>
                        <a:pt x="8" y="139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4" y="8"/>
                        <a:pt x="4" y="8"/>
                        <a:pt x="4" y="8"/>
                      </a:cubicBezTo>
                      <a:lnTo>
                        <a:pt x="4" y="1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7" name="Freeform 890">
                  <a:extLst>
                    <a:ext uri="{FF2B5EF4-FFF2-40B4-BE49-F238E27FC236}">
                      <a16:creationId xmlns:a16="http://schemas.microsoft.com/office/drawing/2014/main" id="{E90DCE9F-63EC-45D4-B7E6-DB3D4980193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16" y="3359"/>
                  <a:ext cx="267" cy="166"/>
                </a:xfrm>
                <a:custGeom>
                  <a:avLst/>
                  <a:gdLst>
                    <a:gd name="T0" fmla="*/ 111 w 113"/>
                    <a:gd name="T1" fmla="*/ 70 h 70"/>
                    <a:gd name="T2" fmla="*/ 110 w 113"/>
                    <a:gd name="T3" fmla="*/ 70 h 70"/>
                    <a:gd name="T4" fmla="*/ 1 w 113"/>
                    <a:gd name="T5" fmla="*/ 7 h 70"/>
                    <a:gd name="T6" fmla="*/ 0 w 113"/>
                    <a:gd name="T7" fmla="*/ 6 h 70"/>
                    <a:gd name="T8" fmla="*/ 1 w 113"/>
                    <a:gd name="T9" fmla="*/ 4 h 70"/>
                    <a:gd name="T10" fmla="*/ 7 w 113"/>
                    <a:gd name="T11" fmla="*/ 1 h 70"/>
                    <a:gd name="T12" fmla="*/ 9 w 113"/>
                    <a:gd name="T13" fmla="*/ 1 h 70"/>
                    <a:gd name="T14" fmla="*/ 112 w 113"/>
                    <a:gd name="T15" fmla="*/ 60 h 70"/>
                    <a:gd name="T16" fmla="*/ 113 w 113"/>
                    <a:gd name="T17" fmla="*/ 62 h 70"/>
                    <a:gd name="T18" fmla="*/ 113 w 113"/>
                    <a:gd name="T19" fmla="*/ 68 h 70"/>
                    <a:gd name="T20" fmla="*/ 112 w 113"/>
                    <a:gd name="T21" fmla="*/ 70 h 70"/>
                    <a:gd name="T22" fmla="*/ 111 w 113"/>
                    <a:gd name="T23" fmla="*/ 70 h 70"/>
                    <a:gd name="T24" fmla="*/ 6 w 113"/>
                    <a:gd name="T25" fmla="*/ 6 h 70"/>
                    <a:gd name="T26" fmla="*/ 109 w 113"/>
                    <a:gd name="T27" fmla="*/ 65 h 70"/>
                    <a:gd name="T28" fmla="*/ 109 w 113"/>
                    <a:gd name="T29" fmla="*/ 63 h 70"/>
                    <a:gd name="T30" fmla="*/ 8 w 113"/>
                    <a:gd name="T31" fmla="*/ 5 h 70"/>
                    <a:gd name="T32" fmla="*/ 6 w 113"/>
                    <a:gd name="T33" fmla="*/ 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3" h="70">
                      <a:moveTo>
                        <a:pt x="111" y="70"/>
                      </a:moveTo>
                      <a:cubicBezTo>
                        <a:pt x="110" y="70"/>
                        <a:pt x="110" y="70"/>
                        <a:pt x="110" y="70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7" y="0"/>
                        <a:pt x="8" y="0"/>
                        <a:pt x="9" y="1"/>
                      </a:cubicBezTo>
                      <a:cubicBezTo>
                        <a:pt x="112" y="60"/>
                        <a:pt x="112" y="60"/>
                        <a:pt x="112" y="60"/>
                      </a:cubicBezTo>
                      <a:cubicBezTo>
                        <a:pt x="112" y="61"/>
                        <a:pt x="113" y="61"/>
                        <a:pt x="113" y="62"/>
                      </a:cubicBezTo>
                      <a:cubicBezTo>
                        <a:pt x="113" y="68"/>
                        <a:pt x="113" y="68"/>
                        <a:pt x="113" y="68"/>
                      </a:cubicBezTo>
                      <a:cubicBezTo>
                        <a:pt x="113" y="69"/>
                        <a:pt x="112" y="70"/>
                        <a:pt x="112" y="70"/>
                      </a:cubicBezTo>
                      <a:cubicBezTo>
                        <a:pt x="111" y="70"/>
                        <a:pt x="111" y="70"/>
                        <a:pt x="111" y="70"/>
                      </a:cubicBezTo>
                      <a:close/>
                      <a:moveTo>
                        <a:pt x="6" y="6"/>
                      </a:moveTo>
                      <a:cubicBezTo>
                        <a:pt x="109" y="65"/>
                        <a:pt x="109" y="65"/>
                        <a:pt x="109" y="65"/>
                      </a:cubicBezTo>
                      <a:cubicBezTo>
                        <a:pt x="109" y="63"/>
                        <a:pt x="109" y="63"/>
                        <a:pt x="109" y="63"/>
                      </a:cubicBezTo>
                      <a:cubicBezTo>
                        <a:pt x="8" y="5"/>
                        <a:pt x="8" y="5"/>
                        <a:pt x="8" y="5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8" name="Freeform 891">
                  <a:extLst>
                    <a:ext uri="{FF2B5EF4-FFF2-40B4-BE49-F238E27FC236}">
                      <a16:creationId xmlns:a16="http://schemas.microsoft.com/office/drawing/2014/main" id="{936A5408-BC0F-4F80-83C9-E74449DD30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3515"/>
                  <a:ext cx="34" cy="366"/>
                </a:xfrm>
                <a:custGeom>
                  <a:avLst/>
                  <a:gdLst>
                    <a:gd name="T0" fmla="*/ 11 w 14"/>
                    <a:gd name="T1" fmla="*/ 155 h 155"/>
                    <a:gd name="T2" fmla="*/ 10 w 14"/>
                    <a:gd name="T3" fmla="*/ 154 h 155"/>
                    <a:gd name="T4" fmla="*/ 1 w 14"/>
                    <a:gd name="T5" fmla="*/ 149 h 155"/>
                    <a:gd name="T6" fmla="*/ 0 w 14"/>
                    <a:gd name="T7" fmla="*/ 147 h 155"/>
                    <a:gd name="T8" fmla="*/ 0 w 14"/>
                    <a:gd name="T9" fmla="*/ 8 h 155"/>
                    <a:gd name="T10" fmla="*/ 1 w 14"/>
                    <a:gd name="T11" fmla="*/ 7 h 155"/>
                    <a:gd name="T12" fmla="*/ 11 w 14"/>
                    <a:gd name="T13" fmla="*/ 1 h 155"/>
                    <a:gd name="T14" fmla="*/ 13 w 14"/>
                    <a:gd name="T15" fmla="*/ 1 h 155"/>
                    <a:gd name="T16" fmla="*/ 13 w 14"/>
                    <a:gd name="T17" fmla="*/ 1 h 155"/>
                    <a:gd name="T18" fmla="*/ 14 w 14"/>
                    <a:gd name="T19" fmla="*/ 3 h 155"/>
                    <a:gd name="T20" fmla="*/ 14 w 14"/>
                    <a:gd name="T21" fmla="*/ 152 h 155"/>
                    <a:gd name="T22" fmla="*/ 13 w 14"/>
                    <a:gd name="T23" fmla="*/ 154 h 155"/>
                    <a:gd name="T24" fmla="*/ 12 w 14"/>
                    <a:gd name="T25" fmla="*/ 154 h 155"/>
                    <a:gd name="T26" fmla="*/ 11 w 14"/>
                    <a:gd name="T27" fmla="*/ 155 h 155"/>
                    <a:gd name="T28" fmla="*/ 4 w 14"/>
                    <a:gd name="T29" fmla="*/ 146 h 155"/>
                    <a:gd name="T30" fmla="*/ 10 w 14"/>
                    <a:gd name="T31" fmla="*/ 150 h 155"/>
                    <a:gd name="T32" fmla="*/ 10 w 14"/>
                    <a:gd name="T33" fmla="*/ 6 h 155"/>
                    <a:gd name="T34" fmla="*/ 4 w 14"/>
                    <a:gd name="T35" fmla="*/ 10 h 155"/>
                    <a:gd name="T36" fmla="*/ 4 w 14"/>
                    <a:gd name="T37" fmla="*/ 146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155">
                      <a:moveTo>
                        <a:pt x="11" y="155"/>
                      </a:moveTo>
                      <a:cubicBezTo>
                        <a:pt x="11" y="155"/>
                        <a:pt x="11" y="155"/>
                        <a:pt x="10" y="154"/>
                      </a:cubicBezTo>
                      <a:cubicBezTo>
                        <a:pt x="1" y="149"/>
                        <a:pt x="1" y="149"/>
                        <a:pt x="1" y="149"/>
                      </a:cubicBezTo>
                      <a:cubicBezTo>
                        <a:pt x="0" y="148"/>
                        <a:pt x="0" y="148"/>
                        <a:pt x="0" y="14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4" y="1"/>
                        <a:pt x="14" y="2"/>
                        <a:pt x="14" y="3"/>
                      </a:cubicBezTo>
                      <a:cubicBezTo>
                        <a:pt x="14" y="152"/>
                        <a:pt x="14" y="152"/>
                        <a:pt x="14" y="152"/>
                      </a:cubicBezTo>
                      <a:cubicBezTo>
                        <a:pt x="14" y="153"/>
                        <a:pt x="14" y="154"/>
                        <a:pt x="13" y="154"/>
                      </a:cubicBezTo>
                      <a:cubicBezTo>
                        <a:pt x="12" y="154"/>
                        <a:pt x="12" y="154"/>
                        <a:pt x="12" y="154"/>
                      </a:cubicBezTo>
                      <a:cubicBezTo>
                        <a:pt x="12" y="155"/>
                        <a:pt x="12" y="155"/>
                        <a:pt x="11" y="155"/>
                      </a:cubicBezTo>
                      <a:close/>
                      <a:moveTo>
                        <a:pt x="4" y="146"/>
                      </a:moveTo>
                      <a:cubicBezTo>
                        <a:pt x="10" y="150"/>
                        <a:pt x="10" y="150"/>
                        <a:pt x="10" y="150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4" y="10"/>
                        <a:pt x="4" y="10"/>
                        <a:pt x="4" y="10"/>
                      </a:cubicBezTo>
                      <a:lnTo>
                        <a:pt x="4" y="1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9" name="Freeform 892">
                  <a:extLst>
                    <a:ext uri="{FF2B5EF4-FFF2-40B4-BE49-F238E27FC236}">
                      <a16:creationId xmlns:a16="http://schemas.microsoft.com/office/drawing/2014/main" id="{D759ED2B-4C93-4464-9F89-B9273BEB8B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76" y="2799"/>
                  <a:ext cx="896" cy="723"/>
                </a:xfrm>
                <a:custGeom>
                  <a:avLst/>
                  <a:gdLst>
                    <a:gd name="T0" fmla="*/ 18 w 379"/>
                    <a:gd name="T1" fmla="*/ 306 h 306"/>
                    <a:gd name="T2" fmla="*/ 17 w 379"/>
                    <a:gd name="T3" fmla="*/ 305 h 306"/>
                    <a:gd name="T4" fmla="*/ 1 w 379"/>
                    <a:gd name="T5" fmla="*/ 296 h 306"/>
                    <a:gd name="T6" fmla="*/ 0 w 379"/>
                    <a:gd name="T7" fmla="*/ 295 h 306"/>
                    <a:gd name="T8" fmla="*/ 0 w 379"/>
                    <a:gd name="T9" fmla="*/ 7 h 306"/>
                    <a:gd name="T10" fmla="*/ 1 w 379"/>
                    <a:gd name="T11" fmla="*/ 5 h 306"/>
                    <a:gd name="T12" fmla="*/ 3 w 379"/>
                    <a:gd name="T13" fmla="*/ 5 h 306"/>
                    <a:gd name="T14" fmla="*/ 11 w 379"/>
                    <a:gd name="T15" fmla="*/ 10 h 306"/>
                    <a:gd name="T16" fmla="*/ 28 w 379"/>
                    <a:gd name="T17" fmla="*/ 0 h 306"/>
                    <a:gd name="T18" fmla="*/ 30 w 379"/>
                    <a:gd name="T19" fmla="*/ 0 h 306"/>
                    <a:gd name="T20" fmla="*/ 31 w 379"/>
                    <a:gd name="T21" fmla="*/ 2 h 306"/>
                    <a:gd name="T22" fmla="*/ 31 w 379"/>
                    <a:gd name="T23" fmla="*/ 268 h 306"/>
                    <a:gd name="T24" fmla="*/ 271 w 379"/>
                    <a:gd name="T25" fmla="*/ 129 h 306"/>
                    <a:gd name="T26" fmla="*/ 271 w 379"/>
                    <a:gd name="T27" fmla="*/ 7 h 306"/>
                    <a:gd name="T28" fmla="*/ 272 w 379"/>
                    <a:gd name="T29" fmla="*/ 5 h 306"/>
                    <a:gd name="T30" fmla="*/ 274 w 379"/>
                    <a:gd name="T31" fmla="*/ 5 h 306"/>
                    <a:gd name="T32" fmla="*/ 283 w 379"/>
                    <a:gd name="T33" fmla="*/ 10 h 306"/>
                    <a:gd name="T34" fmla="*/ 284 w 379"/>
                    <a:gd name="T35" fmla="*/ 12 h 306"/>
                    <a:gd name="T36" fmla="*/ 284 w 379"/>
                    <a:gd name="T37" fmla="*/ 152 h 306"/>
                    <a:gd name="T38" fmla="*/ 378 w 379"/>
                    <a:gd name="T39" fmla="*/ 207 h 306"/>
                    <a:gd name="T40" fmla="*/ 379 w 379"/>
                    <a:gd name="T41" fmla="*/ 208 h 306"/>
                    <a:gd name="T42" fmla="*/ 378 w 379"/>
                    <a:gd name="T43" fmla="*/ 210 h 306"/>
                    <a:gd name="T44" fmla="*/ 367 w 379"/>
                    <a:gd name="T45" fmla="*/ 217 h 306"/>
                    <a:gd name="T46" fmla="*/ 365 w 379"/>
                    <a:gd name="T47" fmla="*/ 217 h 306"/>
                    <a:gd name="T48" fmla="*/ 278 w 379"/>
                    <a:gd name="T49" fmla="*/ 167 h 306"/>
                    <a:gd name="T50" fmla="*/ 153 w 379"/>
                    <a:gd name="T51" fmla="*/ 239 h 306"/>
                    <a:gd name="T52" fmla="*/ 151 w 379"/>
                    <a:gd name="T53" fmla="*/ 239 h 306"/>
                    <a:gd name="T54" fmla="*/ 130 w 379"/>
                    <a:gd name="T55" fmla="*/ 227 h 306"/>
                    <a:gd name="T56" fmla="*/ 130 w 379"/>
                    <a:gd name="T57" fmla="*/ 240 h 306"/>
                    <a:gd name="T58" fmla="*/ 129 w 379"/>
                    <a:gd name="T59" fmla="*/ 242 h 306"/>
                    <a:gd name="T60" fmla="*/ 19 w 379"/>
                    <a:gd name="T61" fmla="*/ 305 h 306"/>
                    <a:gd name="T62" fmla="*/ 18 w 379"/>
                    <a:gd name="T63" fmla="*/ 306 h 306"/>
                    <a:gd name="T64" fmla="*/ 4 w 379"/>
                    <a:gd name="T65" fmla="*/ 294 h 306"/>
                    <a:gd name="T66" fmla="*/ 18 w 379"/>
                    <a:gd name="T67" fmla="*/ 301 h 306"/>
                    <a:gd name="T68" fmla="*/ 126 w 379"/>
                    <a:gd name="T69" fmla="*/ 239 h 306"/>
                    <a:gd name="T70" fmla="*/ 126 w 379"/>
                    <a:gd name="T71" fmla="*/ 224 h 306"/>
                    <a:gd name="T72" fmla="*/ 127 w 379"/>
                    <a:gd name="T73" fmla="*/ 222 h 306"/>
                    <a:gd name="T74" fmla="*/ 129 w 379"/>
                    <a:gd name="T75" fmla="*/ 222 h 306"/>
                    <a:gd name="T76" fmla="*/ 152 w 379"/>
                    <a:gd name="T77" fmla="*/ 235 h 306"/>
                    <a:gd name="T78" fmla="*/ 277 w 379"/>
                    <a:gd name="T79" fmla="*/ 163 h 306"/>
                    <a:gd name="T80" fmla="*/ 279 w 379"/>
                    <a:gd name="T81" fmla="*/ 163 h 306"/>
                    <a:gd name="T82" fmla="*/ 366 w 379"/>
                    <a:gd name="T83" fmla="*/ 213 h 306"/>
                    <a:gd name="T84" fmla="*/ 373 w 379"/>
                    <a:gd name="T85" fmla="*/ 208 h 306"/>
                    <a:gd name="T86" fmla="*/ 281 w 379"/>
                    <a:gd name="T87" fmla="*/ 155 h 306"/>
                    <a:gd name="T88" fmla="*/ 280 w 379"/>
                    <a:gd name="T89" fmla="*/ 153 h 306"/>
                    <a:gd name="T90" fmla="*/ 280 w 379"/>
                    <a:gd name="T91" fmla="*/ 13 h 306"/>
                    <a:gd name="T92" fmla="*/ 275 w 379"/>
                    <a:gd name="T93" fmla="*/ 10 h 306"/>
                    <a:gd name="T94" fmla="*/ 275 w 379"/>
                    <a:gd name="T95" fmla="*/ 130 h 306"/>
                    <a:gd name="T96" fmla="*/ 274 w 379"/>
                    <a:gd name="T97" fmla="*/ 132 h 306"/>
                    <a:gd name="T98" fmla="*/ 30 w 379"/>
                    <a:gd name="T99" fmla="*/ 273 h 306"/>
                    <a:gd name="T100" fmla="*/ 28 w 379"/>
                    <a:gd name="T101" fmla="*/ 273 h 306"/>
                    <a:gd name="T102" fmla="*/ 27 w 379"/>
                    <a:gd name="T103" fmla="*/ 271 h 306"/>
                    <a:gd name="T104" fmla="*/ 27 w 379"/>
                    <a:gd name="T105" fmla="*/ 6 h 306"/>
                    <a:gd name="T106" fmla="*/ 12 w 379"/>
                    <a:gd name="T107" fmla="*/ 14 h 306"/>
                    <a:gd name="T108" fmla="*/ 10 w 379"/>
                    <a:gd name="T109" fmla="*/ 14 h 306"/>
                    <a:gd name="T110" fmla="*/ 4 w 379"/>
                    <a:gd name="T111" fmla="*/ 11 h 306"/>
                    <a:gd name="T112" fmla="*/ 4 w 379"/>
                    <a:gd name="T113" fmla="*/ 294 h 306"/>
                    <a:gd name="T114" fmla="*/ 128 w 379"/>
                    <a:gd name="T115" fmla="*/ 240 h 306"/>
                    <a:gd name="T116" fmla="*/ 128 w 379"/>
                    <a:gd name="T117" fmla="*/ 240 h 3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79" h="306">
                      <a:moveTo>
                        <a:pt x="18" y="306"/>
                      </a:moveTo>
                      <a:cubicBezTo>
                        <a:pt x="17" y="306"/>
                        <a:pt x="17" y="306"/>
                        <a:pt x="17" y="305"/>
                      </a:cubicBezTo>
                      <a:cubicBezTo>
                        <a:pt x="1" y="296"/>
                        <a:pt x="1" y="296"/>
                        <a:pt x="1" y="296"/>
                      </a:cubicBezTo>
                      <a:cubicBezTo>
                        <a:pt x="1" y="296"/>
                        <a:pt x="0" y="295"/>
                        <a:pt x="0" y="29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6"/>
                        <a:pt x="1" y="6"/>
                        <a:pt x="1" y="5"/>
                      </a:cubicBezTo>
                      <a:cubicBezTo>
                        <a:pt x="2" y="5"/>
                        <a:pt x="3" y="5"/>
                        <a:pt x="3" y="5"/>
                      </a:cubicBezTo>
                      <a:cubicBezTo>
                        <a:pt x="11" y="10"/>
                        <a:pt x="11" y="10"/>
                        <a:pt x="11" y="1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8" y="0"/>
                        <a:pt x="29" y="0"/>
                        <a:pt x="30" y="0"/>
                      </a:cubicBezTo>
                      <a:cubicBezTo>
                        <a:pt x="30" y="1"/>
                        <a:pt x="31" y="1"/>
                        <a:pt x="31" y="2"/>
                      </a:cubicBezTo>
                      <a:cubicBezTo>
                        <a:pt x="31" y="268"/>
                        <a:pt x="31" y="268"/>
                        <a:pt x="31" y="268"/>
                      </a:cubicBezTo>
                      <a:cubicBezTo>
                        <a:pt x="271" y="129"/>
                        <a:pt x="271" y="129"/>
                        <a:pt x="271" y="129"/>
                      </a:cubicBezTo>
                      <a:cubicBezTo>
                        <a:pt x="271" y="7"/>
                        <a:pt x="271" y="7"/>
                        <a:pt x="271" y="7"/>
                      </a:cubicBezTo>
                      <a:cubicBezTo>
                        <a:pt x="271" y="6"/>
                        <a:pt x="271" y="5"/>
                        <a:pt x="272" y="5"/>
                      </a:cubicBezTo>
                      <a:cubicBezTo>
                        <a:pt x="273" y="4"/>
                        <a:pt x="273" y="4"/>
                        <a:pt x="274" y="5"/>
                      </a:cubicBezTo>
                      <a:cubicBezTo>
                        <a:pt x="283" y="10"/>
                        <a:pt x="283" y="10"/>
                        <a:pt x="283" y="10"/>
                      </a:cubicBezTo>
                      <a:cubicBezTo>
                        <a:pt x="284" y="10"/>
                        <a:pt x="284" y="11"/>
                        <a:pt x="284" y="12"/>
                      </a:cubicBezTo>
                      <a:cubicBezTo>
                        <a:pt x="284" y="152"/>
                        <a:pt x="284" y="152"/>
                        <a:pt x="284" y="152"/>
                      </a:cubicBezTo>
                      <a:cubicBezTo>
                        <a:pt x="378" y="207"/>
                        <a:pt x="378" y="207"/>
                        <a:pt x="378" y="207"/>
                      </a:cubicBezTo>
                      <a:cubicBezTo>
                        <a:pt x="379" y="207"/>
                        <a:pt x="379" y="208"/>
                        <a:pt x="379" y="208"/>
                      </a:cubicBezTo>
                      <a:cubicBezTo>
                        <a:pt x="379" y="209"/>
                        <a:pt x="379" y="210"/>
                        <a:pt x="378" y="210"/>
                      </a:cubicBezTo>
                      <a:cubicBezTo>
                        <a:pt x="367" y="217"/>
                        <a:pt x="367" y="217"/>
                        <a:pt x="367" y="217"/>
                      </a:cubicBezTo>
                      <a:cubicBezTo>
                        <a:pt x="366" y="217"/>
                        <a:pt x="365" y="217"/>
                        <a:pt x="365" y="217"/>
                      </a:cubicBezTo>
                      <a:cubicBezTo>
                        <a:pt x="278" y="167"/>
                        <a:pt x="278" y="167"/>
                        <a:pt x="278" y="167"/>
                      </a:cubicBezTo>
                      <a:cubicBezTo>
                        <a:pt x="153" y="239"/>
                        <a:pt x="153" y="239"/>
                        <a:pt x="153" y="239"/>
                      </a:cubicBezTo>
                      <a:cubicBezTo>
                        <a:pt x="152" y="240"/>
                        <a:pt x="151" y="240"/>
                        <a:pt x="151" y="239"/>
                      </a:cubicBezTo>
                      <a:cubicBezTo>
                        <a:pt x="130" y="227"/>
                        <a:pt x="130" y="227"/>
                        <a:pt x="130" y="227"/>
                      </a:cubicBezTo>
                      <a:cubicBezTo>
                        <a:pt x="130" y="240"/>
                        <a:pt x="130" y="240"/>
                        <a:pt x="130" y="240"/>
                      </a:cubicBezTo>
                      <a:cubicBezTo>
                        <a:pt x="130" y="241"/>
                        <a:pt x="129" y="242"/>
                        <a:pt x="129" y="242"/>
                      </a:cubicBezTo>
                      <a:cubicBezTo>
                        <a:pt x="19" y="305"/>
                        <a:pt x="19" y="305"/>
                        <a:pt x="19" y="305"/>
                      </a:cubicBezTo>
                      <a:cubicBezTo>
                        <a:pt x="18" y="306"/>
                        <a:pt x="18" y="306"/>
                        <a:pt x="18" y="306"/>
                      </a:cubicBezTo>
                      <a:close/>
                      <a:moveTo>
                        <a:pt x="4" y="294"/>
                      </a:moveTo>
                      <a:cubicBezTo>
                        <a:pt x="18" y="301"/>
                        <a:pt x="18" y="301"/>
                        <a:pt x="18" y="301"/>
                      </a:cubicBezTo>
                      <a:cubicBezTo>
                        <a:pt x="126" y="239"/>
                        <a:pt x="126" y="239"/>
                        <a:pt x="126" y="239"/>
                      </a:cubicBezTo>
                      <a:cubicBezTo>
                        <a:pt x="126" y="224"/>
                        <a:pt x="126" y="224"/>
                        <a:pt x="126" y="224"/>
                      </a:cubicBezTo>
                      <a:cubicBezTo>
                        <a:pt x="126" y="223"/>
                        <a:pt x="126" y="222"/>
                        <a:pt x="127" y="222"/>
                      </a:cubicBezTo>
                      <a:cubicBezTo>
                        <a:pt x="127" y="222"/>
                        <a:pt x="128" y="222"/>
                        <a:pt x="129" y="222"/>
                      </a:cubicBezTo>
                      <a:cubicBezTo>
                        <a:pt x="152" y="235"/>
                        <a:pt x="152" y="235"/>
                        <a:pt x="152" y="235"/>
                      </a:cubicBezTo>
                      <a:cubicBezTo>
                        <a:pt x="277" y="163"/>
                        <a:pt x="277" y="163"/>
                        <a:pt x="277" y="163"/>
                      </a:cubicBezTo>
                      <a:cubicBezTo>
                        <a:pt x="278" y="163"/>
                        <a:pt x="279" y="163"/>
                        <a:pt x="279" y="163"/>
                      </a:cubicBezTo>
                      <a:cubicBezTo>
                        <a:pt x="366" y="213"/>
                        <a:pt x="366" y="213"/>
                        <a:pt x="366" y="213"/>
                      </a:cubicBezTo>
                      <a:cubicBezTo>
                        <a:pt x="373" y="208"/>
                        <a:pt x="373" y="208"/>
                        <a:pt x="373" y="208"/>
                      </a:cubicBezTo>
                      <a:cubicBezTo>
                        <a:pt x="281" y="155"/>
                        <a:pt x="281" y="155"/>
                        <a:pt x="281" y="155"/>
                      </a:cubicBezTo>
                      <a:cubicBezTo>
                        <a:pt x="280" y="155"/>
                        <a:pt x="280" y="154"/>
                        <a:pt x="280" y="153"/>
                      </a:cubicBezTo>
                      <a:cubicBezTo>
                        <a:pt x="280" y="13"/>
                        <a:pt x="280" y="13"/>
                        <a:pt x="280" y="13"/>
                      </a:cubicBezTo>
                      <a:cubicBezTo>
                        <a:pt x="275" y="10"/>
                        <a:pt x="275" y="10"/>
                        <a:pt x="275" y="10"/>
                      </a:cubicBezTo>
                      <a:cubicBezTo>
                        <a:pt x="275" y="130"/>
                        <a:pt x="275" y="130"/>
                        <a:pt x="275" y="130"/>
                      </a:cubicBezTo>
                      <a:cubicBezTo>
                        <a:pt x="275" y="131"/>
                        <a:pt x="275" y="132"/>
                        <a:pt x="274" y="132"/>
                      </a:cubicBezTo>
                      <a:cubicBezTo>
                        <a:pt x="30" y="273"/>
                        <a:pt x="30" y="273"/>
                        <a:pt x="30" y="273"/>
                      </a:cubicBezTo>
                      <a:cubicBezTo>
                        <a:pt x="29" y="273"/>
                        <a:pt x="28" y="273"/>
                        <a:pt x="28" y="273"/>
                      </a:cubicBezTo>
                      <a:cubicBezTo>
                        <a:pt x="27" y="273"/>
                        <a:pt x="27" y="272"/>
                        <a:pt x="27" y="271"/>
                      </a:cubicBezTo>
                      <a:cubicBezTo>
                        <a:pt x="27" y="6"/>
                        <a:pt x="27" y="6"/>
                        <a:pt x="27" y="6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11" y="14"/>
                        <a:pt x="11" y="14"/>
                        <a:pt x="10" y="14"/>
                      </a:cubicBezTo>
                      <a:cubicBezTo>
                        <a:pt x="4" y="11"/>
                        <a:pt x="4" y="11"/>
                        <a:pt x="4" y="11"/>
                      </a:cubicBezTo>
                      <a:lnTo>
                        <a:pt x="4" y="294"/>
                      </a:lnTo>
                      <a:close/>
                      <a:moveTo>
                        <a:pt x="128" y="240"/>
                      </a:moveTo>
                      <a:cubicBezTo>
                        <a:pt x="128" y="240"/>
                        <a:pt x="128" y="240"/>
                        <a:pt x="128" y="2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0" name="Freeform 893">
                  <a:extLst>
                    <a:ext uri="{FF2B5EF4-FFF2-40B4-BE49-F238E27FC236}">
                      <a16:creationId xmlns:a16="http://schemas.microsoft.com/office/drawing/2014/main" id="{422939E4-641F-4350-983B-7A9A629F52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16" y="3366"/>
                  <a:ext cx="289" cy="511"/>
                </a:xfrm>
                <a:custGeom>
                  <a:avLst/>
                  <a:gdLst>
                    <a:gd name="T0" fmla="*/ 3 w 122"/>
                    <a:gd name="T1" fmla="*/ 216 h 216"/>
                    <a:gd name="T2" fmla="*/ 2 w 122"/>
                    <a:gd name="T3" fmla="*/ 216 h 216"/>
                    <a:gd name="T4" fmla="*/ 1 w 122"/>
                    <a:gd name="T5" fmla="*/ 214 h 216"/>
                    <a:gd name="T6" fmla="*/ 1 w 122"/>
                    <a:gd name="T7" fmla="*/ 66 h 216"/>
                    <a:gd name="T8" fmla="*/ 0 w 122"/>
                    <a:gd name="T9" fmla="*/ 65 h 216"/>
                    <a:gd name="T10" fmla="*/ 1 w 122"/>
                    <a:gd name="T11" fmla="*/ 63 h 216"/>
                    <a:gd name="T12" fmla="*/ 110 w 122"/>
                    <a:gd name="T13" fmla="*/ 0 h 216"/>
                    <a:gd name="T14" fmla="*/ 112 w 122"/>
                    <a:gd name="T15" fmla="*/ 0 h 216"/>
                    <a:gd name="T16" fmla="*/ 113 w 122"/>
                    <a:gd name="T17" fmla="*/ 2 h 216"/>
                    <a:gd name="T18" fmla="*/ 113 w 122"/>
                    <a:gd name="T19" fmla="*/ 131 h 216"/>
                    <a:gd name="T20" fmla="*/ 121 w 122"/>
                    <a:gd name="T21" fmla="*/ 136 h 216"/>
                    <a:gd name="T22" fmla="*/ 122 w 122"/>
                    <a:gd name="T23" fmla="*/ 138 h 216"/>
                    <a:gd name="T24" fmla="*/ 122 w 122"/>
                    <a:gd name="T25" fmla="*/ 146 h 216"/>
                    <a:gd name="T26" fmla="*/ 121 w 122"/>
                    <a:gd name="T27" fmla="*/ 148 h 216"/>
                    <a:gd name="T28" fmla="*/ 4 w 122"/>
                    <a:gd name="T29" fmla="*/ 216 h 216"/>
                    <a:gd name="T30" fmla="*/ 3 w 122"/>
                    <a:gd name="T31" fmla="*/ 216 h 216"/>
                    <a:gd name="T32" fmla="*/ 5 w 122"/>
                    <a:gd name="T33" fmla="*/ 66 h 216"/>
                    <a:gd name="T34" fmla="*/ 5 w 122"/>
                    <a:gd name="T35" fmla="*/ 211 h 216"/>
                    <a:gd name="T36" fmla="*/ 118 w 122"/>
                    <a:gd name="T37" fmla="*/ 145 h 216"/>
                    <a:gd name="T38" fmla="*/ 118 w 122"/>
                    <a:gd name="T39" fmla="*/ 139 h 216"/>
                    <a:gd name="T40" fmla="*/ 110 w 122"/>
                    <a:gd name="T41" fmla="*/ 134 h 216"/>
                    <a:gd name="T42" fmla="*/ 109 w 122"/>
                    <a:gd name="T43" fmla="*/ 132 h 216"/>
                    <a:gd name="T44" fmla="*/ 109 w 122"/>
                    <a:gd name="T45" fmla="*/ 6 h 216"/>
                    <a:gd name="T46" fmla="*/ 5 w 122"/>
                    <a:gd name="T47" fmla="*/ 66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2" h="216">
                      <a:moveTo>
                        <a:pt x="3" y="216"/>
                      </a:moveTo>
                      <a:cubicBezTo>
                        <a:pt x="2" y="216"/>
                        <a:pt x="2" y="216"/>
                        <a:pt x="2" y="216"/>
                      </a:cubicBezTo>
                      <a:cubicBezTo>
                        <a:pt x="1" y="216"/>
                        <a:pt x="1" y="215"/>
                        <a:pt x="1" y="214"/>
                      </a:cubicBezTo>
                      <a:cubicBezTo>
                        <a:pt x="1" y="66"/>
                        <a:pt x="1" y="66"/>
                        <a:pt x="1" y="66"/>
                      </a:cubicBezTo>
                      <a:cubicBezTo>
                        <a:pt x="1" y="65"/>
                        <a:pt x="0" y="65"/>
                        <a:pt x="0" y="65"/>
                      </a:cubicBezTo>
                      <a:cubicBezTo>
                        <a:pt x="0" y="64"/>
                        <a:pt x="1" y="63"/>
                        <a:pt x="1" y="63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110" y="0"/>
                        <a:pt x="111" y="0"/>
                        <a:pt x="112" y="0"/>
                      </a:cubicBezTo>
                      <a:cubicBezTo>
                        <a:pt x="112" y="1"/>
                        <a:pt x="113" y="1"/>
                        <a:pt x="113" y="2"/>
                      </a:cubicBezTo>
                      <a:cubicBezTo>
                        <a:pt x="113" y="131"/>
                        <a:pt x="113" y="131"/>
                        <a:pt x="113" y="131"/>
                      </a:cubicBezTo>
                      <a:cubicBezTo>
                        <a:pt x="121" y="136"/>
                        <a:pt x="121" y="136"/>
                        <a:pt x="121" y="136"/>
                      </a:cubicBezTo>
                      <a:cubicBezTo>
                        <a:pt x="122" y="136"/>
                        <a:pt x="122" y="137"/>
                        <a:pt x="122" y="138"/>
                      </a:cubicBezTo>
                      <a:cubicBezTo>
                        <a:pt x="122" y="146"/>
                        <a:pt x="122" y="146"/>
                        <a:pt x="122" y="146"/>
                      </a:cubicBezTo>
                      <a:cubicBezTo>
                        <a:pt x="122" y="147"/>
                        <a:pt x="122" y="148"/>
                        <a:pt x="121" y="148"/>
                      </a:cubicBezTo>
                      <a:cubicBezTo>
                        <a:pt x="4" y="216"/>
                        <a:pt x="4" y="216"/>
                        <a:pt x="4" y="216"/>
                      </a:cubicBezTo>
                      <a:cubicBezTo>
                        <a:pt x="3" y="216"/>
                        <a:pt x="3" y="216"/>
                        <a:pt x="3" y="216"/>
                      </a:cubicBezTo>
                      <a:close/>
                      <a:moveTo>
                        <a:pt x="5" y="66"/>
                      </a:moveTo>
                      <a:cubicBezTo>
                        <a:pt x="5" y="211"/>
                        <a:pt x="5" y="211"/>
                        <a:pt x="5" y="211"/>
                      </a:cubicBezTo>
                      <a:cubicBezTo>
                        <a:pt x="118" y="145"/>
                        <a:pt x="118" y="145"/>
                        <a:pt x="118" y="145"/>
                      </a:cubicBezTo>
                      <a:cubicBezTo>
                        <a:pt x="118" y="139"/>
                        <a:pt x="118" y="139"/>
                        <a:pt x="118" y="139"/>
                      </a:cubicBezTo>
                      <a:cubicBezTo>
                        <a:pt x="110" y="134"/>
                        <a:pt x="110" y="134"/>
                        <a:pt x="110" y="134"/>
                      </a:cubicBezTo>
                      <a:cubicBezTo>
                        <a:pt x="109" y="134"/>
                        <a:pt x="109" y="133"/>
                        <a:pt x="109" y="132"/>
                      </a:cubicBezTo>
                      <a:cubicBezTo>
                        <a:pt x="109" y="6"/>
                        <a:pt x="109" y="6"/>
                        <a:pt x="109" y="6"/>
                      </a:cubicBezTo>
                      <a:lnTo>
                        <a:pt x="5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1" name="Freeform 894">
                  <a:extLst>
                    <a:ext uri="{FF2B5EF4-FFF2-40B4-BE49-F238E27FC236}">
                      <a16:creationId xmlns:a16="http://schemas.microsoft.com/office/drawing/2014/main" id="{9E1DE1CE-BF58-4A60-9761-3A14489871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090" y="3863"/>
                  <a:ext cx="29" cy="30"/>
                </a:xfrm>
                <a:custGeom>
                  <a:avLst/>
                  <a:gdLst>
                    <a:gd name="T0" fmla="*/ 2 w 12"/>
                    <a:gd name="T1" fmla="*/ 13 h 13"/>
                    <a:gd name="T2" fmla="*/ 1 w 12"/>
                    <a:gd name="T3" fmla="*/ 13 h 13"/>
                    <a:gd name="T4" fmla="*/ 0 w 12"/>
                    <a:gd name="T5" fmla="*/ 11 h 13"/>
                    <a:gd name="T6" fmla="*/ 0 w 12"/>
                    <a:gd name="T7" fmla="*/ 2 h 13"/>
                    <a:gd name="T8" fmla="*/ 1 w 12"/>
                    <a:gd name="T9" fmla="*/ 0 h 13"/>
                    <a:gd name="T10" fmla="*/ 3 w 12"/>
                    <a:gd name="T11" fmla="*/ 0 h 13"/>
                    <a:gd name="T12" fmla="*/ 11 w 12"/>
                    <a:gd name="T13" fmla="*/ 5 h 13"/>
                    <a:gd name="T14" fmla="*/ 12 w 12"/>
                    <a:gd name="T15" fmla="*/ 7 h 13"/>
                    <a:gd name="T16" fmla="*/ 11 w 12"/>
                    <a:gd name="T17" fmla="*/ 8 h 13"/>
                    <a:gd name="T18" fmla="*/ 3 w 12"/>
                    <a:gd name="T19" fmla="*/ 13 h 13"/>
                    <a:gd name="T20" fmla="*/ 2 w 12"/>
                    <a:gd name="T21" fmla="*/ 13 h 13"/>
                    <a:gd name="T22" fmla="*/ 4 w 12"/>
                    <a:gd name="T23" fmla="*/ 5 h 13"/>
                    <a:gd name="T24" fmla="*/ 4 w 12"/>
                    <a:gd name="T25" fmla="*/ 8 h 13"/>
                    <a:gd name="T26" fmla="*/ 6 w 12"/>
                    <a:gd name="T27" fmla="*/ 7 h 13"/>
                    <a:gd name="T28" fmla="*/ 4 w 12"/>
                    <a:gd name="T29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3">
                      <a:moveTo>
                        <a:pt x="2" y="13"/>
                      </a:move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3"/>
                        <a:pt x="0" y="12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5"/>
                        <a:pt x="12" y="6"/>
                        <a:pt x="12" y="7"/>
                      </a:cubicBezTo>
                      <a:cubicBezTo>
                        <a:pt x="12" y="7"/>
                        <a:pt x="11" y="8"/>
                        <a:pt x="11" y="8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2" y="13"/>
                        <a:pt x="2" y="13"/>
                        <a:pt x="2" y="13"/>
                      </a:cubicBezTo>
                      <a:close/>
                      <a:moveTo>
                        <a:pt x="4" y="5"/>
                      </a:move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2" name="Freeform 895">
                  <a:extLst>
                    <a:ext uri="{FF2B5EF4-FFF2-40B4-BE49-F238E27FC236}">
                      <a16:creationId xmlns:a16="http://schemas.microsoft.com/office/drawing/2014/main" id="{0F171808-D254-4FC3-BEEC-4E83856851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2825"/>
                  <a:ext cx="267" cy="468"/>
                </a:xfrm>
                <a:custGeom>
                  <a:avLst/>
                  <a:gdLst>
                    <a:gd name="T0" fmla="*/ 97 w 113"/>
                    <a:gd name="T1" fmla="*/ 198 h 198"/>
                    <a:gd name="T2" fmla="*/ 96 w 113"/>
                    <a:gd name="T3" fmla="*/ 198 h 198"/>
                    <a:gd name="T4" fmla="*/ 1 w 113"/>
                    <a:gd name="T5" fmla="*/ 143 h 198"/>
                    <a:gd name="T6" fmla="*/ 0 w 113"/>
                    <a:gd name="T7" fmla="*/ 142 h 198"/>
                    <a:gd name="T8" fmla="*/ 0 w 113"/>
                    <a:gd name="T9" fmla="*/ 2 h 198"/>
                    <a:gd name="T10" fmla="*/ 1 w 113"/>
                    <a:gd name="T11" fmla="*/ 0 h 198"/>
                    <a:gd name="T12" fmla="*/ 3 w 113"/>
                    <a:gd name="T13" fmla="*/ 0 h 198"/>
                    <a:gd name="T14" fmla="*/ 39 w 113"/>
                    <a:gd name="T15" fmla="*/ 21 h 198"/>
                    <a:gd name="T16" fmla="*/ 47 w 113"/>
                    <a:gd name="T17" fmla="*/ 16 h 198"/>
                    <a:gd name="T18" fmla="*/ 49 w 113"/>
                    <a:gd name="T19" fmla="*/ 16 h 198"/>
                    <a:gd name="T20" fmla="*/ 112 w 113"/>
                    <a:gd name="T21" fmla="*/ 52 h 198"/>
                    <a:gd name="T22" fmla="*/ 113 w 113"/>
                    <a:gd name="T23" fmla="*/ 54 h 198"/>
                    <a:gd name="T24" fmla="*/ 113 w 113"/>
                    <a:gd name="T25" fmla="*/ 188 h 198"/>
                    <a:gd name="T26" fmla="*/ 112 w 113"/>
                    <a:gd name="T27" fmla="*/ 190 h 198"/>
                    <a:gd name="T28" fmla="*/ 98 w 113"/>
                    <a:gd name="T29" fmla="*/ 198 h 198"/>
                    <a:gd name="T30" fmla="*/ 97 w 113"/>
                    <a:gd name="T31" fmla="*/ 198 h 198"/>
                    <a:gd name="T32" fmla="*/ 4 w 113"/>
                    <a:gd name="T33" fmla="*/ 140 h 198"/>
                    <a:gd name="T34" fmla="*/ 97 w 113"/>
                    <a:gd name="T35" fmla="*/ 194 h 198"/>
                    <a:gd name="T36" fmla="*/ 109 w 113"/>
                    <a:gd name="T37" fmla="*/ 187 h 198"/>
                    <a:gd name="T38" fmla="*/ 109 w 113"/>
                    <a:gd name="T39" fmla="*/ 55 h 198"/>
                    <a:gd name="T40" fmla="*/ 48 w 113"/>
                    <a:gd name="T41" fmla="*/ 20 h 198"/>
                    <a:gd name="T42" fmla="*/ 40 w 113"/>
                    <a:gd name="T43" fmla="*/ 25 h 198"/>
                    <a:gd name="T44" fmla="*/ 38 w 113"/>
                    <a:gd name="T45" fmla="*/ 25 h 198"/>
                    <a:gd name="T46" fmla="*/ 4 w 113"/>
                    <a:gd name="T47" fmla="*/ 5 h 198"/>
                    <a:gd name="T48" fmla="*/ 4 w 113"/>
                    <a:gd name="T49" fmla="*/ 140 h 198"/>
                    <a:gd name="T50" fmla="*/ 111 w 113"/>
                    <a:gd name="T51" fmla="*/ 188 h 198"/>
                    <a:gd name="T52" fmla="*/ 111 w 113"/>
                    <a:gd name="T53" fmla="*/ 188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198">
                      <a:moveTo>
                        <a:pt x="97" y="198"/>
                      </a:moveTo>
                      <a:cubicBezTo>
                        <a:pt x="96" y="198"/>
                        <a:pt x="96" y="198"/>
                        <a:pt x="96" y="198"/>
                      </a:cubicBezTo>
                      <a:cubicBezTo>
                        <a:pt x="1" y="143"/>
                        <a:pt x="1" y="143"/>
                        <a:pt x="1" y="143"/>
                      </a:cubicBezTo>
                      <a:cubicBezTo>
                        <a:pt x="0" y="143"/>
                        <a:pt x="0" y="142"/>
                        <a:pt x="0" y="14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9" y="21"/>
                        <a:pt x="39" y="21"/>
                        <a:pt x="39" y="21"/>
                      </a:cubicBezTo>
                      <a:cubicBezTo>
                        <a:pt x="47" y="16"/>
                        <a:pt x="47" y="16"/>
                        <a:pt x="47" y="16"/>
                      </a:cubicBezTo>
                      <a:cubicBezTo>
                        <a:pt x="48" y="16"/>
                        <a:pt x="49" y="16"/>
                        <a:pt x="49" y="16"/>
                      </a:cubicBezTo>
                      <a:cubicBezTo>
                        <a:pt x="112" y="52"/>
                        <a:pt x="112" y="52"/>
                        <a:pt x="112" y="52"/>
                      </a:cubicBezTo>
                      <a:cubicBezTo>
                        <a:pt x="112" y="53"/>
                        <a:pt x="113" y="53"/>
                        <a:pt x="113" y="54"/>
                      </a:cubicBezTo>
                      <a:cubicBezTo>
                        <a:pt x="113" y="188"/>
                        <a:pt x="113" y="188"/>
                        <a:pt x="113" y="188"/>
                      </a:cubicBezTo>
                      <a:cubicBezTo>
                        <a:pt x="113" y="189"/>
                        <a:pt x="112" y="190"/>
                        <a:pt x="112" y="190"/>
                      </a:cubicBezTo>
                      <a:cubicBezTo>
                        <a:pt x="98" y="198"/>
                        <a:pt x="98" y="198"/>
                        <a:pt x="98" y="198"/>
                      </a:cubicBezTo>
                      <a:cubicBezTo>
                        <a:pt x="97" y="198"/>
                        <a:pt x="97" y="198"/>
                        <a:pt x="97" y="198"/>
                      </a:cubicBezTo>
                      <a:close/>
                      <a:moveTo>
                        <a:pt x="4" y="140"/>
                      </a:moveTo>
                      <a:cubicBezTo>
                        <a:pt x="97" y="194"/>
                        <a:pt x="97" y="194"/>
                        <a:pt x="97" y="194"/>
                      </a:cubicBezTo>
                      <a:cubicBezTo>
                        <a:pt x="109" y="187"/>
                        <a:pt x="109" y="187"/>
                        <a:pt x="109" y="187"/>
                      </a:cubicBezTo>
                      <a:cubicBezTo>
                        <a:pt x="109" y="55"/>
                        <a:pt x="109" y="55"/>
                        <a:pt x="109" y="55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cubicBezTo>
                        <a:pt x="40" y="25"/>
                        <a:pt x="40" y="25"/>
                        <a:pt x="40" y="25"/>
                      </a:cubicBezTo>
                      <a:cubicBezTo>
                        <a:pt x="40" y="26"/>
                        <a:pt x="39" y="26"/>
                        <a:pt x="38" y="2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40"/>
                      </a:lnTo>
                      <a:close/>
                      <a:moveTo>
                        <a:pt x="111" y="188"/>
                      </a:moveTo>
                      <a:cubicBezTo>
                        <a:pt x="111" y="188"/>
                        <a:pt x="111" y="188"/>
                        <a:pt x="111" y="1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3" name="Freeform 896">
                  <a:extLst>
                    <a:ext uri="{FF2B5EF4-FFF2-40B4-BE49-F238E27FC236}">
                      <a16:creationId xmlns:a16="http://schemas.microsoft.com/office/drawing/2014/main" id="{B80297B8-EB22-464B-A9C9-762F5B5CF7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3397"/>
                  <a:ext cx="293" cy="371"/>
                </a:xfrm>
                <a:custGeom>
                  <a:avLst/>
                  <a:gdLst>
                    <a:gd name="T0" fmla="*/ 2 w 124"/>
                    <a:gd name="T1" fmla="*/ 157 h 157"/>
                    <a:gd name="T2" fmla="*/ 1 w 124"/>
                    <a:gd name="T3" fmla="*/ 157 h 157"/>
                    <a:gd name="T4" fmla="*/ 0 w 124"/>
                    <a:gd name="T5" fmla="*/ 155 h 157"/>
                    <a:gd name="T6" fmla="*/ 0 w 124"/>
                    <a:gd name="T7" fmla="*/ 65 h 157"/>
                    <a:gd name="T8" fmla="*/ 1 w 124"/>
                    <a:gd name="T9" fmla="*/ 63 h 157"/>
                    <a:gd name="T10" fmla="*/ 3 w 124"/>
                    <a:gd name="T11" fmla="*/ 63 h 157"/>
                    <a:gd name="T12" fmla="*/ 7 w 124"/>
                    <a:gd name="T13" fmla="*/ 65 h 157"/>
                    <a:gd name="T14" fmla="*/ 121 w 124"/>
                    <a:gd name="T15" fmla="*/ 0 h 157"/>
                    <a:gd name="T16" fmla="*/ 123 w 124"/>
                    <a:gd name="T17" fmla="*/ 0 h 157"/>
                    <a:gd name="T18" fmla="*/ 124 w 124"/>
                    <a:gd name="T19" fmla="*/ 2 h 157"/>
                    <a:gd name="T20" fmla="*/ 124 w 124"/>
                    <a:gd name="T21" fmla="*/ 86 h 157"/>
                    <a:gd name="T22" fmla="*/ 123 w 124"/>
                    <a:gd name="T23" fmla="*/ 88 h 157"/>
                    <a:gd name="T24" fmla="*/ 3 w 124"/>
                    <a:gd name="T25" fmla="*/ 157 h 157"/>
                    <a:gd name="T26" fmla="*/ 2 w 124"/>
                    <a:gd name="T27" fmla="*/ 157 h 157"/>
                    <a:gd name="T28" fmla="*/ 4 w 124"/>
                    <a:gd name="T29" fmla="*/ 68 h 157"/>
                    <a:gd name="T30" fmla="*/ 4 w 124"/>
                    <a:gd name="T31" fmla="*/ 152 h 157"/>
                    <a:gd name="T32" fmla="*/ 120 w 124"/>
                    <a:gd name="T33" fmla="*/ 85 h 157"/>
                    <a:gd name="T34" fmla="*/ 120 w 124"/>
                    <a:gd name="T35" fmla="*/ 5 h 157"/>
                    <a:gd name="T36" fmla="*/ 8 w 124"/>
                    <a:gd name="T37" fmla="*/ 70 h 157"/>
                    <a:gd name="T38" fmla="*/ 6 w 124"/>
                    <a:gd name="T39" fmla="*/ 70 h 157"/>
                    <a:gd name="T40" fmla="*/ 4 w 124"/>
                    <a:gd name="T41" fmla="*/ 68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4" h="157">
                      <a:moveTo>
                        <a:pt x="2" y="157"/>
                      </a:moveTo>
                      <a:cubicBezTo>
                        <a:pt x="2" y="157"/>
                        <a:pt x="1" y="157"/>
                        <a:pt x="1" y="157"/>
                      </a:cubicBezTo>
                      <a:cubicBezTo>
                        <a:pt x="0" y="157"/>
                        <a:pt x="0" y="156"/>
                        <a:pt x="0" y="155"/>
                      </a:cubicBezTo>
                      <a:cubicBezTo>
                        <a:pt x="0" y="65"/>
                        <a:pt x="0" y="65"/>
                        <a:pt x="0" y="65"/>
                      </a:cubicBezTo>
                      <a:cubicBezTo>
                        <a:pt x="0" y="64"/>
                        <a:pt x="0" y="63"/>
                        <a:pt x="1" y="63"/>
                      </a:cubicBezTo>
                      <a:cubicBezTo>
                        <a:pt x="2" y="63"/>
                        <a:pt x="2" y="63"/>
                        <a:pt x="3" y="63"/>
                      </a:cubicBezTo>
                      <a:cubicBezTo>
                        <a:pt x="7" y="65"/>
                        <a:pt x="7" y="65"/>
                        <a:pt x="7" y="65"/>
                      </a:cubicBezTo>
                      <a:cubicBezTo>
                        <a:pt x="121" y="0"/>
                        <a:pt x="121" y="0"/>
                        <a:pt x="121" y="0"/>
                      </a:cubicBezTo>
                      <a:cubicBezTo>
                        <a:pt x="121" y="0"/>
                        <a:pt x="122" y="0"/>
                        <a:pt x="123" y="0"/>
                      </a:cubicBezTo>
                      <a:cubicBezTo>
                        <a:pt x="123" y="0"/>
                        <a:pt x="124" y="1"/>
                        <a:pt x="124" y="2"/>
                      </a:cubicBezTo>
                      <a:cubicBezTo>
                        <a:pt x="124" y="86"/>
                        <a:pt x="124" y="86"/>
                        <a:pt x="124" y="86"/>
                      </a:cubicBezTo>
                      <a:cubicBezTo>
                        <a:pt x="124" y="87"/>
                        <a:pt x="123" y="88"/>
                        <a:pt x="123" y="88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3" y="157"/>
                        <a:pt x="2" y="157"/>
                        <a:pt x="2" y="157"/>
                      </a:cubicBezTo>
                      <a:close/>
                      <a:moveTo>
                        <a:pt x="4" y="68"/>
                      </a:moveTo>
                      <a:cubicBezTo>
                        <a:pt x="4" y="152"/>
                        <a:pt x="4" y="152"/>
                        <a:pt x="4" y="152"/>
                      </a:cubicBezTo>
                      <a:cubicBezTo>
                        <a:pt x="120" y="85"/>
                        <a:pt x="120" y="85"/>
                        <a:pt x="120" y="85"/>
                      </a:cubicBezTo>
                      <a:cubicBezTo>
                        <a:pt x="120" y="5"/>
                        <a:pt x="120" y="5"/>
                        <a:pt x="120" y="5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0"/>
                        <a:pt x="6" y="70"/>
                      </a:cubicBezTo>
                      <a:lnTo>
                        <a:pt x="4" y="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4" name="Freeform 897">
                  <a:extLst>
                    <a:ext uri="{FF2B5EF4-FFF2-40B4-BE49-F238E27FC236}">
                      <a16:creationId xmlns:a16="http://schemas.microsoft.com/office/drawing/2014/main" id="{A49E0E8C-8779-419C-967F-99C11F2E51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3345"/>
                  <a:ext cx="47" cy="55"/>
                </a:xfrm>
                <a:custGeom>
                  <a:avLst/>
                  <a:gdLst>
                    <a:gd name="T0" fmla="*/ 2 w 20"/>
                    <a:gd name="T1" fmla="*/ 23 h 23"/>
                    <a:gd name="T2" fmla="*/ 1 w 20"/>
                    <a:gd name="T3" fmla="*/ 23 h 23"/>
                    <a:gd name="T4" fmla="*/ 0 w 20"/>
                    <a:gd name="T5" fmla="*/ 21 h 23"/>
                    <a:gd name="T6" fmla="*/ 0 w 20"/>
                    <a:gd name="T7" fmla="*/ 2 h 23"/>
                    <a:gd name="T8" fmla="*/ 1 w 20"/>
                    <a:gd name="T9" fmla="*/ 1 h 23"/>
                    <a:gd name="T10" fmla="*/ 3 w 20"/>
                    <a:gd name="T11" fmla="*/ 1 h 23"/>
                    <a:gd name="T12" fmla="*/ 19 w 20"/>
                    <a:gd name="T13" fmla="*/ 10 h 23"/>
                    <a:gd name="T14" fmla="*/ 20 w 20"/>
                    <a:gd name="T15" fmla="*/ 12 h 23"/>
                    <a:gd name="T16" fmla="*/ 19 w 20"/>
                    <a:gd name="T17" fmla="*/ 13 h 23"/>
                    <a:gd name="T18" fmla="*/ 3 w 20"/>
                    <a:gd name="T19" fmla="*/ 23 h 23"/>
                    <a:gd name="T20" fmla="*/ 2 w 20"/>
                    <a:gd name="T21" fmla="*/ 23 h 23"/>
                    <a:gd name="T22" fmla="*/ 4 w 20"/>
                    <a:gd name="T23" fmla="*/ 6 h 23"/>
                    <a:gd name="T24" fmla="*/ 4 w 20"/>
                    <a:gd name="T25" fmla="*/ 18 h 23"/>
                    <a:gd name="T26" fmla="*/ 14 w 20"/>
                    <a:gd name="T27" fmla="*/ 12 h 23"/>
                    <a:gd name="T28" fmla="*/ 4 w 20"/>
                    <a:gd name="T29" fmla="*/ 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" h="23">
                      <a:moveTo>
                        <a:pt x="2" y="23"/>
                      </a:moveTo>
                      <a:cubicBezTo>
                        <a:pt x="2" y="23"/>
                        <a:pt x="1" y="23"/>
                        <a:pt x="1" y="23"/>
                      </a:cubicBezTo>
                      <a:cubicBezTo>
                        <a:pt x="1" y="22"/>
                        <a:pt x="0" y="22"/>
                        <a:pt x="0" y="2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20" y="10"/>
                        <a:pt x="20" y="11"/>
                        <a:pt x="20" y="12"/>
                      </a:cubicBezTo>
                      <a:cubicBezTo>
                        <a:pt x="20" y="12"/>
                        <a:pt x="20" y="13"/>
                        <a:pt x="19" y="13"/>
                      </a:cubicBezTo>
                      <a:cubicBezTo>
                        <a:pt x="3" y="23"/>
                        <a:pt x="3" y="23"/>
                        <a:pt x="3" y="23"/>
                      </a:cubicBezTo>
                      <a:cubicBezTo>
                        <a:pt x="3" y="23"/>
                        <a:pt x="3" y="23"/>
                        <a:pt x="2" y="23"/>
                      </a:cubicBezTo>
                      <a:close/>
                      <a:moveTo>
                        <a:pt x="4" y="6"/>
                      </a:move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5" name="Freeform 898">
                  <a:extLst>
                    <a:ext uri="{FF2B5EF4-FFF2-40B4-BE49-F238E27FC236}">
                      <a16:creationId xmlns:a16="http://schemas.microsoft.com/office/drawing/2014/main" id="{054AA70C-8BAB-489B-8E03-613FF16B9D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56" y="2117"/>
                  <a:ext cx="527" cy="836"/>
                </a:xfrm>
                <a:custGeom>
                  <a:avLst/>
                  <a:gdLst>
                    <a:gd name="T0" fmla="*/ 62 w 223"/>
                    <a:gd name="T1" fmla="*/ 354 h 354"/>
                    <a:gd name="T2" fmla="*/ 0 w 223"/>
                    <a:gd name="T3" fmla="*/ 317 h 354"/>
                    <a:gd name="T4" fmla="*/ 109 w 223"/>
                    <a:gd name="T5" fmla="*/ 253 h 354"/>
                    <a:gd name="T6" fmla="*/ 115 w 223"/>
                    <a:gd name="T7" fmla="*/ 255 h 354"/>
                    <a:gd name="T8" fmla="*/ 116 w 223"/>
                    <a:gd name="T9" fmla="*/ 249 h 354"/>
                    <a:gd name="T10" fmla="*/ 116 w 223"/>
                    <a:gd name="T11" fmla="*/ 247 h 354"/>
                    <a:gd name="T12" fmla="*/ 115 w 223"/>
                    <a:gd name="T13" fmla="*/ 185 h 354"/>
                    <a:gd name="T14" fmla="*/ 62 w 223"/>
                    <a:gd name="T15" fmla="*/ 153 h 354"/>
                    <a:gd name="T16" fmla="*/ 63 w 223"/>
                    <a:gd name="T17" fmla="*/ 131 h 354"/>
                    <a:gd name="T18" fmla="*/ 71 w 223"/>
                    <a:gd name="T19" fmla="*/ 127 h 354"/>
                    <a:gd name="T20" fmla="*/ 72 w 223"/>
                    <a:gd name="T21" fmla="*/ 143 h 354"/>
                    <a:gd name="T22" fmla="*/ 136 w 223"/>
                    <a:gd name="T23" fmla="*/ 33 h 354"/>
                    <a:gd name="T24" fmla="*/ 85 w 223"/>
                    <a:gd name="T25" fmla="*/ 61 h 354"/>
                    <a:gd name="T26" fmla="*/ 84 w 223"/>
                    <a:gd name="T27" fmla="*/ 57 h 354"/>
                    <a:gd name="T28" fmla="*/ 180 w 223"/>
                    <a:gd name="T29" fmla="*/ 0 h 354"/>
                    <a:gd name="T30" fmla="*/ 222 w 223"/>
                    <a:gd name="T31" fmla="*/ 24 h 354"/>
                    <a:gd name="T32" fmla="*/ 222 w 223"/>
                    <a:gd name="T33" fmla="*/ 27 h 354"/>
                    <a:gd name="T34" fmla="*/ 187 w 223"/>
                    <a:gd name="T35" fmla="*/ 46 h 354"/>
                    <a:gd name="T36" fmla="*/ 152 w 223"/>
                    <a:gd name="T37" fmla="*/ 99 h 354"/>
                    <a:gd name="T38" fmla="*/ 204 w 223"/>
                    <a:gd name="T39" fmla="*/ 130 h 354"/>
                    <a:gd name="T40" fmla="*/ 203 w 223"/>
                    <a:gd name="T41" fmla="*/ 146 h 354"/>
                    <a:gd name="T42" fmla="*/ 188 w 223"/>
                    <a:gd name="T43" fmla="*/ 153 h 354"/>
                    <a:gd name="T44" fmla="*/ 181 w 223"/>
                    <a:gd name="T45" fmla="*/ 157 h 354"/>
                    <a:gd name="T46" fmla="*/ 138 w 223"/>
                    <a:gd name="T47" fmla="*/ 183 h 354"/>
                    <a:gd name="T48" fmla="*/ 190 w 223"/>
                    <a:gd name="T49" fmla="*/ 226 h 354"/>
                    <a:gd name="T50" fmla="*/ 199 w 223"/>
                    <a:gd name="T51" fmla="*/ 231 h 354"/>
                    <a:gd name="T52" fmla="*/ 199 w 223"/>
                    <a:gd name="T53" fmla="*/ 234 h 354"/>
                    <a:gd name="T54" fmla="*/ 181 w 223"/>
                    <a:gd name="T55" fmla="*/ 279 h 354"/>
                    <a:gd name="T56" fmla="*/ 181 w 223"/>
                    <a:gd name="T57" fmla="*/ 282 h 354"/>
                    <a:gd name="T58" fmla="*/ 65 w 223"/>
                    <a:gd name="T59" fmla="*/ 352 h 354"/>
                    <a:gd name="T60" fmla="*/ 63 w 223"/>
                    <a:gd name="T61" fmla="*/ 354 h 354"/>
                    <a:gd name="T62" fmla="*/ 61 w 223"/>
                    <a:gd name="T63" fmla="*/ 349 h 354"/>
                    <a:gd name="T64" fmla="*/ 62 w 223"/>
                    <a:gd name="T65" fmla="*/ 347 h 354"/>
                    <a:gd name="T66" fmla="*/ 146 w 223"/>
                    <a:gd name="T67" fmla="*/ 263 h 354"/>
                    <a:gd name="T68" fmla="*/ 146 w 223"/>
                    <a:gd name="T69" fmla="*/ 260 h 354"/>
                    <a:gd name="T70" fmla="*/ 191 w 223"/>
                    <a:gd name="T71" fmla="*/ 230 h 354"/>
                    <a:gd name="T72" fmla="*/ 135 w 223"/>
                    <a:gd name="T73" fmla="*/ 262 h 354"/>
                    <a:gd name="T74" fmla="*/ 134 w 223"/>
                    <a:gd name="T75" fmla="*/ 182 h 354"/>
                    <a:gd name="T76" fmla="*/ 177 w 223"/>
                    <a:gd name="T77" fmla="*/ 156 h 354"/>
                    <a:gd name="T78" fmla="*/ 178 w 223"/>
                    <a:gd name="T79" fmla="*/ 144 h 354"/>
                    <a:gd name="T80" fmla="*/ 189 w 223"/>
                    <a:gd name="T81" fmla="*/ 149 h 354"/>
                    <a:gd name="T82" fmla="*/ 200 w 223"/>
                    <a:gd name="T83" fmla="*/ 131 h 354"/>
                    <a:gd name="T84" fmla="*/ 148 w 223"/>
                    <a:gd name="T85" fmla="*/ 100 h 354"/>
                    <a:gd name="T86" fmla="*/ 139 w 223"/>
                    <a:gd name="T87" fmla="*/ 28 h 354"/>
                    <a:gd name="T88" fmla="*/ 140 w 223"/>
                    <a:gd name="T89" fmla="*/ 107 h 354"/>
                    <a:gd name="T90" fmla="*/ 71 w 223"/>
                    <a:gd name="T91" fmla="*/ 148 h 354"/>
                    <a:gd name="T92" fmla="*/ 68 w 223"/>
                    <a:gd name="T93" fmla="*/ 146 h 354"/>
                    <a:gd name="T94" fmla="*/ 66 w 223"/>
                    <a:gd name="T95" fmla="*/ 134 h 354"/>
                    <a:gd name="T96" fmla="*/ 118 w 223"/>
                    <a:gd name="T97" fmla="*/ 182 h 354"/>
                    <a:gd name="T98" fmla="*/ 119 w 223"/>
                    <a:gd name="T99" fmla="*/ 244 h 354"/>
                    <a:gd name="T100" fmla="*/ 124 w 223"/>
                    <a:gd name="T101" fmla="*/ 248 h 354"/>
                    <a:gd name="T102" fmla="*/ 119 w 223"/>
                    <a:gd name="T103" fmla="*/ 252 h 354"/>
                    <a:gd name="T104" fmla="*/ 118 w 223"/>
                    <a:gd name="T105" fmla="*/ 260 h 354"/>
                    <a:gd name="T106" fmla="*/ 110 w 223"/>
                    <a:gd name="T107" fmla="*/ 257 h 354"/>
                    <a:gd name="T108" fmla="*/ 152 w 223"/>
                    <a:gd name="T109" fmla="*/ 21 h 354"/>
                    <a:gd name="T110" fmla="*/ 217 w 223"/>
                    <a:gd name="T111" fmla="*/ 25 h 354"/>
                    <a:gd name="T112" fmla="*/ 152 w 223"/>
                    <a:gd name="T113" fmla="*/ 21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23" h="354">
                      <a:moveTo>
                        <a:pt x="63" y="354"/>
                      </a:moveTo>
                      <a:cubicBezTo>
                        <a:pt x="62" y="354"/>
                        <a:pt x="62" y="354"/>
                        <a:pt x="62" y="354"/>
                      </a:cubicBezTo>
                      <a:cubicBezTo>
                        <a:pt x="1" y="319"/>
                        <a:pt x="1" y="319"/>
                        <a:pt x="1" y="319"/>
                      </a:cubicBezTo>
                      <a:cubicBezTo>
                        <a:pt x="0" y="319"/>
                        <a:pt x="0" y="318"/>
                        <a:pt x="0" y="317"/>
                      </a:cubicBezTo>
                      <a:cubicBezTo>
                        <a:pt x="0" y="316"/>
                        <a:pt x="0" y="316"/>
                        <a:pt x="1" y="315"/>
                      </a:cubicBezTo>
                      <a:cubicBezTo>
                        <a:pt x="109" y="253"/>
                        <a:pt x="109" y="253"/>
                        <a:pt x="109" y="253"/>
                      </a:cubicBezTo>
                      <a:cubicBezTo>
                        <a:pt x="110" y="253"/>
                        <a:pt x="110" y="253"/>
                        <a:pt x="111" y="253"/>
                      </a:cubicBezTo>
                      <a:cubicBezTo>
                        <a:pt x="115" y="255"/>
                        <a:pt x="115" y="255"/>
                        <a:pt x="115" y="255"/>
                      </a:cubicBezTo>
                      <a:cubicBezTo>
                        <a:pt x="115" y="251"/>
                        <a:pt x="115" y="251"/>
                        <a:pt x="115" y="251"/>
                      </a:cubicBezTo>
                      <a:cubicBezTo>
                        <a:pt x="115" y="250"/>
                        <a:pt x="115" y="250"/>
                        <a:pt x="116" y="249"/>
                      </a:cubicBezTo>
                      <a:cubicBezTo>
                        <a:pt x="118" y="248"/>
                        <a:pt x="118" y="248"/>
                        <a:pt x="118" y="248"/>
                      </a:cubicBezTo>
                      <a:cubicBezTo>
                        <a:pt x="116" y="247"/>
                        <a:pt x="116" y="247"/>
                        <a:pt x="116" y="247"/>
                      </a:cubicBezTo>
                      <a:cubicBezTo>
                        <a:pt x="115" y="247"/>
                        <a:pt x="115" y="246"/>
                        <a:pt x="115" y="245"/>
                      </a:cubicBezTo>
                      <a:cubicBezTo>
                        <a:pt x="115" y="185"/>
                        <a:pt x="115" y="185"/>
                        <a:pt x="115" y="185"/>
                      </a:cubicBezTo>
                      <a:cubicBezTo>
                        <a:pt x="63" y="155"/>
                        <a:pt x="63" y="155"/>
                        <a:pt x="63" y="155"/>
                      </a:cubicBezTo>
                      <a:cubicBezTo>
                        <a:pt x="63" y="154"/>
                        <a:pt x="62" y="154"/>
                        <a:pt x="62" y="153"/>
                      </a:cubicBezTo>
                      <a:cubicBezTo>
                        <a:pt x="62" y="133"/>
                        <a:pt x="62" y="133"/>
                        <a:pt x="62" y="133"/>
                      </a:cubicBezTo>
                      <a:cubicBezTo>
                        <a:pt x="62" y="132"/>
                        <a:pt x="63" y="131"/>
                        <a:pt x="63" y="131"/>
                      </a:cubicBezTo>
                      <a:cubicBezTo>
                        <a:pt x="69" y="127"/>
                        <a:pt x="69" y="127"/>
                        <a:pt x="69" y="127"/>
                      </a:cubicBezTo>
                      <a:cubicBezTo>
                        <a:pt x="70" y="127"/>
                        <a:pt x="71" y="127"/>
                        <a:pt x="71" y="127"/>
                      </a:cubicBezTo>
                      <a:cubicBezTo>
                        <a:pt x="72" y="128"/>
                        <a:pt x="72" y="128"/>
                        <a:pt x="72" y="129"/>
                      </a:cubicBezTo>
                      <a:cubicBezTo>
                        <a:pt x="72" y="143"/>
                        <a:pt x="72" y="143"/>
                        <a:pt x="72" y="143"/>
                      </a:cubicBezTo>
                      <a:cubicBezTo>
                        <a:pt x="136" y="106"/>
                        <a:pt x="136" y="106"/>
                        <a:pt x="136" y="106"/>
                      </a:cubicBezTo>
                      <a:cubicBezTo>
                        <a:pt x="136" y="33"/>
                        <a:pt x="136" y="33"/>
                        <a:pt x="136" y="33"/>
                      </a:cubicBezTo>
                      <a:cubicBezTo>
                        <a:pt x="87" y="61"/>
                        <a:pt x="87" y="61"/>
                        <a:pt x="87" y="61"/>
                      </a:cubicBezTo>
                      <a:cubicBezTo>
                        <a:pt x="86" y="62"/>
                        <a:pt x="85" y="62"/>
                        <a:pt x="85" y="61"/>
                      </a:cubicBezTo>
                      <a:cubicBezTo>
                        <a:pt x="84" y="61"/>
                        <a:pt x="84" y="60"/>
                        <a:pt x="84" y="60"/>
                      </a:cubicBezTo>
                      <a:cubicBezTo>
                        <a:pt x="84" y="57"/>
                        <a:pt x="84" y="57"/>
                        <a:pt x="84" y="57"/>
                      </a:cubicBezTo>
                      <a:cubicBezTo>
                        <a:pt x="84" y="56"/>
                        <a:pt x="84" y="56"/>
                        <a:pt x="85" y="55"/>
                      </a:cubicBezTo>
                      <a:cubicBezTo>
                        <a:pt x="180" y="0"/>
                        <a:pt x="180" y="0"/>
                        <a:pt x="180" y="0"/>
                      </a:cubicBezTo>
                      <a:cubicBezTo>
                        <a:pt x="180" y="0"/>
                        <a:pt x="181" y="0"/>
                        <a:pt x="182" y="0"/>
                      </a:cubicBezTo>
                      <a:cubicBezTo>
                        <a:pt x="222" y="24"/>
                        <a:pt x="222" y="24"/>
                        <a:pt x="222" y="24"/>
                      </a:cubicBezTo>
                      <a:cubicBezTo>
                        <a:pt x="222" y="24"/>
                        <a:pt x="223" y="25"/>
                        <a:pt x="223" y="25"/>
                      </a:cubicBezTo>
                      <a:cubicBezTo>
                        <a:pt x="223" y="26"/>
                        <a:pt x="222" y="27"/>
                        <a:pt x="222" y="27"/>
                      </a:cubicBezTo>
                      <a:cubicBezTo>
                        <a:pt x="189" y="46"/>
                        <a:pt x="189" y="46"/>
                        <a:pt x="189" y="46"/>
                      </a:cubicBezTo>
                      <a:cubicBezTo>
                        <a:pt x="189" y="46"/>
                        <a:pt x="188" y="46"/>
                        <a:pt x="187" y="46"/>
                      </a:cubicBezTo>
                      <a:cubicBezTo>
                        <a:pt x="152" y="25"/>
                        <a:pt x="152" y="25"/>
                        <a:pt x="152" y="25"/>
                      </a:cubicBezTo>
                      <a:cubicBezTo>
                        <a:pt x="152" y="99"/>
                        <a:pt x="152" y="99"/>
                        <a:pt x="152" y="99"/>
                      </a:cubicBezTo>
                      <a:cubicBezTo>
                        <a:pt x="203" y="128"/>
                        <a:pt x="203" y="128"/>
                        <a:pt x="203" y="128"/>
                      </a:cubicBezTo>
                      <a:cubicBezTo>
                        <a:pt x="203" y="128"/>
                        <a:pt x="204" y="129"/>
                        <a:pt x="204" y="130"/>
                      </a:cubicBezTo>
                      <a:cubicBezTo>
                        <a:pt x="204" y="144"/>
                        <a:pt x="204" y="144"/>
                        <a:pt x="204" y="144"/>
                      </a:cubicBezTo>
                      <a:cubicBezTo>
                        <a:pt x="204" y="145"/>
                        <a:pt x="203" y="146"/>
                        <a:pt x="203" y="146"/>
                      </a:cubicBezTo>
                      <a:cubicBezTo>
                        <a:pt x="190" y="153"/>
                        <a:pt x="190" y="153"/>
                        <a:pt x="190" y="153"/>
                      </a:cubicBezTo>
                      <a:cubicBezTo>
                        <a:pt x="189" y="154"/>
                        <a:pt x="188" y="154"/>
                        <a:pt x="188" y="153"/>
                      </a:cubicBezTo>
                      <a:cubicBezTo>
                        <a:pt x="181" y="149"/>
                        <a:pt x="181" y="149"/>
                        <a:pt x="181" y="149"/>
                      </a:cubicBezTo>
                      <a:cubicBezTo>
                        <a:pt x="181" y="157"/>
                        <a:pt x="181" y="157"/>
                        <a:pt x="181" y="157"/>
                      </a:cubicBezTo>
                      <a:cubicBezTo>
                        <a:pt x="181" y="158"/>
                        <a:pt x="180" y="159"/>
                        <a:pt x="180" y="159"/>
                      </a:cubicBezTo>
                      <a:cubicBezTo>
                        <a:pt x="138" y="183"/>
                        <a:pt x="138" y="183"/>
                        <a:pt x="138" y="183"/>
                      </a:cubicBezTo>
                      <a:cubicBezTo>
                        <a:pt x="138" y="257"/>
                        <a:pt x="138" y="257"/>
                        <a:pt x="138" y="257"/>
                      </a:cubicBezTo>
                      <a:cubicBezTo>
                        <a:pt x="190" y="226"/>
                        <a:pt x="190" y="226"/>
                        <a:pt x="190" y="226"/>
                      </a:cubicBezTo>
                      <a:cubicBezTo>
                        <a:pt x="191" y="226"/>
                        <a:pt x="191" y="226"/>
                        <a:pt x="192" y="226"/>
                      </a:cubicBezTo>
                      <a:cubicBezTo>
                        <a:pt x="199" y="231"/>
                        <a:pt x="199" y="231"/>
                        <a:pt x="199" y="231"/>
                      </a:cubicBezTo>
                      <a:cubicBezTo>
                        <a:pt x="200" y="231"/>
                        <a:pt x="200" y="232"/>
                        <a:pt x="200" y="232"/>
                      </a:cubicBezTo>
                      <a:cubicBezTo>
                        <a:pt x="200" y="233"/>
                        <a:pt x="200" y="234"/>
                        <a:pt x="199" y="234"/>
                      </a:cubicBezTo>
                      <a:cubicBezTo>
                        <a:pt x="151" y="262"/>
                        <a:pt x="151" y="262"/>
                        <a:pt x="151" y="262"/>
                      </a:cubicBezTo>
                      <a:cubicBezTo>
                        <a:pt x="181" y="279"/>
                        <a:pt x="181" y="279"/>
                        <a:pt x="181" y="279"/>
                      </a:cubicBezTo>
                      <a:cubicBezTo>
                        <a:pt x="181" y="279"/>
                        <a:pt x="182" y="280"/>
                        <a:pt x="182" y="281"/>
                      </a:cubicBezTo>
                      <a:cubicBezTo>
                        <a:pt x="182" y="281"/>
                        <a:pt x="181" y="282"/>
                        <a:pt x="181" y="282"/>
                      </a:cubicBezTo>
                      <a:cubicBezTo>
                        <a:pt x="65" y="350"/>
                        <a:pt x="65" y="350"/>
                        <a:pt x="65" y="350"/>
                      </a:cubicBezTo>
                      <a:cubicBezTo>
                        <a:pt x="65" y="352"/>
                        <a:pt x="65" y="352"/>
                        <a:pt x="65" y="352"/>
                      </a:cubicBezTo>
                      <a:cubicBezTo>
                        <a:pt x="65" y="353"/>
                        <a:pt x="64" y="353"/>
                        <a:pt x="64" y="354"/>
                      </a:cubicBezTo>
                      <a:cubicBezTo>
                        <a:pt x="63" y="354"/>
                        <a:pt x="63" y="354"/>
                        <a:pt x="63" y="354"/>
                      </a:cubicBezTo>
                      <a:close/>
                      <a:moveTo>
                        <a:pt x="6" y="317"/>
                      </a:moveTo>
                      <a:cubicBezTo>
                        <a:pt x="61" y="349"/>
                        <a:pt x="61" y="349"/>
                        <a:pt x="61" y="349"/>
                      </a:cubicBezTo>
                      <a:cubicBezTo>
                        <a:pt x="61" y="348"/>
                        <a:pt x="61" y="348"/>
                        <a:pt x="61" y="348"/>
                      </a:cubicBezTo>
                      <a:cubicBezTo>
                        <a:pt x="61" y="348"/>
                        <a:pt x="61" y="347"/>
                        <a:pt x="62" y="347"/>
                      </a:cubicBezTo>
                      <a:cubicBezTo>
                        <a:pt x="176" y="281"/>
                        <a:pt x="176" y="281"/>
                        <a:pt x="176" y="281"/>
                      </a:cubicBezTo>
                      <a:cubicBezTo>
                        <a:pt x="146" y="263"/>
                        <a:pt x="146" y="263"/>
                        <a:pt x="146" y="263"/>
                      </a:cubicBezTo>
                      <a:cubicBezTo>
                        <a:pt x="145" y="263"/>
                        <a:pt x="145" y="262"/>
                        <a:pt x="145" y="262"/>
                      </a:cubicBezTo>
                      <a:cubicBezTo>
                        <a:pt x="145" y="261"/>
                        <a:pt x="145" y="260"/>
                        <a:pt x="146" y="260"/>
                      </a:cubicBezTo>
                      <a:cubicBezTo>
                        <a:pt x="194" y="232"/>
                        <a:pt x="194" y="232"/>
                        <a:pt x="194" y="232"/>
                      </a:cubicBezTo>
                      <a:cubicBezTo>
                        <a:pt x="191" y="230"/>
                        <a:pt x="191" y="230"/>
                        <a:pt x="191" y="230"/>
                      </a:cubicBezTo>
                      <a:cubicBezTo>
                        <a:pt x="137" y="262"/>
                        <a:pt x="137" y="262"/>
                        <a:pt x="137" y="262"/>
                      </a:cubicBezTo>
                      <a:cubicBezTo>
                        <a:pt x="136" y="262"/>
                        <a:pt x="136" y="262"/>
                        <a:pt x="135" y="262"/>
                      </a:cubicBezTo>
                      <a:cubicBezTo>
                        <a:pt x="134" y="261"/>
                        <a:pt x="134" y="261"/>
                        <a:pt x="134" y="260"/>
                      </a:cubicBezTo>
                      <a:cubicBezTo>
                        <a:pt x="134" y="182"/>
                        <a:pt x="134" y="182"/>
                        <a:pt x="134" y="182"/>
                      </a:cubicBezTo>
                      <a:cubicBezTo>
                        <a:pt x="134" y="182"/>
                        <a:pt x="134" y="181"/>
                        <a:pt x="135" y="181"/>
                      </a:cubicBezTo>
                      <a:cubicBezTo>
                        <a:pt x="177" y="156"/>
                        <a:pt x="177" y="156"/>
                        <a:pt x="177" y="156"/>
                      </a:cubicBezTo>
                      <a:cubicBezTo>
                        <a:pt x="177" y="146"/>
                        <a:pt x="177" y="146"/>
                        <a:pt x="177" y="146"/>
                      </a:cubicBezTo>
                      <a:cubicBezTo>
                        <a:pt x="177" y="145"/>
                        <a:pt x="177" y="145"/>
                        <a:pt x="178" y="144"/>
                      </a:cubicBezTo>
                      <a:cubicBezTo>
                        <a:pt x="178" y="144"/>
                        <a:pt x="179" y="144"/>
                        <a:pt x="180" y="144"/>
                      </a:cubicBezTo>
                      <a:cubicBezTo>
                        <a:pt x="189" y="149"/>
                        <a:pt x="189" y="149"/>
                        <a:pt x="189" y="149"/>
                      </a:cubicBezTo>
                      <a:cubicBezTo>
                        <a:pt x="200" y="143"/>
                        <a:pt x="200" y="143"/>
                        <a:pt x="200" y="143"/>
                      </a:cubicBezTo>
                      <a:cubicBezTo>
                        <a:pt x="200" y="131"/>
                        <a:pt x="200" y="131"/>
                        <a:pt x="200" y="131"/>
                      </a:cubicBezTo>
                      <a:cubicBezTo>
                        <a:pt x="149" y="102"/>
                        <a:pt x="149" y="102"/>
                        <a:pt x="149" y="102"/>
                      </a:cubicBezTo>
                      <a:cubicBezTo>
                        <a:pt x="148" y="101"/>
                        <a:pt x="148" y="100"/>
                        <a:pt x="148" y="100"/>
                      </a:cubicBezTo>
                      <a:cubicBezTo>
                        <a:pt x="148" y="23"/>
                        <a:pt x="148" y="23"/>
                        <a:pt x="148" y="23"/>
                      </a:cubicBezTo>
                      <a:cubicBezTo>
                        <a:pt x="139" y="28"/>
                        <a:pt x="139" y="28"/>
                        <a:pt x="139" y="28"/>
                      </a:cubicBezTo>
                      <a:cubicBezTo>
                        <a:pt x="139" y="29"/>
                        <a:pt x="140" y="29"/>
                        <a:pt x="140" y="30"/>
                      </a:cubicBezTo>
                      <a:cubicBezTo>
                        <a:pt x="140" y="107"/>
                        <a:pt x="140" y="107"/>
                        <a:pt x="140" y="107"/>
                      </a:cubicBezTo>
                      <a:cubicBezTo>
                        <a:pt x="140" y="108"/>
                        <a:pt x="139" y="109"/>
                        <a:pt x="139" y="109"/>
                      </a:cubicBezTo>
                      <a:cubicBezTo>
                        <a:pt x="71" y="148"/>
                        <a:pt x="71" y="148"/>
                        <a:pt x="71" y="148"/>
                      </a:cubicBezTo>
                      <a:cubicBezTo>
                        <a:pt x="71" y="148"/>
                        <a:pt x="70" y="148"/>
                        <a:pt x="69" y="148"/>
                      </a:cubicBezTo>
                      <a:cubicBezTo>
                        <a:pt x="69" y="148"/>
                        <a:pt x="68" y="147"/>
                        <a:pt x="68" y="146"/>
                      </a:cubicBezTo>
                      <a:cubicBezTo>
                        <a:pt x="68" y="133"/>
                        <a:pt x="68" y="133"/>
                        <a:pt x="68" y="133"/>
                      </a:cubicBezTo>
                      <a:cubicBezTo>
                        <a:pt x="66" y="134"/>
                        <a:pt x="66" y="134"/>
                        <a:pt x="66" y="134"/>
                      </a:cubicBezTo>
                      <a:cubicBezTo>
                        <a:pt x="66" y="152"/>
                        <a:pt x="66" y="152"/>
                        <a:pt x="66" y="152"/>
                      </a:cubicBezTo>
                      <a:cubicBezTo>
                        <a:pt x="118" y="182"/>
                        <a:pt x="118" y="182"/>
                        <a:pt x="118" y="182"/>
                      </a:cubicBezTo>
                      <a:cubicBezTo>
                        <a:pt x="118" y="182"/>
                        <a:pt x="119" y="183"/>
                        <a:pt x="119" y="184"/>
                      </a:cubicBezTo>
                      <a:cubicBezTo>
                        <a:pt x="119" y="244"/>
                        <a:pt x="119" y="244"/>
                        <a:pt x="119" y="244"/>
                      </a:cubicBezTo>
                      <a:cubicBezTo>
                        <a:pt x="123" y="246"/>
                        <a:pt x="123" y="246"/>
                        <a:pt x="123" y="246"/>
                      </a:cubicBezTo>
                      <a:cubicBezTo>
                        <a:pt x="123" y="247"/>
                        <a:pt x="124" y="247"/>
                        <a:pt x="124" y="248"/>
                      </a:cubicBezTo>
                      <a:cubicBezTo>
                        <a:pt x="124" y="249"/>
                        <a:pt x="123" y="249"/>
                        <a:pt x="123" y="250"/>
                      </a:cubicBezTo>
                      <a:cubicBezTo>
                        <a:pt x="119" y="252"/>
                        <a:pt x="119" y="252"/>
                        <a:pt x="119" y="252"/>
                      </a:cubicBezTo>
                      <a:cubicBezTo>
                        <a:pt x="119" y="259"/>
                        <a:pt x="119" y="259"/>
                        <a:pt x="119" y="259"/>
                      </a:cubicBezTo>
                      <a:cubicBezTo>
                        <a:pt x="119" y="259"/>
                        <a:pt x="118" y="260"/>
                        <a:pt x="118" y="260"/>
                      </a:cubicBezTo>
                      <a:cubicBezTo>
                        <a:pt x="117" y="261"/>
                        <a:pt x="116" y="261"/>
                        <a:pt x="116" y="260"/>
                      </a:cubicBezTo>
                      <a:cubicBezTo>
                        <a:pt x="110" y="257"/>
                        <a:pt x="110" y="257"/>
                        <a:pt x="110" y="257"/>
                      </a:cubicBezTo>
                      <a:lnTo>
                        <a:pt x="6" y="317"/>
                      </a:lnTo>
                      <a:close/>
                      <a:moveTo>
                        <a:pt x="152" y="21"/>
                      </a:moveTo>
                      <a:cubicBezTo>
                        <a:pt x="188" y="42"/>
                        <a:pt x="188" y="42"/>
                        <a:pt x="188" y="42"/>
                      </a:cubicBezTo>
                      <a:cubicBezTo>
                        <a:pt x="217" y="25"/>
                        <a:pt x="217" y="25"/>
                        <a:pt x="217" y="25"/>
                      </a:cubicBezTo>
                      <a:cubicBezTo>
                        <a:pt x="181" y="4"/>
                        <a:pt x="181" y="4"/>
                        <a:pt x="181" y="4"/>
                      </a:cubicBezTo>
                      <a:lnTo>
                        <a:pt x="152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6" name="Freeform 899">
                  <a:extLst>
                    <a:ext uri="{FF2B5EF4-FFF2-40B4-BE49-F238E27FC236}">
                      <a16:creationId xmlns:a16="http://schemas.microsoft.com/office/drawing/2014/main" id="{9CD1227B-BFB5-427A-8F29-7A17B34C68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16" y="3307"/>
                  <a:ext cx="293" cy="251"/>
                </a:xfrm>
                <a:custGeom>
                  <a:avLst/>
                  <a:gdLst>
                    <a:gd name="T0" fmla="*/ 7 w 124"/>
                    <a:gd name="T1" fmla="*/ 106 h 106"/>
                    <a:gd name="T2" fmla="*/ 6 w 124"/>
                    <a:gd name="T3" fmla="*/ 106 h 106"/>
                    <a:gd name="T4" fmla="*/ 1 w 124"/>
                    <a:gd name="T5" fmla="*/ 103 h 106"/>
                    <a:gd name="T6" fmla="*/ 0 w 124"/>
                    <a:gd name="T7" fmla="*/ 101 h 106"/>
                    <a:gd name="T8" fmla="*/ 0 w 124"/>
                    <a:gd name="T9" fmla="*/ 55 h 106"/>
                    <a:gd name="T10" fmla="*/ 1 w 124"/>
                    <a:gd name="T11" fmla="*/ 54 h 106"/>
                    <a:gd name="T12" fmla="*/ 94 w 124"/>
                    <a:gd name="T13" fmla="*/ 0 h 106"/>
                    <a:gd name="T14" fmla="*/ 96 w 124"/>
                    <a:gd name="T15" fmla="*/ 0 h 106"/>
                    <a:gd name="T16" fmla="*/ 123 w 124"/>
                    <a:gd name="T17" fmla="*/ 16 h 106"/>
                    <a:gd name="T18" fmla="*/ 124 w 124"/>
                    <a:gd name="T19" fmla="*/ 17 h 106"/>
                    <a:gd name="T20" fmla="*/ 124 w 124"/>
                    <a:gd name="T21" fmla="*/ 38 h 106"/>
                    <a:gd name="T22" fmla="*/ 123 w 124"/>
                    <a:gd name="T23" fmla="*/ 40 h 106"/>
                    <a:gd name="T24" fmla="*/ 8 w 124"/>
                    <a:gd name="T25" fmla="*/ 106 h 106"/>
                    <a:gd name="T26" fmla="*/ 7 w 124"/>
                    <a:gd name="T27" fmla="*/ 106 h 106"/>
                    <a:gd name="T28" fmla="*/ 4 w 124"/>
                    <a:gd name="T29" fmla="*/ 100 h 106"/>
                    <a:gd name="T30" fmla="*/ 7 w 124"/>
                    <a:gd name="T31" fmla="*/ 102 h 106"/>
                    <a:gd name="T32" fmla="*/ 120 w 124"/>
                    <a:gd name="T33" fmla="*/ 37 h 106"/>
                    <a:gd name="T34" fmla="*/ 120 w 124"/>
                    <a:gd name="T35" fmla="*/ 19 h 106"/>
                    <a:gd name="T36" fmla="*/ 95 w 124"/>
                    <a:gd name="T37" fmla="*/ 4 h 106"/>
                    <a:gd name="T38" fmla="*/ 4 w 124"/>
                    <a:gd name="T39" fmla="*/ 57 h 106"/>
                    <a:gd name="T40" fmla="*/ 4 w 124"/>
                    <a:gd name="T41" fmla="*/ 100 h 106"/>
                    <a:gd name="T42" fmla="*/ 122 w 124"/>
                    <a:gd name="T43" fmla="*/ 38 h 106"/>
                    <a:gd name="T44" fmla="*/ 122 w 124"/>
                    <a:gd name="T45" fmla="*/ 3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4" h="106">
                      <a:moveTo>
                        <a:pt x="7" y="106"/>
                      </a:moveTo>
                      <a:cubicBezTo>
                        <a:pt x="7" y="106"/>
                        <a:pt x="7" y="106"/>
                        <a:pt x="6" y="106"/>
                      </a:cubicBezTo>
                      <a:cubicBezTo>
                        <a:pt x="1" y="103"/>
                        <a:pt x="1" y="103"/>
                        <a:pt x="1" y="103"/>
                      </a:cubicBezTo>
                      <a:cubicBezTo>
                        <a:pt x="0" y="102"/>
                        <a:pt x="0" y="102"/>
                        <a:pt x="0" y="101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55"/>
                        <a:pt x="0" y="54"/>
                        <a:pt x="1" y="54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4" y="0"/>
                        <a:pt x="95" y="0"/>
                        <a:pt x="96" y="0"/>
                      </a:cubicBezTo>
                      <a:cubicBezTo>
                        <a:pt x="123" y="16"/>
                        <a:pt x="123" y="16"/>
                        <a:pt x="123" y="16"/>
                      </a:cubicBezTo>
                      <a:cubicBezTo>
                        <a:pt x="123" y="16"/>
                        <a:pt x="124" y="17"/>
                        <a:pt x="124" y="17"/>
                      </a:cubicBezTo>
                      <a:cubicBezTo>
                        <a:pt x="124" y="38"/>
                        <a:pt x="124" y="38"/>
                        <a:pt x="124" y="38"/>
                      </a:cubicBezTo>
                      <a:cubicBezTo>
                        <a:pt x="124" y="39"/>
                        <a:pt x="123" y="39"/>
                        <a:pt x="123" y="40"/>
                      </a:cubicBezTo>
                      <a:cubicBezTo>
                        <a:pt x="8" y="106"/>
                        <a:pt x="8" y="106"/>
                        <a:pt x="8" y="106"/>
                      </a:cubicBezTo>
                      <a:cubicBezTo>
                        <a:pt x="8" y="106"/>
                        <a:pt x="8" y="106"/>
                        <a:pt x="7" y="106"/>
                      </a:cubicBezTo>
                      <a:close/>
                      <a:moveTo>
                        <a:pt x="4" y="100"/>
                      </a:moveTo>
                      <a:cubicBezTo>
                        <a:pt x="7" y="102"/>
                        <a:pt x="7" y="102"/>
                        <a:pt x="7" y="102"/>
                      </a:cubicBezTo>
                      <a:cubicBezTo>
                        <a:pt x="120" y="37"/>
                        <a:pt x="120" y="37"/>
                        <a:pt x="120" y="37"/>
                      </a:cubicBezTo>
                      <a:cubicBezTo>
                        <a:pt x="120" y="19"/>
                        <a:pt x="120" y="19"/>
                        <a:pt x="120" y="19"/>
                      </a:cubicBezTo>
                      <a:cubicBezTo>
                        <a:pt x="95" y="4"/>
                        <a:pt x="95" y="4"/>
                        <a:pt x="95" y="4"/>
                      </a:cubicBezTo>
                      <a:cubicBezTo>
                        <a:pt x="4" y="57"/>
                        <a:pt x="4" y="57"/>
                        <a:pt x="4" y="57"/>
                      </a:cubicBezTo>
                      <a:lnTo>
                        <a:pt x="4" y="100"/>
                      </a:lnTo>
                      <a:close/>
                      <a:moveTo>
                        <a:pt x="122" y="38"/>
                      </a:moveTo>
                      <a:cubicBezTo>
                        <a:pt x="122" y="38"/>
                        <a:pt x="122" y="38"/>
                        <a:pt x="122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7" name="Freeform 900">
                  <a:extLst>
                    <a:ext uri="{FF2B5EF4-FFF2-40B4-BE49-F238E27FC236}">
                      <a16:creationId xmlns:a16="http://schemas.microsoft.com/office/drawing/2014/main" id="{A789DF48-4384-47C3-BBB6-2B6110C1FD4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38" y="3289"/>
                  <a:ext cx="71" cy="61"/>
                </a:xfrm>
                <a:custGeom>
                  <a:avLst/>
                  <a:gdLst>
                    <a:gd name="T0" fmla="*/ 28 w 30"/>
                    <a:gd name="T1" fmla="*/ 26 h 26"/>
                    <a:gd name="T2" fmla="*/ 27 w 30"/>
                    <a:gd name="T3" fmla="*/ 25 h 26"/>
                    <a:gd name="T4" fmla="*/ 1 w 30"/>
                    <a:gd name="T5" fmla="*/ 11 h 26"/>
                    <a:gd name="T6" fmla="*/ 0 w 30"/>
                    <a:gd name="T7" fmla="*/ 9 h 26"/>
                    <a:gd name="T8" fmla="*/ 1 w 30"/>
                    <a:gd name="T9" fmla="*/ 7 h 26"/>
                    <a:gd name="T10" fmla="*/ 13 w 30"/>
                    <a:gd name="T11" fmla="*/ 1 h 26"/>
                    <a:gd name="T12" fmla="*/ 15 w 30"/>
                    <a:gd name="T13" fmla="*/ 1 h 26"/>
                    <a:gd name="T14" fmla="*/ 29 w 30"/>
                    <a:gd name="T15" fmla="*/ 9 h 26"/>
                    <a:gd name="T16" fmla="*/ 30 w 30"/>
                    <a:gd name="T17" fmla="*/ 10 h 26"/>
                    <a:gd name="T18" fmla="*/ 30 w 30"/>
                    <a:gd name="T19" fmla="*/ 24 h 26"/>
                    <a:gd name="T20" fmla="*/ 29 w 30"/>
                    <a:gd name="T21" fmla="*/ 25 h 26"/>
                    <a:gd name="T22" fmla="*/ 28 w 30"/>
                    <a:gd name="T23" fmla="*/ 26 h 26"/>
                    <a:gd name="T24" fmla="*/ 6 w 30"/>
                    <a:gd name="T25" fmla="*/ 9 h 26"/>
                    <a:gd name="T26" fmla="*/ 26 w 30"/>
                    <a:gd name="T27" fmla="*/ 20 h 26"/>
                    <a:gd name="T28" fmla="*/ 26 w 30"/>
                    <a:gd name="T29" fmla="*/ 11 h 26"/>
                    <a:gd name="T30" fmla="*/ 14 w 30"/>
                    <a:gd name="T31" fmla="*/ 5 h 26"/>
                    <a:gd name="T32" fmla="*/ 6 w 30"/>
                    <a:gd name="T33" fmla="*/ 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0" h="26">
                      <a:moveTo>
                        <a:pt x="28" y="26"/>
                      </a:moveTo>
                      <a:cubicBezTo>
                        <a:pt x="27" y="26"/>
                        <a:pt x="27" y="26"/>
                        <a:pt x="27" y="25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0"/>
                        <a:pt x="0" y="10"/>
                        <a:pt x="0" y="9"/>
                      </a:cubicBezTo>
                      <a:cubicBezTo>
                        <a:pt x="0" y="8"/>
                        <a:pt x="1" y="8"/>
                        <a:pt x="1" y="7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4" y="0"/>
                        <a:pt x="15" y="1"/>
                      </a:cubicBezTo>
                      <a:cubicBezTo>
                        <a:pt x="29" y="9"/>
                        <a:pt x="29" y="9"/>
                        <a:pt x="29" y="9"/>
                      </a:cubicBezTo>
                      <a:cubicBezTo>
                        <a:pt x="29" y="9"/>
                        <a:pt x="30" y="10"/>
                        <a:pt x="30" y="10"/>
                      </a:cubicBezTo>
                      <a:cubicBezTo>
                        <a:pt x="30" y="24"/>
                        <a:pt x="30" y="24"/>
                        <a:pt x="30" y="24"/>
                      </a:cubicBezTo>
                      <a:cubicBezTo>
                        <a:pt x="30" y="24"/>
                        <a:pt x="29" y="25"/>
                        <a:pt x="29" y="25"/>
                      </a:cubicBezTo>
                      <a:cubicBezTo>
                        <a:pt x="28" y="26"/>
                        <a:pt x="28" y="26"/>
                        <a:pt x="28" y="26"/>
                      </a:cubicBezTo>
                      <a:close/>
                      <a:moveTo>
                        <a:pt x="6" y="9"/>
                      </a:moveTo>
                      <a:cubicBezTo>
                        <a:pt x="26" y="20"/>
                        <a:pt x="26" y="20"/>
                        <a:pt x="26" y="20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14" y="5"/>
                        <a:pt x="14" y="5"/>
                        <a:pt x="14" y="5"/>
                      </a:cubicBez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8" name="Freeform 901">
                  <a:extLst>
                    <a:ext uri="{FF2B5EF4-FFF2-40B4-BE49-F238E27FC236}">
                      <a16:creationId xmlns:a16="http://schemas.microsoft.com/office/drawing/2014/main" id="{406FA2C2-7AA9-42F8-9200-5348AF63AD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69" y="3270"/>
                  <a:ext cx="40" cy="42"/>
                </a:xfrm>
                <a:custGeom>
                  <a:avLst/>
                  <a:gdLst>
                    <a:gd name="T0" fmla="*/ 15 w 17"/>
                    <a:gd name="T1" fmla="*/ 18 h 18"/>
                    <a:gd name="T2" fmla="*/ 14 w 17"/>
                    <a:gd name="T3" fmla="*/ 18 h 18"/>
                    <a:gd name="T4" fmla="*/ 1 w 17"/>
                    <a:gd name="T5" fmla="*/ 11 h 18"/>
                    <a:gd name="T6" fmla="*/ 0 w 17"/>
                    <a:gd name="T7" fmla="*/ 9 h 18"/>
                    <a:gd name="T8" fmla="*/ 1 w 17"/>
                    <a:gd name="T9" fmla="*/ 8 h 18"/>
                    <a:gd name="T10" fmla="*/ 14 w 17"/>
                    <a:gd name="T11" fmla="*/ 1 h 18"/>
                    <a:gd name="T12" fmla="*/ 16 w 17"/>
                    <a:gd name="T13" fmla="*/ 1 h 18"/>
                    <a:gd name="T14" fmla="*/ 17 w 17"/>
                    <a:gd name="T15" fmla="*/ 2 h 18"/>
                    <a:gd name="T16" fmla="*/ 17 w 17"/>
                    <a:gd name="T17" fmla="*/ 16 h 18"/>
                    <a:gd name="T18" fmla="*/ 16 w 17"/>
                    <a:gd name="T19" fmla="*/ 18 h 18"/>
                    <a:gd name="T20" fmla="*/ 15 w 17"/>
                    <a:gd name="T21" fmla="*/ 18 h 18"/>
                    <a:gd name="T22" fmla="*/ 6 w 17"/>
                    <a:gd name="T23" fmla="*/ 9 h 18"/>
                    <a:gd name="T24" fmla="*/ 13 w 17"/>
                    <a:gd name="T25" fmla="*/ 13 h 18"/>
                    <a:gd name="T26" fmla="*/ 13 w 17"/>
                    <a:gd name="T27" fmla="*/ 6 h 18"/>
                    <a:gd name="T28" fmla="*/ 6 w 17"/>
                    <a:gd name="T29" fmla="*/ 9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8">
                      <a:moveTo>
                        <a:pt x="15" y="18"/>
                      </a:move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1"/>
                        <a:pt x="0" y="10"/>
                        <a:pt x="0" y="9"/>
                      </a:cubicBezTo>
                      <a:cubicBezTo>
                        <a:pt x="0" y="9"/>
                        <a:pt x="1" y="8"/>
                        <a:pt x="1" y="8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4" y="0"/>
                        <a:pt x="15" y="0"/>
                        <a:pt x="16" y="1"/>
                      </a:cubicBezTo>
                      <a:cubicBezTo>
                        <a:pt x="16" y="1"/>
                        <a:pt x="17" y="2"/>
                        <a:pt x="17" y="2"/>
                      </a:cubicBezTo>
                      <a:cubicBezTo>
                        <a:pt x="17" y="16"/>
                        <a:pt x="17" y="16"/>
                        <a:pt x="17" y="16"/>
                      </a:cubicBezTo>
                      <a:cubicBezTo>
                        <a:pt x="17" y="17"/>
                        <a:pt x="16" y="18"/>
                        <a:pt x="16" y="18"/>
                      </a:cubicBezTo>
                      <a:cubicBezTo>
                        <a:pt x="15" y="18"/>
                        <a:pt x="15" y="18"/>
                        <a:pt x="15" y="18"/>
                      </a:cubicBezTo>
                      <a:close/>
                      <a:moveTo>
                        <a:pt x="6" y="9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3" y="6"/>
                        <a:pt x="13" y="6"/>
                        <a:pt x="13" y="6"/>
                      </a:cubicBez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9" name="Freeform 902">
                  <a:extLst>
                    <a:ext uri="{FF2B5EF4-FFF2-40B4-BE49-F238E27FC236}">
                      <a16:creationId xmlns:a16="http://schemas.microsoft.com/office/drawing/2014/main" id="{1227642E-A87C-4733-A617-5F0316A53A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3376"/>
                  <a:ext cx="312" cy="489"/>
                </a:xfrm>
                <a:custGeom>
                  <a:avLst/>
                  <a:gdLst>
                    <a:gd name="T0" fmla="*/ 120 w 132"/>
                    <a:gd name="T1" fmla="*/ 207 h 207"/>
                    <a:gd name="T2" fmla="*/ 119 w 132"/>
                    <a:gd name="T3" fmla="*/ 207 h 207"/>
                    <a:gd name="T4" fmla="*/ 46 w 132"/>
                    <a:gd name="T5" fmla="*/ 165 h 207"/>
                    <a:gd name="T6" fmla="*/ 45 w 132"/>
                    <a:gd name="T7" fmla="*/ 163 h 207"/>
                    <a:gd name="T8" fmla="*/ 46 w 132"/>
                    <a:gd name="T9" fmla="*/ 161 h 207"/>
                    <a:gd name="T10" fmla="*/ 1 w 132"/>
                    <a:gd name="T11" fmla="*/ 135 h 207"/>
                    <a:gd name="T12" fmla="*/ 0 w 132"/>
                    <a:gd name="T13" fmla="*/ 134 h 207"/>
                    <a:gd name="T14" fmla="*/ 0 w 132"/>
                    <a:gd name="T15" fmla="*/ 109 h 207"/>
                    <a:gd name="T16" fmla="*/ 1 w 132"/>
                    <a:gd name="T17" fmla="*/ 107 h 207"/>
                    <a:gd name="T18" fmla="*/ 21 w 132"/>
                    <a:gd name="T19" fmla="*/ 95 h 207"/>
                    <a:gd name="T20" fmla="*/ 21 w 132"/>
                    <a:gd name="T21" fmla="*/ 2 h 207"/>
                    <a:gd name="T22" fmla="*/ 22 w 132"/>
                    <a:gd name="T23" fmla="*/ 0 h 207"/>
                    <a:gd name="T24" fmla="*/ 24 w 132"/>
                    <a:gd name="T25" fmla="*/ 0 h 207"/>
                    <a:gd name="T26" fmla="*/ 114 w 132"/>
                    <a:gd name="T27" fmla="*/ 52 h 207"/>
                    <a:gd name="T28" fmla="*/ 115 w 132"/>
                    <a:gd name="T29" fmla="*/ 51 h 207"/>
                    <a:gd name="T30" fmla="*/ 117 w 132"/>
                    <a:gd name="T31" fmla="*/ 51 h 207"/>
                    <a:gd name="T32" fmla="*/ 131 w 132"/>
                    <a:gd name="T33" fmla="*/ 59 h 207"/>
                    <a:gd name="T34" fmla="*/ 132 w 132"/>
                    <a:gd name="T35" fmla="*/ 61 h 207"/>
                    <a:gd name="T36" fmla="*/ 131 w 132"/>
                    <a:gd name="T37" fmla="*/ 62 h 207"/>
                    <a:gd name="T38" fmla="*/ 122 w 132"/>
                    <a:gd name="T39" fmla="*/ 68 h 207"/>
                    <a:gd name="T40" fmla="*/ 122 w 132"/>
                    <a:gd name="T41" fmla="*/ 205 h 207"/>
                    <a:gd name="T42" fmla="*/ 121 w 132"/>
                    <a:gd name="T43" fmla="*/ 207 h 207"/>
                    <a:gd name="T44" fmla="*/ 120 w 132"/>
                    <a:gd name="T45" fmla="*/ 207 h 207"/>
                    <a:gd name="T46" fmla="*/ 51 w 132"/>
                    <a:gd name="T47" fmla="*/ 163 h 207"/>
                    <a:gd name="T48" fmla="*/ 118 w 132"/>
                    <a:gd name="T49" fmla="*/ 202 h 207"/>
                    <a:gd name="T50" fmla="*/ 118 w 132"/>
                    <a:gd name="T51" fmla="*/ 67 h 207"/>
                    <a:gd name="T52" fmla="*/ 119 w 132"/>
                    <a:gd name="T53" fmla="*/ 65 h 207"/>
                    <a:gd name="T54" fmla="*/ 126 w 132"/>
                    <a:gd name="T55" fmla="*/ 61 h 207"/>
                    <a:gd name="T56" fmla="*/ 118 w 132"/>
                    <a:gd name="T57" fmla="*/ 56 h 207"/>
                    <a:gd name="T58" fmla="*/ 117 w 132"/>
                    <a:gd name="T59" fmla="*/ 58 h 207"/>
                    <a:gd name="T60" fmla="*/ 115 w 132"/>
                    <a:gd name="T61" fmla="*/ 58 h 207"/>
                    <a:gd name="T62" fmla="*/ 25 w 132"/>
                    <a:gd name="T63" fmla="*/ 6 h 207"/>
                    <a:gd name="T64" fmla="*/ 25 w 132"/>
                    <a:gd name="T65" fmla="*/ 96 h 207"/>
                    <a:gd name="T66" fmla="*/ 24 w 132"/>
                    <a:gd name="T67" fmla="*/ 98 h 207"/>
                    <a:gd name="T68" fmla="*/ 4 w 132"/>
                    <a:gd name="T69" fmla="*/ 110 h 207"/>
                    <a:gd name="T70" fmla="*/ 4 w 132"/>
                    <a:gd name="T71" fmla="*/ 132 h 207"/>
                    <a:gd name="T72" fmla="*/ 51 w 132"/>
                    <a:gd name="T73" fmla="*/ 160 h 207"/>
                    <a:gd name="T74" fmla="*/ 52 w 132"/>
                    <a:gd name="T75" fmla="*/ 161 h 207"/>
                    <a:gd name="T76" fmla="*/ 51 w 132"/>
                    <a:gd name="T77" fmla="*/ 163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32" h="207">
                      <a:moveTo>
                        <a:pt x="120" y="207"/>
                      </a:moveTo>
                      <a:cubicBezTo>
                        <a:pt x="120" y="207"/>
                        <a:pt x="119" y="207"/>
                        <a:pt x="119" y="207"/>
                      </a:cubicBezTo>
                      <a:cubicBezTo>
                        <a:pt x="46" y="165"/>
                        <a:pt x="46" y="165"/>
                        <a:pt x="46" y="165"/>
                      </a:cubicBezTo>
                      <a:cubicBezTo>
                        <a:pt x="46" y="165"/>
                        <a:pt x="45" y="164"/>
                        <a:pt x="45" y="163"/>
                      </a:cubicBezTo>
                      <a:cubicBezTo>
                        <a:pt x="45" y="162"/>
                        <a:pt x="46" y="162"/>
                        <a:pt x="46" y="161"/>
                      </a:cubicBezTo>
                      <a:cubicBezTo>
                        <a:pt x="1" y="135"/>
                        <a:pt x="1" y="135"/>
                        <a:pt x="1" y="135"/>
                      </a:cubicBezTo>
                      <a:cubicBezTo>
                        <a:pt x="0" y="135"/>
                        <a:pt x="0" y="134"/>
                        <a:pt x="0" y="134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08"/>
                        <a:pt x="0" y="107"/>
                        <a:pt x="1" y="107"/>
                      </a:cubicBezTo>
                      <a:cubicBezTo>
                        <a:pt x="21" y="95"/>
                        <a:pt x="21" y="95"/>
                        <a:pt x="21" y="95"/>
                      </a:cubicBezTo>
                      <a:cubicBezTo>
                        <a:pt x="21" y="2"/>
                        <a:pt x="21" y="2"/>
                        <a:pt x="21" y="2"/>
                      </a:cubicBezTo>
                      <a:cubicBezTo>
                        <a:pt x="21" y="1"/>
                        <a:pt x="22" y="1"/>
                        <a:pt x="22" y="0"/>
                      </a:cubicBezTo>
                      <a:cubicBezTo>
                        <a:pt x="23" y="0"/>
                        <a:pt x="24" y="0"/>
                        <a:pt x="24" y="0"/>
                      </a:cubicBezTo>
                      <a:cubicBezTo>
                        <a:pt x="114" y="52"/>
                        <a:pt x="114" y="52"/>
                        <a:pt x="114" y="52"/>
                      </a:cubicBezTo>
                      <a:cubicBezTo>
                        <a:pt x="114" y="52"/>
                        <a:pt x="115" y="51"/>
                        <a:pt x="115" y="51"/>
                      </a:cubicBezTo>
                      <a:cubicBezTo>
                        <a:pt x="116" y="50"/>
                        <a:pt x="117" y="50"/>
                        <a:pt x="117" y="51"/>
                      </a:cubicBezTo>
                      <a:cubicBezTo>
                        <a:pt x="131" y="59"/>
                        <a:pt x="131" y="59"/>
                        <a:pt x="131" y="59"/>
                      </a:cubicBezTo>
                      <a:cubicBezTo>
                        <a:pt x="132" y="59"/>
                        <a:pt x="132" y="60"/>
                        <a:pt x="132" y="61"/>
                      </a:cubicBezTo>
                      <a:cubicBezTo>
                        <a:pt x="132" y="61"/>
                        <a:pt x="132" y="62"/>
                        <a:pt x="131" y="62"/>
                      </a:cubicBezTo>
                      <a:cubicBezTo>
                        <a:pt x="122" y="68"/>
                        <a:pt x="122" y="68"/>
                        <a:pt x="122" y="68"/>
                      </a:cubicBezTo>
                      <a:cubicBezTo>
                        <a:pt x="122" y="205"/>
                        <a:pt x="122" y="205"/>
                        <a:pt x="122" y="205"/>
                      </a:cubicBezTo>
                      <a:cubicBezTo>
                        <a:pt x="122" y="206"/>
                        <a:pt x="122" y="207"/>
                        <a:pt x="121" y="207"/>
                      </a:cubicBezTo>
                      <a:cubicBezTo>
                        <a:pt x="121" y="207"/>
                        <a:pt x="120" y="207"/>
                        <a:pt x="120" y="207"/>
                      </a:cubicBezTo>
                      <a:close/>
                      <a:moveTo>
                        <a:pt x="51" y="163"/>
                      </a:moveTo>
                      <a:cubicBezTo>
                        <a:pt x="118" y="202"/>
                        <a:pt x="118" y="202"/>
                        <a:pt x="118" y="202"/>
                      </a:cubicBezTo>
                      <a:cubicBezTo>
                        <a:pt x="118" y="67"/>
                        <a:pt x="118" y="67"/>
                        <a:pt x="118" y="67"/>
                      </a:cubicBezTo>
                      <a:cubicBezTo>
                        <a:pt x="118" y="66"/>
                        <a:pt x="118" y="65"/>
                        <a:pt x="119" y="65"/>
                      </a:cubicBezTo>
                      <a:cubicBezTo>
                        <a:pt x="126" y="61"/>
                        <a:pt x="126" y="61"/>
                        <a:pt x="126" y="61"/>
                      </a:cubicBezTo>
                      <a:cubicBezTo>
                        <a:pt x="118" y="56"/>
                        <a:pt x="118" y="56"/>
                        <a:pt x="118" y="56"/>
                      </a:cubicBezTo>
                      <a:cubicBezTo>
                        <a:pt x="118" y="57"/>
                        <a:pt x="118" y="57"/>
                        <a:pt x="117" y="58"/>
                      </a:cubicBezTo>
                      <a:cubicBezTo>
                        <a:pt x="117" y="58"/>
                        <a:pt x="116" y="58"/>
                        <a:pt x="115" y="58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96"/>
                        <a:pt x="25" y="96"/>
                        <a:pt x="25" y="96"/>
                      </a:cubicBezTo>
                      <a:cubicBezTo>
                        <a:pt x="25" y="97"/>
                        <a:pt x="25" y="98"/>
                        <a:pt x="24" y="98"/>
                      </a:cubicBezTo>
                      <a:cubicBezTo>
                        <a:pt x="4" y="110"/>
                        <a:pt x="4" y="110"/>
                        <a:pt x="4" y="110"/>
                      </a:cubicBezTo>
                      <a:cubicBezTo>
                        <a:pt x="4" y="132"/>
                        <a:pt x="4" y="132"/>
                        <a:pt x="4" y="132"/>
                      </a:cubicBezTo>
                      <a:cubicBezTo>
                        <a:pt x="51" y="160"/>
                        <a:pt x="51" y="160"/>
                        <a:pt x="51" y="160"/>
                      </a:cubicBezTo>
                      <a:cubicBezTo>
                        <a:pt x="52" y="160"/>
                        <a:pt x="52" y="161"/>
                        <a:pt x="52" y="161"/>
                      </a:cubicBezTo>
                      <a:cubicBezTo>
                        <a:pt x="52" y="162"/>
                        <a:pt x="52" y="163"/>
                        <a:pt x="51" y="1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0" name="Freeform 903">
                  <a:extLst>
                    <a:ext uri="{FF2B5EF4-FFF2-40B4-BE49-F238E27FC236}">
                      <a16:creationId xmlns:a16="http://schemas.microsoft.com/office/drawing/2014/main" id="{AC404DEE-B080-48AB-B2FE-75B12FEE214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09" y="3319"/>
                  <a:ext cx="177" cy="161"/>
                </a:xfrm>
                <a:custGeom>
                  <a:avLst/>
                  <a:gdLst>
                    <a:gd name="T0" fmla="*/ 52 w 75"/>
                    <a:gd name="T1" fmla="*/ 68 h 68"/>
                    <a:gd name="T2" fmla="*/ 51 w 75"/>
                    <a:gd name="T3" fmla="*/ 67 h 68"/>
                    <a:gd name="T4" fmla="*/ 1 w 75"/>
                    <a:gd name="T5" fmla="*/ 38 h 68"/>
                    <a:gd name="T6" fmla="*/ 0 w 75"/>
                    <a:gd name="T7" fmla="*/ 37 h 68"/>
                    <a:gd name="T8" fmla="*/ 1 w 75"/>
                    <a:gd name="T9" fmla="*/ 35 h 68"/>
                    <a:gd name="T10" fmla="*/ 61 w 75"/>
                    <a:gd name="T11" fmla="*/ 0 h 68"/>
                    <a:gd name="T12" fmla="*/ 63 w 75"/>
                    <a:gd name="T13" fmla="*/ 0 h 68"/>
                    <a:gd name="T14" fmla="*/ 74 w 75"/>
                    <a:gd name="T15" fmla="*/ 7 h 68"/>
                    <a:gd name="T16" fmla="*/ 75 w 75"/>
                    <a:gd name="T17" fmla="*/ 9 h 68"/>
                    <a:gd name="T18" fmla="*/ 74 w 75"/>
                    <a:gd name="T19" fmla="*/ 11 h 68"/>
                    <a:gd name="T20" fmla="*/ 66 w 75"/>
                    <a:gd name="T21" fmla="*/ 16 h 68"/>
                    <a:gd name="T22" fmla="*/ 66 w 75"/>
                    <a:gd name="T23" fmla="*/ 59 h 68"/>
                    <a:gd name="T24" fmla="*/ 65 w 75"/>
                    <a:gd name="T25" fmla="*/ 60 h 68"/>
                    <a:gd name="T26" fmla="*/ 53 w 75"/>
                    <a:gd name="T27" fmla="*/ 67 h 68"/>
                    <a:gd name="T28" fmla="*/ 52 w 75"/>
                    <a:gd name="T29" fmla="*/ 68 h 68"/>
                    <a:gd name="T30" fmla="*/ 6 w 75"/>
                    <a:gd name="T31" fmla="*/ 37 h 68"/>
                    <a:gd name="T32" fmla="*/ 52 w 75"/>
                    <a:gd name="T33" fmla="*/ 63 h 68"/>
                    <a:gd name="T34" fmla="*/ 62 w 75"/>
                    <a:gd name="T35" fmla="*/ 57 h 68"/>
                    <a:gd name="T36" fmla="*/ 62 w 75"/>
                    <a:gd name="T37" fmla="*/ 15 h 68"/>
                    <a:gd name="T38" fmla="*/ 63 w 75"/>
                    <a:gd name="T39" fmla="*/ 13 h 68"/>
                    <a:gd name="T40" fmla="*/ 69 w 75"/>
                    <a:gd name="T41" fmla="*/ 9 h 68"/>
                    <a:gd name="T42" fmla="*/ 62 w 75"/>
                    <a:gd name="T43" fmla="*/ 4 h 68"/>
                    <a:gd name="T44" fmla="*/ 6 w 75"/>
                    <a:gd name="T45" fmla="*/ 37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5" h="68">
                      <a:moveTo>
                        <a:pt x="52" y="68"/>
                      </a:moveTo>
                      <a:cubicBezTo>
                        <a:pt x="51" y="68"/>
                        <a:pt x="51" y="67"/>
                        <a:pt x="51" y="67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1" y="0"/>
                        <a:pt x="62" y="0"/>
                        <a:pt x="63" y="0"/>
                      </a:cubicBezTo>
                      <a:cubicBezTo>
                        <a:pt x="74" y="7"/>
                        <a:pt x="74" y="7"/>
                        <a:pt x="74" y="7"/>
                      </a:cubicBezTo>
                      <a:cubicBezTo>
                        <a:pt x="75" y="8"/>
                        <a:pt x="75" y="8"/>
                        <a:pt x="75" y="9"/>
                      </a:cubicBezTo>
                      <a:cubicBezTo>
                        <a:pt x="75" y="10"/>
                        <a:pt x="75" y="10"/>
                        <a:pt x="74" y="11"/>
                      </a:cubicBezTo>
                      <a:cubicBezTo>
                        <a:pt x="66" y="16"/>
                        <a:pt x="66" y="16"/>
                        <a:pt x="66" y="16"/>
                      </a:cubicBezTo>
                      <a:cubicBezTo>
                        <a:pt x="66" y="59"/>
                        <a:pt x="66" y="59"/>
                        <a:pt x="66" y="59"/>
                      </a:cubicBezTo>
                      <a:cubicBezTo>
                        <a:pt x="66" y="59"/>
                        <a:pt x="65" y="60"/>
                        <a:pt x="65" y="60"/>
                      </a:cubicBezTo>
                      <a:cubicBezTo>
                        <a:pt x="53" y="67"/>
                        <a:pt x="53" y="67"/>
                        <a:pt x="53" y="67"/>
                      </a:cubicBezTo>
                      <a:cubicBezTo>
                        <a:pt x="52" y="67"/>
                        <a:pt x="52" y="68"/>
                        <a:pt x="52" y="68"/>
                      </a:cubicBezTo>
                      <a:close/>
                      <a:moveTo>
                        <a:pt x="6" y="37"/>
                      </a:moveTo>
                      <a:cubicBezTo>
                        <a:pt x="52" y="63"/>
                        <a:pt x="52" y="63"/>
                        <a:pt x="52" y="63"/>
                      </a:cubicBezTo>
                      <a:cubicBezTo>
                        <a:pt x="62" y="57"/>
                        <a:pt x="62" y="57"/>
                        <a:pt x="62" y="57"/>
                      </a:cubicBezTo>
                      <a:cubicBezTo>
                        <a:pt x="62" y="15"/>
                        <a:pt x="62" y="15"/>
                        <a:pt x="62" y="15"/>
                      </a:cubicBezTo>
                      <a:cubicBezTo>
                        <a:pt x="62" y="14"/>
                        <a:pt x="62" y="13"/>
                        <a:pt x="63" y="13"/>
                      </a:cubicBezTo>
                      <a:cubicBezTo>
                        <a:pt x="69" y="9"/>
                        <a:pt x="69" y="9"/>
                        <a:pt x="69" y="9"/>
                      </a:cubicBezTo>
                      <a:cubicBezTo>
                        <a:pt x="62" y="4"/>
                        <a:pt x="62" y="4"/>
                        <a:pt x="62" y="4"/>
                      </a:cubicBezTo>
                      <a:lnTo>
                        <a:pt x="6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1" name="Freeform 904">
                  <a:extLst>
                    <a:ext uri="{FF2B5EF4-FFF2-40B4-BE49-F238E27FC236}">
                      <a16:creationId xmlns:a16="http://schemas.microsoft.com/office/drawing/2014/main" id="{06F300A8-A44B-4D3B-AE84-DFDC4CCAD5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909" y="3022"/>
                  <a:ext cx="279" cy="311"/>
                </a:xfrm>
                <a:custGeom>
                  <a:avLst/>
                  <a:gdLst>
                    <a:gd name="T0" fmla="*/ 116 w 118"/>
                    <a:gd name="T1" fmla="*/ 132 h 132"/>
                    <a:gd name="T2" fmla="*/ 115 w 118"/>
                    <a:gd name="T3" fmla="*/ 132 h 132"/>
                    <a:gd name="T4" fmla="*/ 106 w 118"/>
                    <a:gd name="T5" fmla="*/ 127 h 132"/>
                    <a:gd name="T6" fmla="*/ 105 w 118"/>
                    <a:gd name="T7" fmla="*/ 128 h 132"/>
                    <a:gd name="T8" fmla="*/ 103 w 118"/>
                    <a:gd name="T9" fmla="*/ 128 h 132"/>
                    <a:gd name="T10" fmla="*/ 1 w 118"/>
                    <a:gd name="T11" fmla="*/ 69 h 132"/>
                    <a:gd name="T12" fmla="*/ 0 w 118"/>
                    <a:gd name="T13" fmla="*/ 68 h 132"/>
                    <a:gd name="T14" fmla="*/ 1 w 118"/>
                    <a:gd name="T15" fmla="*/ 66 h 132"/>
                    <a:gd name="T16" fmla="*/ 115 w 118"/>
                    <a:gd name="T17" fmla="*/ 0 h 132"/>
                    <a:gd name="T18" fmla="*/ 117 w 118"/>
                    <a:gd name="T19" fmla="*/ 0 h 132"/>
                    <a:gd name="T20" fmla="*/ 118 w 118"/>
                    <a:gd name="T21" fmla="*/ 2 h 132"/>
                    <a:gd name="T22" fmla="*/ 118 w 118"/>
                    <a:gd name="T23" fmla="*/ 130 h 132"/>
                    <a:gd name="T24" fmla="*/ 117 w 118"/>
                    <a:gd name="T25" fmla="*/ 132 h 132"/>
                    <a:gd name="T26" fmla="*/ 116 w 118"/>
                    <a:gd name="T27" fmla="*/ 132 h 132"/>
                    <a:gd name="T28" fmla="*/ 106 w 118"/>
                    <a:gd name="T29" fmla="*/ 123 h 132"/>
                    <a:gd name="T30" fmla="*/ 107 w 118"/>
                    <a:gd name="T31" fmla="*/ 123 h 132"/>
                    <a:gd name="T32" fmla="*/ 114 w 118"/>
                    <a:gd name="T33" fmla="*/ 127 h 132"/>
                    <a:gd name="T34" fmla="*/ 114 w 118"/>
                    <a:gd name="T35" fmla="*/ 5 h 132"/>
                    <a:gd name="T36" fmla="*/ 6 w 118"/>
                    <a:gd name="T37" fmla="*/ 68 h 132"/>
                    <a:gd name="T38" fmla="*/ 104 w 118"/>
                    <a:gd name="T39" fmla="*/ 124 h 132"/>
                    <a:gd name="T40" fmla="*/ 105 w 118"/>
                    <a:gd name="T41" fmla="*/ 123 h 132"/>
                    <a:gd name="T42" fmla="*/ 106 w 118"/>
                    <a:gd name="T43" fmla="*/ 123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18" h="132">
                      <a:moveTo>
                        <a:pt x="116" y="132"/>
                      </a:moveTo>
                      <a:cubicBezTo>
                        <a:pt x="116" y="132"/>
                        <a:pt x="116" y="132"/>
                        <a:pt x="115" y="132"/>
                      </a:cubicBezTo>
                      <a:cubicBezTo>
                        <a:pt x="106" y="127"/>
                        <a:pt x="106" y="127"/>
                        <a:pt x="106" y="127"/>
                      </a:cubicBezTo>
                      <a:cubicBezTo>
                        <a:pt x="105" y="128"/>
                        <a:pt x="105" y="128"/>
                        <a:pt x="105" y="128"/>
                      </a:cubicBezTo>
                      <a:cubicBezTo>
                        <a:pt x="104" y="128"/>
                        <a:pt x="103" y="128"/>
                        <a:pt x="103" y="128"/>
                      </a:cubicBezTo>
                      <a:cubicBezTo>
                        <a:pt x="1" y="69"/>
                        <a:pt x="1" y="69"/>
                        <a:pt x="1" y="69"/>
                      </a:cubicBezTo>
                      <a:cubicBezTo>
                        <a:pt x="0" y="69"/>
                        <a:pt x="0" y="68"/>
                        <a:pt x="0" y="68"/>
                      </a:cubicBezTo>
                      <a:cubicBezTo>
                        <a:pt x="0" y="67"/>
                        <a:pt x="0" y="66"/>
                        <a:pt x="1" y="66"/>
                      </a:cubicBezTo>
                      <a:cubicBezTo>
                        <a:pt x="115" y="0"/>
                        <a:pt x="115" y="0"/>
                        <a:pt x="115" y="0"/>
                      </a:cubicBezTo>
                      <a:cubicBezTo>
                        <a:pt x="116" y="0"/>
                        <a:pt x="117" y="0"/>
                        <a:pt x="117" y="0"/>
                      </a:cubicBezTo>
                      <a:cubicBezTo>
                        <a:pt x="118" y="0"/>
                        <a:pt x="118" y="1"/>
                        <a:pt x="118" y="2"/>
                      </a:cubicBezTo>
                      <a:cubicBezTo>
                        <a:pt x="118" y="130"/>
                        <a:pt x="118" y="130"/>
                        <a:pt x="118" y="130"/>
                      </a:cubicBezTo>
                      <a:cubicBezTo>
                        <a:pt x="118" y="131"/>
                        <a:pt x="118" y="132"/>
                        <a:pt x="117" y="132"/>
                      </a:cubicBezTo>
                      <a:cubicBezTo>
                        <a:pt x="117" y="132"/>
                        <a:pt x="117" y="132"/>
                        <a:pt x="116" y="132"/>
                      </a:cubicBezTo>
                      <a:close/>
                      <a:moveTo>
                        <a:pt x="106" y="123"/>
                      </a:moveTo>
                      <a:cubicBezTo>
                        <a:pt x="107" y="123"/>
                        <a:pt x="107" y="123"/>
                        <a:pt x="107" y="123"/>
                      </a:cubicBezTo>
                      <a:cubicBezTo>
                        <a:pt x="114" y="127"/>
                        <a:pt x="114" y="127"/>
                        <a:pt x="114" y="127"/>
                      </a:cubicBezTo>
                      <a:cubicBezTo>
                        <a:pt x="114" y="5"/>
                        <a:pt x="114" y="5"/>
                        <a:pt x="114" y="5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104" y="124"/>
                        <a:pt x="104" y="124"/>
                        <a:pt x="104" y="124"/>
                      </a:cubicBezTo>
                      <a:cubicBezTo>
                        <a:pt x="105" y="123"/>
                        <a:pt x="105" y="123"/>
                        <a:pt x="105" y="123"/>
                      </a:cubicBezTo>
                      <a:cubicBezTo>
                        <a:pt x="106" y="123"/>
                        <a:pt x="106" y="123"/>
                        <a:pt x="106" y="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2" name="Freeform 905">
                  <a:extLst>
                    <a:ext uri="{FF2B5EF4-FFF2-40B4-BE49-F238E27FC236}">
                      <a16:creationId xmlns:a16="http://schemas.microsoft.com/office/drawing/2014/main" id="{1DCDB50D-B5FF-4508-BB47-AC8A3F8F59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35" y="3473"/>
                  <a:ext cx="146" cy="144"/>
                </a:xfrm>
                <a:custGeom>
                  <a:avLst/>
                  <a:gdLst>
                    <a:gd name="T0" fmla="*/ 60 w 62"/>
                    <a:gd name="T1" fmla="*/ 61 h 61"/>
                    <a:gd name="T2" fmla="*/ 59 w 62"/>
                    <a:gd name="T3" fmla="*/ 60 h 61"/>
                    <a:gd name="T4" fmla="*/ 1 w 62"/>
                    <a:gd name="T5" fmla="*/ 27 h 61"/>
                    <a:gd name="T6" fmla="*/ 0 w 62"/>
                    <a:gd name="T7" fmla="*/ 25 h 61"/>
                    <a:gd name="T8" fmla="*/ 1 w 62"/>
                    <a:gd name="T9" fmla="*/ 23 h 61"/>
                    <a:gd name="T10" fmla="*/ 40 w 62"/>
                    <a:gd name="T11" fmla="*/ 1 h 61"/>
                    <a:gd name="T12" fmla="*/ 42 w 62"/>
                    <a:gd name="T13" fmla="*/ 1 h 61"/>
                    <a:gd name="T14" fmla="*/ 54 w 62"/>
                    <a:gd name="T15" fmla="*/ 8 h 61"/>
                    <a:gd name="T16" fmla="*/ 55 w 62"/>
                    <a:gd name="T17" fmla="*/ 9 h 61"/>
                    <a:gd name="T18" fmla="*/ 55 w 62"/>
                    <a:gd name="T19" fmla="*/ 24 h 61"/>
                    <a:gd name="T20" fmla="*/ 59 w 62"/>
                    <a:gd name="T21" fmla="*/ 21 h 61"/>
                    <a:gd name="T22" fmla="*/ 61 w 62"/>
                    <a:gd name="T23" fmla="*/ 21 h 61"/>
                    <a:gd name="T24" fmla="*/ 62 w 62"/>
                    <a:gd name="T25" fmla="*/ 23 h 61"/>
                    <a:gd name="T26" fmla="*/ 62 w 62"/>
                    <a:gd name="T27" fmla="*/ 59 h 61"/>
                    <a:gd name="T28" fmla="*/ 61 w 62"/>
                    <a:gd name="T29" fmla="*/ 60 h 61"/>
                    <a:gd name="T30" fmla="*/ 60 w 62"/>
                    <a:gd name="T31" fmla="*/ 61 h 61"/>
                    <a:gd name="T32" fmla="*/ 6 w 62"/>
                    <a:gd name="T33" fmla="*/ 25 h 61"/>
                    <a:gd name="T34" fmla="*/ 58 w 62"/>
                    <a:gd name="T35" fmla="*/ 55 h 61"/>
                    <a:gd name="T36" fmla="*/ 58 w 62"/>
                    <a:gd name="T37" fmla="*/ 26 h 61"/>
                    <a:gd name="T38" fmla="*/ 54 w 62"/>
                    <a:gd name="T39" fmla="*/ 29 h 61"/>
                    <a:gd name="T40" fmla="*/ 52 w 62"/>
                    <a:gd name="T41" fmla="*/ 29 h 61"/>
                    <a:gd name="T42" fmla="*/ 51 w 62"/>
                    <a:gd name="T43" fmla="*/ 27 h 61"/>
                    <a:gd name="T44" fmla="*/ 51 w 62"/>
                    <a:gd name="T45" fmla="*/ 11 h 61"/>
                    <a:gd name="T46" fmla="*/ 41 w 62"/>
                    <a:gd name="T47" fmla="*/ 5 h 61"/>
                    <a:gd name="T48" fmla="*/ 6 w 62"/>
                    <a:gd name="T49" fmla="*/ 25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2" h="61">
                      <a:moveTo>
                        <a:pt x="60" y="61"/>
                      </a:moveTo>
                      <a:cubicBezTo>
                        <a:pt x="60" y="61"/>
                        <a:pt x="60" y="61"/>
                        <a:pt x="59" y="60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0" y="26"/>
                        <a:pt x="0" y="26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40" y="0"/>
                        <a:pt x="41" y="0"/>
                        <a:pt x="42" y="1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8"/>
                        <a:pt x="55" y="9"/>
                        <a:pt x="55" y="9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60" y="21"/>
                        <a:pt x="61" y="21"/>
                        <a:pt x="61" y="21"/>
                      </a:cubicBezTo>
                      <a:cubicBezTo>
                        <a:pt x="62" y="22"/>
                        <a:pt x="62" y="22"/>
                        <a:pt x="62" y="23"/>
                      </a:cubicBezTo>
                      <a:cubicBezTo>
                        <a:pt x="62" y="59"/>
                        <a:pt x="62" y="59"/>
                        <a:pt x="62" y="59"/>
                      </a:cubicBezTo>
                      <a:cubicBezTo>
                        <a:pt x="62" y="59"/>
                        <a:pt x="62" y="60"/>
                        <a:pt x="61" y="60"/>
                      </a:cubicBezTo>
                      <a:cubicBezTo>
                        <a:pt x="61" y="61"/>
                        <a:pt x="61" y="61"/>
                        <a:pt x="60" y="61"/>
                      </a:cubicBezTo>
                      <a:close/>
                      <a:moveTo>
                        <a:pt x="6" y="25"/>
                      </a:moveTo>
                      <a:cubicBezTo>
                        <a:pt x="58" y="55"/>
                        <a:pt x="58" y="55"/>
                        <a:pt x="58" y="55"/>
                      </a:cubicBezTo>
                      <a:cubicBezTo>
                        <a:pt x="58" y="26"/>
                        <a:pt x="58" y="26"/>
                        <a:pt x="58" y="26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53" y="30"/>
                        <a:pt x="52" y="30"/>
                        <a:pt x="52" y="29"/>
                      </a:cubicBezTo>
                      <a:cubicBezTo>
                        <a:pt x="51" y="29"/>
                        <a:pt x="51" y="28"/>
                        <a:pt x="51" y="27"/>
                      </a:cubicBezTo>
                      <a:cubicBezTo>
                        <a:pt x="51" y="11"/>
                        <a:pt x="51" y="11"/>
                        <a:pt x="51" y="11"/>
                      </a:cubicBezTo>
                      <a:cubicBezTo>
                        <a:pt x="41" y="5"/>
                        <a:pt x="41" y="5"/>
                        <a:pt x="41" y="5"/>
                      </a:cubicBezTo>
                      <a:lnTo>
                        <a:pt x="6" y="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3" name="Freeform 906">
                  <a:extLst>
                    <a:ext uri="{FF2B5EF4-FFF2-40B4-BE49-F238E27FC236}">
                      <a16:creationId xmlns:a16="http://schemas.microsoft.com/office/drawing/2014/main" id="{AD318160-582B-4D03-94B3-2F8EB1B81A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0" y="120"/>
                  <a:ext cx="3963" cy="4319"/>
                </a:xfrm>
                <a:custGeom>
                  <a:avLst/>
                  <a:gdLst>
                    <a:gd name="T0" fmla="*/ 446 w 1678"/>
                    <a:gd name="T1" fmla="*/ 1596 h 1828"/>
                    <a:gd name="T2" fmla="*/ 351 w 1678"/>
                    <a:gd name="T3" fmla="*/ 1542 h 1828"/>
                    <a:gd name="T4" fmla="*/ 220 w 1678"/>
                    <a:gd name="T5" fmla="*/ 1391 h 1828"/>
                    <a:gd name="T6" fmla="*/ 33 w 1678"/>
                    <a:gd name="T7" fmla="*/ 1059 h 1828"/>
                    <a:gd name="T8" fmla="*/ 316 w 1678"/>
                    <a:gd name="T9" fmla="*/ 1221 h 1828"/>
                    <a:gd name="T10" fmla="*/ 221 w 1678"/>
                    <a:gd name="T11" fmla="*/ 1127 h 1828"/>
                    <a:gd name="T12" fmla="*/ 294 w 1678"/>
                    <a:gd name="T13" fmla="*/ 914 h 1828"/>
                    <a:gd name="T14" fmla="*/ 218 w 1678"/>
                    <a:gd name="T15" fmla="*/ 721 h 1828"/>
                    <a:gd name="T16" fmla="*/ 152 w 1678"/>
                    <a:gd name="T17" fmla="*/ 531 h 1828"/>
                    <a:gd name="T18" fmla="*/ 299 w 1678"/>
                    <a:gd name="T19" fmla="*/ 332 h 1828"/>
                    <a:gd name="T20" fmla="*/ 554 w 1678"/>
                    <a:gd name="T21" fmla="*/ 140 h 1828"/>
                    <a:gd name="T22" fmla="*/ 778 w 1678"/>
                    <a:gd name="T23" fmla="*/ 57 h 1828"/>
                    <a:gd name="T24" fmla="*/ 829 w 1678"/>
                    <a:gd name="T25" fmla="*/ 216 h 1828"/>
                    <a:gd name="T26" fmla="*/ 888 w 1678"/>
                    <a:gd name="T27" fmla="*/ 246 h 1828"/>
                    <a:gd name="T28" fmla="*/ 1188 w 1678"/>
                    <a:gd name="T29" fmla="*/ 112 h 1828"/>
                    <a:gd name="T30" fmla="*/ 1491 w 1678"/>
                    <a:gd name="T31" fmla="*/ 218 h 1828"/>
                    <a:gd name="T32" fmla="*/ 1433 w 1678"/>
                    <a:gd name="T33" fmla="*/ 281 h 1828"/>
                    <a:gd name="T34" fmla="*/ 1569 w 1678"/>
                    <a:gd name="T35" fmla="*/ 477 h 1828"/>
                    <a:gd name="T36" fmla="*/ 1630 w 1678"/>
                    <a:gd name="T37" fmla="*/ 642 h 1828"/>
                    <a:gd name="T38" fmla="*/ 1474 w 1678"/>
                    <a:gd name="T39" fmla="*/ 611 h 1828"/>
                    <a:gd name="T40" fmla="*/ 1677 w 1678"/>
                    <a:gd name="T41" fmla="*/ 846 h 1828"/>
                    <a:gd name="T42" fmla="*/ 1503 w 1678"/>
                    <a:gd name="T43" fmla="*/ 1099 h 1828"/>
                    <a:gd name="T44" fmla="*/ 1474 w 1678"/>
                    <a:gd name="T45" fmla="*/ 1216 h 1828"/>
                    <a:gd name="T46" fmla="*/ 1338 w 1678"/>
                    <a:gd name="T47" fmla="*/ 1216 h 1828"/>
                    <a:gd name="T48" fmla="*/ 1094 w 1678"/>
                    <a:gd name="T49" fmla="*/ 1323 h 1828"/>
                    <a:gd name="T50" fmla="*/ 1071 w 1678"/>
                    <a:gd name="T51" fmla="*/ 1476 h 1828"/>
                    <a:gd name="T52" fmla="*/ 816 w 1678"/>
                    <a:gd name="T53" fmla="*/ 1523 h 1828"/>
                    <a:gd name="T54" fmla="*/ 553 w 1678"/>
                    <a:gd name="T55" fmla="*/ 1673 h 1828"/>
                    <a:gd name="T56" fmla="*/ 684 w 1678"/>
                    <a:gd name="T57" fmla="*/ 1585 h 1828"/>
                    <a:gd name="T58" fmla="*/ 931 w 1678"/>
                    <a:gd name="T59" fmla="*/ 1440 h 1828"/>
                    <a:gd name="T60" fmla="*/ 1068 w 1678"/>
                    <a:gd name="T61" fmla="*/ 1352 h 1828"/>
                    <a:gd name="T62" fmla="*/ 1311 w 1678"/>
                    <a:gd name="T63" fmla="*/ 1213 h 1828"/>
                    <a:gd name="T64" fmla="*/ 1470 w 1678"/>
                    <a:gd name="T65" fmla="*/ 1292 h 1828"/>
                    <a:gd name="T66" fmla="*/ 1510 w 1678"/>
                    <a:gd name="T67" fmla="*/ 1167 h 1828"/>
                    <a:gd name="T68" fmla="*/ 1554 w 1678"/>
                    <a:gd name="T69" fmla="*/ 913 h 1828"/>
                    <a:gd name="T70" fmla="*/ 1487 w 1678"/>
                    <a:gd name="T71" fmla="*/ 681 h 1828"/>
                    <a:gd name="T72" fmla="*/ 1488 w 1678"/>
                    <a:gd name="T73" fmla="*/ 601 h 1828"/>
                    <a:gd name="T74" fmla="*/ 1601 w 1678"/>
                    <a:gd name="T75" fmla="*/ 537 h 1828"/>
                    <a:gd name="T76" fmla="*/ 1536 w 1678"/>
                    <a:gd name="T77" fmla="*/ 461 h 1828"/>
                    <a:gd name="T78" fmla="*/ 1311 w 1678"/>
                    <a:gd name="T79" fmla="*/ 352 h 1828"/>
                    <a:gd name="T80" fmla="*/ 1342 w 1678"/>
                    <a:gd name="T81" fmla="*/ 152 h 1828"/>
                    <a:gd name="T82" fmla="*/ 1060 w 1678"/>
                    <a:gd name="T83" fmla="*/ 41 h 1828"/>
                    <a:gd name="T84" fmla="*/ 888 w 1678"/>
                    <a:gd name="T85" fmla="*/ 260 h 1828"/>
                    <a:gd name="T86" fmla="*/ 822 w 1678"/>
                    <a:gd name="T87" fmla="*/ 216 h 1828"/>
                    <a:gd name="T88" fmla="*/ 702 w 1678"/>
                    <a:gd name="T89" fmla="*/ 104 h 1828"/>
                    <a:gd name="T90" fmla="*/ 422 w 1678"/>
                    <a:gd name="T91" fmla="*/ 220 h 1828"/>
                    <a:gd name="T92" fmla="*/ 295 w 1678"/>
                    <a:gd name="T93" fmla="*/ 333 h 1828"/>
                    <a:gd name="T94" fmla="*/ 297 w 1678"/>
                    <a:gd name="T95" fmla="*/ 479 h 1828"/>
                    <a:gd name="T96" fmla="*/ 245 w 1678"/>
                    <a:gd name="T97" fmla="*/ 858 h 1828"/>
                    <a:gd name="T98" fmla="*/ 316 w 1678"/>
                    <a:gd name="T99" fmla="*/ 930 h 1828"/>
                    <a:gd name="T100" fmla="*/ 424 w 1678"/>
                    <a:gd name="T101" fmla="*/ 1146 h 1828"/>
                    <a:gd name="T102" fmla="*/ 564 w 1678"/>
                    <a:gd name="T103" fmla="*/ 1416 h 1828"/>
                    <a:gd name="T104" fmla="*/ 484 w 1678"/>
                    <a:gd name="T105" fmla="*/ 1333 h 1828"/>
                    <a:gd name="T106" fmla="*/ 359 w 1678"/>
                    <a:gd name="T107" fmla="*/ 1478 h 1828"/>
                    <a:gd name="T108" fmla="*/ 303 w 1678"/>
                    <a:gd name="T109" fmla="*/ 1362 h 1828"/>
                    <a:gd name="T110" fmla="*/ 168 w 1678"/>
                    <a:gd name="T111" fmla="*/ 1137 h 1828"/>
                    <a:gd name="T112" fmla="*/ 275 w 1678"/>
                    <a:gd name="T113" fmla="*/ 1419 h 1828"/>
                    <a:gd name="T114" fmla="*/ 355 w 1678"/>
                    <a:gd name="T115" fmla="*/ 1557 h 1828"/>
                    <a:gd name="T116" fmla="*/ 362 w 1678"/>
                    <a:gd name="T117" fmla="*/ 1467 h 1828"/>
                    <a:gd name="T118" fmla="*/ 356 w 1678"/>
                    <a:gd name="T119" fmla="*/ 1409 h 1828"/>
                    <a:gd name="T120" fmla="*/ 560 w 1678"/>
                    <a:gd name="T121" fmla="*/ 1415 h 1828"/>
                    <a:gd name="T122" fmla="*/ 488 w 1678"/>
                    <a:gd name="T123" fmla="*/ 1408 h 1828"/>
                    <a:gd name="T124" fmla="*/ 1504 w 1678"/>
                    <a:gd name="T125" fmla="*/ 519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78" h="1828">
                      <a:moveTo>
                        <a:pt x="551" y="1828"/>
                      </a:moveTo>
                      <a:cubicBezTo>
                        <a:pt x="550" y="1828"/>
                        <a:pt x="550" y="1828"/>
                        <a:pt x="550" y="1827"/>
                      </a:cubicBezTo>
                      <a:cubicBezTo>
                        <a:pt x="549" y="1827"/>
                        <a:pt x="549" y="1826"/>
                        <a:pt x="549" y="1826"/>
                      </a:cubicBezTo>
                      <a:cubicBezTo>
                        <a:pt x="549" y="1672"/>
                        <a:pt x="549" y="1672"/>
                        <a:pt x="549" y="1672"/>
                      </a:cubicBezTo>
                      <a:cubicBezTo>
                        <a:pt x="549" y="1671"/>
                        <a:pt x="549" y="1671"/>
                        <a:pt x="550" y="1670"/>
                      </a:cubicBezTo>
                      <a:cubicBezTo>
                        <a:pt x="680" y="1595"/>
                        <a:pt x="680" y="1595"/>
                        <a:pt x="680" y="1595"/>
                      </a:cubicBezTo>
                      <a:cubicBezTo>
                        <a:pt x="680" y="1586"/>
                        <a:pt x="680" y="1586"/>
                        <a:pt x="680" y="1586"/>
                      </a:cubicBezTo>
                      <a:cubicBezTo>
                        <a:pt x="608" y="1544"/>
                        <a:pt x="608" y="1544"/>
                        <a:pt x="608" y="1544"/>
                      </a:cubicBezTo>
                      <a:cubicBezTo>
                        <a:pt x="483" y="1617"/>
                        <a:pt x="483" y="1617"/>
                        <a:pt x="483" y="1617"/>
                      </a:cubicBezTo>
                      <a:cubicBezTo>
                        <a:pt x="482" y="1617"/>
                        <a:pt x="481" y="1617"/>
                        <a:pt x="481" y="1617"/>
                      </a:cubicBezTo>
                      <a:cubicBezTo>
                        <a:pt x="446" y="1596"/>
                        <a:pt x="446" y="1596"/>
                        <a:pt x="446" y="1596"/>
                      </a:cubicBezTo>
                      <a:cubicBezTo>
                        <a:pt x="421" y="1611"/>
                        <a:pt x="421" y="1611"/>
                        <a:pt x="421" y="1611"/>
                      </a:cubicBezTo>
                      <a:cubicBezTo>
                        <a:pt x="420" y="1611"/>
                        <a:pt x="420" y="1611"/>
                        <a:pt x="419" y="1611"/>
                      </a:cubicBezTo>
                      <a:cubicBezTo>
                        <a:pt x="350" y="1571"/>
                        <a:pt x="350" y="1571"/>
                        <a:pt x="350" y="1571"/>
                      </a:cubicBezTo>
                      <a:cubicBezTo>
                        <a:pt x="350" y="1571"/>
                        <a:pt x="349" y="1570"/>
                        <a:pt x="349" y="1570"/>
                      </a:cubicBezTo>
                      <a:cubicBezTo>
                        <a:pt x="349" y="1569"/>
                        <a:pt x="350" y="1568"/>
                        <a:pt x="350" y="1568"/>
                      </a:cubicBezTo>
                      <a:cubicBezTo>
                        <a:pt x="373" y="1555"/>
                        <a:pt x="373" y="1555"/>
                        <a:pt x="373" y="1555"/>
                      </a:cubicBezTo>
                      <a:cubicBezTo>
                        <a:pt x="370" y="1553"/>
                        <a:pt x="370" y="1553"/>
                        <a:pt x="370" y="1553"/>
                      </a:cubicBezTo>
                      <a:cubicBezTo>
                        <a:pt x="354" y="1562"/>
                        <a:pt x="354" y="1562"/>
                        <a:pt x="354" y="1562"/>
                      </a:cubicBezTo>
                      <a:cubicBezTo>
                        <a:pt x="354" y="1562"/>
                        <a:pt x="353" y="1562"/>
                        <a:pt x="352" y="1562"/>
                      </a:cubicBezTo>
                      <a:cubicBezTo>
                        <a:pt x="352" y="1562"/>
                        <a:pt x="351" y="1561"/>
                        <a:pt x="351" y="1560"/>
                      </a:cubicBezTo>
                      <a:cubicBezTo>
                        <a:pt x="351" y="1542"/>
                        <a:pt x="351" y="1542"/>
                        <a:pt x="351" y="1542"/>
                      </a:cubicBezTo>
                      <a:cubicBezTo>
                        <a:pt x="350" y="1541"/>
                        <a:pt x="350" y="1541"/>
                        <a:pt x="350" y="1541"/>
                      </a:cubicBezTo>
                      <a:cubicBezTo>
                        <a:pt x="350" y="1541"/>
                        <a:pt x="349" y="1540"/>
                        <a:pt x="349" y="1540"/>
                      </a:cubicBezTo>
                      <a:cubicBezTo>
                        <a:pt x="294" y="1508"/>
                        <a:pt x="294" y="1508"/>
                        <a:pt x="294" y="1508"/>
                      </a:cubicBezTo>
                      <a:cubicBezTo>
                        <a:pt x="294" y="1508"/>
                        <a:pt x="293" y="1507"/>
                        <a:pt x="293" y="1506"/>
                      </a:cubicBezTo>
                      <a:cubicBezTo>
                        <a:pt x="293" y="1481"/>
                        <a:pt x="293" y="1481"/>
                        <a:pt x="293" y="1481"/>
                      </a:cubicBezTo>
                      <a:cubicBezTo>
                        <a:pt x="233" y="1446"/>
                        <a:pt x="233" y="1446"/>
                        <a:pt x="233" y="1446"/>
                      </a:cubicBezTo>
                      <a:cubicBezTo>
                        <a:pt x="232" y="1445"/>
                        <a:pt x="232" y="1445"/>
                        <a:pt x="232" y="1444"/>
                      </a:cubicBezTo>
                      <a:cubicBezTo>
                        <a:pt x="232" y="1443"/>
                        <a:pt x="232" y="1442"/>
                        <a:pt x="233" y="1442"/>
                      </a:cubicBezTo>
                      <a:cubicBezTo>
                        <a:pt x="270" y="1420"/>
                        <a:pt x="270" y="1420"/>
                        <a:pt x="270" y="1420"/>
                      </a:cubicBezTo>
                      <a:cubicBezTo>
                        <a:pt x="221" y="1392"/>
                        <a:pt x="221" y="1392"/>
                        <a:pt x="221" y="1392"/>
                      </a:cubicBezTo>
                      <a:cubicBezTo>
                        <a:pt x="221" y="1392"/>
                        <a:pt x="220" y="1391"/>
                        <a:pt x="220" y="1391"/>
                      </a:cubicBezTo>
                      <a:cubicBezTo>
                        <a:pt x="220" y="1390"/>
                        <a:pt x="221" y="1389"/>
                        <a:pt x="221" y="1389"/>
                      </a:cubicBezTo>
                      <a:cubicBezTo>
                        <a:pt x="280" y="1355"/>
                        <a:pt x="280" y="1355"/>
                        <a:pt x="280" y="1355"/>
                      </a:cubicBezTo>
                      <a:cubicBezTo>
                        <a:pt x="182" y="1299"/>
                        <a:pt x="182" y="1299"/>
                        <a:pt x="182" y="1299"/>
                      </a:cubicBezTo>
                      <a:cubicBezTo>
                        <a:pt x="159" y="1313"/>
                        <a:pt x="159" y="1313"/>
                        <a:pt x="159" y="1313"/>
                      </a:cubicBezTo>
                      <a:cubicBezTo>
                        <a:pt x="158" y="1313"/>
                        <a:pt x="157" y="1313"/>
                        <a:pt x="157" y="1313"/>
                      </a:cubicBezTo>
                      <a:cubicBezTo>
                        <a:pt x="0" y="1222"/>
                        <a:pt x="0" y="1222"/>
                        <a:pt x="0" y="1222"/>
                      </a:cubicBezTo>
                      <a:cubicBezTo>
                        <a:pt x="0" y="1222"/>
                        <a:pt x="0" y="1221"/>
                        <a:pt x="0" y="1221"/>
                      </a:cubicBezTo>
                      <a:cubicBezTo>
                        <a:pt x="0" y="1220"/>
                        <a:pt x="0" y="1219"/>
                        <a:pt x="1" y="1219"/>
                      </a:cubicBezTo>
                      <a:cubicBezTo>
                        <a:pt x="154" y="1130"/>
                        <a:pt x="154" y="1130"/>
                        <a:pt x="154" y="1130"/>
                      </a:cubicBezTo>
                      <a:cubicBezTo>
                        <a:pt x="34" y="1061"/>
                        <a:pt x="34" y="1061"/>
                        <a:pt x="34" y="1061"/>
                      </a:cubicBezTo>
                      <a:cubicBezTo>
                        <a:pt x="33" y="1060"/>
                        <a:pt x="33" y="1060"/>
                        <a:pt x="33" y="1059"/>
                      </a:cubicBezTo>
                      <a:cubicBezTo>
                        <a:pt x="33" y="905"/>
                        <a:pt x="33" y="905"/>
                        <a:pt x="33" y="905"/>
                      </a:cubicBezTo>
                      <a:cubicBezTo>
                        <a:pt x="33" y="904"/>
                        <a:pt x="33" y="903"/>
                        <a:pt x="34" y="903"/>
                      </a:cubicBezTo>
                      <a:cubicBezTo>
                        <a:pt x="34" y="903"/>
                        <a:pt x="35" y="903"/>
                        <a:pt x="36" y="903"/>
                      </a:cubicBezTo>
                      <a:cubicBezTo>
                        <a:pt x="169" y="980"/>
                        <a:pt x="169" y="980"/>
                        <a:pt x="169" y="980"/>
                      </a:cubicBezTo>
                      <a:cubicBezTo>
                        <a:pt x="170" y="981"/>
                        <a:pt x="170" y="981"/>
                        <a:pt x="170" y="982"/>
                      </a:cubicBezTo>
                      <a:cubicBezTo>
                        <a:pt x="170" y="1133"/>
                        <a:pt x="170" y="1133"/>
                        <a:pt x="170" y="1133"/>
                      </a:cubicBezTo>
                      <a:cubicBezTo>
                        <a:pt x="301" y="1209"/>
                        <a:pt x="301" y="1209"/>
                        <a:pt x="301" y="1209"/>
                      </a:cubicBezTo>
                      <a:cubicBezTo>
                        <a:pt x="302" y="1209"/>
                        <a:pt x="302" y="1210"/>
                        <a:pt x="302" y="1210"/>
                      </a:cubicBezTo>
                      <a:cubicBezTo>
                        <a:pt x="302" y="1211"/>
                        <a:pt x="302" y="1211"/>
                        <a:pt x="302" y="1211"/>
                      </a:cubicBezTo>
                      <a:cubicBezTo>
                        <a:pt x="315" y="1219"/>
                        <a:pt x="315" y="1219"/>
                        <a:pt x="315" y="1219"/>
                      </a:cubicBezTo>
                      <a:cubicBezTo>
                        <a:pt x="316" y="1219"/>
                        <a:pt x="316" y="1220"/>
                        <a:pt x="316" y="1221"/>
                      </a:cubicBezTo>
                      <a:cubicBezTo>
                        <a:pt x="316" y="1221"/>
                        <a:pt x="316" y="1222"/>
                        <a:pt x="315" y="1222"/>
                      </a:cubicBezTo>
                      <a:cubicBezTo>
                        <a:pt x="302" y="1230"/>
                        <a:pt x="302" y="1230"/>
                        <a:pt x="302" y="1230"/>
                      </a:cubicBezTo>
                      <a:cubicBezTo>
                        <a:pt x="302" y="1358"/>
                        <a:pt x="302" y="1358"/>
                        <a:pt x="302" y="1358"/>
                      </a:cubicBezTo>
                      <a:cubicBezTo>
                        <a:pt x="339" y="1336"/>
                        <a:pt x="339" y="1336"/>
                        <a:pt x="339" y="1336"/>
                      </a:cubicBezTo>
                      <a:cubicBezTo>
                        <a:pt x="339" y="1336"/>
                        <a:pt x="339" y="1336"/>
                        <a:pt x="339" y="1335"/>
                      </a:cubicBezTo>
                      <a:cubicBezTo>
                        <a:pt x="339" y="1193"/>
                        <a:pt x="339" y="1193"/>
                        <a:pt x="339" y="1193"/>
                      </a:cubicBezTo>
                      <a:cubicBezTo>
                        <a:pt x="339" y="1193"/>
                        <a:pt x="339" y="1192"/>
                        <a:pt x="340" y="1192"/>
                      </a:cubicBezTo>
                      <a:cubicBezTo>
                        <a:pt x="420" y="1145"/>
                        <a:pt x="420" y="1145"/>
                        <a:pt x="420" y="1145"/>
                      </a:cubicBezTo>
                      <a:cubicBezTo>
                        <a:pt x="420" y="1141"/>
                        <a:pt x="420" y="1141"/>
                        <a:pt x="420" y="1141"/>
                      </a:cubicBezTo>
                      <a:cubicBezTo>
                        <a:pt x="309" y="1076"/>
                        <a:pt x="309" y="1076"/>
                        <a:pt x="309" y="1076"/>
                      </a:cubicBezTo>
                      <a:cubicBezTo>
                        <a:pt x="221" y="1127"/>
                        <a:pt x="221" y="1127"/>
                        <a:pt x="221" y="1127"/>
                      </a:cubicBezTo>
                      <a:cubicBezTo>
                        <a:pt x="220" y="1127"/>
                        <a:pt x="219" y="1127"/>
                        <a:pt x="219" y="1127"/>
                      </a:cubicBezTo>
                      <a:cubicBezTo>
                        <a:pt x="218" y="1127"/>
                        <a:pt x="218" y="1126"/>
                        <a:pt x="218" y="1125"/>
                      </a:cubicBezTo>
                      <a:cubicBezTo>
                        <a:pt x="218" y="983"/>
                        <a:pt x="218" y="983"/>
                        <a:pt x="218" y="983"/>
                      </a:cubicBezTo>
                      <a:cubicBezTo>
                        <a:pt x="218" y="983"/>
                        <a:pt x="218" y="982"/>
                        <a:pt x="219" y="982"/>
                      </a:cubicBezTo>
                      <a:cubicBezTo>
                        <a:pt x="293" y="939"/>
                        <a:pt x="293" y="939"/>
                        <a:pt x="293" y="939"/>
                      </a:cubicBezTo>
                      <a:cubicBezTo>
                        <a:pt x="293" y="918"/>
                        <a:pt x="293" y="918"/>
                        <a:pt x="293" y="918"/>
                      </a:cubicBezTo>
                      <a:cubicBezTo>
                        <a:pt x="293" y="917"/>
                        <a:pt x="294" y="916"/>
                        <a:pt x="294" y="916"/>
                      </a:cubicBezTo>
                      <a:cubicBezTo>
                        <a:pt x="295" y="915"/>
                        <a:pt x="296" y="915"/>
                        <a:pt x="296" y="916"/>
                      </a:cubicBezTo>
                      <a:cubicBezTo>
                        <a:pt x="315" y="926"/>
                        <a:pt x="315" y="926"/>
                        <a:pt x="315" y="926"/>
                      </a:cubicBezTo>
                      <a:cubicBezTo>
                        <a:pt x="315" y="926"/>
                        <a:pt x="315" y="926"/>
                        <a:pt x="315" y="926"/>
                      </a:cubicBezTo>
                      <a:cubicBezTo>
                        <a:pt x="294" y="914"/>
                        <a:pt x="294" y="914"/>
                        <a:pt x="294" y="914"/>
                      </a:cubicBezTo>
                      <a:cubicBezTo>
                        <a:pt x="289" y="917"/>
                        <a:pt x="289" y="917"/>
                        <a:pt x="289" y="917"/>
                      </a:cubicBezTo>
                      <a:cubicBezTo>
                        <a:pt x="288" y="917"/>
                        <a:pt x="287" y="917"/>
                        <a:pt x="287" y="917"/>
                      </a:cubicBezTo>
                      <a:cubicBezTo>
                        <a:pt x="286" y="917"/>
                        <a:pt x="286" y="916"/>
                        <a:pt x="286" y="915"/>
                      </a:cubicBezTo>
                      <a:cubicBezTo>
                        <a:pt x="286" y="909"/>
                        <a:pt x="286" y="909"/>
                        <a:pt x="286" y="909"/>
                      </a:cubicBezTo>
                      <a:cubicBezTo>
                        <a:pt x="221" y="872"/>
                        <a:pt x="221" y="872"/>
                        <a:pt x="221" y="872"/>
                      </a:cubicBezTo>
                      <a:cubicBezTo>
                        <a:pt x="221" y="871"/>
                        <a:pt x="220" y="871"/>
                        <a:pt x="220" y="870"/>
                      </a:cubicBezTo>
                      <a:cubicBezTo>
                        <a:pt x="220" y="869"/>
                        <a:pt x="221" y="868"/>
                        <a:pt x="221" y="868"/>
                      </a:cubicBezTo>
                      <a:cubicBezTo>
                        <a:pt x="239" y="858"/>
                        <a:pt x="239" y="858"/>
                        <a:pt x="239" y="858"/>
                      </a:cubicBezTo>
                      <a:cubicBezTo>
                        <a:pt x="219" y="846"/>
                        <a:pt x="219" y="846"/>
                        <a:pt x="219" y="846"/>
                      </a:cubicBezTo>
                      <a:cubicBezTo>
                        <a:pt x="218" y="846"/>
                        <a:pt x="218" y="845"/>
                        <a:pt x="218" y="844"/>
                      </a:cubicBezTo>
                      <a:cubicBezTo>
                        <a:pt x="218" y="721"/>
                        <a:pt x="218" y="721"/>
                        <a:pt x="218" y="721"/>
                      </a:cubicBezTo>
                      <a:cubicBezTo>
                        <a:pt x="93" y="648"/>
                        <a:pt x="93" y="648"/>
                        <a:pt x="93" y="648"/>
                      </a:cubicBezTo>
                      <a:cubicBezTo>
                        <a:pt x="92" y="648"/>
                        <a:pt x="92" y="647"/>
                        <a:pt x="92" y="647"/>
                      </a:cubicBezTo>
                      <a:cubicBezTo>
                        <a:pt x="92" y="646"/>
                        <a:pt x="92" y="645"/>
                        <a:pt x="93" y="645"/>
                      </a:cubicBezTo>
                      <a:cubicBezTo>
                        <a:pt x="218" y="573"/>
                        <a:pt x="218" y="573"/>
                        <a:pt x="218" y="573"/>
                      </a:cubicBezTo>
                      <a:cubicBezTo>
                        <a:pt x="218" y="563"/>
                        <a:pt x="218" y="563"/>
                        <a:pt x="218" y="563"/>
                      </a:cubicBezTo>
                      <a:cubicBezTo>
                        <a:pt x="218" y="563"/>
                        <a:pt x="218" y="562"/>
                        <a:pt x="219" y="562"/>
                      </a:cubicBezTo>
                      <a:cubicBezTo>
                        <a:pt x="293" y="519"/>
                        <a:pt x="293" y="519"/>
                        <a:pt x="293" y="519"/>
                      </a:cubicBezTo>
                      <a:cubicBezTo>
                        <a:pt x="293" y="480"/>
                        <a:pt x="293" y="480"/>
                        <a:pt x="293" y="480"/>
                      </a:cubicBezTo>
                      <a:cubicBezTo>
                        <a:pt x="267" y="465"/>
                        <a:pt x="267" y="465"/>
                        <a:pt x="267" y="465"/>
                      </a:cubicBezTo>
                      <a:cubicBezTo>
                        <a:pt x="154" y="531"/>
                        <a:pt x="154" y="531"/>
                        <a:pt x="154" y="531"/>
                      </a:cubicBezTo>
                      <a:cubicBezTo>
                        <a:pt x="153" y="531"/>
                        <a:pt x="152" y="531"/>
                        <a:pt x="152" y="531"/>
                      </a:cubicBezTo>
                      <a:cubicBezTo>
                        <a:pt x="16" y="453"/>
                        <a:pt x="16" y="453"/>
                        <a:pt x="16" y="453"/>
                      </a:cubicBezTo>
                      <a:cubicBezTo>
                        <a:pt x="16" y="452"/>
                        <a:pt x="15" y="452"/>
                        <a:pt x="15" y="451"/>
                      </a:cubicBezTo>
                      <a:cubicBezTo>
                        <a:pt x="15" y="450"/>
                        <a:pt x="16" y="450"/>
                        <a:pt x="16" y="449"/>
                      </a:cubicBezTo>
                      <a:cubicBezTo>
                        <a:pt x="152" y="371"/>
                        <a:pt x="152" y="371"/>
                        <a:pt x="152" y="371"/>
                      </a:cubicBezTo>
                      <a:cubicBezTo>
                        <a:pt x="152" y="371"/>
                        <a:pt x="153" y="371"/>
                        <a:pt x="154" y="371"/>
                      </a:cubicBezTo>
                      <a:cubicBezTo>
                        <a:pt x="166" y="379"/>
                        <a:pt x="166" y="379"/>
                        <a:pt x="166" y="379"/>
                      </a:cubicBezTo>
                      <a:cubicBezTo>
                        <a:pt x="166" y="257"/>
                        <a:pt x="166" y="257"/>
                        <a:pt x="166" y="257"/>
                      </a:cubicBezTo>
                      <a:cubicBezTo>
                        <a:pt x="166" y="257"/>
                        <a:pt x="167" y="256"/>
                        <a:pt x="167" y="256"/>
                      </a:cubicBezTo>
                      <a:cubicBezTo>
                        <a:pt x="168" y="255"/>
                        <a:pt x="169" y="255"/>
                        <a:pt x="169" y="256"/>
                      </a:cubicBezTo>
                      <a:cubicBezTo>
                        <a:pt x="298" y="330"/>
                        <a:pt x="298" y="330"/>
                        <a:pt x="298" y="330"/>
                      </a:cubicBezTo>
                      <a:cubicBezTo>
                        <a:pt x="299" y="330"/>
                        <a:pt x="299" y="331"/>
                        <a:pt x="299" y="332"/>
                      </a:cubicBezTo>
                      <a:cubicBezTo>
                        <a:pt x="299" y="377"/>
                        <a:pt x="299" y="377"/>
                        <a:pt x="299" y="377"/>
                      </a:cubicBezTo>
                      <a:cubicBezTo>
                        <a:pt x="339" y="354"/>
                        <a:pt x="339" y="354"/>
                        <a:pt x="339" y="354"/>
                      </a:cubicBezTo>
                      <a:cubicBezTo>
                        <a:pt x="339" y="353"/>
                        <a:pt x="339" y="353"/>
                        <a:pt x="339" y="353"/>
                      </a:cubicBezTo>
                      <a:cubicBezTo>
                        <a:pt x="339" y="353"/>
                        <a:pt x="339" y="352"/>
                        <a:pt x="340" y="352"/>
                      </a:cubicBezTo>
                      <a:cubicBezTo>
                        <a:pt x="428" y="301"/>
                        <a:pt x="428" y="301"/>
                        <a:pt x="428" y="301"/>
                      </a:cubicBezTo>
                      <a:cubicBezTo>
                        <a:pt x="428" y="228"/>
                        <a:pt x="428" y="228"/>
                        <a:pt x="428" y="228"/>
                      </a:cubicBezTo>
                      <a:cubicBezTo>
                        <a:pt x="417" y="221"/>
                        <a:pt x="417" y="221"/>
                        <a:pt x="417" y="221"/>
                      </a:cubicBezTo>
                      <a:cubicBezTo>
                        <a:pt x="417" y="221"/>
                        <a:pt x="416" y="220"/>
                        <a:pt x="416" y="220"/>
                      </a:cubicBezTo>
                      <a:cubicBezTo>
                        <a:pt x="416" y="219"/>
                        <a:pt x="417" y="218"/>
                        <a:pt x="417" y="218"/>
                      </a:cubicBezTo>
                      <a:cubicBezTo>
                        <a:pt x="552" y="140"/>
                        <a:pt x="552" y="140"/>
                        <a:pt x="552" y="140"/>
                      </a:cubicBezTo>
                      <a:cubicBezTo>
                        <a:pt x="553" y="140"/>
                        <a:pt x="554" y="140"/>
                        <a:pt x="554" y="140"/>
                      </a:cubicBezTo>
                      <a:cubicBezTo>
                        <a:pt x="582" y="156"/>
                        <a:pt x="582" y="156"/>
                        <a:pt x="582" y="156"/>
                      </a:cubicBezTo>
                      <a:cubicBezTo>
                        <a:pt x="582" y="73"/>
                        <a:pt x="582" y="73"/>
                        <a:pt x="582" y="73"/>
                      </a:cubicBezTo>
                      <a:cubicBezTo>
                        <a:pt x="582" y="72"/>
                        <a:pt x="582" y="71"/>
                        <a:pt x="583" y="71"/>
                      </a:cubicBezTo>
                      <a:cubicBezTo>
                        <a:pt x="583" y="70"/>
                        <a:pt x="584" y="70"/>
                        <a:pt x="585" y="71"/>
                      </a:cubicBezTo>
                      <a:cubicBezTo>
                        <a:pt x="706" y="141"/>
                        <a:pt x="706" y="141"/>
                        <a:pt x="706" y="141"/>
                      </a:cubicBezTo>
                      <a:cubicBezTo>
                        <a:pt x="731" y="126"/>
                        <a:pt x="731" y="126"/>
                        <a:pt x="731" y="126"/>
                      </a:cubicBezTo>
                      <a:cubicBezTo>
                        <a:pt x="697" y="106"/>
                        <a:pt x="697" y="106"/>
                        <a:pt x="697" y="106"/>
                      </a:cubicBezTo>
                      <a:cubicBezTo>
                        <a:pt x="696" y="105"/>
                        <a:pt x="696" y="105"/>
                        <a:pt x="696" y="104"/>
                      </a:cubicBezTo>
                      <a:cubicBezTo>
                        <a:pt x="696" y="103"/>
                        <a:pt x="696" y="103"/>
                        <a:pt x="697" y="102"/>
                      </a:cubicBezTo>
                      <a:cubicBezTo>
                        <a:pt x="776" y="57"/>
                        <a:pt x="776" y="57"/>
                        <a:pt x="776" y="57"/>
                      </a:cubicBezTo>
                      <a:cubicBezTo>
                        <a:pt x="776" y="56"/>
                        <a:pt x="777" y="56"/>
                        <a:pt x="778" y="57"/>
                      </a:cubicBezTo>
                      <a:cubicBezTo>
                        <a:pt x="814" y="78"/>
                        <a:pt x="814" y="78"/>
                        <a:pt x="814" y="78"/>
                      </a:cubicBezTo>
                      <a:cubicBezTo>
                        <a:pt x="827" y="71"/>
                        <a:pt x="827" y="71"/>
                        <a:pt x="827" y="71"/>
                      </a:cubicBezTo>
                      <a:cubicBezTo>
                        <a:pt x="827" y="70"/>
                        <a:pt x="828" y="70"/>
                        <a:pt x="829" y="71"/>
                      </a:cubicBezTo>
                      <a:cubicBezTo>
                        <a:pt x="829" y="71"/>
                        <a:pt x="830" y="72"/>
                        <a:pt x="830" y="73"/>
                      </a:cubicBezTo>
                      <a:cubicBezTo>
                        <a:pt x="830" y="87"/>
                        <a:pt x="830" y="87"/>
                        <a:pt x="830" y="87"/>
                      </a:cubicBezTo>
                      <a:cubicBezTo>
                        <a:pt x="857" y="102"/>
                        <a:pt x="857" y="102"/>
                        <a:pt x="857" y="102"/>
                      </a:cubicBezTo>
                      <a:cubicBezTo>
                        <a:pt x="857" y="103"/>
                        <a:pt x="858" y="103"/>
                        <a:pt x="858" y="104"/>
                      </a:cubicBezTo>
                      <a:cubicBezTo>
                        <a:pt x="858" y="105"/>
                        <a:pt x="857" y="105"/>
                        <a:pt x="857" y="106"/>
                      </a:cubicBezTo>
                      <a:cubicBezTo>
                        <a:pt x="830" y="121"/>
                        <a:pt x="830" y="121"/>
                        <a:pt x="830" y="121"/>
                      </a:cubicBezTo>
                      <a:cubicBezTo>
                        <a:pt x="830" y="214"/>
                        <a:pt x="830" y="214"/>
                        <a:pt x="830" y="214"/>
                      </a:cubicBezTo>
                      <a:cubicBezTo>
                        <a:pt x="830" y="215"/>
                        <a:pt x="829" y="216"/>
                        <a:pt x="829" y="216"/>
                      </a:cubicBezTo>
                      <a:cubicBezTo>
                        <a:pt x="827" y="217"/>
                        <a:pt x="827" y="217"/>
                        <a:pt x="827" y="217"/>
                      </a:cubicBezTo>
                      <a:cubicBezTo>
                        <a:pt x="829" y="219"/>
                        <a:pt x="829" y="219"/>
                        <a:pt x="829" y="219"/>
                      </a:cubicBezTo>
                      <a:cubicBezTo>
                        <a:pt x="829" y="219"/>
                        <a:pt x="829" y="219"/>
                        <a:pt x="829" y="219"/>
                      </a:cubicBezTo>
                      <a:cubicBezTo>
                        <a:pt x="880" y="190"/>
                        <a:pt x="880" y="190"/>
                        <a:pt x="880" y="190"/>
                      </a:cubicBezTo>
                      <a:cubicBezTo>
                        <a:pt x="880" y="190"/>
                        <a:pt x="881" y="190"/>
                        <a:pt x="882" y="190"/>
                      </a:cubicBezTo>
                      <a:cubicBezTo>
                        <a:pt x="882" y="190"/>
                        <a:pt x="883" y="191"/>
                        <a:pt x="883" y="192"/>
                      </a:cubicBezTo>
                      <a:cubicBezTo>
                        <a:pt x="883" y="258"/>
                        <a:pt x="883" y="258"/>
                        <a:pt x="883" y="258"/>
                      </a:cubicBezTo>
                      <a:cubicBezTo>
                        <a:pt x="885" y="257"/>
                        <a:pt x="885" y="257"/>
                        <a:pt x="885" y="257"/>
                      </a:cubicBezTo>
                      <a:cubicBezTo>
                        <a:pt x="885" y="248"/>
                        <a:pt x="885" y="248"/>
                        <a:pt x="885" y="248"/>
                      </a:cubicBezTo>
                      <a:cubicBezTo>
                        <a:pt x="885" y="247"/>
                        <a:pt x="885" y="246"/>
                        <a:pt x="886" y="246"/>
                      </a:cubicBezTo>
                      <a:cubicBezTo>
                        <a:pt x="886" y="245"/>
                        <a:pt x="887" y="245"/>
                        <a:pt x="888" y="246"/>
                      </a:cubicBezTo>
                      <a:cubicBezTo>
                        <a:pt x="945" y="279"/>
                        <a:pt x="945" y="279"/>
                        <a:pt x="945" y="279"/>
                      </a:cubicBezTo>
                      <a:cubicBezTo>
                        <a:pt x="945" y="160"/>
                        <a:pt x="945" y="160"/>
                        <a:pt x="945" y="160"/>
                      </a:cubicBezTo>
                      <a:cubicBezTo>
                        <a:pt x="929" y="150"/>
                        <a:pt x="929" y="150"/>
                        <a:pt x="929" y="150"/>
                      </a:cubicBezTo>
                      <a:cubicBezTo>
                        <a:pt x="928" y="150"/>
                        <a:pt x="928" y="149"/>
                        <a:pt x="928" y="149"/>
                      </a:cubicBezTo>
                      <a:cubicBezTo>
                        <a:pt x="928" y="148"/>
                        <a:pt x="928" y="147"/>
                        <a:pt x="929" y="147"/>
                      </a:cubicBezTo>
                      <a:cubicBezTo>
                        <a:pt x="1056" y="74"/>
                        <a:pt x="1056" y="74"/>
                        <a:pt x="1056" y="74"/>
                      </a:cubicBezTo>
                      <a:cubicBezTo>
                        <a:pt x="1056" y="37"/>
                        <a:pt x="1056" y="37"/>
                        <a:pt x="1056" y="37"/>
                      </a:cubicBezTo>
                      <a:cubicBezTo>
                        <a:pt x="1056" y="37"/>
                        <a:pt x="1056" y="36"/>
                        <a:pt x="1057" y="36"/>
                      </a:cubicBezTo>
                      <a:cubicBezTo>
                        <a:pt x="1057" y="35"/>
                        <a:pt x="1058" y="35"/>
                        <a:pt x="1059" y="36"/>
                      </a:cubicBezTo>
                      <a:cubicBezTo>
                        <a:pt x="1187" y="110"/>
                        <a:pt x="1187" y="110"/>
                        <a:pt x="1187" y="110"/>
                      </a:cubicBezTo>
                      <a:cubicBezTo>
                        <a:pt x="1188" y="110"/>
                        <a:pt x="1188" y="111"/>
                        <a:pt x="1188" y="112"/>
                      </a:cubicBezTo>
                      <a:cubicBezTo>
                        <a:pt x="1188" y="115"/>
                        <a:pt x="1188" y="115"/>
                        <a:pt x="1188" y="115"/>
                      </a:cubicBezTo>
                      <a:cubicBezTo>
                        <a:pt x="1206" y="125"/>
                        <a:pt x="1206" y="125"/>
                        <a:pt x="1206" y="125"/>
                      </a:cubicBezTo>
                      <a:cubicBezTo>
                        <a:pt x="1206" y="79"/>
                        <a:pt x="1206" y="79"/>
                        <a:pt x="1206" y="79"/>
                      </a:cubicBezTo>
                      <a:cubicBezTo>
                        <a:pt x="1206" y="78"/>
                        <a:pt x="1206" y="78"/>
                        <a:pt x="1207" y="77"/>
                      </a:cubicBezTo>
                      <a:cubicBezTo>
                        <a:pt x="1340" y="0"/>
                        <a:pt x="1340" y="0"/>
                        <a:pt x="1340" y="0"/>
                      </a:cubicBezTo>
                      <a:cubicBezTo>
                        <a:pt x="1340" y="0"/>
                        <a:pt x="1341" y="0"/>
                        <a:pt x="1342" y="0"/>
                      </a:cubicBezTo>
                      <a:cubicBezTo>
                        <a:pt x="1342" y="1"/>
                        <a:pt x="1343" y="1"/>
                        <a:pt x="1343" y="2"/>
                      </a:cubicBezTo>
                      <a:cubicBezTo>
                        <a:pt x="1343" y="147"/>
                        <a:pt x="1343" y="147"/>
                        <a:pt x="1343" y="147"/>
                      </a:cubicBezTo>
                      <a:cubicBezTo>
                        <a:pt x="1354" y="140"/>
                        <a:pt x="1354" y="140"/>
                        <a:pt x="1354" y="140"/>
                      </a:cubicBezTo>
                      <a:cubicBezTo>
                        <a:pt x="1355" y="140"/>
                        <a:pt x="1356" y="140"/>
                        <a:pt x="1356" y="140"/>
                      </a:cubicBezTo>
                      <a:cubicBezTo>
                        <a:pt x="1491" y="218"/>
                        <a:pt x="1491" y="218"/>
                        <a:pt x="1491" y="218"/>
                      </a:cubicBezTo>
                      <a:cubicBezTo>
                        <a:pt x="1492" y="218"/>
                        <a:pt x="1492" y="219"/>
                        <a:pt x="1492" y="220"/>
                      </a:cubicBezTo>
                      <a:cubicBezTo>
                        <a:pt x="1492" y="220"/>
                        <a:pt x="1492" y="221"/>
                        <a:pt x="1491" y="221"/>
                      </a:cubicBezTo>
                      <a:cubicBezTo>
                        <a:pt x="1356" y="300"/>
                        <a:pt x="1356" y="300"/>
                        <a:pt x="1356" y="300"/>
                      </a:cubicBezTo>
                      <a:cubicBezTo>
                        <a:pt x="1356" y="300"/>
                        <a:pt x="1355" y="300"/>
                        <a:pt x="1354" y="300"/>
                      </a:cubicBezTo>
                      <a:cubicBezTo>
                        <a:pt x="1225" y="225"/>
                        <a:pt x="1225" y="225"/>
                        <a:pt x="1225" y="225"/>
                      </a:cubicBezTo>
                      <a:cubicBezTo>
                        <a:pt x="1211" y="233"/>
                        <a:pt x="1211" y="233"/>
                        <a:pt x="1211" y="233"/>
                      </a:cubicBezTo>
                      <a:cubicBezTo>
                        <a:pt x="1211" y="270"/>
                        <a:pt x="1211" y="270"/>
                        <a:pt x="1211" y="270"/>
                      </a:cubicBezTo>
                      <a:cubicBezTo>
                        <a:pt x="1314" y="330"/>
                        <a:pt x="1314" y="330"/>
                        <a:pt x="1314" y="330"/>
                      </a:cubicBezTo>
                      <a:cubicBezTo>
                        <a:pt x="1315" y="330"/>
                        <a:pt x="1315" y="331"/>
                        <a:pt x="1315" y="332"/>
                      </a:cubicBezTo>
                      <a:cubicBezTo>
                        <a:pt x="1315" y="349"/>
                        <a:pt x="1315" y="349"/>
                        <a:pt x="1315" y="349"/>
                      </a:cubicBezTo>
                      <a:cubicBezTo>
                        <a:pt x="1433" y="281"/>
                        <a:pt x="1433" y="281"/>
                        <a:pt x="1433" y="281"/>
                      </a:cubicBezTo>
                      <a:cubicBezTo>
                        <a:pt x="1434" y="280"/>
                        <a:pt x="1434" y="280"/>
                        <a:pt x="1435" y="281"/>
                      </a:cubicBezTo>
                      <a:cubicBezTo>
                        <a:pt x="1436" y="281"/>
                        <a:pt x="1436" y="282"/>
                        <a:pt x="1436" y="283"/>
                      </a:cubicBezTo>
                      <a:cubicBezTo>
                        <a:pt x="1436" y="401"/>
                        <a:pt x="1436" y="401"/>
                        <a:pt x="1436" y="401"/>
                      </a:cubicBezTo>
                      <a:cubicBezTo>
                        <a:pt x="1488" y="371"/>
                        <a:pt x="1488" y="371"/>
                        <a:pt x="1488" y="371"/>
                      </a:cubicBezTo>
                      <a:cubicBezTo>
                        <a:pt x="1488" y="371"/>
                        <a:pt x="1489" y="371"/>
                        <a:pt x="1490" y="371"/>
                      </a:cubicBezTo>
                      <a:cubicBezTo>
                        <a:pt x="1558" y="411"/>
                        <a:pt x="1558" y="411"/>
                        <a:pt x="1558" y="411"/>
                      </a:cubicBezTo>
                      <a:cubicBezTo>
                        <a:pt x="1559" y="411"/>
                        <a:pt x="1559" y="412"/>
                        <a:pt x="1559" y="413"/>
                      </a:cubicBezTo>
                      <a:cubicBezTo>
                        <a:pt x="1559" y="413"/>
                        <a:pt x="1559" y="414"/>
                        <a:pt x="1558" y="414"/>
                      </a:cubicBezTo>
                      <a:cubicBezTo>
                        <a:pt x="1540" y="425"/>
                        <a:pt x="1540" y="425"/>
                        <a:pt x="1540" y="425"/>
                      </a:cubicBezTo>
                      <a:cubicBezTo>
                        <a:pt x="1540" y="460"/>
                        <a:pt x="1540" y="460"/>
                        <a:pt x="1540" y="460"/>
                      </a:cubicBezTo>
                      <a:cubicBezTo>
                        <a:pt x="1569" y="477"/>
                        <a:pt x="1569" y="477"/>
                        <a:pt x="1569" y="477"/>
                      </a:cubicBezTo>
                      <a:cubicBezTo>
                        <a:pt x="1569" y="477"/>
                        <a:pt x="1570" y="478"/>
                        <a:pt x="1570" y="478"/>
                      </a:cubicBezTo>
                      <a:cubicBezTo>
                        <a:pt x="1570" y="550"/>
                        <a:pt x="1570" y="550"/>
                        <a:pt x="1570" y="550"/>
                      </a:cubicBezTo>
                      <a:cubicBezTo>
                        <a:pt x="1602" y="531"/>
                        <a:pt x="1602" y="531"/>
                        <a:pt x="1602" y="531"/>
                      </a:cubicBezTo>
                      <a:cubicBezTo>
                        <a:pt x="1603" y="531"/>
                        <a:pt x="1604" y="531"/>
                        <a:pt x="1604" y="531"/>
                      </a:cubicBezTo>
                      <a:cubicBezTo>
                        <a:pt x="1605" y="532"/>
                        <a:pt x="1605" y="532"/>
                        <a:pt x="1605" y="533"/>
                      </a:cubicBezTo>
                      <a:cubicBezTo>
                        <a:pt x="1605" y="611"/>
                        <a:pt x="1605" y="611"/>
                        <a:pt x="1605" y="611"/>
                      </a:cubicBezTo>
                      <a:cubicBezTo>
                        <a:pt x="1605" y="612"/>
                        <a:pt x="1605" y="612"/>
                        <a:pt x="1604" y="613"/>
                      </a:cubicBezTo>
                      <a:cubicBezTo>
                        <a:pt x="1595" y="618"/>
                        <a:pt x="1595" y="618"/>
                        <a:pt x="1595" y="618"/>
                      </a:cubicBezTo>
                      <a:cubicBezTo>
                        <a:pt x="1630" y="638"/>
                        <a:pt x="1630" y="638"/>
                        <a:pt x="1630" y="638"/>
                      </a:cubicBezTo>
                      <a:cubicBezTo>
                        <a:pt x="1631" y="639"/>
                        <a:pt x="1631" y="639"/>
                        <a:pt x="1631" y="640"/>
                      </a:cubicBezTo>
                      <a:cubicBezTo>
                        <a:pt x="1631" y="641"/>
                        <a:pt x="1631" y="641"/>
                        <a:pt x="1630" y="642"/>
                      </a:cubicBezTo>
                      <a:cubicBezTo>
                        <a:pt x="1551" y="687"/>
                        <a:pt x="1551" y="687"/>
                        <a:pt x="1551" y="687"/>
                      </a:cubicBezTo>
                      <a:cubicBezTo>
                        <a:pt x="1551" y="688"/>
                        <a:pt x="1550" y="688"/>
                        <a:pt x="1549" y="687"/>
                      </a:cubicBezTo>
                      <a:cubicBezTo>
                        <a:pt x="1470" y="642"/>
                        <a:pt x="1470" y="642"/>
                        <a:pt x="1470" y="642"/>
                      </a:cubicBezTo>
                      <a:cubicBezTo>
                        <a:pt x="1470" y="641"/>
                        <a:pt x="1469" y="641"/>
                        <a:pt x="1469" y="640"/>
                      </a:cubicBezTo>
                      <a:cubicBezTo>
                        <a:pt x="1469" y="639"/>
                        <a:pt x="1470" y="639"/>
                        <a:pt x="1470" y="638"/>
                      </a:cubicBezTo>
                      <a:cubicBezTo>
                        <a:pt x="1507" y="617"/>
                        <a:pt x="1507" y="617"/>
                        <a:pt x="1507" y="617"/>
                      </a:cubicBezTo>
                      <a:cubicBezTo>
                        <a:pt x="1485" y="604"/>
                        <a:pt x="1485" y="604"/>
                        <a:pt x="1485" y="604"/>
                      </a:cubicBezTo>
                      <a:cubicBezTo>
                        <a:pt x="1484" y="603"/>
                        <a:pt x="1484" y="603"/>
                        <a:pt x="1484" y="602"/>
                      </a:cubicBezTo>
                      <a:cubicBezTo>
                        <a:pt x="1484" y="534"/>
                        <a:pt x="1484" y="534"/>
                        <a:pt x="1484" y="534"/>
                      </a:cubicBezTo>
                      <a:cubicBezTo>
                        <a:pt x="1474" y="540"/>
                        <a:pt x="1474" y="540"/>
                        <a:pt x="1474" y="540"/>
                      </a:cubicBezTo>
                      <a:cubicBezTo>
                        <a:pt x="1474" y="611"/>
                        <a:pt x="1474" y="611"/>
                        <a:pt x="1474" y="611"/>
                      </a:cubicBezTo>
                      <a:cubicBezTo>
                        <a:pt x="1474" y="612"/>
                        <a:pt x="1474" y="612"/>
                        <a:pt x="1473" y="613"/>
                      </a:cubicBezTo>
                      <a:cubicBezTo>
                        <a:pt x="1423" y="641"/>
                        <a:pt x="1423" y="641"/>
                        <a:pt x="1423" y="641"/>
                      </a:cubicBezTo>
                      <a:cubicBezTo>
                        <a:pt x="1484" y="676"/>
                        <a:pt x="1484" y="676"/>
                        <a:pt x="1484" y="676"/>
                      </a:cubicBezTo>
                      <a:cubicBezTo>
                        <a:pt x="1484" y="676"/>
                        <a:pt x="1484" y="675"/>
                        <a:pt x="1485" y="675"/>
                      </a:cubicBezTo>
                      <a:cubicBezTo>
                        <a:pt x="1485" y="674"/>
                        <a:pt x="1486" y="674"/>
                        <a:pt x="1487" y="675"/>
                      </a:cubicBezTo>
                      <a:cubicBezTo>
                        <a:pt x="1604" y="742"/>
                        <a:pt x="1604" y="742"/>
                        <a:pt x="1604" y="742"/>
                      </a:cubicBezTo>
                      <a:cubicBezTo>
                        <a:pt x="1675" y="701"/>
                        <a:pt x="1675" y="701"/>
                        <a:pt x="1675" y="701"/>
                      </a:cubicBezTo>
                      <a:cubicBezTo>
                        <a:pt x="1676" y="700"/>
                        <a:pt x="1677" y="700"/>
                        <a:pt x="1677" y="701"/>
                      </a:cubicBezTo>
                      <a:cubicBezTo>
                        <a:pt x="1678" y="701"/>
                        <a:pt x="1678" y="702"/>
                        <a:pt x="1678" y="703"/>
                      </a:cubicBezTo>
                      <a:cubicBezTo>
                        <a:pt x="1678" y="844"/>
                        <a:pt x="1678" y="844"/>
                        <a:pt x="1678" y="844"/>
                      </a:cubicBezTo>
                      <a:cubicBezTo>
                        <a:pt x="1678" y="845"/>
                        <a:pt x="1678" y="846"/>
                        <a:pt x="1677" y="846"/>
                      </a:cubicBezTo>
                      <a:cubicBezTo>
                        <a:pt x="1621" y="879"/>
                        <a:pt x="1621" y="879"/>
                        <a:pt x="1621" y="879"/>
                      </a:cubicBezTo>
                      <a:cubicBezTo>
                        <a:pt x="1621" y="908"/>
                        <a:pt x="1621" y="908"/>
                        <a:pt x="1621" y="908"/>
                      </a:cubicBezTo>
                      <a:cubicBezTo>
                        <a:pt x="1621" y="908"/>
                        <a:pt x="1621" y="909"/>
                        <a:pt x="1620" y="909"/>
                      </a:cubicBezTo>
                      <a:cubicBezTo>
                        <a:pt x="1620" y="910"/>
                        <a:pt x="1619" y="910"/>
                        <a:pt x="1618" y="909"/>
                      </a:cubicBezTo>
                      <a:cubicBezTo>
                        <a:pt x="1593" y="895"/>
                        <a:pt x="1593" y="895"/>
                        <a:pt x="1593" y="895"/>
                      </a:cubicBezTo>
                      <a:cubicBezTo>
                        <a:pt x="1557" y="916"/>
                        <a:pt x="1557" y="916"/>
                        <a:pt x="1557" y="916"/>
                      </a:cubicBezTo>
                      <a:cubicBezTo>
                        <a:pt x="1557" y="1054"/>
                        <a:pt x="1557" y="1054"/>
                        <a:pt x="1557" y="1054"/>
                      </a:cubicBezTo>
                      <a:cubicBezTo>
                        <a:pt x="1557" y="1055"/>
                        <a:pt x="1557" y="1056"/>
                        <a:pt x="1556" y="1056"/>
                      </a:cubicBezTo>
                      <a:cubicBezTo>
                        <a:pt x="1448" y="1119"/>
                        <a:pt x="1448" y="1119"/>
                        <a:pt x="1448" y="1119"/>
                      </a:cubicBezTo>
                      <a:cubicBezTo>
                        <a:pt x="1459" y="1125"/>
                        <a:pt x="1459" y="1125"/>
                        <a:pt x="1459" y="1125"/>
                      </a:cubicBezTo>
                      <a:cubicBezTo>
                        <a:pt x="1503" y="1099"/>
                        <a:pt x="1503" y="1099"/>
                        <a:pt x="1503" y="1099"/>
                      </a:cubicBezTo>
                      <a:cubicBezTo>
                        <a:pt x="1504" y="1099"/>
                        <a:pt x="1504" y="1099"/>
                        <a:pt x="1505" y="1099"/>
                      </a:cubicBezTo>
                      <a:cubicBezTo>
                        <a:pt x="1506" y="1100"/>
                        <a:pt x="1506" y="1100"/>
                        <a:pt x="1506" y="1101"/>
                      </a:cubicBezTo>
                      <a:cubicBezTo>
                        <a:pt x="1506" y="1160"/>
                        <a:pt x="1506" y="1160"/>
                        <a:pt x="1506" y="1160"/>
                      </a:cubicBezTo>
                      <a:cubicBezTo>
                        <a:pt x="1515" y="1166"/>
                        <a:pt x="1515" y="1166"/>
                        <a:pt x="1515" y="1166"/>
                      </a:cubicBezTo>
                      <a:cubicBezTo>
                        <a:pt x="1516" y="1166"/>
                        <a:pt x="1516" y="1167"/>
                        <a:pt x="1516" y="1167"/>
                      </a:cubicBezTo>
                      <a:cubicBezTo>
                        <a:pt x="1516" y="1168"/>
                        <a:pt x="1516" y="1169"/>
                        <a:pt x="1515" y="1169"/>
                      </a:cubicBezTo>
                      <a:cubicBezTo>
                        <a:pt x="1506" y="1175"/>
                        <a:pt x="1506" y="1175"/>
                        <a:pt x="1506" y="1175"/>
                      </a:cubicBezTo>
                      <a:cubicBezTo>
                        <a:pt x="1506" y="1176"/>
                        <a:pt x="1506" y="1176"/>
                        <a:pt x="1506" y="1176"/>
                      </a:cubicBezTo>
                      <a:cubicBezTo>
                        <a:pt x="1506" y="1177"/>
                        <a:pt x="1506" y="1178"/>
                        <a:pt x="1505" y="1178"/>
                      </a:cubicBezTo>
                      <a:cubicBezTo>
                        <a:pt x="1474" y="1196"/>
                        <a:pt x="1474" y="1196"/>
                        <a:pt x="1474" y="1196"/>
                      </a:cubicBezTo>
                      <a:cubicBezTo>
                        <a:pt x="1474" y="1216"/>
                        <a:pt x="1474" y="1216"/>
                        <a:pt x="1474" y="1216"/>
                      </a:cubicBezTo>
                      <a:cubicBezTo>
                        <a:pt x="1539" y="1253"/>
                        <a:pt x="1539" y="1253"/>
                        <a:pt x="1539" y="1253"/>
                      </a:cubicBezTo>
                      <a:cubicBezTo>
                        <a:pt x="1539" y="1253"/>
                        <a:pt x="1540" y="1254"/>
                        <a:pt x="1540" y="1255"/>
                      </a:cubicBezTo>
                      <a:cubicBezTo>
                        <a:pt x="1540" y="1333"/>
                        <a:pt x="1540" y="1333"/>
                        <a:pt x="1540" y="1333"/>
                      </a:cubicBezTo>
                      <a:cubicBezTo>
                        <a:pt x="1540" y="1333"/>
                        <a:pt x="1539" y="1334"/>
                        <a:pt x="1539" y="1334"/>
                      </a:cubicBezTo>
                      <a:cubicBezTo>
                        <a:pt x="1538" y="1335"/>
                        <a:pt x="1537" y="1335"/>
                        <a:pt x="1537" y="1334"/>
                      </a:cubicBezTo>
                      <a:cubicBezTo>
                        <a:pt x="1471" y="1297"/>
                        <a:pt x="1471" y="1297"/>
                        <a:pt x="1471" y="1297"/>
                      </a:cubicBezTo>
                      <a:cubicBezTo>
                        <a:pt x="1340" y="1372"/>
                        <a:pt x="1340" y="1372"/>
                        <a:pt x="1340" y="1372"/>
                      </a:cubicBezTo>
                      <a:cubicBezTo>
                        <a:pt x="1339" y="1373"/>
                        <a:pt x="1339" y="1373"/>
                        <a:pt x="1338" y="1372"/>
                      </a:cubicBezTo>
                      <a:cubicBezTo>
                        <a:pt x="1337" y="1372"/>
                        <a:pt x="1337" y="1371"/>
                        <a:pt x="1337" y="1371"/>
                      </a:cubicBezTo>
                      <a:cubicBezTo>
                        <a:pt x="1337" y="1217"/>
                        <a:pt x="1337" y="1217"/>
                        <a:pt x="1337" y="1217"/>
                      </a:cubicBezTo>
                      <a:cubicBezTo>
                        <a:pt x="1337" y="1216"/>
                        <a:pt x="1337" y="1216"/>
                        <a:pt x="1338" y="1216"/>
                      </a:cubicBezTo>
                      <a:cubicBezTo>
                        <a:pt x="1193" y="1132"/>
                        <a:pt x="1193" y="1132"/>
                        <a:pt x="1193" y="1132"/>
                      </a:cubicBezTo>
                      <a:cubicBezTo>
                        <a:pt x="1193" y="1140"/>
                        <a:pt x="1193" y="1140"/>
                        <a:pt x="1193" y="1140"/>
                      </a:cubicBezTo>
                      <a:cubicBezTo>
                        <a:pt x="1314" y="1210"/>
                        <a:pt x="1314" y="1210"/>
                        <a:pt x="1314" y="1210"/>
                      </a:cubicBezTo>
                      <a:cubicBezTo>
                        <a:pt x="1315" y="1211"/>
                        <a:pt x="1315" y="1211"/>
                        <a:pt x="1315" y="1212"/>
                      </a:cubicBezTo>
                      <a:cubicBezTo>
                        <a:pt x="1315" y="1360"/>
                        <a:pt x="1315" y="1360"/>
                        <a:pt x="1315" y="1360"/>
                      </a:cubicBezTo>
                      <a:cubicBezTo>
                        <a:pt x="1315" y="1361"/>
                        <a:pt x="1315" y="1362"/>
                        <a:pt x="1314" y="1362"/>
                      </a:cubicBezTo>
                      <a:cubicBezTo>
                        <a:pt x="1314" y="1363"/>
                        <a:pt x="1313" y="1363"/>
                        <a:pt x="1312" y="1362"/>
                      </a:cubicBezTo>
                      <a:cubicBezTo>
                        <a:pt x="1184" y="1288"/>
                        <a:pt x="1184" y="1288"/>
                        <a:pt x="1184" y="1288"/>
                      </a:cubicBezTo>
                      <a:cubicBezTo>
                        <a:pt x="1183" y="1288"/>
                        <a:pt x="1183" y="1287"/>
                        <a:pt x="1183" y="1286"/>
                      </a:cubicBezTo>
                      <a:cubicBezTo>
                        <a:pt x="1183" y="1272"/>
                        <a:pt x="1183" y="1272"/>
                        <a:pt x="1183" y="1272"/>
                      </a:cubicBezTo>
                      <a:cubicBezTo>
                        <a:pt x="1094" y="1323"/>
                        <a:pt x="1094" y="1323"/>
                        <a:pt x="1094" y="1323"/>
                      </a:cubicBezTo>
                      <a:cubicBezTo>
                        <a:pt x="1094" y="1365"/>
                        <a:pt x="1094" y="1365"/>
                        <a:pt x="1094" y="1365"/>
                      </a:cubicBezTo>
                      <a:cubicBezTo>
                        <a:pt x="1094" y="1365"/>
                        <a:pt x="1093" y="1366"/>
                        <a:pt x="1093" y="1366"/>
                      </a:cubicBezTo>
                      <a:cubicBezTo>
                        <a:pt x="1092" y="1367"/>
                        <a:pt x="1091" y="1367"/>
                        <a:pt x="1091" y="1366"/>
                      </a:cubicBezTo>
                      <a:cubicBezTo>
                        <a:pt x="1072" y="1356"/>
                        <a:pt x="1072" y="1356"/>
                        <a:pt x="1072" y="1356"/>
                      </a:cubicBezTo>
                      <a:cubicBezTo>
                        <a:pt x="1072" y="1364"/>
                        <a:pt x="1072" y="1364"/>
                        <a:pt x="1072" y="1364"/>
                      </a:cubicBezTo>
                      <a:cubicBezTo>
                        <a:pt x="1091" y="1375"/>
                        <a:pt x="1091" y="1375"/>
                        <a:pt x="1091" y="1375"/>
                      </a:cubicBezTo>
                      <a:cubicBezTo>
                        <a:pt x="1091" y="1375"/>
                        <a:pt x="1092" y="1376"/>
                        <a:pt x="1092" y="1377"/>
                      </a:cubicBezTo>
                      <a:cubicBezTo>
                        <a:pt x="1092" y="1377"/>
                        <a:pt x="1091" y="1378"/>
                        <a:pt x="1091" y="1378"/>
                      </a:cubicBezTo>
                      <a:cubicBezTo>
                        <a:pt x="1072" y="1389"/>
                        <a:pt x="1072" y="1389"/>
                        <a:pt x="1072" y="1389"/>
                      </a:cubicBezTo>
                      <a:cubicBezTo>
                        <a:pt x="1072" y="1474"/>
                        <a:pt x="1072" y="1474"/>
                        <a:pt x="1072" y="1474"/>
                      </a:cubicBezTo>
                      <a:cubicBezTo>
                        <a:pt x="1072" y="1475"/>
                        <a:pt x="1072" y="1476"/>
                        <a:pt x="1071" y="1476"/>
                      </a:cubicBezTo>
                      <a:cubicBezTo>
                        <a:pt x="948" y="1547"/>
                        <a:pt x="948" y="1547"/>
                        <a:pt x="948" y="1547"/>
                      </a:cubicBezTo>
                      <a:cubicBezTo>
                        <a:pt x="948" y="1547"/>
                        <a:pt x="947" y="1547"/>
                        <a:pt x="946" y="1547"/>
                      </a:cubicBezTo>
                      <a:cubicBezTo>
                        <a:pt x="946" y="1547"/>
                        <a:pt x="945" y="1546"/>
                        <a:pt x="945" y="1545"/>
                      </a:cubicBezTo>
                      <a:cubicBezTo>
                        <a:pt x="945" y="1452"/>
                        <a:pt x="945" y="1452"/>
                        <a:pt x="945" y="1452"/>
                      </a:cubicBezTo>
                      <a:cubicBezTo>
                        <a:pt x="934" y="1446"/>
                        <a:pt x="934" y="1446"/>
                        <a:pt x="934" y="1446"/>
                      </a:cubicBezTo>
                      <a:cubicBezTo>
                        <a:pt x="934" y="1581"/>
                        <a:pt x="934" y="1581"/>
                        <a:pt x="934" y="1581"/>
                      </a:cubicBezTo>
                      <a:cubicBezTo>
                        <a:pt x="934" y="1581"/>
                        <a:pt x="934" y="1582"/>
                        <a:pt x="933" y="1582"/>
                      </a:cubicBezTo>
                      <a:cubicBezTo>
                        <a:pt x="933" y="1583"/>
                        <a:pt x="932" y="1583"/>
                        <a:pt x="931" y="1582"/>
                      </a:cubicBezTo>
                      <a:cubicBezTo>
                        <a:pt x="817" y="1516"/>
                        <a:pt x="817" y="1516"/>
                        <a:pt x="817" y="1516"/>
                      </a:cubicBezTo>
                      <a:cubicBezTo>
                        <a:pt x="817" y="1521"/>
                        <a:pt x="817" y="1521"/>
                        <a:pt x="817" y="1521"/>
                      </a:cubicBezTo>
                      <a:cubicBezTo>
                        <a:pt x="817" y="1522"/>
                        <a:pt x="817" y="1523"/>
                        <a:pt x="816" y="1523"/>
                      </a:cubicBezTo>
                      <a:cubicBezTo>
                        <a:pt x="698" y="1591"/>
                        <a:pt x="698" y="1591"/>
                        <a:pt x="698" y="1591"/>
                      </a:cubicBezTo>
                      <a:cubicBezTo>
                        <a:pt x="698" y="1593"/>
                        <a:pt x="698" y="1593"/>
                        <a:pt x="698" y="1593"/>
                      </a:cubicBezTo>
                      <a:cubicBezTo>
                        <a:pt x="698" y="1594"/>
                        <a:pt x="697" y="1594"/>
                        <a:pt x="697" y="1595"/>
                      </a:cubicBezTo>
                      <a:cubicBezTo>
                        <a:pt x="696" y="1595"/>
                        <a:pt x="695" y="1595"/>
                        <a:pt x="695" y="1595"/>
                      </a:cubicBezTo>
                      <a:cubicBezTo>
                        <a:pt x="693" y="1594"/>
                        <a:pt x="693" y="1594"/>
                        <a:pt x="693" y="1594"/>
                      </a:cubicBezTo>
                      <a:cubicBezTo>
                        <a:pt x="686" y="1598"/>
                        <a:pt x="686" y="1598"/>
                        <a:pt x="686" y="1598"/>
                      </a:cubicBezTo>
                      <a:cubicBezTo>
                        <a:pt x="686" y="1749"/>
                        <a:pt x="686" y="1749"/>
                        <a:pt x="686" y="1749"/>
                      </a:cubicBezTo>
                      <a:cubicBezTo>
                        <a:pt x="686" y="1750"/>
                        <a:pt x="685" y="1750"/>
                        <a:pt x="685" y="1751"/>
                      </a:cubicBezTo>
                      <a:cubicBezTo>
                        <a:pt x="552" y="1827"/>
                        <a:pt x="552" y="1827"/>
                        <a:pt x="552" y="1827"/>
                      </a:cubicBezTo>
                      <a:cubicBezTo>
                        <a:pt x="551" y="1828"/>
                        <a:pt x="551" y="1828"/>
                        <a:pt x="551" y="1828"/>
                      </a:cubicBezTo>
                      <a:close/>
                      <a:moveTo>
                        <a:pt x="553" y="1673"/>
                      </a:moveTo>
                      <a:cubicBezTo>
                        <a:pt x="553" y="1822"/>
                        <a:pt x="553" y="1822"/>
                        <a:pt x="553" y="1822"/>
                      </a:cubicBezTo>
                      <a:cubicBezTo>
                        <a:pt x="682" y="1748"/>
                        <a:pt x="682" y="1748"/>
                        <a:pt x="682" y="1748"/>
                      </a:cubicBezTo>
                      <a:cubicBezTo>
                        <a:pt x="682" y="1599"/>
                        <a:pt x="682" y="1599"/>
                        <a:pt x="682" y="1599"/>
                      </a:cubicBezTo>
                      <a:lnTo>
                        <a:pt x="553" y="1673"/>
                      </a:lnTo>
                      <a:close/>
                      <a:moveTo>
                        <a:pt x="446" y="1592"/>
                      </a:moveTo>
                      <a:cubicBezTo>
                        <a:pt x="446" y="1592"/>
                        <a:pt x="447" y="1592"/>
                        <a:pt x="447" y="1592"/>
                      </a:cubicBezTo>
                      <a:cubicBezTo>
                        <a:pt x="482" y="1613"/>
                        <a:pt x="482" y="1613"/>
                        <a:pt x="482" y="1613"/>
                      </a:cubicBezTo>
                      <a:cubicBezTo>
                        <a:pt x="607" y="1540"/>
                        <a:pt x="607" y="1540"/>
                        <a:pt x="607" y="1540"/>
                      </a:cubicBezTo>
                      <a:cubicBezTo>
                        <a:pt x="607" y="1540"/>
                        <a:pt x="608" y="1540"/>
                        <a:pt x="609" y="1540"/>
                      </a:cubicBezTo>
                      <a:cubicBezTo>
                        <a:pt x="683" y="1583"/>
                        <a:pt x="683" y="1583"/>
                        <a:pt x="683" y="1583"/>
                      </a:cubicBezTo>
                      <a:cubicBezTo>
                        <a:pt x="684" y="1584"/>
                        <a:pt x="684" y="1584"/>
                        <a:pt x="684" y="1585"/>
                      </a:cubicBezTo>
                      <a:cubicBezTo>
                        <a:pt x="684" y="1595"/>
                        <a:pt x="684" y="1595"/>
                        <a:pt x="684" y="1595"/>
                      </a:cubicBezTo>
                      <a:cubicBezTo>
                        <a:pt x="692" y="1590"/>
                        <a:pt x="692" y="1590"/>
                        <a:pt x="692" y="1590"/>
                      </a:cubicBezTo>
                      <a:cubicBezTo>
                        <a:pt x="693" y="1590"/>
                        <a:pt x="693" y="1590"/>
                        <a:pt x="694" y="1590"/>
                      </a:cubicBezTo>
                      <a:cubicBezTo>
                        <a:pt x="694" y="1589"/>
                        <a:pt x="694" y="1589"/>
                        <a:pt x="695" y="1588"/>
                      </a:cubicBezTo>
                      <a:cubicBezTo>
                        <a:pt x="813" y="1520"/>
                        <a:pt x="813" y="1520"/>
                        <a:pt x="813" y="1520"/>
                      </a:cubicBezTo>
                      <a:cubicBezTo>
                        <a:pt x="813" y="1513"/>
                        <a:pt x="813" y="1513"/>
                        <a:pt x="813" y="1513"/>
                      </a:cubicBezTo>
                      <a:cubicBezTo>
                        <a:pt x="813" y="1512"/>
                        <a:pt x="813" y="1511"/>
                        <a:pt x="814" y="1511"/>
                      </a:cubicBezTo>
                      <a:cubicBezTo>
                        <a:pt x="815" y="1511"/>
                        <a:pt x="815" y="1511"/>
                        <a:pt x="816" y="1511"/>
                      </a:cubicBezTo>
                      <a:cubicBezTo>
                        <a:pt x="930" y="1577"/>
                        <a:pt x="930" y="1577"/>
                        <a:pt x="930" y="1577"/>
                      </a:cubicBezTo>
                      <a:cubicBezTo>
                        <a:pt x="930" y="1442"/>
                        <a:pt x="930" y="1442"/>
                        <a:pt x="930" y="1442"/>
                      </a:cubicBezTo>
                      <a:cubicBezTo>
                        <a:pt x="930" y="1441"/>
                        <a:pt x="931" y="1441"/>
                        <a:pt x="931" y="1440"/>
                      </a:cubicBezTo>
                      <a:cubicBezTo>
                        <a:pt x="932" y="1440"/>
                        <a:pt x="933" y="1440"/>
                        <a:pt x="933" y="1440"/>
                      </a:cubicBezTo>
                      <a:cubicBezTo>
                        <a:pt x="948" y="1449"/>
                        <a:pt x="948" y="1449"/>
                        <a:pt x="948" y="1449"/>
                      </a:cubicBezTo>
                      <a:cubicBezTo>
                        <a:pt x="949" y="1449"/>
                        <a:pt x="949" y="1450"/>
                        <a:pt x="949" y="1451"/>
                      </a:cubicBezTo>
                      <a:cubicBezTo>
                        <a:pt x="949" y="1542"/>
                        <a:pt x="949" y="1542"/>
                        <a:pt x="949" y="1542"/>
                      </a:cubicBezTo>
                      <a:cubicBezTo>
                        <a:pt x="1068" y="1473"/>
                        <a:pt x="1068" y="1473"/>
                        <a:pt x="1068" y="1473"/>
                      </a:cubicBezTo>
                      <a:cubicBezTo>
                        <a:pt x="1068" y="1388"/>
                        <a:pt x="1068" y="1388"/>
                        <a:pt x="1068" y="1388"/>
                      </a:cubicBezTo>
                      <a:cubicBezTo>
                        <a:pt x="1068" y="1387"/>
                        <a:pt x="1069" y="1387"/>
                        <a:pt x="1069" y="1386"/>
                      </a:cubicBezTo>
                      <a:cubicBezTo>
                        <a:pt x="1086" y="1377"/>
                        <a:pt x="1086" y="1377"/>
                        <a:pt x="1086" y="1377"/>
                      </a:cubicBezTo>
                      <a:cubicBezTo>
                        <a:pt x="1069" y="1367"/>
                        <a:pt x="1069" y="1367"/>
                        <a:pt x="1069" y="1367"/>
                      </a:cubicBezTo>
                      <a:cubicBezTo>
                        <a:pt x="1069" y="1367"/>
                        <a:pt x="1068" y="1366"/>
                        <a:pt x="1068" y="1366"/>
                      </a:cubicBezTo>
                      <a:cubicBezTo>
                        <a:pt x="1068" y="1352"/>
                        <a:pt x="1068" y="1352"/>
                        <a:pt x="1068" y="1352"/>
                      </a:cubicBezTo>
                      <a:cubicBezTo>
                        <a:pt x="1068" y="1352"/>
                        <a:pt x="1069" y="1351"/>
                        <a:pt x="1069" y="1351"/>
                      </a:cubicBezTo>
                      <a:cubicBezTo>
                        <a:pt x="1070" y="1350"/>
                        <a:pt x="1071" y="1350"/>
                        <a:pt x="1071" y="1351"/>
                      </a:cubicBezTo>
                      <a:cubicBezTo>
                        <a:pt x="1090" y="1361"/>
                        <a:pt x="1090" y="1361"/>
                        <a:pt x="1090" y="1361"/>
                      </a:cubicBezTo>
                      <a:cubicBezTo>
                        <a:pt x="1090" y="1322"/>
                        <a:pt x="1090" y="1322"/>
                        <a:pt x="1090" y="1322"/>
                      </a:cubicBezTo>
                      <a:cubicBezTo>
                        <a:pt x="1090" y="1321"/>
                        <a:pt x="1090" y="1321"/>
                        <a:pt x="1091" y="1320"/>
                      </a:cubicBezTo>
                      <a:cubicBezTo>
                        <a:pt x="1184" y="1266"/>
                        <a:pt x="1184" y="1266"/>
                        <a:pt x="1184" y="1266"/>
                      </a:cubicBezTo>
                      <a:cubicBezTo>
                        <a:pt x="1184" y="1266"/>
                        <a:pt x="1185" y="1266"/>
                        <a:pt x="1186" y="1266"/>
                      </a:cubicBezTo>
                      <a:cubicBezTo>
                        <a:pt x="1186" y="1267"/>
                        <a:pt x="1187" y="1267"/>
                        <a:pt x="1187" y="1268"/>
                      </a:cubicBezTo>
                      <a:cubicBezTo>
                        <a:pt x="1187" y="1285"/>
                        <a:pt x="1187" y="1285"/>
                        <a:pt x="1187" y="1285"/>
                      </a:cubicBezTo>
                      <a:cubicBezTo>
                        <a:pt x="1311" y="1357"/>
                        <a:pt x="1311" y="1357"/>
                        <a:pt x="1311" y="1357"/>
                      </a:cubicBezTo>
                      <a:cubicBezTo>
                        <a:pt x="1311" y="1213"/>
                        <a:pt x="1311" y="1213"/>
                        <a:pt x="1311" y="1213"/>
                      </a:cubicBezTo>
                      <a:cubicBezTo>
                        <a:pt x="1190" y="1143"/>
                        <a:pt x="1190" y="1143"/>
                        <a:pt x="1190" y="1143"/>
                      </a:cubicBezTo>
                      <a:cubicBezTo>
                        <a:pt x="1190" y="1143"/>
                        <a:pt x="1189" y="1142"/>
                        <a:pt x="1189" y="1141"/>
                      </a:cubicBezTo>
                      <a:cubicBezTo>
                        <a:pt x="1189" y="1129"/>
                        <a:pt x="1189" y="1129"/>
                        <a:pt x="1189" y="1129"/>
                      </a:cubicBezTo>
                      <a:cubicBezTo>
                        <a:pt x="1189" y="1128"/>
                        <a:pt x="1190" y="1128"/>
                        <a:pt x="1190" y="1127"/>
                      </a:cubicBezTo>
                      <a:cubicBezTo>
                        <a:pt x="1191" y="1127"/>
                        <a:pt x="1192" y="1127"/>
                        <a:pt x="1192" y="1127"/>
                      </a:cubicBezTo>
                      <a:cubicBezTo>
                        <a:pt x="1342" y="1214"/>
                        <a:pt x="1342" y="1214"/>
                        <a:pt x="1342" y="1214"/>
                      </a:cubicBezTo>
                      <a:cubicBezTo>
                        <a:pt x="1343" y="1214"/>
                        <a:pt x="1343" y="1215"/>
                        <a:pt x="1343" y="1216"/>
                      </a:cubicBezTo>
                      <a:cubicBezTo>
                        <a:pt x="1343" y="1216"/>
                        <a:pt x="1343" y="1217"/>
                        <a:pt x="1342" y="1217"/>
                      </a:cubicBezTo>
                      <a:cubicBezTo>
                        <a:pt x="1341" y="1218"/>
                        <a:pt x="1341" y="1218"/>
                        <a:pt x="1341" y="1218"/>
                      </a:cubicBezTo>
                      <a:cubicBezTo>
                        <a:pt x="1341" y="1367"/>
                        <a:pt x="1341" y="1367"/>
                        <a:pt x="1341" y="1367"/>
                      </a:cubicBezTo>
                      <a:cubicBezTo>
                        <a:pt x="1470" y="1292"/>
                        <a:pt x="1470" y="1292"/>
                        <a:pt x="1470" y="1292"/>
                      </a:cubicBezTo>
                      <a:cubicBezTo>
                        <a:pt x="1471" y="1292"/>
                        <a:pt x="1472" y="1292"/>
                        <a:pt x="1472" y="1292"/>
                      </a:cubicBezTo>
                      <a:cubicBezTo>
                        <a:pt x="1536" y="1329"/>
                        <a:pt x="1536" y="1329"/>
                        <a:pt x="1536" y="1329"/>
                      </a:cubicBezTo>
                      <a:cubicBezTo>
                        <a:pt x="1536" y="1256"/>
                        <a:pt x="1536" y="1256"/>
                        <a:pt x="1536" y="1256"/>
                      </a:cubicBezTo>
                      <a:cubicBezTo>
                        <a:pt x="1471" y="1219"/>
                        <a:pt x="1471" y="1219"/>
                        <a:pt x="1471" y="1219"/>
                      </a:cubicBezTo>
                      <a:cubicBezTo>
                        <a:pt x="1470" y="1218"/>
                        <a:pt x="1470" y="1218"/>
                        <a:pt x="1470" y="1217"/>
                      </a:cubicBezTo>
                      <a:cubicBezTo>
                        <a:pt x="1470" y="1195"/>
                        <a:pt x="1470" y="1195"/>
                        <a:pt x="1470" y="1195"/>
                      </a:cubicBezTo>
                      <a:cubicBezTo>
                        <a:pt x="1470" y="1194"/>
                        <a:pt x="1470" y="1193"/>
                        <a:pt x="1471" y="1193"/>
                      </a:cubicBezTo>
                      <a:cubicBezTo>
                        <a:pt x="1502" y="1175"/>
                        <a:pt x="1502" y="1175"/>
                        <a:pt x="1502" y="1175"/>
                      </a:cubicBezTo>
                      <a:cubicBezTo>
                        <a:pt x="1502" y="1173"/>
                        <a:pt x="1502" y="1173"/>
                        <a:pt x="1502" y="1173"/>
                      </a:cubicBezTo>
                      <a:cubicBezTo>
                        <a:pt x="1502" y="1173"/>
                        <a:pt x="1502" y="1172"/>
                        <a:pt x="1503" y="1172"/>
                      </a:cubicBezTo>
                      <a:cubicBezTo>
                        <a:pt x="1510" y="1167"/>
                        <a:pt x="1510" y="1167"/>
                        <a:pt x="1510" y="1167"/>
                      </a:cubicBezTo>
                      <a:cubicBezTo>
                        <a:pt x="1503" y="1163"/>
                        <a:pt x="1503" y="1163"/>
                        <a:pt x="1503" y="1163"/>
                      </a:cubicBezTo>
                      <a:cubicBezTo>
                        <a:pt x="1502" y="1163"/>
                        <a:pt x="1502" y="1162"/>
                        <a:pt x="1502" y="1162"/>
                      </a:cubicBezTo>
                      <a:cubicBezTo>
                        <a:pt x="1502" y="1104"/>
                        <a:pt x="1502" y="1104"/>
                        <a:pt x="1502" y="1104"/>
                      </a:cubicBezTo>
                      <a:cubicBezTo>
                        <a:pt x="1460" y="1129"/>
                        <a:pt x="1460" y="1129"/>
                        <a:pt x="1460" y="1129"/>
                      </a:cubicBezTo>
                      <a:cubicBezTo>
                        <a:pt x="1459" y="1129"/>
                        <a:pt x="1458" y="1129"/>
                        <a:pt x="1458" y="1129"/>
                      </a:cubicBezTo>
                      <a:cubicBezTo>
                        <a:pt x="1443" y="1120"/>
                        <a:pt x="1443" y="1120"/>
                        <a:pt x="1443" y="1120"/>
                      </a:cubicBezTo>
                      <a:cubicBezTo>
                        <a:pt x="1442" y="1120"/>
                        <a:pt x="1442" y="1119"/>
                        <a:pt x="1442" y="1119"/>
                      </a:cubicBezTo>
                      <a:cubicBezTo>
                        <a:pt x="1442" y="1118"/>
                        <a:pt x="1442" y="1117"/>
                        <a:pt x="1443" y="1117"/>
                      </a:cubicBezTo>
                      <a:cubicBezTo>
                        <a:pt x="1553" y="1053"/>
                        <a:pt x="1553" y="1053"/>
                        <a:pt x="1553" y="1053"/>
                      </a:cubicBezTo>
                      <a:cubicBezTo>
                        <a:pt x="1553" y="914"/>
                        <a:pt x="1553" y="914"/>
                        <a:pt x="1553" y="914"/>
                      </a:cubicBezTo>
                      <a:cubicBezTo>
                        <a:pt x="1553" y="914"/>
                        <a:pt x="1554" y="913"/>
                        <a:pt x="1554" y="913"/>
                      </a:cubicBezTo>
                      <a:cubicBezTo>
                        <a:pt x="1592" y="891"/>
                        <a:pt x="1592" y="891"/>
                        <a:pt x="1592" y="891"/>
                      </a:cubicBezTo>
                      <a:cubicBezTo>
                        <a:pt x="1593" y="890"/>
                        <a:pt x="1593" y="890"/>
                        <a:pt x="1594" y="891"/>
                      </a:cubicBezTo>
                      <a:cubicBezTo>
                        <a:pt x="1617" y="904"/>
                        <a:pt x="1617" y="904"/>
                        <a:pt x="1617" y="904"/>
                      </a:cubicBezTo>
                      <a:cubicBezTo>
                        <a:pt x="1617" y="877"/>
                        <a:pt x="1617" y="877"/>
                        <a:pt x="1617" y="877"/>
                      </a:cubicBezTo>
                      <a:cubicBezTo>
                        <a:pt x="1617" y="877"/>
                        <a:pt x="1618" y="876"/>
                        <a:pt x="1618" y="876"/>
                      </a:cubicBezTo>
                      <a:cubicBezTo>
                        <a:pt x="1674" y="843"/>
                        <a:pt x="1674" y="843"/>
                        <a:pt x="1674" y="843"/>
                      </a:cubicBezTo>
                      <a:cubicBezTo>
                        <a:pt x="1674" y="706"/>
                        <a:pt x="1674" y="706"/>
                        <a:pt x="1674" y="706"/>
                      </a:cubicBezTo>
                      <a:cubicBezTo>
                        <a:pt x="1605" y="746"/>
                        <a:pt x="1605" y="746"/>
                        <a:pt x="1605" y="746"/>
                      </a:cubicBezTo>
                      <a:cubicBezTo>
                        <a:pt x="1604" y="747"/>
                        <a:pt x="1603" y="747"/>
                        <a:pt x="1603" y="746"/>
                      </a:cubicBezTo>
                      <a:cubicBezTo>
                        <a:pt x="1488" y="680"/>
                        <a:pt x="1488" y="680"/>
                        <a:pt x="1488" y="680"/>
                      </a:cubicBezTo>
                      <a:cubicBezTo>
                        <a:pt x="1488" y="680"/>
                        <a:pt x="1487" y="681"/>
                        <a:pt x="1487" y="681"/>
                      </a:cubicBezTo>
                      <a:cubicBezTo>
                        <a:pt x="1486" y="682"/>
                        <a:pt x="1485" y="682"/>
                        <a:pt x="1485" y="681"/>
                      </a:cubicBezTo>
                      <a:cubicBezTo>
                        <a:pt x="1418" y="643"/>
                        <a:pt x="1418" y="643"/>
                        <a:pt x="1418" y="643"/>
                      </a:cubicBezTo>
                      <a:cubicBezTo>
                        <a:pt x="1418" y="643"/>
                        <a:pt x="1417" y="642"/>
                        <a:pt x="1417" y="641"/>
                      </a:cubicBezTo>
                      <a:cubicBezTo>
                        <a:pt x="1417" y="641"/>
                        <a:pt x="1418" y="640"/>
                        <a:pt x="1418" y="640"/>
                      </a:cubicBezTo>
                      <a:cubicBezTo>
                        <a:pt x="1470" y="610"/>
                        <a:pt x="1470" y="610"/>
                        <a:pt x="1470" y="610"/>
                      </a:cubicBezTo>
                      <a:cubicBezTo>
                        <a:pt x="1470" y="539"/>
                        <a:pt x="1470" y="539"/>
                        <a:pt x="1470" y="539"/>
                      </a:cubicBezTo>
                      <a:cubicBezTo>
                        <a:pt x="1470" y="538"/>
                        <a:pt x="1470" y="537"/>
                        <a:pt x="1471" y="537"/>
                      </a:cubicBezTo>
                      <a:cubicBezTo>
                        <a:pt x="1485" y="529"/>
                        <a:pt x="1485" y="529"/>
                        <a:pt x="1485" y="529"/>
                      </a:cubicBezTo>
                      <a:cubicBezTo>
                        <a:pt x="1485" y="529"/>
                        <a:pt x="1486" y="529"/>
                        <a:pt x="1487" y="529"/>
                      </a:cubicBezTo>
                      <a:cubicBezTo>
                        <a:pt x="1487" y="530"/>
                        <a:pt x="1488" y="530"/>
                        <a:pt x="1488" y="531"/>
                      </a:cubicBezTo>
                      <a:cubicBezTo>
                        <a:pt x="1488" y="601"/>
                        <a:pt x="1488" y="601"/>
                        <a:pt x="1488" y="601"/>
                      </a:cubicBezTo>
                      <a:cubicBezTo>
                        <a:pt x="1512" y="615"/>
                        <a:pt x="1512" y="615"/>
                        <a:pt x="1512" y="615"/>
                      </a:cubicBezTo>
                      <a:cubicBezTo>
                        <a:pt x="1513" y="615"/>
                        <a:pt x="1513" y="616"/>
                        <a:pt x="1513" y="617"/>
                      </a:cubicBezTo>
                      <a:cubicBezTo>
                        <a:pt x="1513" y="618"/>
                        <a:pt x="1513" y="618"/>
                        <a:pt x="1512" y="619"/>
                      </a:cubicBezTo>
                      <a:cubicBezTo>
                        <a:pt x="1475" y="640"/>
                        <a:pt x="1475" y="640"/>
                        <a:pt x="1475" y="640"/>
                      </a:cubicBezTo>
                      <a:cubicBezTo>
                        <a:pt x="1550" y="683"/>
                        <a:pt x="1550" y="683"/>
                        <a:pt x="1550" y="683"/>
                      </a:cubicBezTo>
                      <a:cubicBezTo>
                        <a:pt x="1625" y="640"/>
                        <a:pt x="1625" y="640"/>
                        <a:pt x="1625" y="640"/>
                      </a:cubicBezTo>
                      <a:cubicBezTo>
                        <a:pt x="1590" y="620"/>
                        <a:pt x="1590" y="620"/>
                        <a:pt x="1590" y="620"/>
                      </a:cubicBezTo>
                      <a:cubicBezTo>
                        <a:pt x="1590" y="619"/>
                        <a:pt x="1589" y="619"/>
                        <a:pt x="1589" y="618"/>
                      </a:cubicBezTo>
                      <a:cubicBezTo>
                        <a:pt x="1589" y="617"/>
                        <a:pt x="1590" y="617"/>
                        <a:pt x="1590" y="616"/>
                      </a:cubicBezTo>
                      <a:cubicBezTo>
                        <a:pt x="1601" y="610"/>
                        <a:pt x="1601" y="610"/>
                        <a:pt x="1601" y="610"/>
                      </a:cubicBezTo>
                      <a:cubicBezTo>
                        <a:pt x="1601" y="537"/>
                        <a:pt x="1601" y="537"/>
                        <a:pt x="1601" y="537"/>
                      </a:cubicBezTo>
                      <a:cubicBezTo>
                        <a:pt x="1553" y="564"/>
                        <a:pt x="1553" y="564"/>
                        <a:pt x="1553" y="564"/>
                      </a:cubicBezTo>
                      <a:cubicBezTo>
                        <a:pt x="1553" y="565"/>
                        <a:pt x="1552" y="565"/>
                        <a:pt x="1551" y="564"/>
                      </a:cubicBezTo>
                      <a:cubicBezTo>
                        <a:pt x="1487" y="527"/>
                        <a:pt x="1487" y="527"/>
                        <a:pt x="1487" y="527"/>
                      </a:cubicBezTo>
                      <a:cubicBezTo>
                        <a:pt x="1487" y="527"/>
                        <a:pt x="1486" y="526"/>
                        <a:pt x="1486" y="526"/>
                      </a:cubicBezTo>
                      <a:cubicBezTo>
                        <a:pt x="1486" y="525"/>
                        <a:pt x="1487" y="524"/>
                        <a:pt x="1487" y="524"/>
                      </a:cubicBezTo>
                      <a:cubicBezTo>
                        <a:pt x="1503" y="515"/>
                        <a:pt x="1503" y="515"/>
                        <a:pt x="1503" y="515"/>
                      </a:cubicBezTo>
                      <a:cubicBezTo>
                        <a:pt x="1503" y="515"/>
                        <a:pt x="1504" y="515"/>
                        <a:pt x="1505" y="515"/>
                      </a:cubicBezTo>
                      <a:cubicBezTo>
                        <a:pt x="1566" y="550"/>
                        <a:pt x="1566" y="550"/>
                        <a:pt x="1566" y="550"/>
                      </a:cubicBezTo>
                      <a:cubicBezTo>
                        <a:pt x="1566" y="480"/>
                        <a:pt x="1566" y="480"/>
                        <a:pt x="1566" y="480"/>
                      </a:cubicBezTo>
                      <a:cubicBezTo>
                        <a:pt x="1537" y="463"/>
                        <a:pt x="1537" y="463"/>
                        <a:pt x="1537" y="463"/>
                      </a:cubicBezTo>
                      <a:cubicBezTo>
                        <a:pt x="1536" y="463"/>
                        <a:pt x="1536" y="462"/>
                        <a:pt x="1536" y="461"/>
                      </a:cubicBezTo>
                      <a:cubicBezTo>
                        <a:pt x="1536" y="424"/>
                        <a:pt x="1536" y="424"/>
                        <a:pt x="1536" y="424"/>
                      </a:cubicBezTo>
                      <a:cubicBezTo>
                        <a:pt x="1536" y="423"/>
                        <a:pt x="1536" y="422"/>
                        <a:pt x="1537" y="422"/>
                      </a:cubicBezTo>
                      <a:cubicBezTo>
                        <a:pt x="1553" y="413"/>
                        <a:pt x="1553" y="413"/>
                        <a:pt x="1553" y="413"/>
                      </a:cubicBezTo>
                      <a:cubicBezTo>
                        <a:pt x="1489" y="375"/>
                        <a:pt x="1489" y="375"/>
                        <a:pt x="1489" y="375"/>
                      </a:cubicBezTo>
                      <a:cubicBezTo>
                        <a:pt x="1435" y="406"/>
                        <a:pt x="1435" y="406"/>
                        <a:pt x="1435" y="406"/>
                      </a:cubicBezTo>
                      <a:cubicBezTo>
                        <a:pt x="1434" y="407"/>
                        <a:pt x="1434" y="407"/>
                        <a:pt x="1433" y="406"/>
                      </a:cubicBezTo>
                      <a:cubicBezTo>
                        <a:pt x="1432" y="406"/>
                        <a:pt x="1432" y="405"/>
                        <a:pt x="1432" y="405"/>
                      </a:cubicBezTo>
                      <a:cubicBezTo>
                        <a:pt x="1432" y="286"/>
                        <a:pt x="1432" y="286"/>
                        <a:pt x="1432" y="286"/>
                      </a:cubicBezTo>
                      <a:cubicBezTo>
                        <a:pt x="1314" y="354"/>
                        <a:pt x="1314" y="354"/>
                        <a:pt x="1314" y="354"/>
                      </a:cubicBezTo>
                      <a:cubicBezTo>
                        <a:pt x="1314" y="354"/>
                        <a:pt x="1313" y="354"/>
                        <a:pt x="1312" y="354"/>
                      </a:cubicBezTo>
                      <a:cubicBezTo>
                        <a:pt x="1312" y="353"/>
                        <a:pt x="1311" y="353"/>
                        <a:pt x="1311" y="352"/>
                      </a:cubicBezTo>
                      <a:cubicBezTo>
                        <a:pt x="1311" y="333"/>
                        <a:pt x="1311" y="333"/>
                        <a:pt x="1311" y="333"/>
                      </a:cubicBezTo>
                      <a:cubicBezTo>
                        <a:pt x="1208" y="273"/>
                        <a:pt x="1208" y="273"/>
                        <a:pt x="1208" y="273"/>
                      </a:cubicBezTo>
                      <a:cubicBezTo>
                        <a:pt x="1208" y="273"/>
                        <a:pt x="1207" y="272"/>
                        <a:pt x="1207" y="271"/>
                      </a:cubicBezTo>
                      <a:cubicBezTo>
                        <a:pt x="1207" y="232"/>
                        <a:pt x="1207" y="232"/>
                        <a:pt x="1207" y="232"/>
                      </a:cubicBezTo>
                      <a:cubicBezTo>
                        <a:pt x="1207" y="231"/>
                        <a:pt x="1208" y="230"/>
                        <a:pt x="1208" y="230"/>
                      </a:cubicBezTo>
                      <a:cubicBezTo>
                        <a:pt x="1224" y="221"/>
                        <a:pt x="1224" y="221"/>
                        <a:pt x="1224" y="221"/>
                      </a:cubicBezTo>
                      <a:cubicBezTo>
                        <a:pt x="1224" y="220"/>
                        <a:pt x="1225" y="220"/>
                        <a:pt x="1226" y="221"/>
                      </a:cubicBezTo>
                      <a:cubicBezTo>
                        <a:pt x="1355" y="295"/>
                        <a:pt x="1355" y="295"/>
                        <a:pt x="1355" y="295"/>
                      </a:cubicBezTo>
                      <a:cubicBezTo>
                        <a:pt x="1486" y="220"/>
                        <a:pt x="1486" y="220"/>
                        <a:pt x="1486" y="220"/>
                      </a:cubicBezTo>
                      <a:cubicBezTo>
                        <a:pt x="1355" y="144"/>
                        <a:pt x="1355" y="144"/>
                        <a:pt x="1355" y="144"/>
                      </a:cubicBezTo>
                      <a:cubicBezTo>
                        <a:pt x="1342" y="152"/>
                        <a:pt x="1342" y="152"/>
                        <a:pt x="1342" y="152"/>
                      </a:cubicBezTo>
                      <a:cubicBezTo>
                        <a:pt x="1341" y="152"/>
                        <a:pt x="1340" y="152"/>
                        <a:pt x="1340" y="152"/>
                      </a:cubicBezTo>
                      <a:cubicBezTo>
                        <a:pt x="1339" y="151"/>
                        <a:pt x="1339" y="151"/>
                        <a:pt x="1339" y="150"/>
                      </a:cubicBezTo>
                      <a:cubicBezTo>
                        <a:pt x="1339" y="6"/>
                        <a:pt x="1339" y="6"/>
                        <a:pt x="1339" y="6"/>
                      </a:cubicBezTo>
                      <a:cubicBezTo>
                        <a:pt x="1210" y="80"/>
                        <a:pt x="1210" y="80"/>
                        <a:pt x="1210" y="80"/>
                      </a:cubicBezTo>
                      <a:cubicBezTo>
                        <a:pt x="1210" y="129"/>
                        <a:pt x="1210" y="129"/>
                        <a:pt x="1210" y="129"/>
                      </a:cubicBezTo>
                      <a:cubicBezTo>
                        <a:pt x="1210" y="129"/>
                        <a:pt x="1209" y="130"/>
                        <a:pt x="1209" y="130"/>
                      </a:cubicBezTo>
                      <a:cubicBezTo>
                        <a:pt x="1208" y="131"/>
                        <a:pt x="1207" y="131"/>
                        <a:pt x="1207" y="130"/>
                      </a:cubicBezTo>
                      <a:cubicBezTo>
                        <a:pt x="1185" y="118"/>
                        <a:pt x="1185" y="118"/>
                        <a:pt x="1185" y="118"/>
                      </a:cubicBezTo>
                      <a:cubicBezTo>
                        <a:pt x="1185" y="118"/>
                        <a:pt x="1184" y="117"/>
                        <a:pt x="1184" y="116"/>
                      </a:cubicBezTo>
                      <a:cubicBezTo>
                        <a:pt x="1184" y="113"/>
                        <a:pt x="1184" y="113"/>
                        <a:pt x="1184" y="113"/>
                      </a:cubicBezTo>
                      <a:cubicBezTo>
                        <a:pt x="1060" y="41"/>
                        <a:pt x="1060" y="41"/>
                        <a:pt x="1060" y="41"/>
                      </a:cubicBezTo>
                      <a:cubicBezTo>
                        <a:pt x="1060" y="75"/>
                        <a:pt x="1060" y="75"/>
                        <a:pt x="1060" y="75"/>
                      </a:cubicBezTo>
                      <a:cubicBezTo>
                        <a:pt x="1060" y="76"/>
                        <a:pt x="1059" y="76"/>
                        <a:pt x="1059" y="77"/>
                      </a:cubicBezTo>
                      <a:cubicBezTo>
                        <a:pt x="934" y="149"/>
                        <a:pt x="934" y="149"/>
                        <a:pt x="934" y="149"/>
                      </a:cubicBezTo>
                      <a:cubicBezTo>
                        <a:pt x="948" y="157"/>
                        <a:pt x="948" y="157"/>
                        <a:pt x="948" y="157"/>
                      </a:cubicBezTo>
                      <a:cubicBezTo>
                        <a:pt x="949" y="157"/>
                        <a:pt x="949" y="158"/>
                        <a:pt x="949" y="159"/>
                      </a:cubicBezTo>
                      <a:cubicBezTo>
                        <a:pt x="949" y="283"/>
                        <a:pt x="949" y="283"/>
                        <a:pt x="949" y="283"/>
                      </a:cubicBezTo>
                      <a:cubicBezTo>
                        <a:pt x="949" y="283"/>
                        <a:pt x="949" y="284"/>
                        <a:pt x="948" y="284"/>
                      </a:cubicBezTo>
                      <a:cubicBezTo>
                        <a:pt x="948" y="285"/>
                        <a:pt x="947" y="285"/>
                        <a:pt x="946" y="284"/>
                      </a:cubicBezTo>
                      <a:cubicBezTo>
                        <a:pt x="889" y="251"/>
                        <a:pt x="889" y="251"/>
                        <a:pt x="889" y="251"/>
                      </a:cubicBezTo>
                      <a:cubicBezTo>
                        <a:pt x="889" y="258"/>
                        <a:pt x="889" y="258"/>
                        <a:pt x="889" y="258"/>
                      </a:cubicBezTo>
                      <a:cubicBezTo>
                        <a:pt x="889" y="259"/>
                        <a:pt x="888" y="259"/>
                        <a:pt x="888" y="260"/>
                      </a:cubicBezTo>
                      <a:cubicBezTo>
                        <a:pt x="882" y="263"/>
                        <a:pt x="882" y="263"/>
                        <a:pt x="882" y="263"/>
                      </a:cubicBezTo>
                      <a:cubicBezTo>
                        <a:pt x="881" y="263"/>
                        <a:pt x="880" y="263"/>
                        <a:pt x="880" y="263"/>
                      </a:cubicBezTo>
                      <a:cubicBezTo>
                        <a:pt x="879" y="263"/>
                        <a:pt x="879" y="262"/>
                        <a:pt x="879" y="261"/>
                      </a:cubicBezTo>
                      <a:cubicBezTo>
                        <a:pt x="879" y="195"/>
                        <a:pt x="879" y="195"/>
                        <a:pt x="879" y="195"/>
                      </a:cubicBezTo>
                      <a:cubicBezTo>
                        <a:pt x="829" y="224"/>
                        <a:pt x="829" y="224"/>
                        <a:pt x="829" y="224"/>
                      </a:cubicBezTo>
                      <a:cubicBezTo>
                        <a:pt x="828" y="224"/>
                        <a:pt x="827" y="224"/>
                        <a:pt x="827" y="224"/>
                      </a:cubicBezTo>
                      <a:cubicBezTo>
                        <a:pt x="826" y="224"/>
                        <a:pt x="826" y="223"/>
                        <a:pt x="826" y="222"/>
                      </a:cubicBezTo>
                      <a:cubicBezTo>
                        <a:pt x="826" y="221"/>
                        <a:pt x="826" y="221"/>
                        <a:pt x="826" y="221"/>
                      </a:cubicBezTo>
                      <a:cubicBezTo>
                        <a:pt x="822" y="219"/>
                        <a:pt x="822" y="219"/>
                        <a:pt x="822" y="219"/>
                      </a:cubicBezTo>
                      <a:cubicBezTo>
                        <a:pt x="821" y="219"/>
                        <a:pt x="821" y="218"/>
                        <a:pt x="821" y="217"/>
                      </a:cubicBezTo>
                      <a:cubicBezTo>
                        <a:pt x="821" y="217"/>
                        <a:pt x="821" y="216"/>
                        <a:pt x="822" y="216"/>
                      </a:cubicBezTo>
                      <a:cubicBezTo>
                        <a:pt x="826" y="213"/>
                        <a:pt x="826" y="213"/>
                        <a:pt x="826" y="213"/>
                      </a:cubicBezTo>
                      <a:cubicBezTo>
                        <a:pt x="826" y="120"/>
                        <a:pt x="826" y="120"/>
                        <a:pt x="826" y="120"/>
                      </a:cubicBezTo>
                      <a:cubicBezTo>
                        <a:pt x="826" y="119"/>
                        <a:pt x="826" y="119"/>
                        <a:pt x="827" y="118"/>
                      </a:cubicBezTo>
                      <a:cubicBezTo>
                        <a:pt x="852" y="104"/>
                        <a:pt x="852" y="104"/>
                        <a:pt x="852" y="104"/>
                      </a:cubicBezTo>
                      <a:cubicBezTo>
                        <a:pt x="827" y="90"/>
                        <a:pt x="827" y="90"/>
                        <a:pt x="827" y="90"/>
                      </a:cubicBezTo>
                      <a:cubicBezTo>
                        <a:pt x="826" y="89"/>
                        <a:pt x="826" y="89"/>
                        <a:pt x="826" y="88"/>
                      </a:cubicBezTo>
                      <a:cubicBezTo>
                        <a:pt x="826" y="76"/>
                        <a:pt x="826" y="76"/>
                        <a:pt x="826" y="76"/>
                      </a:cubicBezTo>
                      <a:cubicBezTo>
                        <a:pt x="815" y="82"/>
                        <a:pt x="815" y="82"/>
                        <a:pt x="815" y="82"/>
                      </a:cubicBezTo>
                      <a:cubicBezTo>
                        <a:pt x="815" y="82"/>
                        <a:pt x="814" y="82"/>
                        <a:pt x="813" y="82"/>
                      </a:cubicBezTo>
                      <a:cubicBezTo>
                        <a:pt x="777" y="61"/>
                        <a:pt x="777" y="61"/>
                        <a:pt x="777" y="61"/>
                      </a:cubicBezTo>
                      <a:cubicBezTo>
                        <a:pt x="702" y="104"/>
                        <a:pt x="702" y="104"/>
                        <a:pt x="702" y="104"/>
                      </a:cubicBezTo>
                      <a:cubicBezTo>
                        <a:pt x="736" y="124"/>
                        <a:pt x="736" y="124"/>
                        <a:pt x="736" y="124"/>
                      </a:cubicBezTo>
                      <a:cubicBezTo>
                        <a:pt x="737" y="124"/>
                        <a:pt x="737" y="125"/>
                        <a:pt x="737" y="126"/>
                      </a:cubicBezTo>
                      <a:cubicBezTo>
                        <a:pt x="737" y="127"/>
                        <a:pt x="737" y="127"/>
                        <a:pt x="736" y="128"/>
                      </a:cubicBezTo>
                      <a:cubicBezTo>
                        <a:pt x="707" y="145"/>
                        <a:pt x="707" y="145"/>
                        <a:pt x="707" y="145"/>
                      </a:cubicBezTo>
                      <a:cubicBezTo>
                        <a:pt x="706" y="145"/>
                        <a:pt x="705" y="145"/>
                        <a:pt x="705" y="145"/>
                      </a:cubicBezTo>
                      <a:cubicBezTo>
                        <a:pt x="586" y="76"/>
                        <a:pt x="586" y="76"/>
                        <a:pt x="586" y="76"/>
                      </a:cubicBezTo>
                      <a:cubicBezTo>
                        <a:pt x="586" y="159"/>
                        <a:pt x="586" y="159"/>
                        <a:pt x="586" y="159"/>
                      </a:cubicBezTo>
                      <a:cubicBezTo>
                        <a:pt x="586" y="160"/>
                        <a:pt x="585" y="160"/>
                        <a:pt x="585" y="161"/>
                      </a:cubicBezTo>
                      <a:cubicBezTo>
                        <a:pt x="584" y="161"/>
                        <a:pt x="583" y="161"/>
                        <a:pt x="583" y="161"/>
                      </a:cubicBezTo>
                      <a:cubicBezTo>
                        <a:pt x="553" y="144"/>
                        <a:pt x="553" y="144"/>
                        <a:pt x="553" y="144"/>
                      </a:cubicBezTo>
                      <a:cubicBezTo>
                        <a:pt x="422" y="220"/>
                        <a:pt x="422" y="220"/>
                        <a:pt x="422" y="220"/>
                      </a:cubicBezTo>
                      <a:cubicBezTo>
                        <a:pt x="431" y="225"/>
                        <a:pt x="431" y="225"/>
                        <a:pt x="431" y="225"/>
                      </a:cubicBezTo>
                      <a:cubicBezTo>
                        <a:pt x="432" y="225"/>
                        <a:pt x="432" y="226"/>
                        <a:pt x="432" y="227"/>
                      </a:cubicBezTo>
                      <a:cubicBezTo>
                        <a:pt x="432" y="302"/>
                        <a:pt x="432" y="302"/>
                        <a:pt x="432" y="302"/>
                      </a:cubicBezTo>
                      <a:cubicBezTo>
                        <a:pt x="432" y="303"/>
                        <a:pt x="432" y="303"/>
                        <a:pt x="431" y="304"/>
                      </a:cubicBezTo>
                      <a:cubicBezTo>
                        <a:pt x="343" y="355"/>
                        <a:pt x="343" y="355"/>
                        <a:pt x="343" y="355"/>
                      </a:cubicBezTo>
                      <a:cubicBezTo>
                        <a:pt x="343" y="355"/>
                        <a:pt x="343" y="355"/>
                        <a:pt x="343" y="355"/>
                      </a:cubicBezTo>
                      <a:cubicBezTo>
                        <a:pt x="343" y="356"/>
                        <a:pt x="343" y="356"/>
                        <a:pt x="342" y="357"/>
                      </a:cubicBezTo>
                      <a:cubicBezTo>
                        <a:pt x="298" y="382"/>
                        <a:pt x="298" y="382"/>
                        <a:pt x="298" y="382"/>
                      </a:cubicBezTo>
                      <a:cubicBezTo>
                        <a:pt x="297" y="382"/>
                        <a:pt x="297" y="382"/>
                        <a:pt x="296" y="382"/>
                      </a:cubicBezTo>
                      <a:cubicBezTo>
                        <a:pt x="295" y="382"/>
                        <a:pt x="295" y="381"/>
                        <a:pt x="295" y="380"/>
                      </a:cubicBezTo>
                      <a:cubicBezTo>
                        <a:pt x="295" y="333"/>
                        <a:pt x="295" y="333"/>
                        <a:pt x="295" y="333"/>
                      </a:cubicBezTo>
                      <a:cubicBezTo>
                        <a:pt x="170" y="261"/>
                        <a:pt x="170" y="261"/>
                        <a:pt x="170" y="261"/>
                      </a:cubicBezTo>
                      <a:cubicBezTo>
                        <a:pt x="170" y="382"/>
                        <a:pt x="170" y="382"/>
                        <a:pt x="170" y="382"/>
                      </a:cubicBezTo>
                      <a:cubicBezTo>
                        <a:pt x="170" y="383"/>
                        <a:pt x="170" y="383"/>
                        <a:pt x="169" y="384"/>
                      </a:cubicBezTo>
                      <a:cubicBezTo>
                        <a:pt x="169" y="384"/>
                        <a:pt x="168" y="384"/>
                        <a:pt x="167" y="384"/>
                      </a:cubicBezTo>
                      <a:cubicBezTo>
                        <a:pt x="153" y="375"/>
                        <a:pt x="153" y="375"/>
                        <a:pt x="153" y="375"/>
                      </a:cubicBezTo>
                      <a:cubicBezTo>
                        <a:pt x="21" y="451"/>
                        <a:pt x="21" y="451"/>
                        <a:pt x="21" y="451"/>
                      </a:cubicBezTo>
                      <a:cubicBezTo>
                        <a:pt x="153" y="527"/>
                        <a:pt x="153" y="527"/>
                        <a:pt x="153" y="527"/>
                      </a:cubicBezTo>
                      <a:cubicBezTo>
                        <a:pt x="266" y="461"/>
                        <a:pt x="266" y="461"/>
                        <a:pt x="266" y="461"/>
                      </a:cubicBezTo>
                      <a:cubicBezTo>
                        <a:pt x="267" y="461"/>
                        <a:pt x="268" y="461"/>
                        <a:pt x="268" y="461"/>
                      </a:cubicBezTo>
                      <a:cubicBezTo>
                        <a:pt x="296" y="478"/>
                        <a:pt x="296" y="478"/>
                        <a:pt x="296" y="478"/>
                      </a:cubicBezTo>
                      <a:cubicBezTo>
                        <a:pt x="297" y="478"/>
                        <a:pt x="297" y="479"/>
                        <a:pt x="297" y="479"/>
                      </a:cubicBezTo>
                      <a:cubicBezTo>
                        <a:pt x="297" y="520"/>
                        <a:pt x="297" y="520"/>
                        <a:pt x="297" y="520"/>
                      </a:cubicBezTo>
                      <a:cubicBezTo>
                        <a:pt x="297" y="521"/>
                        <a:pt x="297" y="521"/>
                        <a:pt x="296" y="522"/>
                      </a:cubicBezTo>
                      <a:cubicBezTo>
                        <a:pt x="222" y="565"/>
                        <a:pt x="222" y="565"/>
                        <a:pt x="222" y="565"/>
                      </a:cubicBezTo>
                      <a:cubicBezTo>
                        <a:pt x="222" y="574"/>
                        <a:pt x="222" y="574"/>
                        <a:pt x="222" y="574"/>
                      </a:cubicBezTo>
                      <a:cubicBezTo>
                        <a:pt x="222" y="574"/>
                        <a:pt x="221" y="575"/>
                        <a:pt x="221" y="575"/>
                      </a:cubicBezTo>
                      <a:cubicBezTo>
                        <a:pt x="98" y="647"/>
                        <a:pt x="98" y="647"/>
                        <a:pt x="98" y="647"/>
                      </a:cubicBezTo>
                      <a:cubicBezTo>
                        <a:pt x="221" y="718"/>
                        <a:pt x="221" y="718"/>
                        <a:pt x="221" y="718"/>
                      </a:cubicBezTo>
                      <a:cubicBezTo>
                        <a:pt x="221" y="718"/>
                        <a:pt x="222" y="719"/>
                        <a:pt x="222" y="720"/>
                      </a:cubicBezTo>
                      <a:cubicBezTo>
                        <a:pt x="222" y="843"/>
                        <a:pt x="222" y="843"/>
                        <a:pt x="222" y="843"/>
                      </a:cubicBezTo>
                      <a:cubicBezTo>
                        <a:pt x="244" y="856"/>
                        <a:pt x="244" y="856"/>
                        <a:pt x="244" y="856"/>
                      </a:cubicBezTo>
                      <a:cubicBezTo>
                        <a:pt x="245" y="856"/>
                        <a:pt x="245" y="857"/>
                        <a:pt x="245" y="858"/>
                      </a:cubicBezTo>
                      <a:cubicBezTo>
                        <a:pt x="245" y="859"/>
                        <a:pt x="245" y="859"/>
                        <a:pt x="244" y="860"/>
                      </a:cubicBezTo>
                      <a:cubicBezTo>
                        <a:pt x="226" y="870"/>
                        <a:pt x="226" y="870"/>
                        <a:pt x="226" y="870"/>
                      </a:cubicBezTo>
                      <a:cubicBezTo>
                        <a:pt x="289" y="906"/>
                        <a:pt x="289" y="906"/>
                        <a:pt x="289" y="906"/>
                      </a:cubicBezTo>
                      <a:cubicBezTo>
                        <a:pt x="289" y="906"/>
                        <a:pt x="290" y="907"/>
                        <a:pt x="290" y="908"/>
                      </a:cubicBezTo>
                      <a:cubicBezTo>
                        <a:pt x="290" y="912"/>
                        <a:pt x="290" y="912"/>
                        <a:pt x="290" y="912"/>
                      </a:cubicBezTo>
                      <a:cubicBezTo>
                        <a:pt x="293" y="910"/>
                        <a:pt x="293" y="910"/>
                        <a:pt x="293" y="910"/>
                      </a:cubicBezTo>
                      <a:cubicBezTo>
                        <a:pt x="294" y="909"/>
                        <a:pt x="295" y="909"/>
                        <a:pt x="295" y="910"/>
                      </a:cubicBezTo>
                      <a:cubicBezTo>
                        <a:pt x="320" y="924"/>
                        <a:pt x="320" y="924"/>
                        <a:pt x="320" y="924"/>
                      </a:cubicBezTo>
                      <a:cubicBezTo>
                        <a:pt x="321" y="925"/>
                        <a:pt x="321" y="925"/>
                        <a:pt x="321" y="926"/>
                      </a:cubicBezTo>
                      <a:cubicBezTo>
                        <a:pt x="321" y="927"/>
                        <a:pt x="321" y="927"/>
                        <a:pt x="320" y="928"/>
                      </a:cubicBezTo>
                      <a:cubicBezTo>
                        <a:pt x="316" y="930"/>
                        <a:pt x="316" y="930"/>
                        <a:pt x="316" y="930"/>
                      </a:cubicBezTo>
                      <a:cubicBezTo>
                        <a:pt x="315" y="931"/>
                        <a:pt x="314" y="931"/>
                        <a:pt x="314" y="930"/>
                      </a:cubicBezTo>
                      <a:cubicBezTo>
                        <a:pt x="297" y="921"/>
                        <a:pt x="297" y="921"/>
                        <a:pt x="297" y="921"/>
                      </a:cubicBezTo>
                      <a:cubicBezTo>
                        <a:pt x="297" y="940"/>
                        <a:pt x="297" y="940"/>
                        <a:pt x="297" y="940"/>
                      </a:cubicBezTo>
                      <a:cubicBezTo>
                        <a:pt x="297" y="941"/>
                        <a:pt x="297" y="941"/>
                        <a:pt x="296" y="942"/>
                      </a:cubicBezTo>
                      <a:cubicBezTo>
                        <a:pt x="222" y="985"/>
                        <a:pt x="222" y="985"/>
                        <a:pt x="222" y="985"/>
                      </a:cubicBezTo>
                      <a:cubicBezTo>
                        <a:pt x="222" y="1122"/>
                        <a:pt x="222" y="1122"/>
                        <a:pt x="222" y="1122"/>
                      </a:cubicBezTo>
                      <a:cubicBezTo>
                        <a:pt x="308" y="1072"/>
                        <a:pt x="308" y="1072"/>
                        <a:pt x="308" y="1072"/>
                      </a:cubicBezTo>
                      <a:cubicBezTo>
                        <a:pt x="309" y="1072"/>
                        <a:pt x="309" y="1072"/>
                        <a:pt x="310" y="1072"/>
                      </a:cubicBezTo>
                      <a:cubicBezTo>
                        <a:pt x="423" y="1138"/>
                        <a:pt x="423" y="1138"/>
                        <a:pt x="423" y="1138"/>
                      </a:cubicBezTo>
                      <a:cubicBezTo>
                        <a:pt x="424" y="1138"/>
                        <a:pt x="424" y="1139"/>
                        <a:pt x="424" y="1139"/>
                      </a:cubicBezTo>
                      <a:cubicBezTo>
                        <a:pt x="424" y="1146"/>
                        <a:pt x="424" y="1146"/>
                        <a:pt x="424" y="1146"/>
                      </a:cubicBezTo>
                      <a:cubicBezTo>
                        <a:pt x="424" y="1147"/>
                        <a:pt x="424" y="1148"/>
                        <a:pt x="423" y="1148"/>
                      </a:cubicBezTo>
                      <a:cubicBezTo>
                        <a:pt x="343" y="1195"/>
                        <a:pt x="343" y="1195"/>
                        <a:pt x="343" y="1195"/>
                      </a:cubicBezTo>
                      <a:cubicBezTo>
                        <a:pt x="343" y="1332"/>
                        <a:pt x="343" y="1332"/>
                        <a:pt x="343" y="1332"/>
                      </a:cubicBezTo>
                      <a:cubicBezTo>
                        <a:pt x="423" y="1286"/>
                        <a:pt x="423" y="1286"/>
                        <a:pt x="423" y="1286"/>
                      </a:cubicBezTo>
                      <a:cubicBezTo>
                        <a:pt x="424" y="1285"/>
                        <a:pt x="425" y="1285"/>
                        <a:pt x="425" y="1286"/>
                      </a:cubicBezTo>
                      <a:cubicBezTo>
                        <a:pt x="524" y="1342"/>
                        <a:pt x="524" y="1342"/>
                        <a:pt x="524" y="1342"/>
                      </a:cubicBezTo>
                      <a:cubicBezTo>
                        <a:pt x="525" y="1343"/>
                        <a:pt x="525" y="1344"/>
                        <a:pt x="525" y="1344"/>
                      </a:cubicBezTo>
                      <a:cubicBezTo>
                        <a:pt x="525" y="1368"/>
                        <a:pt x="525" y="1368"/>
                        <a:pt x="525" y="1368"/>
                      </a:cubicBezTo>
                      <a:cubicBezTo>
                        <a:pt x="563" y="1390"/>
                        <a:pt x="563" y="1390"/>
                        <a:pt x="563" y="1390"/>
                      </a:cubicBezTo>
                      <a:cubicBezTo>
                        <a:pt x="564" y="1391"/>
                        <a:pt x="564" y="1391"/>
                        <a:pt x="564" y="1392"/>
                      </a:cubicBezTo>
                      <a:cubicBezTo>
                        <a:pt x="564" y="1416"/>
                        <a:pt x="564" y="1416"/>
                        <a:pt x="564" y="1416"/>
                      </a:cubicBezTo>
                      <a:cubicBezTo>
                        <a:pt x="564" y="1416"/>
                        <a:pt x="564" y="1417"/>
                        <a:pt x="563" y="1417"/>
                      </a:cubicBezTo>
                      <a:cubicBezTo>
                        <a:pt x="527" y="1439"/>
                        <a:pt x="527" y="1439"/>
                        <a:pt x="527" y="1439"/>
                      </a:cubicBezTo>
                      <a:cubicBezTo>
                        <a:pt x="526" y="1439"/>
                        <a:pt x="525" y="1439"/>
                        <a:pt x="525" y="1439"/>
                      </a:cubicBezTo>
                      <a:cubicBezTo>
                        <a:pt x="487" y="1417"/>
                        <a:pt x="487" y="1417"/>
                        <a:pt x="487" y="1417"/>
                      </a:cubicBezTo>
                      <a:cubicBezTo>
                        <a:pt x="441" y="1443"/>
                        <a:pt x="441" y="1443"/>
                        <a:pt x="441" y="1443"/>
                      </a:cubicBezTo>
                      <a:cubicBezTo>
                        <a:pt x="441" y="1443"/>
                        <a:pt x="440" y="1443"/>
                        <a:pt x="439" y="1443"/>
                      </a:cubicBezTo>
                      <a:cubicBezTo>
                        <a:pt x="433" y="1439"/>
                        <a:pt x="433" y="1439"/>
                        <a:pt x="433" y="1439"/>
                      </a:cubicBezTo>
                      <a:cubicBezTo>
                        <a:pt x="433" y="1439"/>
                        <a:pt x="432" y="1438"/>
                        <a:pt x="432" y="1438"/>
                      </a:cubicBezTo>
                      <a:cubicBezTo>
                        <a:pt x="432" y="1437"/>
                        <a:pt x="433" y="1436"/>
                        <a:pt x="433" y="1436"/>
                      </a:cubicBezTo>
                      <a:cubicBezTo>
                        <a:pt x="484" y="1406"/>
                        <a:pt x="484" y="1406"/>
                        <a:pt x="484" y="1406"/>
                      </a:cubicBezTo>
                      <a:cubicBezTo>
                        <a:pt x="484" y="1333"/>
                        <a:pt x="484" y="1333"/>
                        <a:pt x="484" y="1333"/>
                      </a:cubicBezTo>
                      <a:cubicBezTo>
                        <a:pt x="432" y="1364"/>
                        <a:pt x="432" y="1364"/>
                        <a:pt x="432" y="1364"/>
                      </a:cubicBezTo>
                      <a:cubicBezTo>
                        <a:pt x="431" y="1364"/>
                        <a:pt x="430" y="1364"/>
                        <a:pt x="430" y="1364"/>
                      </a:cubicBezTo>
                      <a:cubicBezTo>
                        <a:pt x="366" y="1327"/>
                        <a:pt x="366" y="1327"/>
                        <a:pt x="366" y="1327"/>
                      </a:cubicBezTo>
                      <a:cubicBezTo>
                        <a:pt x="366" y="1401"/>
                        <a:pt x="366" y="1401"/>
                        <a:pt x="366" y="1401"/>
                      </a:cubicBezTo>
                      <a:cubicBezTo>
                        <a:pt x="420" y="1432"/>
                        <a:pt x="420" y="1432"/>
                        <a:pt x="420" y="1432"/>
                      </a:cubicBezTo>
                      <a:cubicBezTo>
                        <a:pt x="421" y="1432"/>
                        <a:pt x="421" y="1433"/>
                        <a:pt x="421" y="1433"/>
                      </a:cubicBezTo>
                      <a:cubicBezTo>
                        <a:pt x="421" y="1445"/>
                        <a:pt x="421" y="1445"/>
                        <a:pt x="421" y="1445"/>
                      </a:cubicBezTo>
                      <a:cubicBezTo>
                        <a:pt x="421" y="1445"/>
                        <a:pt x="421" y="1446"/>
                        <a:pt x="420" y="1446"/>
                      </a:cubicBezTo>
                      <a:cubicBezTo>
                        <a:pt x="362" y="1480"/>
                        <a:pt x="362" y="1480"/>
                        <a:pt x="362" y="1480"/>
                      </a:cubicBezTo>
                      <a:cubicBezTo>
                        <a:pt x="361" y="1480"/>
                        <a:pt x="360" y="1480"/>
                        <a:pt x="360" y="1480"/>
                      </a:cubicBezTo>
                      <a:cubicBezTo>
                        <a:pt x="359" y="1480"/>
                        <a:pt x="359" y="1479"/>
                        <a:pt x="359" y="1478"/>
                      </a:cubicBezTo>
                      <a:cubicBezTo>
                        <a:pt x="359" y="1470"/>
                        <a:pt x="359" y="1470"/>
                        <a:pt x="359" y="1470"/>
                      </a:cubicBezTo>
                      <a:cubicBezTo>
                        <a:pt x="354" y="1467"/>
                        <a:pt x="354" y="1467"/>
                        <a:pt x="354" y="1467"/>
                      </a:cubicBezTo>
                      <a:cubicBezTo>
                        <a:pt x="353" y="1467"/>
                        <a:pt x="353" y="1466"/>
                        <a:pt x="353" y="1465"/>
                      </a:cubicBezTo>
                      <a:cubicBezTo>
                        <a:pt x="353" y="1464"/>
                        <a:pt x="353" y="1464"/>
                        <a:pt x="354" y="1463"/>
                      </a:cubicBezTo>
                      <a:cubicBezTo>
                        <a:pt x="388" y="1444"/>
                        <a:pt x="388" y="1444"/>
                        <a:pt x="388" y="1444"/>
                      </a:cubicBezTo>
                      <a:cubicBezTo>
                        <a:pt x="341" y="1417"/>
                        <a:pt x="341" y="1417"/>
                        <a:pt x="341" y="1417"/>
                      </a:cubicBezTo>
                      <a:cubicBezTo>
                        <a:pt x="340" y="1417"/>
                        <a:pt x="340" y="1416"/>
                        <a:pt x="340" y="1415"/>
                      </a:cubicBezTo>
                      <a:cubicBezTo>
                        <a:pt x="340" y="1414"/>
                        <a:pt x="340" y="1414"/>
                        <a:pt x="341" y="1413"/>
                      </a:cubicBezTo>
                      <a:cubicBezTo>
                        <a:pt x="353" y="1406"/>
                        <a:pt x="353" y="1406"/>
                        <a:pt x="353" y="1406"/>
                      </a:cubicBezTo>
                      <a:cubicBezTo>
                        <a:pt x="353" y="1333"/>
                        <a:pt x="353" y="1333"/>
                        <a:pt x="353" y="1333"/>
                      </a:cubicBezTo>
                      <a:cubicBezTo>
                        <a:pt x="303" y="1362"/>
                        <a:pt x="303" y="1362"/>
                        <a:pt x="303" y="1362"/>
                      </a:cubicBezTo>
                      <a:cubicBezTo>
                        <a:pt x="302" y="1362"/>
                        <a:pt x="302" y="1362"/>
                        <a:pt x="301" y="1362"/>
                      </a:cubicBezTo>
                      <a:cubicBezTo>
                        <a:pt x="299" y="1361"/>
                        <a:pt x="299" y="1361"/>
                        <a:pt x="299" y="1361"/>
                      </a:cubicBezTo>
                      <a:cubicBezTo>
                        <a:pt x="298" y="1361"/>
                        <a:pt x="298" y="1360"/>
                        <a:pt x="298" y="1359"/>
                      </a:cubicBezTo>
                      <a:cubicBezTo>
                        <a:pt x="298" y="1229"/>
                        <a:pt x="298" y="1229"/>
                        <a:pt x="298" y="1229"/>
                      </a:cubicBezTo>
                      <a:cubicBezTo>
                        <a:pt x="298" y="1228"/>
                        <a:pt x="298" y="1227"/>
                        <a:pt x="299" y="1227"/>
                      </a:cubicBezTo>
                      <a:cubicBezTo>
                        <a:pt x="310" y="1221"/>
                        <a:pt x="310" y="1221"/>
                        <a:pt x="310" y="1221"/>
                      </a:cubicBezTo>
                      <a:cubicBezTo>
                        <a:pt x="299" y="1214"/>
                        <a:pt x="299" y="1214"/>
                        <a:pt x="299" y="1214"/>
                      </a:cubicBezTo>
                      <a:cubicBezTo>
                        <a:pt x="298" y="1214"/>
                        <a:pt x="298" y="1213"/>
                        <a:pt x="298" y="1212"/>
                      </a:cubicBezTo>
                      <a:cubicBezTo>
                        <a:pt x="298" y="1212"/>
                        <a:pt x="298" y="1212"/>
                        <a:pt x="298" y="1212"/>
                      </a:cubicBezTo>
                      <a:cubicBezTo>
                        <a:pt x="168" y="1136"/>
                        <a:pt x="168" y="1136"/>
                        <a:pt x="168" y="1136"/>
                      </a:cubicBezTo>
                      <a:cubicBezTo>
                        <a:pt x="168" y="1137"/>
                        <a:pt x="168" y="1137"/>
                        <a:pt x="168" y="1137"/>
                      </a:cubicBezTo>
                      <a:cubicBezTo>
                        <a:pt x="167" y="1137"/>
                        <a:pt x="166" y="1137"/>
                        <a:pt x="166" y="1137"/>
                      </a:cubicBezTo>
                      <a:cubicBezTo>
                        <a:pt x="158" y="1133"/>
                        <a:pt x="158" y="1133"/>
                        <a:pt x="158" y="1133"/>
                      </a:cubicBezTo>
                      <a:cubicBezTo>
                        <a:pt x="6" y="1221"/>
                        <a:pt x="6" y="1221"/>
                        <a:pt x="6" y="1221"/>
                      </a:cubicBezTo>
                      <a:cubicBezTo>
                        <a:pt x="158" y="1308"/>
                        <a:pt x="158" y="1308"/>
                        <a:pt x="158" y="1308"/>
                      </a:cubicBezTo>
                      <a:cubicBezTo>
                        <a:pt x="181" y="1295"/>
                        <a:pt x="181" y="1295"/>
                        <a:pt x="181" y="1295"/>
                      </a:cubicBezTo>
                      <a:cubicBezTo>
                        <a:pt x="182" y="1295"/>
                        <a:pt x="183" y="1295"/>
                        <a:pt x="183" y="1295"/>
                      </a:cubicBezTo>
                      <a:cubicBezTo>
                        <a:pt x="285" y="1353"/>
                        <a:pt x="285" y="1353"/>
                        <a:pt x="285" y="1353"/>
                      </a:cubicBezTo>
                      <a:cubicBezTo>
                        <a:pt x="285" y="1354"/>
                        <a:pt x="286" y="1354"/>
                        <a:pt x="286" y="1355"/>
                      </a:cubicBezTo>
                      <a:cubicBezTo>
                        <a:pt x="286" y="1356"/>
                        <a:pt x="285" y="1357"/>
                        <a:pt x="285" y="1357"/>
                      </a:cubicBezTo>
                      <a:cubicBezTo>
                        <a:pt x="226" y="1391"/>
                        <a:pt x="226" y="1391"/>
                        <a:pt x="226" y="1391"/>
                      </a:cubicBezTo>
                      <a:cubicBezTo>
                        <a:pt x="275" y="1419"/>
                        <a:pt x="275" y="1419"/>
                        <a:pt x="275" y="1419"/>
                      </a:cubicBezTo>
                      <a:cubicBezTo>
                        <a:pt x="276" y="1419"/>
                        <a:pt x="276" y="1420"/>
                        <a:pt x="276" y="1420"/>
                      </a:cubicBezTo>
                      <a:cubicBezTo>
                        <a:pt x="276" y="1421"/>
                        <a:pt x="276" y="1422"/>
                        <a:pt x="275" y="1422"/>
                      </a:cubicBezTo>
                      <a:cubicBezTo>
                        <a:pt x="238" y="1444"/>
                        <a:pt x="238" y="1444"/>
                        <a:pt x="238" y="1444"/>
                      </a:cubicBezTo>
                      <a:cubicBezTo>
                        <a:pt x="296" y="1478"/>
                        <a:pt x="296" y="1478"/>
                        <a:pt x="296" y="1478"/>
                      </a:cubicBezTo>
                      <a:cubicBezTo>
                        <a:pt x="297" y="1478"/>
                        <a:pt x="297" y="1479"/>
                        <a:pt x="297" y="1480"/>
                      </a:cubicBezTo>
                      <a:cubicBezTo>
                        <a:pt x="297" y="1505"/>
                        <a:pt x="297" y="1505"/>
                        <a:pt x="297" y="1505"/>
                      </a:cubicBezTo>
                      <a:cubicBezTo>
                        <a:pt x="353" y="1537"/>
                        <a:pt x="353" y="1537"/>
                        <a:pt x="353" y="1537"/>
                      </a:cubicBezTo>
                      <a:cubicBezTo>
                        <a:pt x="354" y="1538"/>
                        <a:pt x="354" y="1538"/>
                        <a:pt x="354" y="1539"/>
                      </a:cubicBezTo>
                      <a:cubicBezTo>
                        <a:pt x="354" y="1539"/>
                        <a:pt x="354" y="1539"/>
                        <a:pt x="354" y="1539"/>
                      </a:cubicBezTo>
                      <a:cubicBezTo>
                        <a:pt x="355" y="1539"/>
                        <a:pt x="355" y="1540"/>
                        <a:pt x="355" y="1541"/>
                      </a:cubicBezTo>
                      <a:cubicBezTo>
                        <a:pt x="355" y="1557"/>
                        <a:pt x="355" y="1557"/>
                        <a:pt x="355" y="1557"/>
                      </a:cubicBezTo>
                      <a:cubicBezTo>
                        <a:pt x="369" y="1549"/>
                        <a:pt x="369" y="1549"/>
                        <a:pt x="369" y="1549"/>
                      </a:cubicBezTo>
                      <a:cubicBezTo>
                        <a:pt x="370" y="1548"/>
                        <a:pt x="371" y="1548"/>
                        <a:pt x="371" y="1549"/>
                      </a:cubicBezTo>
                      <a:cubicBezTo>
                        <a:pt x="378" y="1553"/>
                        <a:pt x="378" y="1553"/>
                        <a:pt x="378" y="1553"/>
                      </a:cubicBezTo>
                      <a:cubicBezTo>
                        <a:pt x="379" y="1553"/>
                        <a:pt x="379" y="1554"/>
                        <a:pt x="379" y="1555"/>
                      </a:cubicBezTo>
                      <a:cubicBezTo>
                        <a:pt x="379" y="1555"/>
                        <a:pt x="379" y="1556"/>
                        <a:pt x="378" y="1556"/>
                      </a:cubicBezTo>
                      <a:cubicBezTo>
                        <a:pt x="355" y="1570"/>
                        <a:pt x="355" y="1570"/>
                        <a:pt x="355" y="1570"/>
                      </a:cubicBezTo>
                      <a:cubicBezTo>
                        <a:pt x="420" y="1607"/>
                        <a:pt x="420" y="1607"/>
                        <a:pt x="420" y="1607"/>
                      </a:cubicBezTo>
                      <a:cubicBezTo>
                        <a:pt x="445" y="1592"/>
                        <a:pt x="445" y="1592"/>
                        <a:pt x="445" y="1592"/>
                      </a:cubicBezTo>
                      <a:cubicBezTo>
                        <a:pt x="445" y="1592"/>
                        <a:pt x="445" y="1592"/>
                        <a:pt x="446" y="1592"/>
                      </a:cubicBezTo>
                      <a:close/>
                      <a:moveTo>
                        <a:pt x="359" y="1465"/>
                      </a:moveTo>
                      <a:cubicBezTo>
                        <a:pt x="362" y="1467"/>
                        <a:pt x="362" y="1467"/>
                        <a:pt x="362" y="1467"/>
                      </a:cubicBezTo>
                      <a:cubicBezTo>
                        <a:pt x="362" y="1467"/>
                        <a:pt x="363" y="1468"/>
                        <a:pt x="363" y="1469"/>
                      </a:cubicBezTo>
                      <a:cubicBezTo>
                        <a:pt x="363" y="1475"/>
                        <a:pt x="363" y="1475"/>
                        <a:pt x="363" y="1475"/>
                      </a:cubicBezTo>
                      <a:cubicBezTo>
                        <a:pt x="417" y="1443"/>
                        <a:pt x="417" y="1443"/>
                        <a:pt x="417" y="1443"/>
                      </a:cubicBezTo>
                      <a:cubicBezTo>
                        <a:pt x="417" y="1434"/>
                        <a:pt x="417" y="1434"/>
                        <a:pt x="417" y="1434"/>
                      </a:cubicBezTo>
                      <a:cubicBezTo>
                        <a:pt x="363" y="1403"/>
                        <a:pt x="363" y="1403"/>
                        <a:pt x="363" y="1403"/>
                      </a:cubicBezTo>
                      <a:cubicBezTo>
                        <a:pt x="363" y="1403"/>
                        <a:pt x="362" y="1402"/>
                        <a:pt x="362" y="1402"/>
                      </a:cubicBezTo>
                      <a:cubicBezTo>
                        <a:pt x="362" y="1325"/>
                        <a:pt x="362" y="1325"/>
                        <a:pt x="362" y="1325"/>
                      </a:cubicBezTo>
                      <a:cubicBezTo>
                        <a:pt x="357" y="1329"/>
                        <a:pt x="357" y="1329"/>
                        <a:pt x="357" y="1329"/>
                      </a:cubicBezTo>
                      <a:cubicBezTo>
                        <a:pt x="357" y="1329"/>
                        <a:pt x="357" y="1329"/>
                        <a:pt x="357" y="1330"/>
                      </a:cubicBezTo>
                      <a:cubicBezTo>
                        <a:pt x="357" y="1408"/>
                        <a:pt x="357" y="1408"/>
                        <a:pt x="357" y="1408"/>
                      </a:cubicBezTo>
                      <a:cubicBezTo>
                        <a:pt x="357" y="1408"/>
                        <a:pt x="357" y="1409"/>
                        <a:pt x="356" y="1409"/>
                      </a:cubicBezTo>
                      <a:cubicBezTo>
                        <a:pt x="346" y="1415"/>
                        <a:pt x="346" y="1415"/>
                        <a:pt x="346" y="1415"/>
                      </a:cubicBezTo>
                      <a:cubicBezTo>
                        <a:pt x="393" y="1442"/>
                        <a:pt x="393" y="1442"/>
                        <a:pt x="393" y="1442"/>
                      </a:cubicBezTo>
                      <a:cubicBezTo>
                        <a:pt x="393" y="1442"/>
                        <a:pt x="394" y="1443"/>
                        <a:pt x="394" y="1444"/>
                      </a:cubicBezTo>
                      <a:cubicBezTo>
                        <a:pt x="394" y="1445"/>
                        <a:pt x="393" y="1445"/>
                        <a:pt x="393" y="1446"/>
                      </a:cubicBezTo>
                      <a:lnTo>
                        <a:pt x="359" y="1465"/>
                      </a:lnTo>
                      <a:close/>
                      <a:moveTo>
                        <a:pt x="438" y="1438"/>
                      </a:moveTo>
                      <a:cubicBezTo>
                        <a:pt x="440" y="1439"/>
                        <a:pt x="440" y="1439"/>
                        <a:pt x="440" y="1439"/>
                      </a:cubicBezTo>
                      <a:cubicBezTo>
                        <a:pt x="486" y="1413"/>
                        <a:pt x="486" y="1413"/>
                        <a:pt x="486" y="1413"/>
                      </a:cubicBezTo>
                      <a:cubicBezTo>
                        <a:pt x="486" y="1412"/>
                        <a:pt x="487" y="1412"/>
                        <a:pt x="488" y="1413"/>
                      </a:cubicBezTo>
                      <a:cubicBezTo>
                        <a:pt x="526" y="1435"/>
                        <a:pt x="526" y="1435"/>
                        <a:pt x="526" y="1435"/>
                      </a:cubicBezTo>
                      <a:cubicBezTo>
                        <a:pt x="560" y="1415"/>
                        <a:pt x="560" y="1415"/>
                        <a:pt x="560" y="1415"/>
                      </a:cubicBezTo>
                      <a:cubicBezTo>
                        <a:pt x="560" y="1393"/>
                        <a:pt x="560" y="1393"/>
                        <a:pt x="560" y="1393"/>
                      </a:cubicBezTo>
                      <a:cubicBezTo>
                        <a:pt x="522" y="1371"/>
                        <a:pt x="522" y="1371"/>
                        <a:pt x="522" y="1371"/>
                      </a:cubicBezTo>
                      <a:cubicBezTo>
                        <a:pt x="521" y="1371"/>
                        <a:pt x="521" y="1370"/>
                        <a:pt x="521" y="1369"/>
                      </a:cubicBezTo>
                      <a:cubicBezTo>
                        <a:pt x="521" y="1345"/>
                        <a:pt x="521" y="1345"/>
                        <a:pt x="521" y="1345"/>
                      </a:cubicBezTo>
                      <a:cubicBezTo>
                        <a:pt x="424" y="1290"/>
                        <a:pt x="424" y="1290"/>
                        <a:pt x="424" y="1290"/>
                      </a:cubicBezTo>
                      <a:cubicBezTo>
                        <a:pt x="367" y="1323"/>
                        <a:pt x="367" y="1323"/>
                        <a:pt x="367" y="1323"/>
                      </a:cubicBezTo>
                      <a:cubicBezTo>
                        <a:pt x="431" y="1360"/>
                        <a:pt x="431" y="1360"/>
                        <a:pt x="431" y="1360"/>
                      </a:cubicBezTo>
                      <a:cubicBezTo>
                        <a:pt x="485" y="1328"/>
                        <a:pt x="485" y="1328"/>
                        <a:pt x="485" y="1328"/>
                      </a:cubicBezTo>
                      <a:cubicBezTo>
                        <a:pt x="486" y="1328"/>
                        <a:pt x="487" y="1328"/>
                        <a:pt x="487" y="1328"/>
                      </a:cubicBezTo>
                      <a:cubicBezTo>
                        <a:pt x="488" y="1328"/>
                        <a:pt x="488" y="1329"/>
                        <a:pt x="488" y="1330"/>
                      </a:cubicBezTo>
                      <a:cubicBezTo>
                        <a:pt x="488" y="1408"/>
                        <a:pt x="488" y="1408"/>
                        <a:pt x="488" y="1408"/>
                      </a:cubicBezTo>
                      <a:cubicBezTo>
                        <a:pt x="488" y="1408"/>
                        <a:pt x="488" y="1409"/>
                        <a:pt x="487" y="1409"/>
                      </a:cubicBezTo>
                      <a:lnTo>
                        <a:pt x="438" y="1438"/>
                      </a:lnTo>
                      <a:close/>
                      <a:moveTo>
                        <a:pt x="37" y="1058"/>
                      </a:moveTo>
                      <a:cubicBezTo>
                        <a:pt x="166" y="1133"/>
                        <a:pt x="166" y="1133"/>
                        <a:pt x="166" y="1133"/>
                      </a:cubicBezTo>
                      <a:cubicBezTo>
                        <a:pt x="166" y="983"/>
                        <a:pt x="166" y="983"/>
                        <a:pt x="166" y="983"/>
                      </a:cubicBezTo>
                      <a:cubicBezTo>
                        <a:pt x="37" y="908"/>
                        <a:pt x="37" y="908"/>
                        <a:pt x="37" y="908"/>
                      </a:cubicBezTo>
                      <a:lnTo>
                        <a:pt x="37" y="1058"/>
                      </a:lnTo>
                      <a:close/>
                      <a:moveTo>
                        <a:pt x="1492" y="526"/>
                      </a:moveTo>
                      <a:cubicBezTo>
                        <a:pt x="1552" y="560"/>
                        <a:pt x="1552" y="560"/>
                        <a:pt x="1552" y="560"/>
                      </a:cubicBezTo>
                      <a:cubicBezTo>
                        <a:pt x="1564" y="554"/>
                        <a:pt x="1564" y="554"/>
                        <a:pt x="1564" y="554"/>
                      </a:cubicBezTo>
                      <a:cubicBezTo>
                        <a:pt x="1504" y="519"/>
                        <a:pt x="1504" y="519"/>
                        <a:pt x="1504" y="519"/>
                      </a:cubicBezTo>
                      <a:lnTo>
                        <a:pt x="1492" y="5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4" name="Freeform 907">
                  <a:extLst>
                    <a:ext uri="{FF2B5EF4-FFF2-40B4-BE49-F238E27FC236}">
                      <a16:creationId xmlns:a16="http://schemas.microsoft.com/office/drawing/2014/main" id="{683F3AB4-78BA-4AF0-96C2-D0199564B3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57" y="3440"/>
                  <a:ext cx="128" cy="97"/>
                </a:xfrm>
                <a:custGeom>
                  <a:avLst/>
                  <a:gdLst>
                    <a:gd name="T0" fmla="*/ 2 w 54"/>
                    <a:gd name="T1" fmla="*/ 41 h 41"/>
                    <a:gd name="T2" fmla="*/ 1 w 54"/>
                    <a:gd name="T3" fmla="*/ 40 h 41"/>
                    <a:gd name="T4" fmla="*/ 0 w 54"/>
                    <a:gd name="T5" fmla="*/ 39 h 41"/>
                    <a:gd name="T6" fmla="*/ 0 w 54"/>
                    <a:gd name="T7" fmla="*/ 23 h 41"/>
                    <a:gd name="T8" fmla="*/ 1 w 54"/>
                    <a:gd name="T9" fmla="*/ 22 h 41"/>
                    <a:gd name="T10" fmla="*/ 37 w 54"/>
                    <a:gd name="T11" fmla="*/ 1 h 41"/>
                    <a:gd name="T12" fmla="*/ 39 w 54"/>
                    <a:gd name="T13" fmla="*/ 1 h 41"/>
                    <a:gd name="T14" fmla="*/ 53 w 54"/>
                    <a:gd name="T15" fmla="*/ 8 h 41"/>
                    <a:gd name="T16" fmla="*/ 54 w 54"/>
                    <a:gd name="T17" fmla="*/ 10 h 41"/>
                    <a:gd name="T18" fmla="*/ 53 w 54"/>
                    <a:gd name="T19" fmla="*/ 12 h 41"/>
                    <a:gd name="T20" fmla="*/ 17 w 54"/>
                    <a:gd name="T21" fmla="*/ 32 h 41"/>
                    <a:gd name="T22" fmla="*/ 15 w 54"/>
                    <a:gd name="T23" fmla="*/ 32 h 41"/>
                    <a:gd name="T24" fmla="*/ 10 w 54"/>
                    <a:gd name="T25" fmla="*/ 29 h 41"/>
                    <a:gd name="T26" fmla="*/ 10 w 54"/>
                    <a:gd name="T27" fmla="*/ 35 h 41"/>
                    <a:gd name="T28" fmla="*/ 9 w 54"/>
                    <a:gd name="T29" fmla="*/ 37 h 41"/>
                    <a:gd name="T30" fmla="*/ 3 w 54"/>
                    <a:gd name="T31" fmla="*/ 40 h 41"/>
                    <a:gd name="T32" fmla="*/ 2 w 54"/>
                    <a:gd name="T33" fmla="*/ 41 h 41"/>
                    <a:gd name="T34" fmla="*/ 4 w 54"/>
                    <a:gd name="T35" fmla="*/ 24 h 41"/>
                    <a:gd name="T36" fmla="*/ 4 w 54"/>
                    <a:gd name="T37" fmla="*/ 35 h 41"/>
                    <a:gd name="T38" fmla="*/ 6 w 54"/>
                    <a:gd name="T39" fmla="*/ 34 h 41"/>
                    <a:gd name="T40" fmla="*/ 6 w 54"/>
                    <a:gd name="T41" fmla="*/ 26 h 41"/>
                    <a:gd name="T42" fmla="*/ 7 w 54"/>
                    <a:gd name="T43" fmla="*/ 24 h 41"/>
                    <a:gd name="T44" fmla="*/ 9 w 54"/>
                    <a:gd name="T45" fmla="*/ 24 h 41"/>
                    <a:gd name="T46" fmla="*/ 16 w 54"/>
                    <a:gd name="T47" fmla="*/ 28 h 41"/>
                    <a:gd name="T48" fmla="*/ 48 w 54"/>
                    <a:gd name="T49" fmla="*/ 10 h 41"/>
                    <a:gd name="T50" fmla="*/ 38 w 54"/>
                    <a:gd name="T51" fmla="*/ 5 h 41"/>
                    <a:gd name="T52" fmla="*/ 4 w 54"/>
                    <a:gd name="T53" fmla="*/ 24 h 41"/>
                    <a:gd name="T54" fmla="*/ 8 w 54"/>
                    <a:gd name="T55" fmla="*/ 35 h 41"/>
                    <a:gd name="T56" fmla="*/ 8 w 54"/>
                    <a:gd name="T57" fmla="*/ 35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54" h="41">
                      <a:moveTo>
                        <a:pt x="2" y="41"/>
                      </a:moveTo>
                      <a:cubicBezTo>
                        <a:pt x="2" y="41"/>
                        <a:pt x="2" y="40"/>
                        <a:pt x="1" y="40"/>
                      </a:cubicBezTo>
                      <a:cubicBezTo>
                        <a:pt x="1" y="40"/>
                        <a:pt x="0" y="39"/>
                        <a:pt x="0" y="39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3"/>
                        <a:pt x="1" y="22"/>
                        <a:pt x="1" y="22"/>
                      </a:cubicBezTo>
                      <a:cubicBezTo>
                        <a:pt x="37" y="1"/>
                        <a:pt x="37" y="1"/>
                        <a:pt x="37" y="1"/>
                      </a:cubicBezTo>
                      <a:cubicBezTo>
                        <a:pt x="38" y="0"/>
                        <a:pt x="39" y="0"/>
                        <a:pt x="39" y="1"/>
                      </a:cubicBezTo>
                      <a:cubicBezTo>
                        <a:pt x="53" y="8"/>
                        <a:pt x="53" y="8"/>
                        <a:pt x="53" y="8"/>
                      </a:cubicBezTo>
                      <a:cubicBezTo>
                        <a:pt x="53" y="9"/>
                        <a:pt x="54" y="9"/>
                        <a:pt x="54" y="10"/>
                      </a:cubicBezTo>
                      <a:cubicBezTo>
                        <a:pt x="54" y="11"/>
                        <a:pt x="53" y="12"/>
                        <a:pt x="53" y="12"/>
                      </a:cubicBezTo>
                      <a:cubicBezTo>
                        <a:pt x="17" y="32"/>
                        <a:pt x="17" y="32"/>
                        <a:pt x="17" y="32"/>
                      </a:cubicBezTo>
                      <a:cubicBezTo>
                        <a:pt x="17" y="33"/>
                        <a:pt x="16" y="33"/>
                        <a:pt x="15" y="32"/>
                      </a:cubicBezTo>
                      <a:cubicBezTo>
                        <a:pt x="10" y="29"/>
                        <a:pt x="10" y="29"/>
                        <a:pt x="10" y="29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6"/>
                        <a:pt x="10" y="36"/>
                        <a:pt x="9" y="37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3" y="40"/>
                        <a:pt x="3" y="41"/>
                        <a:pt x="2" y="41"/>
                      </a:cubicBezTo>
                      <a:close/>
                      <a:moveTo>
                        <a:pt x="4" y="24"/>
                      </a:move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5"/>
                        <a:pt x="7" y="25"/>
                        <a:pt x="7" y="24"/>
                      </a:cubicBezTo>
                      <a:cubicBezTo>
                        <a:pt x="8" y="24"/>
                        <a:pt x="9" y="24"/>
                        <a:pt x="9" y="24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48" y="10"/>
                        <a:pt x="48" y="10"/>
                        <a:pt x="48" y="10"/>
                      </a:cubicBezTo>
                      <a:cubicBezTo>
                        <a:pt x="38" y="5"/>
                        <a:pt x="38" y="5"/>
                        <a:pt x="38" y="5"/>
                      </a:cubicBezTo>
                      <a:lnTo>
                        <a:pt x="4" y="24"/>
                      </a:lnTo>
                      <a:close/>
                      <a:moveTo>
                        <a:pt x="8" y="35"/>
                      </a:moveTo>
                      <a:cubicBezTo>
                        <a:pt x="8" y="35"/>
                        <a:pt x="8" y="35"/>
                        <a:pt x="8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5" name="Freeform 908">
                  <a:extLst>
                    <a:ext uri="{FF2B5EF4-FFF2-40B4-BE49-F238E27FC236}">
                      <a16:creationId xmlns:a16="http://schemas.microsoft.com/office/drawing/2014/main" id="{0AFE080B-018B-4650-9C09-11AACC59EA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72" y="2804"/>
                  <a:ext cx="316" cy="381"/>
                </a:xfrm>
                <a:custGeom>
                  <a:avLst/>
                  <a:gdLst>
                    <a:gd name="T0" fmla="*/ 16 w 134"/>
                    <a:gd name="T1" fmla="*/ 161 h 161"/>
                    <a:gd name="T2" fmla="*/ 15 w 134"/>
                    <a:gd name="T3" fmla="*/ 160 h 161"/>
                    <a:gd name="T4" fmla="*/ 1 w 134"/>
                    <a:gd name="T5" fmla="*/ 152 h 161"/>
                    <a:gd name="T6" fmla="*/ 0 w 134"/>
                    <a:gd name="T7" fmla="*/ 151 h 161"/>
                    <a:gd name="T8" fmla="*/ 0 w 134"/>
                    <a:gd name="T9" fmla="*/ 2 h 161"/>
                    <a:gd name="T10" fmla="*/ 1 w 134"/>
                    <a:gd name="T11" fmla="*/ 0 h 161"/>
                    <a:gd name="T12" fmla="*/ 3 w 134"/>
                    <a:gd name="T13" fmla="*/ 0 h 161"/>
                    <a:gd name="T14" fmla="*/ 133 w 134"/>
                    <a:gd name="T15" fmla="*/ 76 h 161"/>
                    <a:gd name="T16" fmla="*/ 134 w 134"/>
                    <a:gd name="T17" fmla="*/ 77 h 161"/>
                    <a:gd name="T18" fmla="*/ 134 w 134"/>
                    <a:gd name="T19" fmla="*/ 92 h 161"/>
                    <a:gd name="T20" fmla="*/ 133 w 134"/>
                    <a:gd name="T21" fmla="*/ 93 h 161"/>
                    <a:gd name="T22" fmla="*/ 17 w 134"/>
                    <a:gd name="T23" fmla="*/ 160 h 161"/>
                    <a:gd name="T24" fmla="*/ 16 w 134"/>
                    <a:gd name="T25" fmla="*/ 161 h 161"/>
                    <a:gd name="T26" fmla="*/ 4 w 134"/>
                    <a:gd name="T27" fmla="*/ 149 h 161"/>
                    <a:gd name="T28" fmla="*/ 16 w 134"/>
                    <a:gd name="T29" fmla="*/ 156 h 161"/>
                    <a:gd name="T30" fmla="*/ 130 w 134"/>
                    <a:gd name="T31" fmla="*/ 91 h 161"/>
                    <a:gd name="T32" fmla="*/ 130 w 134"/>
                    <a:gd name="T33" fmla="*/ 78 h 161"/>
                    <a:gd name="T34" fmla="*/ 4 w 134"/>
                    <a:gd name="T35" fmla="*/ 6 h 161"/>
                    <a:gd name="T36" fmla="*/ 4 w 134"/>
                    <a:gd name="T37" fmla="*/ 149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4" h="161">
                      <a:moveTo>
                        <a:pt x="16" y="161"/>
                      </a:moveTo>
                      <a:cubicBezTo>
                        <a:pt x="16" y="161"/>
                        <a:pt x="16" y="161"/>
                        <a:pt x="15" y="160"/>
                      </a:cubicBezTo>
                      <a:cubicBezTo>
                        <a:pt x="1" y="152"/>
                        <a:pt x="1" y="152"/>
                        <a:pt x="1" y="152"/>
                      </a:cubicBezTo>
                      <a:cubicBezTo>
                        <a:pt x="1" y="152"/>
                        <a:pt x="0" y="151"/>
                        <a:pt x="0" y="15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33" y="76"/>
                        <a:pt x="133" y="76"/>
                        <a:pt x="133" y="76"/>
                      </a:cubicBezTo>
                      <a:cubicBezTo>
                        <a:pt x="134" y="76"/>
                        <a:pt x="134" y="77"/>
                        <a:pt x="134" y="77"/>
                      </a:cubicBezTo>
                      <a:cubicBezTo>
                        <a:pt x="134" y="92"/>
                        <a:pt x="134" y="92"/>
                        <a:pt x="134" y="92"/>
                      </a:cubicBezTo>
                      <a:cubicBezTo>
                        <a:pt x="134" y="92"/>
                        <a:pt x="134" y="93"/>
                        <a:pt x="133" y="93"/>
                      </a:cubicBezTo>
                      <a:cubicBezTo>
                        <a:pt x="17" y="160"/>
                        <a:pt x="17" y="160"/>
                        <a:pt x="17" y="160"/>
                      </a:cubicBezTo>
                      <a:cubicBezTo>
                        <a:pt x="17" y="161"/>
                        <a:pt x="17" y="161"/>
                        <a:pt x="16" y="161"/>
                      </a:cubicBezTo>
                      <a:close/>
                      <a:moveTo>
                        <a:pt x="4" y="149"/>
                      </a:moveTo>
                      <a:cubicBezTo>
                        <a:pt x="16" y="156"/>
                        <a:pt x="16" y="156"/>
                        <a:pt x="16" y="156"/>
                      </a:cubicBezTo>
                      <a:cubicBezTo>
                        <a:pt x="130" y="91"/>
                        <a:pt x="130" y="91"/>
                        <a:pt x="130" y="91"/>
                      </a:cubicBezTo>
                      <a:cubicBezTo>
                        <a:pt x="130" y="78"/>
                        <a:pt x="130" y="78"/>
                        <a:pt x="130" y="78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4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6" name="Freeform 909">
                  <a:extLst>
                    <a:ext uri="{FF2B5EF4-FFF2-40B4-BE49-F238E27FC236}">
                      <a16:creationId xmlns:a16="http://schemas.microsoft.com/office/drawing/2014/main" id="{4C610992-E581-4FA6-8C0A-615B56C8E5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87" y="2790"/>
                  <a:ext cx="425" cy="428"/>
                </a:xfrm>
                <a:custGeom>
                  <a:avLst/>
                  <a:gdLst>
                    <a:gd name="T0" fmla="*/ 155 w 180"/>
                    <a:gd name="T1" fmla="*/ 181 h 181"/>
                    <a:gd name="T2" fmla="*/ 154 w 180"/>
                    <a:gd name="T3" fmla="*/ 181 h 181"/>
                    <a:gd name="T4" fmla="*/ 1 w 180"/>
                    <a:gd name="T5" fmla="*/ 92 h 181"/>
                    <a:gd name="T6" fmla="*/ 0 w 180"/>
                    <a:gd name="T7" fmla="*/ 91 h 181"/>
                    <a:gd name="T8" fmla="*/ 1 w 180"/>
                    <a:gd name="T9" fmla="*/ 89 h 181"/>
                    <a:gd name="T10" fmla="*/ 154 w 180"/>
                    <a:gd name="T11" fmla="*/ 0 h 181"/>
                    <a:gd name="T12" fmla="*/ 156 w 180"/>
                    <a:gd name="T13" fmla="*/ 0 h 181"/>
                    <a:gd name="T14" fmla="*/ 165 w 180"/>
                    <a:gd name="T15" fmla="*/ 5 h 181"/>
                    <a:gd name="T16" fmla="*/ 166 w 180"/>
                    <a:gd name="T17" fmla="*/ 7 h 181"/>
                    <a:gd name="T18" fmla="*/ 166 w 180"/>
                    <a:gd name="T19" fmla="*/ 156 h 181"/>
                    <a:gd name="T20" fmla="*/ 179 w 180"/>
                    <a:gd name="T21" fmla="*/ 164 h 181"/>
                    <a:gd name="T22" fmla="*/ 180 w 180"/>
                    <a:gd name="T23" fmla="*/ 166 h 181"/>
                    <a:gd name="T24" fmla="*/ 179 w 180"/>
                    <a:gd name="T25" fmla="*/ 167 h 181"/>
                    <a:gd name="T26" fmla="*/ 156 w 180"/>
                    <a:gd name="T27" fmla="*/ 181 h 181"/>
                    <a:gd name="T28" fmla="*/ 155 w 180"/>
                    <a:gd name="T29" fmla="*/ 181 h 181"/>
                    <a:gd name="T30" fmla="*/ 6 w 180"/>
                    <a:gd name="T31" fmla="*/ 91 h 181"/>
                    <a:gd name="T32" fmla="*/ 155 w 180"/>
                    <a:gd name="T33" fmla="*/ 177 h 181"/>
                    <a:gd name="T34" fmla="*/ 174 w 180"/>
                    <a:gd name="T35" fmla="*/ 166 h 181"/>
                    <a:gd name="T36" fmla="*/ 163 w 180"/>
                    <a:gd name="T37" fmla="*/ 159 h 181"/>
                    <a:gd name="T38" fmla="*/ 162 w 180"/>
                    <a:gd name="T39" fmla="*/ 157 h 181"/>
                    <a:gd name="T40" fmla="*/ 162 w 180"/>
                    <a:gd name="T41" fmla="*/ 8 h 181"/>
                    <a:gd name="T42" fmla="*/ 155 w 180"/>
                    <a:gd name="T43" fmla="*/ 4 h 181"/>
                    <a:gd name="T44" fmla="*/ 6 w 180"/>
                    <a:gd name="T45" fmla="*/ 9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0" h="181">
                      <a:moveTo>
                        <a:pt x="155" y="181"/>
                      </a:moveTo>
                      <a:cubicBezTo>
                        <a:pt x="154" y="181"/>
                        <a:pt x="154" y="181"/>
                        <a:pt x="154" y="181"/>
                      </a:cubicBezTo>
                      <a:cubicBezTo>
                        <a:pt x="1" y="92"/>
                        <a:pt x="1" y="92"/>
                        <a:pt x="1" y="92"/>
                      </a:cubicBezTo>
                      <a:cubicBezTo>
                        <a:pt x="0" y="92"/>
                        <a:pt x="0" y="91"/>
                        <a:pt x="0" y="91"/>
                      </a:cubicBezTo>
                      <a:cubicBezTo>
                        <a:pt x="0" y="90"/>
                        <a:pt x="0" y="89"/>
                        <a:pt x="1" y="89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54" y="0"/>
                        <a:pt x="155" y="0"/>
                        <a:pt x="156" y="0"/>
                      </a:cubicBezTo>
                      <a:cubicBezTo>
                        <a:pt x="165" y="5"/>
                        <a:pt x="165" y="5"/>
                        <a:pt x="165" y="5"/>
                      </a:cubicBezTo>
                      <a:cubicBezTo>
                        <a:pt x="165" y="6"/>
                        <a:pt x="166" y="6"/>
                        <a:pt x="166" y="7"/>
                      </a:cubicBezTo>
                      <a:cubicBezTo>
                        <a:pt x="166" y="156"/>
                        <a:pt x="166" y="156"/>
                        <a:pt x="166" y="156"/>
                      </a:cubicBezTo>
                      <a:cubicBezTo>
                        <a:pt x="179" y="164"/>
                        <a:pt x="179" y="164"/>
                        <a:pt x="179" y="164"/>
                      </a:cubicBezTo>
                      <a:cubicBezTo>
                        <a:pt x="179" y="164"/>
                        <a:pt x="180" y="165"/>
                        <a:pt x="180" y="166"/>
                      </a:cubicBezTo>
                      <a:cubicBezTo>
                        <a:pt x="180" y="166"/>
                        <a:pt x="179" y="167"/>
                        <a:pt x="179" y="167"/>
                      </a:cubicBezTo>
                      <a:cubicBezTo>
                        <a:pt x="156" y="181"/>
                        <a:pt x="156" y="181"/>
                        <a:pt x="156" y="181"/>
                      </a:cubicBezTo>
                      <a:cubicBezTo>
                        <a:pt x="156" y="181"/>
                        <a:pt x="155" y="181"/>
                        <a:pt x="155" y="181"/>
                      </a:cubicBezTo>
                      <a:close/>
                      <a:moveTo>
                        <a:pt x="6" y="91"/>
                      </a:moveTo>
                      <a:cubicBezTo>
                        <a:pt x="155" y="177"/>
                        <a:pt x="155" y="177"/>
                        <a:pt x="155" y="177"/>
                      </a:cubicBezTo>
                      <a:cubicBezTo>
                        <a:pt x="174" y="166"/>
                        <a:pt x="174" y="166"/>
                        <a:pt x="174" y="166"/>
                      </a:cubicBezTo>
                      <a:cubicBezTo>
                        <a:pt x="163" y="159"/>
                        <a:pt x="163" y="159"/>
                        <a:pt x="163" y="159"/>
                      </a:cubicBezTo>
                      <a:cubicBezTo>
                        <a:pt x="162" y="159"/>
                        <a:pt x="162" y="158"/>
                        <a:pt x="162" y="157"/>
                      </a:cubicBezTo>
                      <a:cubicBezTo>
                        <a:pt x="162" y="8"/>
                        <a:pt x="162" y="8"/>
                        <a:pt x="162" y="8"/>
                      </a:cubicBezTo>
                      <a:cubicBezTo>
                        <a:pt x="155" y="4"/>
                        <a:pt x="155" y="4"/>
                        <a:pt x="155" y="4"/>
                      </a:cubicBezTo>
                      <a:lnTo>
                        <a:pt x="6" y="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7" name="Freeform 910">
                  <a:extLst>
                    <a:ext uri="{FF2B5EF4-FFF2-40B4-BE49-F238E27FC236}">
                      <a16:creationId xmlns:a16="http://schemas.microsoft.com/office/drawing/2014/main" id="{85F043DC-8840-4148-96DA-1D20523A73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53" y="3615"/>
                  <a:ext cx="563" cy="321"/>
                </a:xfrm>
                <a:custGeom>
                  <a:avLst/>
                  <a:gdLst>
                    <a:gd name="T0" fmla="*/ 111 w 238"/>
                    <a:gd name="T1" fmla="*/ 136 h 136"/>
                    <a:gd name="T2" fmla="*/ 75 w 238"/>
                    <a:gd name="T3" fmla="*/ 114 h 136"/>
                    <a:gd name="T4" fmla="*/ 114 w 238"/>
                    <a:gd name="T5" fmla="*/ 91 h 136"/>
                    <a:gd name="T6" fmla="*/ 10 w 238"/>
                    <a:gd name="T7" fmla="*/ 76 h 136"/>
                    <a:gd name="T8" fmla="*/ 1 w 238"/>
                    <a:gd name="T9" fmla="*/ 72 h 136"/>
                    <a:gd name="T10" fmla="*/ 1 w 238"/>
                    <a:gd name="T11" fmla="*/ 69 h 136"/>
                    <a:gd name="T12" fmla="*/ 49 w 238"/>
                    <a:gd name="T13" fmla="*/ 22 h 136"/>
                    <a:gd name="T14" fmla="*/ 51 w 238"/>
                    <a:gd name="T15" fmla="*/ 20 h 136"/>
                    <a:gd name="T16" fmla="*/ 54 w 238"/>
                    <a:gd name="T17" fmla="*/ 21 h 136"/>
                    <a:gd name="T18" fmla="*/ 116 w 238"/>
                    <a:gd name="T19" fmla="*/ 61 h 136"/>
                    <a:gd name="T20" fmla="*/ 117 w 238"/>
                    <a:gd name="T21" fmla="*/ 12 h 136"/>
                    <a:gd name="T22" fmla="*/ 139 w 238"/>
                    <a:gd name="T23" fmla="*/ 0 h 136"/>
                    <a:gd name="T24" fmla="*/ 155 w 238"/>
                    <a:gd name="T25" fmla="*/ 11 h 136"/>
                    <a:gd name="T26" fmla="*/ 170 w 238"/>
                    <a:gd name="T27" fmla="*/ 19 h 136"/>
                    <a:gd name="T28" fmla="*/ 193 w 238"/>
                    <a:gd name="T29" fmla="*/ 32 h 136"/>
                    <a:gd name="T30" fmla="*/ 194 w 238"/>
                    <a:gd name="T31" fmla="*/ 36 h 136"/>
                    <a:gd name="T32" fmla="*/ 238 w 238"/>
                    <a:gd name="T33" fmla="*/ 62 h 136"/>
                    <a:gd name="T34" fmla="*/ 113 w 238"/>
                    <a:gd name="T35" fmla="*/ 136 h 136"/>
                    <a:gd name="T36" fmla="*/ 81 w 238"/>
                    <a:gd name="T37" fmla="*/ 114 h 136"/>
                    <a:gd name="T38" fmla="*/ 232 w 238"/>
                    <a:gd name="T39" fmla="*/ 62 h 136"/>
                    <a:gd name="T40" fmla="*/ 190 w 238"/>
                    <a:gd name="T41" fmla="*/ 37 h 136"/>
                    <a:gd name="T42" fmla="*/ 171 w 238"/>
                    <a:gd name="T43" fmla="*/ 23 h 136"/>
                    <a:gd name="T44" fmla="*/ 152 w 238"/>
                    <a:gd name="T45" fmla="*/ 33 h 136"/>
                    <a:gd name="T46" fmla="*/ 151 w 238"/>
                    <a:gd name="T47" fmla="*/ 12 h 136"/>
                    <a:gd name="T48" fmla="*/ 120 w 238"/>
                    <a:gd name="T49" fmla="*/ 15 h 136"/>
                    <a:gd name="T50" fmla="*/ 119 w 238"/>
                    <a:gd name="T51" fmla="*/ 67 h 136"/>
                    <a:gd name="T52" fmla="*/ 53 w 238"/>
                    <a:gd name="T53" fmla="*/ 30 h 136"/>
                    <a:gd name="T54" fmla="*/ 52 w 238"/>
                    <a:gd name="T55" fmla="*/ 44 h 136"/>
                    <a:gd name="T56" fmla="*/ 9 w 238"/>
                    <a:gd name="T57" fmla="*/ 72 h 136"/>
                    <a:gd name="T58" fmla="*/ 51 w 238"/>
                    <a:gd name="T59" fmla="*/ 49 h 136"/>
                    <a:gd name="T60" fmla="*/ 120 w 238"/>
                    <a:gd name="T61" fmla="*/ 91 h 136"/>
                    <a:gd name="T62" fmla="*/ 81 w 238"/>
                    <a:gd name="T63" fmla="*/ 114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8" h="136">
                      <a:moveTo>
                        <a:pt x="112" y="136"/>
                      </a:moveTo>
                      <a:cubicBezTo>
                        <a:pt x="111" y="136"/>
                        <a:pt x="111" y="136"/>
                        <a:pt x="111" y="136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6" y="116"/>
                        <a:pt x="75" y="115"/>
                        <a:pt x="75" y="114"/>
                      </a:cubicBezTo>
                      <a:cubicBezTo>
                        <a:pt x="75" y="113"/>
                        <a:pt x="76" y="113"/>
                        <a:pt x="76" y="112"/>
                      </a:cubicBezTo>
                      <a:cubicBezTo>
                        <a:pt x="114" y="91"/>
                        <a:pt x="114" y="91"/>
                        <a:pt x="114" y="91"/>
                      </a:cubicBezTo>
                      <a:cubicBezTo>
                        <a:pt x="50" y="53"/>
                        <a:pt x="50" y="53"/>
                        <a:pt x="50" y="53"/>
                      </a:cubicBezTo>
                      <a:cubicBezTo>
                        <a:pt x="10" y="76"/>
                        <a:pt x="10" y="76"/>
                        <a:pt x="10" y="76"/>
                      </a:cubicBezTo>
                      <a:cubicBezTo>
                        <a:pt x="9" y="77"/>
                        <a:pt x="9" y="77"/>
                        <a:pt x="8" y="76"/>
                      </a:cubicBezTo>
                      <a:cubicBezTo>
                        <a:pt x="1" y="72"/>
                        <a:pt x="1" y="72"/>
                        <a:pt x="1" y="72"/>
                      </a:cubicBezTo>
                      <a:cubicBezTo>
                        <a:pt x="0" y="72"/>
                        <a:pt x="0" y="71"/>
                        <a:pt x="0" y="71"/>
                      </a:cubicBezTo>
                      <a:cubicBezTo>
                        <a:pt x="0" y="70"/>
                        <a:pt x="0" y="69"/>
                        <a:pt x="1" y="69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1"/>
                        <a:pt x="50" y="21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2" y="19"/>
                        <a:pt x="53" y="19"/>
                        <a:pt x="53" y="20"/>
                      </a:cubicBezTo>
                      <a:cubicBezTo>
                        <a:pt x="54" y="20"/>
                        <a:pt x="54" y="21"/>
                        <a:pt x="54" y="21"/>
                      </a:cubicBezTo>
                      <a:cubicBezTo>
                        <a:pt x="54" y="26"/>
                        <a:pt x="54" y="26"/>
                        <a:pt x="54" y="26"/>
                      </a:cubicBezTo>
                      <a:cubicBezTo>
                        <a:pt x="116" y="61"/>
                        <a:pt x="116" y="61"/>
                        <a:pt x="116" y="61"/>
                      </a:cubicBezTo>
                      <a:cubicBezTo>
                        <a:pt x="116" y="14"/>
                        <a:pt x="116" y="14"/>
                        <a:pt x="116" y="14"/>
                      </a:cubicBezTo>
                      <a:cubicBezTo>
                        <a:pt x="116" y="13"/>
                        <a:pt x="116" y="12"/>
                        <a:pt x="117" y="12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38" y="0"/>
                        <a:pt x="138" y="0"/>
                        <a:pt x="139" y="0"/>
                      </a:cubicBezTo>
                      <a:cubicBezTo>
                        <a:pt x="154" y="9"/>
                        <a:pt x="154" y="9"/>
                        <a:pt x="154" y="9"/>
                      </a:cubicBezTo>
                      <a:cubicBezTo>
                        <a:pt x="155" y="9"/>
                        <a:pt x="155" y="10"/>
                        <a:pt x="155" y="11"/>
                      </a:cubicBezTo>
                      <a:cubicBezTo>
                        <a:pt x="155" y="28"/>
                        <a:pt x="155" y="28"/>
                        <a:pt x="155" y="28"/>
                      </a:cubicBezTo>
                      <a:cubicBezTo>
                        <a:pt x="170" y="19"/>
                        <a:pt x="170" y="19"/>
                        <a:pt x="170" y="19"/>
                      </a:cubicBezTo>
                      <a:cubicBezTo>
                        <a:pt x="170" y="19"/>
                        <a:pt x="171" y="19"/>
                        <a:pt x="172" y="19"/>
                      </a:cubicBezTo>
                      <a:cubicBezTo>
                        <a:pt x="193" y="32"/>
                        <a:pt x="193" y="32"/>
                        <a:pt x="193" y="32"/>
                      </a:cubicBezTo>
                      <a:cubicBezTo>
                        <a:pt x="194" y="32"/>
                        <a:pt x="194" y="33"/>
                        <a:pt x="194" y="33"/>
                      </a:cubicBezTo>
                      <a:cubicBezTo>
                        <a:pt x="194" y="36"/>
                        <a:pt x="194" y="36"/>
                        <a:pt x="194" y="36"/>
                      </a:cubicBezTo>
                      <a:cubicBezTo>
                        <a:pt x="237" y="60"/>
                        <a:pt x="237" y="60"/>
                        <a:pt x="237" y="60"/>
                      </a:cubicBezTo>
                      <a:cubicBezTo>
                        <a:pt x="238" y="61"/>
                        <a:pt x="238" y="61"/>
                        <a:pt x="238" y="62"/>
                      </a:cubicBezTo>
                      <a:cubicBezTo>
                        <a:pt x="238" y="63"/>
                        <a:pt x="238" y="64"/>
                        <a:pt x="237" y="64"/>
                      </a:cubicBezTo>
                      <a:cubicBezTo>
                        <a:pt x="113" y="136"/>
                        <a:pt x="113" y="136"/>
                        <a:pt x="113" y="136"/>
                      </a:cubicBezTo>
                      <a:cubicBezTo>
                        <a:pt x="112" y="136"/>
                        <a:pt x="112" y="136"/>
                        <a:pt x="112" y="136"/>
                      </a:cubicBezTo>
                      <a:close/>
                      <a:moveTo>
                        <a:pt x="81" y="114"/>
                      </a:moveTo>
                      <a:cubicBezTo>
                        <a:pt x="112" y="132"/>
                        <a:pt x="112" y="132"/>
                        <a:pt x="112" y="132"/>
                      </a:cubicBezTo>
                      <a:cubicBezTo>
                        <a:pt x="232" y="62"/>
                        <a:pt x="232" y="62"/>
                        <a:pt x="232" y="62"/>
                      </a:cubicBezTo>
                      <a:cubicBezTo>
                        <a:pt x="191" y="39"/>
                        <a:pt x="191" y="39"/>
                        <a:pt x="191" y="39"/>
                      </a:cubicBezTo>
                      <a:cubicBezTo>
                        <a:pt x="191" y="38"/>
                        <a:pt x="190" y="38"/>
                        <a:pt x="190" y="37"/>
                      </a:cubicBezTo>
                      <a:cubicBezTo>
                        <a:pt x="190" y="35"/>
                        <a:pt x="190" y="35"/>
                        <a:pt x="190" y="35"/>
                      </a:cubicBezTo>
                      <a:cubicBezTo>
                        <a:pt x="171" y="23"/>
                        <a:pt x="171" y="23"/>
                        <a:pt x="171" y="23"/>
                      </a:cubicBezTo>
                      <a:cubicBezTo>
                        <a:pt x="154" y="33"/>
                        <a:pt x="154" y="33"/>
                        <a:pt x="154" y="33"/>
                      </a:cubicBezTo>
                      <a:cubicBezTo>
                        <a:pt x="153" y="33"/>
                        <a:pt x="153" y="33"/>
                        <a:pt x="152" y="33"/>
                      </a:cubicBezTo>
                      <a:cubicBezTo>
                        <a:pt x="151" y="33"/>
                        <a:pt x="151" y="32"/>
                        <a:pt x="151" y="31"/>
                      </a:cubicBezTo>
                      <a:cubicBezTo>
                        <a:pt x="151" y="12"/>
                        <a:pt x="151" y="12"/>
                        <a:pt x="151" y="12"/>
                      </a:cubicBezTo>
                      <a:cubicBezTo>
                        <a:pt x="138" y="4"/>
                        <a:pt x="138" y="4"/>
                        <a:pt x="138" y="4"/>
                      </a:cubicBezTo>
                      <a:cubicBezTo>
                        <a:pt x="120" y="15"/>
                        <a:pt x="120" y="15"/>
                        <a:pt x="120" y="15"/>
                      </a:cubicBezTo>
                      <a:cubicBezTo>
                        <a:pt x="120" y="65"/>
                        <a:pt x="120" y="65"/>
                        <a:pt x="120" y="65"/>
                      </a:cubicBezTo>
                      <a:cubicBezTo>
                        <a:pt x="120" y="66"/>
                        <a:pt x="119" y="66"/>
                        <a:pt x="119" y="67"/>
                      </a:cubicBezTo>
                      <a:cubicBezTo>
                        <a:pt x="118" y="67"/>
                        <a:pt x="117" y="67"/>
                        <a:pt x="117" y="67"/>
                      </a:cubicBezTo>
                      <a:cubicBezTo>
                        <a:pt x="53" y="30"/>
                        <a:pt x="53" y="30"/>
                        <a:pt x="53" y="30"/>
                      </a:cubicBezTo>
                      <a:cubicBezTo>
                        <a:pt x="53" y="42"/>
                        <a:pt x="53" y="42"/>
                        <a:pt x="53" y="42"/>
                      </a:cubicBezTo>
                      <a:cubicBezTo>
                        <a:pt x="53" y="43"/>
                        <a:pt x="52" y="44"/>
                        <a:pt x="52" y="44"/>
                      </a:cubicBezTo>
                      <a:cubicBezTo>
                        <a:pt x="6" y="71"/>
                        <a:pt x="6" y="71"/>
                        <a:pt x="6" y="71"/>
                      </a:cubicBezTo>
                      <a:cubicBezTo>
                        <a:pt x="9" y="72"/>
                        <a:pt x="9" y="72"/>
                        <a:pt x="9" y="72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50" y="49"/>
                        <a:pt x="50" y="49"/>
                        <a:pt x="51" y="49"/>
                      </a:cubicBezTo>
                      <a:cubicBezTo>
                        <a:pt x="119" y="89"/>
                        <a:pt x="119" y="89"/>
                        <a:pt x="119" y="89"/>
                      </a:cubicBezTo>
                      <a:cubicBezTo>
                        <a:pt x="120" y="89"/>
                        <a:pt x="120" y="90"/>
                        <a:pt x="120" y="91"/>
                      </a:cubicBezTo>
                      <a:cubicBezTo>
                        <a:pt x="120" y="91"/>
                        <a:pt x="120" y="92"/>
                        <a:pt x="119" y="92"/>
                      </a:cubicBezTo>
                      <a:lnTo>
                        <a:pt x="81" y="1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8" name="Freeform 911">
                  <a:extLst>
                    <a:ext uri="{FF2B5EF4-FFF2-40B4-BE49-F238E27FC236}">
                      <a16:creationId xmlns:a16="http://schemas.microsoft.com/office/drawing/2014/main" id="{B918E5ED-B612-4AA9-9B68-7C176094A1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176" y="3579"/>
                  <a:ext cx="156" cy="180"/>
                </a:xfrm>
                <a:custGeom>
                  <a:avLst/>
                  <a:gdLst>
                    <a:gd name="T0" fmla="*/ 58 w 66"/>
                    <a:gd name="T1" fmla="*/ 76 h 76"/>
                    <a:gd name="T2" fmla="*/ 57 w 66"/>
                    <a:gd name="T3" fmla="*/ 76 h 76"/>
                    <a:gd name="T4" fmla="*/ 1 w 66"/>
                    <a:gd name="T5" fmla="*/ 43 h 76"/>
                    <a:gd name="T6" fmla="*/ 0 w 66"/>
                    <a:gd name="T7" fmla="*/ 41 h 76"/>
                    <a:gd name="T8" fmla="*/ 0 w 66"/>
                    <a:gd name="T9" fmla="*/ 16 h 76"/>
                    <a:gd name="T10" fmla="*/ 1 w 66"/>
                    <a:gd name="T11" fmla="*/ 15 h 76"/>
                    <a:gd name="T12" fmla="*/ 3 w 66"/>
                    <a:gd name="T13" fmla="*/ 15 h 76"/>
                    <a:gd name="T14" fmla="*/ 18 w 66"/>
                    <a:gd name="T15" fmla="*/ 23 h 76"/>
                    <a:gd name="T16" fmla="*/ 57 w 66"/>
                    <a:gd name="T17" fmla="*/ 0 h 76"/>
                    <a:gd name="T18" fmla="*/ 59 w 66"/>
                    <a:gd name="T19" fmla="*/ 0 h 76"/>
                    <a:gd name="T20" fmla="*/ 65 w 66"/>
                    <a:gd name="T21" fmla="*/ 4 h 76"/>
                    <a:gd name="T22" fmla="*/ 66 w 66"/>
                    <a:gd name="T23" fmla="*/ 6 h 76"/>
                    <a:gd name="T24" fmla="*/ 66 w 66"/>
                    <a:gd name="T25" fmla="*/ 15 h 76"/>
                    <a:gd name="T26" fmla="*/ 65 w 66"/>
                    <a:gd name="T27" fmla="*/ 17 h 76"/>
                    <a:gd name="T28" fmla="*/ 60 w 66"/>
                    <a:gd name="T29" fmla="*/ 20 h 76"/>
                    <a:gd name="T30" fmla="*/ 60 w 66"/>
                    <a:gd name="T31" fmla="*/ 74 h 76"/>
                    <a:gd name="T32" fmla="*/ 59 w 66"/>
                    <a:gd name="T33" fmla="*/ 76 h 76"/>
                    <a:gd name="T34" fmla="*/ 58 w 66"/>
                    <a:gd name="T35" fmla="*/ 76 h 76"/>
                    <a:gd name="T36" fmla="*/ 4 w 66"/>
                    <a:gd name="T37" fmla="*/ 40 h 76"/>
                    <a:gd name="T38" fmla="*/ 56 w 66"/>
                    <a:gd name="T39" fmla="*/ 70 h 76"/>
                    <a:gd name="T40" fmla="*/ 56 w 66"/>
                    <a:gd name="T41" fmla="*/ 18 h 76"/>
                    <a:gd name="T42" fmla="*/ 57 w 66"/>
                    <a:gd name="T43" fmla="*/ 17 h 76"/>
                    <a:gd name="T44" fmla="*/ 62 w 66"/>
                    <a:gd name="T45" fmla="*/ 14 h 76"/>
                    <a:gd name="T46" fmla="*/ 62 w 66"/>
                    <a:gd name="T47" fmla="*/ 7 h 76"/>
                    <a:gd name="T48" fmla="*/ 58 w 66"/>
                    <a:gd name="T49" fmla="*/ 4 h 76"/>
                    <a:gd name="T50" fmla="*/ 19 w 66"/>
                    <a:gd name="T51" fmla="*/ 27 h 76"/>
                    <a:gd name="T52" fmla="*/ 17 w 66"/>
                    <a:gd name="T53" fmla="*/ 27 h 76"/>
                    <a:gd name="T54" fmla="*/ 4 w 66"/>
                    <a:gd name="T55" fmla="*/ 20 h 76"/>
                    <a:gd name="T56" fmla="*/ 4 w 66"/>
                    <a:gd name="T57" fmla="*/ 4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" h="76">
                      <a:moveTo>
                        <a:pt x="58" y="76"/>
                      </a:moveTo>
                      <a:cubicBezTo>
                        <a:pt x="58" y="76"/>
                        <a:pt x="58" y="76"/>
                        <a:pt x="57" y="76"/>
                      </a:cubicBezTo>
                      <a:cubicBezTo>
                        <a:pt x="1" y="43"/>
                        <a:pt x="1" y="43"/>
                        <a:pt x="1" y="43"/>
                      </a:cubicBezTo>
                      <a:cubicBezTo>
                        <a:pt x="0" y="43"/>
                        <a:pt x="0" y="42"/>
                        <a:pt x="0" y="41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6"/>
                        <a:pt x="0" y="15"/>
                        <a:pt x="1" y="15"/>
                      </a:cubicBezTo>
                      <a:cubicBezTo>
                        <a:pt x="2" y="14"/>
                        <a:pt x="2" y="14"/>
                        <a:pt x="3" y="15"/>
                      </a:cubicBezTo>
                      <a:cubicBezTo>
                        <a:pt x="18" y="23"/>
                        <a:pt x="18" y="23"/>
                        <a:pt x="18" y="23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8" y="0"/>
                        <a:pt x="58" y="0"/>
                        <a:pt x="59" y="0"/>
                      </a:cubicBezTo>
                      <a:cubicBezTo>
                        <a:pt x="65" y="4"/>
                        <a:pt x="65" y="4"/>
                        <a:pt x="65" y="4"/>
                      </a:cubicBezTo>
                      <a:cubicBezTo>
                        <a:pt x="66" y="4"/>
                        <a:pt x="66" y="5"/>
                        <a:pt x="66" y="6"/>
                      </a:cubicBezTo>
                      <a:cubicBezTo>
                        <a:pt x="66" y="15"/>
                        <a:pt x="66" y="15"/>
                        <a:pt x="66" y="15"/>
                      </a:cubicBezTo>
                      <a:cubicBezTo>
                        <a:pt x="66" y="16"/>
                        <a:pt x="66" y="17"/>
                        <a:pt x="65" y="17"/>
                      </a:cubicBezTo>
                      <a:cubicBezTo>
                        <a:pt x="60" y="20"/>
                        <a:pt x="60" y="20"/>
                        <a:pt x="60" y="20"/>
                      </a:cubicBezTo>
                      <a:cubicBezTo>
                        <a:pt x="60" y="74"/>
                        <a:pt x="60" y="74"/>
                        <a:pt x="60" y="74"/>
                      </a:cubicBezTo>
                      <a:cubicBezTo>
                        <a:pt x="60" y="75"/>
                        <a:pt x="60" y="75"/>
                        <a:pt x="59" y="76"/>
                      </a:cubicBezTo>
                      <a:cubicBezTo>
                        <a:pt x="59" y="76"/>
                        <a:pt x="59" y="76"/>
                        <a:pt x="58" y="76"/>
                      </a:cubicBezTo>
                      <a:close/>
                      <a:moveTo>
                        <a:pt x="4" y="40"/>
                      </a:moveTo>
                      <a:cubicBezTo>
                        <a:pt x="56" y="70"/>
                        <a:pt x="56" y="70"/>
                        <a:pt x="56" y="70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7"/>
                        <a:pt x="57" y="17"/>
                      </a:cubicBezTo>
                      <a:cubicBezTo>
                        <a:pt x="62" y="14"/>
                        <a:pt x="62" y="14"/>
                        <a:pt x="62" y="14"/>
                      </a:cubicBezTo>
                      <a:cubicBezTo>
                        <a:pt x="62" y="7"/>
                        <a:pt x="62" y="7"/>
                        <a:pt x="62" y="7"/>
                      </a:cubicBezTo>
                      <a:cubicBezTo>
                        <a:pt x="58" y="4"/>
                        <a:pt x="58" y="4"/>
                        <a:pt x="58" y="4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8"/>
                        <a:pt x="17" y="28"/>
                        <a:pt x="17" y="27"/>
                      </a:cubicBezTo>
                      <a:cubicBezTo>
                        <a:pt x="4" y="20"/>
                        <a:pt x="4" y="20"/>
                        <a:pt x="4" y="20"/>
                      </a:cubicBezTo>
                      <a:lnTo>
                        <a:pt x="4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9" name="Freeform 912">
                  <a:extLst>
                    <a:ext uri="{FF2B5EF4-FFF2-40B4-BE49-F238E27FC236}">
                      <a16:creationId xmlns:a16="http://schemas.microsoft.com/office/drawing/2014/main" id="{96278E06-A3F1-4E3C-9FF5-DEC9F0E5FB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07" y="3690"/>
                  <a:ext cx="116" cy="73"/>
                </a:xfrm>
                <a:custGeom>
                  <a:avLst/>
                  <a:gdLst>
                    <a:gd name="T0" fmla="*/ 46 w 49"/>
                    <a:gd name="T1" fmla="*/ 31 h 31"/>
                    <a:gd name="T2" fmla="*/ 45 w 49"/>
                    <a:gd name="T3" fmla="*/ 31 h 31"/>
                    <a:gd name="T4" fmla="*/ 1 w 49"/>
                    <a:gd name="T5" fmla="*/ 6 h 31"/>
                    <a:gd name="T6" fmla="*/ 0 w 49"/>
                    <a:gd name="T7" fmla="*/ 4 h 31"/>
                    <a:gd name="T8" fmla="*/ 0 w 49"/>
                    <a:gd name="T9" fmla="*/ 2 h 31"/>
                    <a:gd name="T10" fmla="*/ 1 w 49"/>
                    <a:gd name="T11" fmla="*/ 1 h 31"/>
                    <a:gd name="T12" fmla="*/ 3 w 49"/>
                    <a:gd name="T13" fmla="*/ 1 h 31"/>
                    <a:gd name="T14" fmla="*/ 48 w 49"/>
                    <a:gd name="T15" fmla="*/ 27 h 31"/>
                    <a:gd name="T16" fmla="*/ 49 w 49"/>
                    <a:gd name="T17" fmla="*/ 28 h 31"/>
                    <a:gd name="T18" fmla="*/ 48 w 49"/>
                    <a:gd name="T19" fmla="*/ 30 h 31"/>
                    <a:gd name="T20" fmla="*/ 47 w 49"/>
                    <a:gd name="T21" fmla="*/ 31 h 31"/>
                    <a:gd name="T22" fmla="*/ 46 w 49"/>
                    <a:gd name="T23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9" h="31">
                      <a:moveTo>
                        <a:pt x="46" y="31"/>
                      </a:moveTo>
                      <a:cubicBezTo>
                        <a:pt x="45" y="31"/>
                        <a:pt x="45" y="31"/>
                        <a:pt x="45" y="31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1"/>
                        <a:pt x="1" y="1"/>
                      </a:cubicBezTo>
                      <a:cubicBezTo>
                        <a:pt x="2" y="0"/>
                        <a:pt x="2" y="0"/>
                        <a:pt x="3" y="1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9" y="27"/>
                        <a:pt x="49" y="28"/>
                        <a:pt x="49" y="28"/>
                      </a:cubicBezTo>
                      <a:cubicBezTo>
                        <a:pt x="49" y="29"/>
                        <a:pt x="49" y="30"/>
                        <a:pt x="48" y="30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6" y="31"/>
                        <a:pt x="46" y="31"/>
                        <a:pt x="46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0" name="Freeform 913">
                  <a:extLst>
                    <a:ext uri="{FF2B5EF4-FFF2-40B4-BE49-F238E27FC236}">
                      <a16:creationId xmlns:a16="http://schemas.microsoft.com/office/drawing/2014/main" id="{53FB72DC-DD16-4804-AF98-535D9B4238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13" y="3789"/>
                  <a:ext cx="220" cy="133"/>
                </a:xfrm>
                <a:custGeom>
                  <a:avLst/>
                  <a:gdLst>
                    <a:gd name="T0" fmla="*/ 67 w 93"/>
                    <a:gd name="T1" fmla="*/ 56 h 56"/>
                    <a:gd name="T2" fmla="*/ 66 w 93"/>
                    <a:gd name="T3" fmla="*/ 56 h 56"/>
                    <a:gd name="T4" fmla="*/ 1 w 93"/>
                    <a:gd name="T5" fmla="*/ 18 h 56"/>
                    <a:gd name="T6" fmla="*/ 0 w 93"/>
                    <a:gd name="T7" fmla="*/ 17 h 56"/>
                    <a:gd name="T8" fmla="*/ 1 w 93"/>
                    <a:gd name="T9" fmla="*/ 15 h 56"/>
                    <a:gd name="T10" fmla="*/ 25 w 93"/>
                    <a:gd name="T11" fmla="*/ 1 h 56"/>
                    <a:gd name="T12" fmla="*/ 27 w 93"/>
                    <a:gd name="T13" fmla="*/ 1 h 56"/>
                    <a:gd name="T14" fmla="*/ 92 w 93"/>
                    <a:gd name="T15" fmla="*/ 38 h 56"/>
                    <a:gd name="T16" fmla="*/ 93 w 93"/>
                    <a:gd name="T17" fmla="*/ 40 h 56"/>
                    <a:gd name="T18" fmla="*/ 92 w 93"/>
                    <a:gd name="T19" fmla="*/ 42 h 56"/>
                    <a:gd name="T20" fmla="*/ 68 w 93"/>
                    <a:gd name="T21" fmla="*/ 56 h 56"/>
                    <a:gd name="T22" fmla="*/ 67 w 93"/>
                    <a:gd name="T23" fmla="*/ 56 h 56"/>
                    <a:gd name="T24" fmla="*/ 6 w 93"/>
                    <a:gd name="T25" fmla="*/ 17 h 56"/>
                    <a:gd name="T26" fmla="*/ 67 w 93"/>
                    <a:gd name="T27" fmla="*/ 52 h 56"/>
                    <a:gd name="T28" fmla="*/ 87 w 93"/>
                    <a:gd name="T29" fmla="*/ 40 h 56"/>
                    <a:gd name="T30" fmla="*/ 26 w 93"/>
                    <a:gd name="T31" fmla="*/ 5 h 56"/>
                    <a:gd name="T32" fmla="*/ 6 w 93"/>
                    <a:gd name="T33" fmla="*/ 17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3" h="56">
                      <a:moveTo>
                        <a:pt x="67" y="56"/>
                      </a:moveTo>
                      <a:cubicBezTo>
                        <a:pt x="67" y="56"/>
                        <a:pt x="66" y="56"/>
                        <a:pt x="66" y="56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0" y="18"/>
                        <a:pt x="0" y="17"/>
                        <a:pt x="0" y="17"/>
                      </a:cubicBezTo>
                      <a:cubicBezTo>
                        <a:pt x="0" y="16"/>
                        <a:pt x="0" y="15"/>
                        <a:pt x="1" y="15"/>
                      </a:cubicBezTo>
                      <a:cubicBezTo>
                        <a:pt x="25" y="1"/>
                        <a:pt x="25" y="1"/>
                        <a:pt x="25" y="1"/>
                      </a:cubicBezTo>
                      <a:cubicBezTo>
                        <a:pt x="26" y="0"/>
                        <a:pt x="26" y="0"/>
                        <a:pt x="27" y="1"/>
                      </a:cubicBezTo>
                      <a:cubicBezTo>
                        <a:pt x="92" y="38"/>
                        <a:pt x="92" y="38"/>
                        <a:pt x="92" y="38"/>
                      </a:cubicBezTo>
                      <a:cubicBezTo>
                        <a:pt x="93" y="39"/>
                        <a:pt x="93" y="39"/>
                        <a:pt x="93" y="40"/>
                      </a:cubicBezTo>
                      <a:cubicBezTo>
                        <a:pt x="93" y="41"/>
                        <a:pt x="93" y="42"/>
                        <a:pt x="92" y="42"/>
                      </a:cubicBezTo>
                      <a:cubicBezTo>
                        <a:pt x="68" y="56"/>
                        <a:pt x="68" y="56"/>
                        <a:pt x="68" y="56"/>
                      </a:cubicBezTo>
                      <a:cubicBezTo>
                        <a:pt x="68" y="56"/>
                        <a:pt x="67" y="56"/>
                        <a:pt x="67" y="56"/>
                      </a:cubicBezTo>
                      <a:close/>
                      <a:moveTo>
                        <a:pt x="6" y="17"/>
                      </a:moveTo>
                      <a:cubicBezTo>
                        <a:pt x="67" y="52"/>
                        <a:pt x="67" y="52"/>
                        <a:pt x="67" y="52"/>
                      </a:cubicBezTo>
                      <a:cubicBezTo>
                        <a:pt x="87" y="40"/>
                        <a:pt x="87" y="40"/>
                        <a:pt x="87" y="40"/>
                      </a:cubicBezTo>
                      <a:cubicBezTo>
                        <a:pt x="26" y="5"/>
                        <a:pt x="26" y="5"/>
                        <a:pt x="26" y="5"/>
                      </a:cubicBezTo>
                      <a:lnTo>
                        <a:pt x="6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1" name="Freeform 914">
                  <a:extLst>
                    <a:ext uri="{FF2B5EF4-FFF2-40B4-BE49-F238E27FC236}">
                      <a16:creationId xmlns:a16="http://schemas.microsoft.com/office/drawing/2014/main" id="{67E8DA37-5146-4B11-82A6-AC34FFAB0E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75" y="3735"/>
                  <a:ext cx="255" cy="151"/>
                </a:xfrm>
                <a:custGeom>
                  <a:avLst/>
                  <a:gdLst>
                    <a:gd name="T0" fmla="*/ 67 w 108"/>
                    <a:gd name="T1" fmla="*/ 64 h 64"/>
                    <a:gd name="T2" fmla="*/ 66 w 108"/>
                    <a:gd name="T3" fmla="*/ 64 h 64"/>
                    <a:gd name="T4" fmla="*/ 1 w 108"/>
                    <a:gd name="T5" fmla="*/ 26 h 64"/>
                    <a:gd name="T6" fmla="*/ 0 w 108"/>
                    <a:gd name="T7" fmla="*/ 25 h 64"/>
                    <a:gd name="T8" fmla="*/ 1 w 108"/>
                    <a:gd name="T9" fmla="*/ 23 h 64"/>
                    <a:gd name="T10" fmla="*/ 40 w 108"/>
                    <a:gd name="T11" fmla="*/ 0 h 64"/>
                    <a:gd name="T12" fmla="*/ 42 w 108"/>
                    <a:gd name="T13" fmla="*/ 0 h 64"/>
                    <a:gd name="T14" fmla="*/ 107 w 108"/>
                    <a:gd name="T15" fmla="*/ 38 h 64"/>
                    <a:gd name="T16" fmla="*/ 108 w 108"/>
                    <a:gd name="T17" fmla="*/ 40 h 64"/>
                    <a:gd name="T18" fmla="*/ 107 w 108"/>
                    <a:gd name="T19" fmla="*/ 41 h 64"/>
                    <a:gd name="T20" fmla="*/ 68 w 108"/>
                    <a:gd name="T21" fmla="*/ 64 h 64"/>
                    <a:gd name="T22" fmla="*/ 67 w 108"/>
                    <a:gd name="T23" fmla="*/ 64 h 64"/>
                    <a:gd name="T24" fmla="*/ 6 w 108"/>
                    <a:gd name="T25" fmla="*/ 25 h 64"/>
                    <a:gd name="T26" fmla="*/ 67 w 108"/>
                    <a:gd name="T27" fmla="*/ 60 h 64"/>
                    <a:gd name="T28" fmla="*/ 102 w 108"/>
                    <a:gd name="T29" fmla="*/ 40 h 64"/>
                    <a:gd name="T30" fmla="*/ 41 w 108"/>
                    <a:gd name="T31" fmla="*/ 4 h 64"/>
                    <a:gd name="T32" fmla="*/ 6 w 108"/>
                    <a:gd name="T33" fmla="*/ 25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8" h="64">
                      <a:moveTo>
                        <a:pt x="67" y="64"/>
                      </a:moveTo>
                      <a:cubicBezTo>
                        <a:pt x="66" y="64"/>
                        <a:pt x="66" y="64"/>
                        <a:pt x="66" y="6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1" y="0"/>
                        <a:pt x="41" y="0"/>
                        <a:pt x="42" y="0"/>
                      </a:cubicBezTo>
                      <a:cubicBezTo>
                        <a:pt x="107" y="38"/>
                        <a:pt x="107" y="38"/>
                        <a:pt x="107" y="38"/>
                      </a:cubicBezTo>
                      <a:cubicBezTo>
                        <a:pt x="108" y="38"/>
                        <a:pt x="108" y="39"/>
                        <a:pt x="108" y="40"/>
                      </a:cubicBezTo>
                      <a:cubicBezTo>
                        <a:pt x="108" y="40"/>
                        <a:pt x="108" y="41"/>
                        <a:pt x="107" y="41"/>
                      </a:cubicBezTo>
                      <a:cubicBezTo>
                        <a:pt x="68" y="64"/>
                        <a:pt x="68" y="64"/>
                        <a:pt x="68" y="64"/>
                      </a:cubicBezTo>
                      <a:cubicBezTo>
                        <a:pt x="68" y="64"/>
                        <a:pt x="67" y="64"/>
                        <a:pt x="67" y="64"/>
                      </a:cubicBezTo>
                      <a:close/>
                      <a:moveTo>
                        <a:pt x="6" y="25"/>
                      </a:moveTo>
                      <a:cubicBezTo>
                        <a:pt x="67" y="60"/>
                        <a:pt x="67" y="60"/>
                        <a:pt x="67" y="60"/>
                      </a:cubicBezTo>
                      <a:cubicBezTo>
                        <a:pt x="102" y="40"/>
                        <a:pt x="102" y="40"/>
                        <a:pt x="102" y="40"/>
                      </a:cubicBezTo>
                      <a:cubicBezTo>
                        <a:pt x="41" y="4"/>
                        <a:pt x="41" y="4"/>
                        <a:pt x="41" y="4"/>
                      </a:cubicBezTo>
                      <a:lnTo>
                        <a:pt x="6" y="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2" name="Freeform 915">
                  <a:extLst>
                    <a:ext uri="{FF2B5EF4-FFF2-40B4-BE49-F238E27FC236}">
                      <a16:creationId xmlns:a16="http://schemas.microsoft.com/office/drawing/2014/main" id="{4CB01993-C058-4B60-982D-DB3204FB4B0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3241"/>
                  <a:ext cx="57" cy="102"/>
                </a:xfrm>
                <a:custGeom>
                  <a:avLst/>
                  <a:gdLst>
                    <a:gd name="T0" fmla="*/ 22 w 24"/>
                    <a:gd name="T1" fmla="*/ 43 h 43"/>
                    <a:gd name="T2" fmla="*/ 21 w 24"/>
                    <a:gd name="T3" fmla="*/ 42 h 43"/>
                    <a:gd name="T4" fmla="*/ 1 w 24"/>
                    <a:gd name="T5" fmla="*/ 31 h 43"/>
                    <a:gd name="T6" fmla="*/ 0 w 24"/>
                    <a:gd name="T7" fmla="*/ 29 h 43"/>
                    <a:gd name="T8" fmla="*/ 0 w 24"/>
                    <a:gd name="T9" fmla="*/ 13 h 43"/>
                    <a:gd name="T10" fmla="*/ 1 w 24"/>
                    <a:gd name="T11" fmla="*/ 12 h 43"/>
                    <a:gd name="T12" fmla="*/ 21 w 24"/>
                    <a:gd name="T13" fmla="*/ 0 h 43"/>
                    <a:gd name="T14" fmla="*/ 23 w 24"/>
                    <a:gd name="T15" fmla="*/ 0 h 43"/>
                    <a:gd name="T16" fmla="*/ 24 w 24"/>
                    <a:gd name="T17" fmla="*/ 2 h 43"/>
                    <a:gd name="T18" fmla="*/ 24 w 24"/>
                    <a:gd name="T19" fmla="*/ 41 h 43"/>
                    <a:gd name="T20" fmla="*/ 23 w 24"/>
                    <a:gd name="T21" fmla="*/ 42 h 43"/>
                    <a:gd name="T22" fmla="*/ 22 w 24"/>
                    <a:gd name="T23" fmla="*/ 43 h 43"/>
                    <a:gd name="T24" fmla="*/ 4 w 24"/>
                    <a:gd name="T25" fmla="*/ 28 h 43"/>
                    <a:gd name="T26" fmla="*/ 20 w 24"/>
                    <a:gd name="T27" fmla="*/ 37 h 43"/>
                    <a:gd name="T28" fmla="*/ 20 w 24"/>
                    <a:gd name="T29" fmla="*/ 5 h 43"/>
                    <a:gd name="T30" fmla="*/ 4 w 24"/>
                    <a:gd name="T31" fmla="*/ 15 h 43"/>
                    <a:gd name="T32" fmla="*/ 4 w 24"/>
                    <a:gd name="T33" fmla="*/ 28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43">
                      <a:moveTo>
                        <a:pt x="22" y="43"/>
                      </a:moveTo>
                      <a:cubicBezTo>
                        <a:pt x="22" y="43"/>
                        <a:pt x="21" y="43"/>
                        <a:pt x="21" y="42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0" y="30"/>
                        <a:pt x="0" y="29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3"/>
                        <a:pt x="1" y="12"/>
                        <a:pt x="1" y="12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1"/>
                        <a:pt x="24" y="1"/>
                        <a:pt x="24" y="2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4" y="41"/>
                        <a:pt x="23" y="42"/>
                        <a:pt x="23" y="42"/>
                      </a:cubicBezTo>
                      <a:cubicBezTo>
                        <a:pt x="23" y="43"/>
                        <a:pt x="22" y="43"/>
                        <a:pt x="22" y="43"/>
                      </a:cubicBezTo>
                      <a:close/>
                      <a:moveTo>
                        <a:pt x="4" y="28"/>
                      </a:moveTo>
                      <a:cubicBezTo>
                        <a:pt x="20" y="37"/>
                        <a:pt x="20" y="37"/>
                        <a:pt x="20" y="37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4" y="15"/>
                        <a:pt x="4" y="15"/>
                        <a:pt x="4" y="15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3" name="Freeform 916">
                  <a:extLst>
                    <a:ext uri="{FF2B5EF4-FFF2-40B4-BE49-F238E27FC236}">
                      <a16:creationId xmlns:a16="http://schemas.microsoft.com/office/drawing/2014/main" id="{0B807628-62D9-40B8-9EAB-F8BA926E28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13" y="3759"/>
                  <a:ext cx="43" cy="45"/>
                </a:xfrm>
                <a:custGeom>
                  <a:avLst/>
                  <a:gdLst>
                    <a:gd name="T0" fmla="*/ 2 w 18"/>
                    <a:gd name="T1" fmla="*/ 19 h 19"/>
                    <a:gd name="T2" fmla="*/ 1 w 18"/>
                    <a:gd name="T3" fmla="*/ 19 h 19"/>
                    <a:gd name="T4" fmla="*/ 0 w 18"/>
                    <a:gd name="T5" fmla="*/ 17 h 19"/>
                    <a:gd name="T6" fmla="*/ 0 w 18"/>
                    <a:gd name="T7" fmla="*/ 2 h 19"/>
                    <a:gd name="T8" fmla="*/ 1 w 18"/>
                    <a:gd name="T9" fmla="*/ 0 h 19"/>
                    <a:gd name="T10" fmla="*/ 3 w 18"/>
                    <a:gd name="T11" fmla="*/ 0 h 19"/>
                    <a:gd name="T12" fmla="*/ 17 w 18"/>
                    <a:gd name="T13" fmla="*/ 8 h 19"/>
                    <a:gd name="T14" fmla="*/ 18 w 18"/>
                    <a:gd name="T15" fmla="*/ 10 h 19"/>
                    <a:gd name="T16" fmla="*/ 17 w 18"/>
                    <a:gd name="T17" fmla="*/ 11 h 19"/>
                    <a:gd name="T18" fmla="*/ 3 w 18"/>
                    <a:gd name="T19" fmla="*/ 19 h 19"/>
                    <a:gd name="T20" fmla="*/ 2 w 18"/>
                    <a:gd name="T21" fmla="*/ 19 h 19"/>
                    <a:gd name="T22" fmla="*/ 4 w 18"/>
                    <a:gd name="T23" fmla="*/ 5 h 19"/>
                    <a:gd name="T24" fmla="*/ 4 w 18"/>
                    <a:gd name="T25" fmla="*/ 14 h 19"/>
                    <a:gd name="T26" fmla="*/ 12 w 18"/>
                    <a:gd name="T27" fmla="*/ 10 h 19"/>
                    <a:gd name="T28" fmla="*/ 4 w 18"/>
                    <a:gd name="T29" fmla="*/ 5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19">
                      <a:moveTo>
                        <a:pt x="2" y="19"/>
                      </a:moveTo>
                      <a:cubicBezTo>
                        <a:pt x="2" y="19"/>
                        <a:pt x="1" y="19"/>
                        <a:pt x="1" y="19"/>
                      </a:cubicBezTo>
                      <a:cubicBezTo>
                        <a:pt x="0" y="19"/>
                        <a:pt x="0" y="18"/>
                        <a:pt x="0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8" y="9"/>
                        <a:pt x="18" y="10"/>
                      </a:cubicBezTo>
                      <a:cubicBezTo>
                        <a:pt x="18" y="10"/>
                        <a:pt x="17" y="11"/>
                        <a:pt x="17" y="11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9"/>
                        <a:pt x="2" y="19"/>
                        <a:pt x="2" y="19"/>
                      </a:cubicBezTo>
                      <a:close/>
                      <a:moveTo>
                        <a:pt x="4" y="5"/>
                      </a:move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4" name="Freeform 917">
                  <a:extLst>
                    <a:ext uri="{FF2B5EF4-FFF2-40B4-BE49-F238E27FC236}">
                      <a16:creationId xmlns:a16="http://schemas.microsoft.com/office/drawing/2014/main" id="{3E7BD66E-E549-431E-B341-8525ADBA43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27" y="3664"/>
                  <a:ext cx="147" cy="121"/>
                </a:xfrm>
                <a:custGeom>
                  <a:avLst/>
                  <a:gdLst>
                    <a:gd name="T0" fmla="*/ 11 w 62"/>
                    <a:gd name="T1" fmla="*/ 51 h 51"/>
                    <a:gd name="T2" fmla="*/ 10 w 62"/>
                    <a:gd name="T3" fmla="*/ 50 h 51"/>
                    <a:gd name="T4" fmla="*/ 1 w 62"/>
                    <a:gd name="T5" fmla="*/ 45 h 51"/>
                    <a:gd name="T6" fmla="*/ 0 w 62"/>
                    <a:gd name="T7" fmla="*/ 43 h 51"/>
                    <a:gd name="T8" fmla="*/ 0 w 62"/>
                    <a:gd name="T9" fmla="*/ 36 h 51"/>
                    <a:gd name="T10" fmla="*/ 1 w 62"/>
                    <a:gd name="T11" fmla="*/ 34 h 51"/>
                    <a:gd name="T12" fmla="*/ 59 w 62"/>
                    <a:gd name="T13" fmla="*/ 0 h 51"/>
                    <a:gd name="T14" fmla="*/ 61 w 62"/>
                    <a:gd name="T15" fmla="*/ 0 h 51"/>
                    <a:gd name="T16" fmla="*/ 62 w 62"/>
                    <a:gd name="T17" fmla="*/ 2 h 51"/>
                    <a:gd name="T18" fmla="*/ 62 w 62"/>
                    <a:gd name="T19" fmla="*/ 20 h 51"/>
                    <a:gd name="T20" fmla="*/ 61 w 62"/>
                    <a:gd name="T21" fmla="*/ 22 h 51"/>
                    <a:gd name="T22" fmla="*/ 12 w 62"/>
                    <a:gd name="T23" fmla="*/ 50 h 51"/>
                    <a:gd name="T24" fmla="*/ 11 w 62"/>
                    <a:gd name="T25" fmla="*/ 51 h 51"/>
                    <a:gd name="T26" fmla="*/ 4 w 62"/>
                    <a:gd name="T27" fmla="*/ 42 h 51"/>
                    <a:gd name="T28" fmla="*/ 11 w 62"/>
                    <a:gd name="T29" fmla="*/ 46 h 51"/>
                    <a:gd name="T30" fmla="*/ 58 w 62"/>
                    <a:gd name="T31" fmla="*/ 19 h 51"/>
                    <a:gd name="T32" fmla="*/ 58 w 62"/>
                    <a:gd name="T33" fmla="*/ 6 h 51"/>
                    <a:gd name="T34" fmla="*/ 4 w 62"/>
                    <a:gd name="T35" fmla="*/ 37 h 51"/>
                    <a:gd name="T36" fmla="*/ 4 w 62"/>
                    <a:gd name="T37" fmla="*/ 4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2" h="51">
                      <a:moveTo>
                        <a:pt x="11" y="51"/>
                      </a:moveTo>
                      <a:cubicBezTo>
                        <a:pt x="11" y="51"/>
                        <a:pt x="11" y="50"/>
                        <a:pt x="10" y="50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44"/>
                        <a:pt x="0" y="44"/>
                        <a:pt x="0" y="4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5"/>
                        <a:pt x="0" y="35"/>
                        <a:pt x="1" y="34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60" y="0"/>
                        <a:pt x="61" y="0"/>
                        <a:pt x="61" y="0"/>
                      </a:cubicBezTo>
                      <a:cubicBezTo>
                        <a:pt x="62" y="1"/>
                        <a:pt x="62" y="1"/>
                        <a:pt x="62" y="2"/>
                      </a:cubicBezTo>
                      <a:cubicBezTo>
                        <a:pt x="62" y="20"/>
                        <a:pt x="62" y="20"/>
                        <a:pt x="62" y="20"/>
                      </a:cubicBezTo>
                      <a:cubicBezTo>
                        <a:pt x="62" y="21"/>
                        <a:pt x="62" y="22"/>
                        <a:pt x="61" y="22"/>
                      </a:cubicBezTo>
                      <a:cubicBezTo>
                        <a:pt x="12" y="50"/>
                        <a:pt x="12" y="50"/>
                        <a:pt x="12" y="50"/>
                      </a:cubicBezTo>
                      <a:cubicBezTo>
                        <a:pt x="12" y="50"/>
                        <a:pt x="12" y="51"/>
                        <a:pt x="11" y="51"/>
                      </a:cubicBezTo>
                      <a:close/>
                      <a:moveTo>
                        <a:pt x="4" y="42"/>
                      </a:move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8" y="6"/>
                        <a:pt x="58" y="6"/>
                        <a:pt x="58" y="6"/>
                      </a:cubicBezTo>
                      <a:cubicBezTo>
                        <a:pt x="4" y="37"/>
                        <a:pt x="4" y="37"/>
                        <a:pt x="4" y="37"/>
                      </a:cubicBezTo>
                      <a:lnTo>
                        <a:pt x="4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5" name="Freeform 918">
                  <a:extLst>
                    <a:ext uri="{FF2B5EF4-FFF2-40B4-BE49-F238E27FC236}">
                      <a16:creationId xmlns:a16="http://schemas.microsoft.com/office/drawing/2014/main" id="{5414C1B4-0A62-4704-A5FF-66458BEE2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76" y="3329"/>
                  <a:ext cx="307" cy="524"/>
                </a:xfrm>
                <a:custGeom>
                  <a:avLst/>
                  <a:gdLst>
                    <a:gd name="T0" fmla="*/ 128 w 130"/>
                    <a:gd name="T1" fmla="*/ 222 h 222"/>
                    <a:gd name="T2" fmla="*/ 127 w 130"/>
                    <a:gd name="T3" fmla="*/ 221 h 222"/>
                    <a:gd name="T4" fmla="*/ 11 w 130"/>
                    <a:gd name="T5" fmla="*/ 155 h 222"/>
                    <a:gd name="T6" fmla="*/ 10 w 130"/>
                    <a:gd name="T7" fmla="*/ 153 h 222"/>
                    <a:gd name="T8" fmla="*/ 10 w 130"/>
                    <a:gd name="T9" fmla="*/ 13 h 222"/>
                    <a:gd name="T10" fmla="*/ 3 w 130"/>
                    <a:gd name="T11" fmla="*/ 17 h 222"/>
                    <a:gd name="T12" fmla="*/ 1 w 130"/>
                    <a:gd name="T13" fmla="*/ 17 h 222"/>
                    <a:gd name="T14" fmla="*/ 0 w 130"/>
                    <a:gd name="T15" fmla="*/ 15 h 222"/>
                    <a:gd name="T16" fmla="*/ 0 w 130"/>
                    <a:gd name="T17" fmla="*/ 2 h 222"/>
                    <a:gd name="T18" fmla="*/ 1 w 130"/>
                    <a:gd name="T19" fmla="*/ 1 h 222"/>
                    <a:gd name="T20" fmla="*/ 3 w 130"/>
                    <a:gd name="T21" fmla="*/ 1 h 222"/>
                    <a:gd name="T22" fmla="*/ 24 w 130"/>
                    <a:gd name="T23" fmla="*/ 13 h 222"/>
                    <a:gd name="T24" fmla="*/ 25 w 130"/>
                    <a:gd name="T25" fmla="*/ 15 h 222"/>
                    <a:gd name="T26" fmla="*/ 24 w 130"/>
                    <a:gd name="T27" fmla="*/ 16 h 222"/>
                    <a:gd name="T28" fmla="*/ 20 w 130"/>
                    <a:gd name="T29" fmla="*/ 19 h 222"/>
                    <a:gd name="T30" fmla="*/ 129 w 130"/>
                    <a:gd name="T31" fmla="*/ 81 h 222"/>
                    <a:gd name="T32" fmla="*/ 130 w 130"/>
                    <a:gd name="T33" fmla="*/ 83 h 222"/>
                    <a:gd name="T34" fmla="*/ 130 w 130"/>
                    <a:gd name="T35" fmla="*/ 220 h 222"/>
                    <a:gd name="T36" fmla="*/ 129 w 130"/>
                    <a:gd name="T37" fmla="*/ 221 h 222"/>
                    <a:gd name="T38" fmla="*/ 128 w 130"/>
                    <a:gd name="T39" fmla="*/ 222 h 222"/>
                    <a:gd name="T40" fmla="*/ 14 w 130"/>
                    <a:gd name="T41" fmla="*/ 152 h 222"/>
                    <a:gd name="T42" fmla="*/ 126 w 130"/>
                    <a:gd name="T43" fmla="*/ 216 h 222"/>
                    <a:gd name="T44" fmla="*/ 126 w 130"/>
                    <a:gd name="T45" fmla="*/ 84 h 222"/>
                    <a:gd name="T46" fmla="*/ 15 w 130"/>
                    <a:gd name="T47" fmla="*/ 20 h 222"/>
                    <a:gd name="T48" fmla="*/ 14 w 130"/>
                    <a:gd name="T49" fmla="*/ 19 h 222"/>
                    <a:gd name="T50" fmla="*/ 15 w 130"/>
                    <a:gd name="T51" fmla="*/ 17 h 222"/>
                    <a:gd name="T52" fmla="*/ 19 w 130"/>
                    <a:gd name="T53" fmla="*/ 15 h 222"/>
                    <a:gd name="T54" fmla="*/ 14 w 130"/>
                    <a:gd name="T55" fmla="*/ 12 h 222"/>
                    <a:gd name="T56" fmla="*/ 14 w 130"/>
                    <a:gd name="T57" fmla="*/ 152 h 222"/>
                    <a:gd name="T58" fmla="*/ 4 w 130"/>
                    <a:gd name="T59" fmla="*/ 6 h 222"/>
                    <a:gd name="T60" fmla="*/ 4 w 130"/>
                    <a:gd name="T61" fmla="*/ 12 h 222"/>
                    <a:gd name="T62" fmla="*/ 9 w 130"/>
                    <a:gd name="T63" fmla="*/ 9 h 222"/>
                    <a:gd name="T64" fmla="*/ 4 w 130"/>
                    <a:gd name="T65" fmla="*/ 6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0" h="222">
                      <a:moveTo>
                        <a:pt x="128" y="222"/>
                      </a:moveTo>
                      <a:cubicBezTo>
                        <a:pt x="127" y="222"/>
                        <a:pt x="127" y="222"/>
                        <a:pt x="127" y="221"/>
                      </a:cubicBezTo>
                      <a:cubicBezTo>
                        <a:pt x="11" y="155"/>
                        <a:pt x="11" y="155"/>
                        <a:pt x="11" y="155"/>
                      </a:cubicBezTo>
                      <a:cubicBezTo>
                        <a:pt x="10" y="154"/>
                        <a:pt x="10" y="154"/>
                        <a:pt x="10" y="153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2" y="17"/>
                        <a:pt x="1" y="17"/>
                      </a:cubicBezTo>
                      <a:cubicBezTo>
                        <a:pt x="1" y="17"/>
                        <a:pt x="0" y="16"/>
                        <a:pt x="0" y="1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5" y="13"/>
                        <a:pt x="25" y="14"/>
                        <a:pt x="25" y="15"/>
                      </a:cubicBezTo>
                      <a:cubicBezTo>
                        <a:pt x="25" y="15"/>
                        <a:pt x="25" y="16"/>
                        <a:pt x="24" y="16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129" y="81"/>
                        <a:pt x="129" y="81"/>
                        <a:pt x="129" y="81"/>
                      </a:cubicBezTo>
                      <a:cubicBezTo>
                        <a:pt x="129" y="82"/>
                        <a:pt x="130" y="82"/>
                        <a:pt x="130" y="83"/>
                      </a:cubicBezTo>
                      <a:cubicBezTo>
                        <a:pt x="130" y="220"/>
                        <a:pt x="130" y="220"/>
                        <a:pt x="130" y="220"/>
                      </a:cubicBezTo>
                      <a:cubicBezTo>
                        <a:pt x="130" y="220"/>
                        <a:pt x="129" y="221"/>
                        <a:pt x="129" y="221"/>
                      </a:cubicBezTo>
                      <a:cubicBezTo>
                        <a:pt x="128" y="222"/>
                        <a:pt x="128" y="222"/>
                        <a:pt x="128" y="222"/>
                      </a:cubicBezTo>
                      <a:close/>
                      <a:moveTo>
                        <a:pt x="14" y="152"/>
                      </a:moveTo>
                      <a:cubicBezTo>
                        <a:pt x="126" y="216"/>
                        <a:pt x="126" y="216"/>
                        <a:pt x="126" y="216"/>
                      </a:cubicBezTo>
                      <a:cubicBezTo>
                        <a:pt x="126" y="84"/>
                        <a:pt x="126" y="84"/>
                        <a:pt x="126" y="84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4" y="20"/>
                        <a:pt x="14" y="19"/>
                        <a:pt x="14" y="19"/>
                      </a:cubicBezTo>
                      <a:cubicBezTo>
                        <a:pt x="14" y="18"/>
                        <a:pt x="14" y="17"/>
                        <a:pt x="15" y="17"/>
                      </a:cubicBezTo>
                      <a:cubicBezTo>
                        <a:pt x="19" y="15"/>
                        <a:pt x="19" y="15"/>
                        <a:pt x="19" y="15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lnTo>
                        <a:pt x="14" y="152"/>
                      </a:lnTo>
                      <a:close/>
                      <a:moveTo>
                        <a:pt x="4" y="6"/>
                      </a:moveTo>
                      <a:cubicBezTo>
                        <a:pt x="4" y="12"/>
                        <a:pt x="4" y="12"/>
                        <a:pt x="4" y="12"/>
                      </a:cubicBezTo>
                      <a:cubicBezTo>
                        <a:pt x="9" y="9"/>
                        <a:pt x="9" y="9"/>
                        <a:pt x="9" y="9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6" name="Freeform 919">
                  <a:extLst>
                    <a:ext uri="{FF2B5EF4-FFF2-40B4-BE49-F238E27FC236}">
                      <a16:creationId xmlns:a16="http://schemas.microsoft.com/office/drawing/2014/main" id="{9C51A52F-BED0-44BD-A5CB-5F43999183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46" y="2788"/>
                  <a:ext cx="163" cy="123"/>
                </a:xfrm>
                <a:custGeom>
                  <a:avLst/>
                  <a:gdLst>
                    <a:gd name="T0" fmla="*/ 22 w 69"/>
                    <a:gd name="T1" fmla="*/ 52 h 52"/>
                    <a:gd name="T2" fmla="*/ 21 w 69"/>
                    <a:gd name="T3" fmla="*/ 52 h 52"/>
                    <a:gd name="T4" fmla="*/ 1 w 69"/>
                    <a:gd name="T5" fmla="*/ 40 h 52"/>
                    <a:gd name="T6" fmla="*/ 0 w 69"/>
                    <a:gd name="T7" fmla="*/ 38 h 52"/>
                    <a:gd name="T8" fmla="*/ 1 w 69"/>
                    <a:gd name="T9" fmla="*/ 37 h 52"/>
                    <a:gd name="T10" fmla="*/ 64 w 69"/>
                    <a:gd name="T11" fmla="*/ 1 h 52"/>
                    <a:gd name="T12" fmla="*/ 66 w 69"/>
                    <a:gd name="T13" fmla="*/ 1 h 52"/>
                    <a:gd name="T14" fmla="*/ 68 w 69"/>
                    <a:gd name="T15" fmla="*/ 1 h 52"/>
                    <a:gd name="T16" fmla="*/ 69 w 69"/>
                    <a:gd name="T17" fmla="*/ 3 h 52"/>
                    <a:gd name="T18" fmla="*/ 68 w 69"/>
                    <a:gd name="T19" fmla="*/ 5 h 52"/>
                    <a:gd name="T20" fmla="*/ 58 w 69"/>
                    <a:gd name="T21" fmla="*/ 11 h 52"/>
                    <a:gd name="T22" fmla="*/ 58 w 69"/>
                    <a:gd name="T23" fmla="*/ 30 h 52"/>
                    <a:gd name="T24" fmla="*/ 57 w 69"/>
                    <a:gd name="T25" fmla="*/ 32 h 52"/>
                    <a:gd name="T26" fmla="*/ 23 w 69"/>
                    <a:gd name="T27" fmla="*/ 52 h 52"/>
                    <a:gd name="T28" fmla="*/ 22 w 69"/>
                    <a:gd name="T29" fmla="*/ 52 h 52"/>
                    <a:gd name="T30" fmla="*/ 6 w 69"/>
                    <a:gd name="T31" fmla="*/ 38 h 52"/>
                    <a:gd name="T32" fmla="*/ 22 w 69"/>
                    <a:gd name="T33" fmla="*/ 47 h 52"/>
                    <a:gd name="T34" fmla="*/ 54 w 69"/>
                    <a:gd name="T35" fmla="*/ 29 h 52"/>
                    <a:gd name="T36" fmla="*/ 54 w 69"/>
                    <a:gd name="T37" fmla="*/ 11 h 52"/>
                    <a:gd name="T38" fmla="*/ 6 w 69"/>
                    <a:gd name="T39" fmla="*/ 3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9" h="52">
                      <a:moveTo>
                        <a:pt x="22" y="52"/>
                      </a:moveTo>
                      <a:cubicBezTo>
                        <a:pt x="22" y="52"/>
                        <a:pt x="21" y="52"/>
                        <a:pt x="21" y="52"/>
                      </a:cubicBezTo>
                      <a:cubicBezTo>
                        <a:pt x="1" y="40"/>
                        <a:pt x="1" y="40"/>
                        <a:pt x="1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38"/>
                        <a:pt x="1" y="37"/>
                        <a:pt x="1" y="37"/>
                      </a:cubicBezTo>
                      <a:cubicBezTo>
                        <a:pt x="64" y="1"/>
                        <a:pt x="64" y="1"/>
                        <a:pt x="64" y="1"/>
                      </a:cubicBezTo>
                      <a:cubicBezTo>
                        <a:pt x="65" y="0"/>
                        <a:pt x="66" y="0"/>
                        <a:pt x="66" y="1"/>
                      </a:cubicBezTo>
                      <a:cubicBezTo>
                        <a:pt x="68" y="1"/>
                        <a:pt x="68" y="1"/>
                        <a:pt x="68" y="1"/>
                      </a:cubicBezTo>
                      <a:cubicBezTo>
                        <a:pt x="69" y="2"/>
                        <a:pt x="69" y="2"/>
                        <a:pt x="69" y="3"/>
                      </a:cubicBezTo>
                      <a:cubicBezTo>
                        <a:pt x="69" y="4"/>
                        <a:pt x="69" y="5"/>
                        <a:pt x="68" y="5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8" y="30"/>
                        <a:pt x="58" y="30"/>
                        <a:pt x="58" y="30"/>
                      </a:cubicBezTo>
                      <a:cubicBezTo>
                        <a:pt x="58" y="31"/>
                        <a:pt x="57" y="32"/>
                        <a:pt x="57" y="32"/>
                      </a:cubicBezTo>
                      <a:cubicBezTo>
                        <a:pt x="23" y="52"/>
                        <a:pt x="23" y="52"/>
                        <a:pt x="23" y="52"/>
                      </a:cubicBezTo>
                      <a:cubicBezTo>
                        <a:pt x="23" y="52"/>
                        <a:pt x="22" y="52"/>
                        <a:pt x="22" y="52"/>
                      </a:cubicBezTo>
                      <a:close/>
                      <a:moveTo>
                        <a:pt x="6" y="38"/>
                      </a:move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lnTo>
                        <a:pt x="6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7" name="Freeform 920">
                  <a:extLst>
                    <a:ext uri="{FF2B5EF4-FFF2-40B4-BE49-F238E27FC236}">
                      <a16:creationId xmlns:a16="http://schemas.microsoft.com/office/drawing/2014/main" id="{337939B3-7EB1-4FD1-BEC4-BFE1A6522D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1734"/>
                  <a:ext cx="579" cy="713"/>
                </a:xfrm>
                <a:custGeom>
                  <a:avLst/>
                  <a:gdLst>
                    <a:gd name="T0" fmla="*/ 122 w 245"/>
                    <a:gd name="T1" fmla="*/ 302 h 302"/>
                    <a:gd name="T2" fmla="*/ 121 w 245"/>
                    <a:gd name="T3" fmla="*/ 302 h 302"/>
                    <a:gd name="T4" fmla="*/ 1 w 245"/>
                    <a:gd name="T5" fmla="*/ 233 h 302"/>
                    <a:gd name="T6" fmla="*/ 0 w 245"/>
                    <a:gd name="T7" fmla="*/ 231 h 302"/>
                    <a:gd name="T8" fmla="*/ 0 w 245"/>
                    <a:gd name="T9" fmla="*/ 229 h 302"/>
                    <a:gd name="T10" fmla="*/ 1 w 245"/>
                    <a:gd name="T11" fmla="*/ 227 h 302"/>
                    <a:gd name="T12" fmla="*/ 7 w 245"/>
                    <a:gd name="T13" fmla="*/ 223 h 302"/>
                    <a:gd name="T14" fmla="*/ 9 w 245"/>
                    <a:gd name="T15" fmla="*/ 223 h 302"/>
                    <a:gd name="T16" fmla="*/ 73 w 245"/>
                    <a:gd name="T17" fmla="*/ 260 h 302"/>
                    <a:gd name="T18" fmla="*/ 199 w 245"/>
                    <a:gd name="T19" fmla="*/ 187 h 302"/>
                    <a:gd name="T20" fmla="*/ 154 w 245"/>
                    <a:gd name="T21" fmla="*/ 161 h 302"/>
                    <a:gd name="T22" fmla="*/ 153 w 245"/>
                    <a:gd name="T23" fmla="*/ 159 h 302"/>
                    <a:gd name="T24" fmla="*/ 154 w 245"/>
                    <a:gd name="T25" fmla="*/ 157 h 302"/>
                    <a:gd name="T26" fmla="*/ 159 w 245"/>
                    <a:gd name="T27" fmla="*/ 154 h 302"/>
                    <a:gd name="T28" fmla="*/ 159 w 245"/>
                    <a:gd name="T29" fmla="*/ 10 h 302"/>
                    <a:gd name="T30" fmla="*/ 160 w 245"/>
                    <a:gd name="T31" fmla="*/ 8 h 302"/>
                    <a:gd name="T32" fmla="*/ 174 w 245"/>
                    <a:gd name="T33" fmla="*/ 1 h 302"/>
                    <a:gd name="T34" fmla="*/ 176 w 245"/>
                    <a:gd name="T35" fmla="*/ 1 h 302"/>
                    <a:gd name="T36" fmla="*/ 177 w 245"/>
                    <a:gd name="T37" fmla="*/ 2 h 302"/>
                    <a:gd name="T38" fmla="*/ 177 w 245"/>
                    <a:gd name="T39" fmla="*/ 146 h 302"/>
                    <a:gd name="T40" fmla="*/ 244 w 245"/>
                    <a:gd name="T41" fmla="*/ 185 h 302"/>
                    <a:gd name="T42" fmla="*/ 245 w 245"/>
                    <a:gd name="T43" fmla="*/ 187 h 302"/>
                    <a:gd name="T44" fmla="*/ 245 w 245"/>
                    <a:gd name="T45" fmla="*/ 230 h 302"/>
                    <a:gd name="T46" fmla="*/ 244 w 245"/>
                    <a:gd name="T47" fmla="*/ 232 h 302"/>
                    <a:gd name="T48" fmla="*/ 123 w 245"/>
                    <a:gd name="T49" fmla="*/ 302 h 302"/>
                    <a:gd name="T50" fmla="*/ 122 w 245"/>
                    <a:gd name="T51" fmla="*/ 302 h 302"/>
                    <a:gd name="T52" fmla="*/ 4 w 245"/>
                    <a:gd name="T53" fmla="*/ 230 h 302"/>
                    <a:gd name="T54" fmla="*/ 122 w 245"/>
                    <a:gd name="T55" fmla="*/ 298 h 302"/>
                    <a:gd name="T56" fmla="*/ 241 w 245"/>
                    <a:gd name="T57" fmla="*/ 229 h 302"/>
                    <a:gd name="T58" fmla="*/ 241 w 245"/>
                    <a:gd name="T59" fmla="*/ 188 h 302"/>
                    <a:gd name="T60" fmla="*/ 174 w 245"/>
                    <a:gd name="T61" fmla="*/ 149 h 302"/>
                    <a:gd name="T62" fmla="*/ 173 w 245"/>
                    <a:gd name="T63" fmla="*/ 148 h 302"/>
                    <a:gd name="T64" fmla="*/ 173 w 245"/>
                    <a:gd name="T65" fmla="*/ 6 h 302"/>
                    <a:gd name="T66" fmla="*/ 163 w 245"/>
                    <a:gd name="T67" fmla="*/ 11 h 302"/>
                    <a:gd name="T68" fmla="*/ 163 w 245"/>
                    <a:gd name="T69" fmla="*/ 156 h 302"/>
                    <a:gd name="T70" fmla="*/ 162 w 245"/>
                    <a:gd name="T71" fmla="*/ 157 h 302"/>
                    <a:gd name="T72" fmla="*/ 159 w 245"/>
                    <a:gd name="T73" fmla="*/ 159 h 302"/>
                    <a:gd name="T74" fmla="*/ 204 w 245"/>
                    <a:gd name="T75" fmla="*/ 185 h 302"/>
                    <a:gd name="T76" fmla="*/ 205 w 245"/>
                    <a:gd name="T77" fmla="*/ 187 h 302"/>
                    <a:gd name="T78" fmla="*/ 204 w 245"/>
                    <a:gd name="T79" fmla="*/ 189 h 302"/>
                    <a:gd name="T80" fmla="*/ 74 w 245"/>
                    <a:gd name="T81" fmla="*/ 264 h 302"/>
                    <a:gd name="T82" fmla="*/ 72 w 245"/>
                    <a:gd name="T83" fmla="*/ 264 h 302"/>
                    <a:gd name="T84" fmla="*/ 8 w 245"/>
                    <a:gd name="T85" fmla="*/ 227 h 302"/>
                    <a:gd name="T86" fmla="*/ 4 w 245"/>
                    <a:gd name="T87" fmla="*/ 230 h 302"/>
                    <a:gd name="T88" fmla="*/ 243 w 245"/>
                    <a:gd name="T89" fmla="*/ 230 h 302"/>
                    <a:gd name="T90" fmla="*/ 243 w 245"/>
                    <a:gd name="T91" fmla="*/ 230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45" h="302">
                      <a:moveTo>
                        <a:pt x="122" y="302"/>
                      </a:moveTo>
                      <a:cubicBezTo>
                        <a:pt x="122" y="302"/>
                        <a:pt x="121" y="302"/>
                        <a:pt x="121" y="302"/>
                      </a:cubicBez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32"/>
                        <a:pt x="0" y="232"/>
                        <a:pt x="0" y="231"/>
                      </a:cubicBezTo>
                      <a:cubicBezTo>
                        <a:pt x="0" y="229"/>
                        <a:pt x="0" y="229"/>
                        <a:pt x="0" y="229"/>
                      </a:cubicBezTo>
                      <a:cubicBezTo>
                        <a:pt x="0" y="228"/>
                        <a:pt x="1" y="227"/>
                        <a:pt x="1" y="227"/>
                      </a:cubicBezTo>
                      <a:cubicBezTo>
                        <a:pt x="7" y="223"/>
                        <a:pt x="7" y="223"/>
                        <a:pt x="7" y="223"/>
                      </a:cubicBezTo>
                      <a:cubicBezTo>
                        <a:pt x="8" y="223"/>
                        <a:pt x="9" y="223"/>
                        <a:pt x="9" y="223"/>
                      </a:cubicBezTo>
                      <a:cubicBezTo>
                        <a:pt x="73" y="260"/>
                        <a:pt x="73" y="260"/>
                        <a:pt x="73" y="260"/>
                      </a:cubicBezTo>
                      <a:cubicBezTo>
                        <a:pt x="199" y="187"/>
                        <a:pt x="199" y="187"/>
                        <a:pt x="199" y="187"/>
                      </a:cubicBezTo>
                      <a:cubicBezTo>
                        <a:pt x="154" y="161"/>
                        <a:pt x="154" y="161"/>
                        <a:pt x="154" y="161"/>
                      </a:cubicBezTo>
                      <a:cubicBezTo>
                        <a:pt x="153" y="160"/>
                        <a:pt x="153" y="160"/>
                        <a:pt x="153" y="159"/>
                      </a:cubicBezTo>
                      <a:cubicBezTo>
                        <a:pt x="153" y="158"/>
                        <a:pt x="153" y="158"/>
                        <a:pt x="154" y="157"/>
                      </a:cubicBezTo>
                      <a:cubicBezTo>
                        <a:pt x="159" y="154"/>
                        <a:pt x="159" y="154"/>
                        <a:pt x="159" y="154"/>
                      </a:cubicBezTo>
                      <a:cubicBezTo>
                        <a:pt x="159" y="10"/>
                        <a:pt x="159" y="10"/>
                        <a:pt x="159" y="10"/>
                      </a:cubicBezTo>
                      <a:cubicBezTo>
                        <a:pt x="159" y="9"/>
                        <a:pt x="159" y="9"/>
                        <a:pt x="160" y="8"/>
                      </a:cubicBezTo>
                      <a:cubicBezTo>
                        <a:pt x="174" y="1"/>
                        <a:pt x="174" y="1"/>
                        <a:pt x="174" y="1"/>
                      </a:cubicBezTo>
                      <a:cubicBezTo>
                        <a:pt x="174" y="0"/>
                        <a:pt x="175" y="0"/>
                        <a:pt x="176" y="1"/>
                      </a:cubicBezTo>
                      <a:cubicBezTo>
                        <a:pt x="176" y="1"/>
                        <a:pt x="177" y="2"/>
                        <a:pt x="177" y="2"/>
                      </a:cubicBezTo>
                      <a:cubicBezTo>
                        <a:pt x="177" y="146"/>
                        <a:pt x="177" y="146"/>
                        <a:pt x="177" y="146"/>
                      </a:cubicBezTo>
                      <a:cubicBezTo>
                        <a:pt x="244" y="185"/>
                        <a:pt x="244" y="185"/>
                        <a:pt x="244" y="185"/>
                      </a:cubicBezTo>
                      <a:cubicBezTo>
                        <a:pt x="244" y="185"/>
                        <a:pt x="245" y="186"/>
                        <a:pt x="245" y="187"/>
                      </a:cubicBezTo>
                      <a:cubicBezTo>
                        <a:pt x="245" y="230"/>
                        <a:pt x="245" y="230"/>
                        <a:pt x="245" y="230"/>
                      </a:cubicBezTo>
                      <a:cubicBezTo>
                        <a:pt x="245" y="231"/>
                        <a:pt x="244" y="232"/>
                        <a:pt x="244" y="232"/>
                      </a:cubicBezTo>
                      <a:cubicBezTo>
                        <a:pt x="123" y="302"/>
                        <a:pt x="123" y="302"/>
                        <a:pt x="123" y="302"/>
                      </a:cubicBezTo>
                      <a:cubicBezTo>
                        <a:pt x="123" y="302"/>
                        <a:pt x="122" y="302"/>
                        <a:pt x="122" y="302"/>
                      </a:cubicBezTo>
                      <a:close/>
                      <a:moveTo>
                        <a:pt x="4" y="230"/>
                      </a:moveTo>
                      <a:cubicBezTo>
                        <a:pt x="122" y="298"/>
                        <a:pt x="122" y="298"/>
                        <a:pt x="122" y="298"/>
                      </a:cubicBezTo>
                      <a:cubicBezTo>
                        <a:pt x="241" y="229"/>
                        <a:pt x="241" y="229"/>
                        <a:pt x="241" y="229"/>
                      </a:cubicBezTo>
                      <a:cubicBezTo>
                        <a:pt x="241" y="188"/>
                        <a:pt x="241" y="188"/>
                        <a:pt x="241" y="188"/>
                      </a:cubicBezTo>
                      <a:cubicBezTo>
                        <a:pt x="174" y="149"/>
                        <a:pt x="174" y="149"/>
                        <a:pt x="174" y="149"/>
                      </a:cubicBezTo>
                      <a:cubicBezTo>
                        <a:pt x="173" y="149"/>
                        <a:pt x="173" y="148"/>
                        <a:pt x="173" y="148"/>
                      </a:cubicBezTo>
                      <a:cubicBezTo>
                        <a:pt x="173" y="6"/>
                        <a:pt x="173" y="6"/>
                        <a:pt x="173" y="6"/>
                      </a:cubicBezTo>
                      <a:cubicBezTo>
                        <a:pt x="163" y="11"/>
                        <a:pt x="163" y="11"/>
                        <a:pt x="163" y="11"/>
                      </a:cubicBezTo>
                      <a:cubicBezTo>
                        <a:pt x="163" y="156"/>
                        <a:pt x="163" y="156"/>
                        <a:pt x="163" y="156"/>
                      </a:cubicBezTo>
                      <a:cubicBezTo>
                        <a:pt x="163" y="156"/>
                        <a:pt x="163" y="157"/>
                        <a:pt x="162" y="157"/>
                      </a:cubicBezTo>
                      <a:cubicBezTo>
                        <a:pt x="159" y="159"/>
                        <a:pt x="159" y="159"/>
                        <a:pt x="159" y="159"/>
                      </a:cubicBezTo>
                      <a:cubicBezTo>
                        <a:pt x="204" y="185"/>
                        <a:pt x="204" y="185"/>
                        <a:pt x="204" y="185"/>
                      </a:cubicBezTo>
                      <a:cubicBezTo>
                        <a:pt x="205" y="185"/>
                        <a:pt x="205" y="186"/>
                        <a:pt x="205" y="187"/>
                      </a:cubicBezTo>
                      <a:cubicBezTo>
                        <a:pt x="205" y="188"/>
                        <a:pt x="205" y="188"/>
                        <a:pt x="204" y="189"/>
                      </a:cubicBezTo>
                      <a:cubicBezTo>
                        <a:pt x="74" y="264"/>
                        <a:pt x="74" y="264"/>
                        <a:pt x="74" y="264"/>
                      </a:cubicBezTo>
                      <a:cubicBezTo>
                        <a:pt x="73" y="264"/>
                        <a:pt x="72" y="264"/>
                        <a:pt x="72" y="264"/>
                      </a:cubicBezTo>
                      <a:cubicBezTo>
                        <a:pt x="8" y="227"/>
                        <a:pt x="8" y="227"/>
                        <a:pt x="8" y="227"/>
                      </a:cubicBezTo>
                      <a:lnTo>
                        <a:pt x="4" y="230"/>
                      </a:lnTo>
                      <a:close/>
                      <a:moveTo>
                        <a:pt x="243" y="230"/>
                      </a:moveTo>
                      <a:cubicBezTo>
                        <a:pt x="243" y="230"/>
                        <a:pt x="243" y="230"/>
                        <a:pt x="243" y="2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8" name="Freeform 921">
                  <a:extLst>
                    <a:ext uri="{FF2B5EF4-FFF2-40B4-BE49-F238E27FC236}">
                      <a16:creationId xmlns:a16="http://schemas.microsoft.com/office/drawing/2014/main" id="{77A4567F-F0EB-48B8-A7EF-2062F5771AE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87" y="1720"/>
                  <a:ext cx="281" cy="456"/>
                </a:xfrm>
                <a:custGeom>
                  <a:avLst/>
                  <a:gdLst>
                    <a:gd name="T0" fmla="*/ 69 w 119"/>
                    <a:gd name="T1" fmla="*/ 193 h 193"/>
                    <a:gd name="T2" fmla="*/ 68 w 119"/>
                    <a:gd name="T3" fmla="*/ 193 h 193"/>
                    <a:gd name="T4" fmla="*/ 1 w 119"/>
                    <a:gd name="T5" fmla="*/ 154 h 193"/>
                    <a:gd name="T6" fmla="*/ 0 w 119"/>
                    <a:gd name="T7" fmla="*/ 153 h 193"/>
                    <a:gd name="T8" fmla="*/ 0 w 119"/>
                    <a:gd name="T9" fmla="*/ 7 h 193"/>
                    <a:gd name="T10" fmla="*/ 1 w 119"/>
                    <a:gd name="T11" fmla="*/ 6 h 193"/>
                    <a:gd name="T12" fmla="*/ 1 w 119"/>
                    <a:gd name="T13" fmla="*/ 5 h 193"/>
                    <a:gd name="T14" fmla="*/ 1 w 119"/>
                    <a:gd name="T15" fmla="*/ 5 h 193"/>
                    <a:gd name="T16" fmla="*/ 0 w 119"/>
                    <a:gd name="T17" fmla="*/ 4 h 193"/>
                    <a:gd name="T18" fmla="*/ 0 w 119"/>
                    <a:gd name="T19" fmla="*/ 2 h 193"/>
                    <a:gd name="T20" fmla="*/ 1 w 119"/>
                    <a:gd name="T21" fmla="*/ 0 h 193"/>
                    <a:gd name="T22" fmla="*/ 3 w 119"/>
                    <a:gd name="T23" fmla="*/ 0 h 193"/>
                    <a:gd name="T24" fmla="*/ 118 w 119"/>
                    <a:gd name="T25" fmla="*/ 67 h 193"/>
                    <a:gd name="T26" fmla="*/ 119 w 119"/>
                    <a:gd name="T27" fmla="*/ 68 h 193"/>
                    <a:gd name="T28" fmla="*/ 118 w 119"/>
                    <a:gd name="T29" fmla="*/ 70 h 193"/>
                    <a:gd name="T30" fmla="*/ 71 w 119"/>
                    <a:gd name="T31" fmla="*/ 98 h 193"/>
                    <a:gd name="T32" fmla="*/ 71 w 119"/>
                    <a:gd name="T33" fmla="*/ 191 h 193"/>
                    <a:gd name="T34" fmla="*/ 70 w 119"/>
                    <a:gd name="T35" fmla="*/ 193 h 193"/>
                    <a:gd name="T36" fmla="*/ 69 w 119"/>
                    <a:gd name="T37" fmla="*/ 193 h 193"/>
                    <a:gd name="T38" fmla="*/ 4 w 119"/>
                    <a:gd name="T39" fmla="*/ 151 h 193"/>
                    <a:gd name="T40" fmla="*/ 67 w 119"/>
                    <a:gd name="T41" fmla="*/ 187 h 193"/>
                    <a:gd name="T42" fmla="*/ 67 w 119"/>
                    <a:gd name="T43" fmla="*/ 96 h 193"/>
                    <a:gd name="T44" fmla="*/ 68 w 119"/>
                    <a:gd name="T45" fmla="*/ 95 h 193"/>
                    <a:gd name="T46" fmla="*/ 113 w 119"/>
                    <a:gd name="T47" fmla="*/ 68 h 193"/>
                    <a:gd name="T48" fmla="*/ 7 w 119"/>
                    <a:gd name="T49" fmla="*/ 7 h 193"/>
                    <a:gd name="T50" fmla="*/ 6 w 119"/>
                    <a:gd name="T51" fmla="*/ 7 h 193"/>
                    <a:gd name="T52" fmla="*/ 4 w 119"/>
                    <a:gd name="T53" fmla="*/ 8 h 193"/>
                    <a:gd name="T54" fmla="*/ 4 w 119"/>
                    <a:gd name="T55" fmla="*/ 151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19" h="193">
                      <a:moveTo>
                        <a:pt x="69" y="193"/>
                      </a:moveTo>
                      <a:cubicBezTo>
                        <a:pt x="68" y="193"/>
                        <a:pt x="68" y="193"/>
                        <a:pt x="68" y="193"/>
                      </a:cubicBezTo>
                      <a:cubicBezTo>
                        <a:pt x="1" y="154"/>
                        <a:pt x="1" y="154"/>
                        <a:pt x="1" y="154"/>
                      </a:cubicBezTo>
                      <a:cubicBezTo>
                        <a:pt x="1" y="154"/>
                        <a:pt x="0" y="153"/>
                        <a:pt x="0" y="153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1" y="6"/>
                        <a:pt x="1" y="6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0" y="4"/>
                        <a:pt x="0" y="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18" y="67"/>
                        <a:pt x="118" y="67"/>
                        <a:pt x="118" y="67"/>
                      </a:cubicBezTo>
                      <a:cubicBezTo>
                        <a:pt x="119" y="67"/>
                        <a:pt x="119" y="68"/>
                        <a:pt x="119" y="68"/>
                      </a:cubicBezTo>
                      <a:cubicBezTo>
                        <a:pt x="119" y="69"/>
                        <a:pt x="119" y="70"/>
                        <a:pt x="118" y="70"/>
                      </a:cubicBezTo>
                      <a:cubicBezTo>
                        <a:pt x="71" y="98"/>
                        <a:pt x="71" y="98"/>
                        <a:pt x="71" y="98"/>
                      </a:cubicBezTo>
                      <a:cubicBezTo>
                        <a:pt x="71" y="191"/>
                        <a:pt x="71" y="191"/>
                        <a:pt x="71" y="191"/>
                      </a:cubicBezTo>
                      <a:cubicBezTo>
                        <a:pt x="71" y="192"/>
                        <a:pt x="70" y="192"/>
                        <a:pt x="70" y="193"/>
                      </a:cubicBezTo>
                      <a:cubicBezTo>
                        <a:pt x="69" y="193"/>
                        <a:pt x="69" y="193"/>
                        <a:pt x="69" y="193"/>
                      </a:cubicBezTo>
                      <a:close/>
                      <a:moveTo>
                        <a:pt x="4" y="151"/>
                      </a:moveTo>
                      <a:cubicBezTo>
                        <a:pt x="67" y="187"/>
                        <a:pt x="67" y="187"/>
                        <a:pt x="67" y="187"/>
                      </a:cubicBezTo>
                      <a:cubicBezTo>
                        <a:pt x="67" y="96"/>
                        <a:pt x="67" y="96"/>
                        <a:pt x="67" y="96"/>
                      </a:cubicBezTo>
                      <a:cubicBezTo>
                        <a:pt x="67" y="96"/>
                        <a:pt x="67" y="95"/>
                        <a:pt x="68" y="95"/>
                      </a:cubicBezTo>
                      <a:cubicBezTo>
                        <a:pt x="113" y="68"/>
                        <a:pt x="113" y="68"/>
                        <a:pt x="113" y="68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7"/>
                        <a:pt x="6" y="7"/>
                        <a:pt x="6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lnTo>
                        <a:pt x="4" y="1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9" name="Freeform 922">
                  <a:extLst>
                    <a:ext uri="{FF2B5EF4-FFF2-40B4-BE49-F238E27FC236}">
                      <a16:creationId xmlns:a16="http://schemas.microsoft.com/office/drawing/2014/main" id="{81D88593-B502-4F39-B69A-FB0EC5ADD7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62" y="2277"/>
                  <a:ext cx="293" cy="489"/>
                </a:xfrm>
                <a:custGeom>
                  <a:avLst/>
                  <a:gdLst>
                    <a:gd name="T0" fmla="*/ 10 w 124"/>
                    <a:gd name="T1" fmla="*/ 207 h 207"/>
                    <a:gd name="T2" fmla="*/ 9 w 124"/>
                    <a:gd name="T3" fmla="*/ 206 h 207"/>
                    <a:gd name="T4" fmla="*/ 1 w 124"/>
                    <a:gd name="T5" fmla="*/ 201 h 207"/>
                    <a:gd name="T6" fmla="*/ 0 w 124"/>
                    <a:gd name="T7" fmla="*/ 200 h 207"/>
                    <a:gd name="T8" fmla="*/ 0 w 124"/>
                    <a:gd name="T9" fmla="*/ 71 h 207"/>
                    <a:gd name="T10" fmla="*/ 1 w 124"/>
                    <a:gd name="T11" fmla="*/ 70 h 207"/>
                    <a:gd name="T12" fmla="*/ 121 w 124"/>
                    <a:gd name="T13" fmla="*/ 1 h 207"/>
                    <a:gd name="T14" fmla="*/ 123 w 124"/>
                    <a:gd name="T15" fmla="*/ 1 h 207"/>
                    <a:gd name="T16" fmla="*/ 124 w 124"/>
                    <a:gd name="T17" fmla="*/ 2 h 207"/>
                    <a:gd name="T18" fmla="*/ 124 w 124"/>
                    <a:gd name="T19" fmla="*/ 140 h 207"/>
                    <a:gd name="T20" fmla="*/ 123 w 124"/>
                    <a:gd name="T21" fmla="*/ 142 h 207"/>
                    <a:gd name="T22" fmla="*/ 11 w 124"/>
                    <a:gd name="T23" fmla="*/ 206 h 207"/>
                    <a:gd name="T24" fmla="*/ 10 w 124"/>
                    <a:gd name="T25" fmla="*/ 207 h 207"/>
                    <a:gd name="T26" fmla="*/ 4 w 124"/>
                    <a:gd name="T27" fmla="*/ 199 h 207"/>
                    <a:gd name="T28" fmla="*/ 10 w 124"/>
                    <a:gd name="T29" fmla="*/ 202 h 207"/>
                    <a:gd name="T30" fmla="*/ 120 w 124"/>
                    <a:gd name="T31" fmla="*/ 139 h 207"/>
                    <a:gd name="T32" fmla="*/ 120 w 124"/>
                    <a:gd name="T33" fmla="*/ 6 h 207"/>
                    <a:gd name="T34" fmla="*/ 4 w 124"/>
                    <a:gd name="T35" fmla="*/ 73 h 207"/>
                    <a:gd name="T36" fmla="*/ 4 w 124"/>
                    <a:gd name="T37" fmla="*/ 199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4" h="207">
                      <a:moveTo>
                        <a:pt x="10" y="207"/>
                      </a:moveTo>
                      <a:cubicBezTo>
                        <a:pt x="10" y="207"/>
                        <a:pt x="10" y="207"/>
                        <a:pt x="9" y="206"/>
                      </a:cubicBezTo>
                      <a:cubicBezTo>
                        <a:pt x="1" y="201"/>
                        <a:pt x="1" y="201"/>
                        <a:pt x="1" y="201"/>
                      </a:cubicBezTo>
                      <a:cubicBezTo>
                        <a:pt x="0" y="201"/>
                        <a:pt x="0" y="200"/>
                        <a:pt x="0" y="200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1"/>
                        <a:pt x="0" y="70"/>
                        <a:pt x="1" y="70"/>
                      </a:cubicBezTo>
                      <a:cubicBezTo>
                        <a:pt x="121" y="1"/>
                        <a:pt x="121" y="1"/>
                        <a:pt x="121" y="1"/>
                      </a:cubicBezTo>
                      <a:cubicBezTo>
                        <a:pt x="121" y="0"/>
                        <a:pt x="122" y="0"/>
                        <a:pt x="123" y="1"/>
                      </a:cubicBezTo>
                      <a:cubicBezTo>
                        <a:pt x="123" y="1"/>
                        <a:pt x="124" y="2"/>
                        <a:pt x="124" y="2"/>
                      </a:cubicBezTo>
                      <a:cubicBezTo>
                        <a:pt x="124" y="140"/>
                        <a:pt x="124" y="140"/>
                        <a:pt x="124" y="140"/>
                      </a:cubicBezTo>
                      <a:cubicBezTo>
                        <a:pt x="124" y="141"/>
                        <a:pt x="123" y="142"/>
                        <a:pt x="123" y="142"/>
                      </a:cubicBezTo>
                      <a:cubicBezTo>
                        <a:pt x="11" y="206"/>
                        <a:pt x="11" y="206"/>
                        <a:pt x="11" y="206"/>
                      </a:cubicBezTo>
                      <a:cubicBezTo>
                        <a:pt x="11" y="207"/>
                        <a:pt x="11" y="207"/>
                        <a:pt x="10" y="207"/>
                      </a:cubicBezTo>
                      <a:close/>
                      <a:moveTo>
                        <a:pt x="4" y="199"/>
                      </a:moveTo>
                      <a:cubicBezTo>
                        <a:pt x="10" y="202"/>
                        <a:pt x="10" y="202"/>
                        <a:pt x="10" y="202"/>
                      </a:cubicBezTo>
                      <a:cubicBezTo>
                        <a:pt x="120" y="139"/>
                        <a:pt x="120" y="139"/>
                        <a:pt x="120" y="139"/>
                      </a:cubicBezTo>
                      <a:cubicBezTo>
                        <a:pt x="120" y="6"/>
                        <a:pt x="120" y="6"/>
                        <a:pt x="120" y="6"/>
                      </a:cubicBezTo>
                      <a:cubicBezTo>
                        <a:pt x="4" y="73"/>
                        <a:pt x="4" y="73"/>
                        <a:pt x="4" y="73"/>
                      </a:cubicBezTo>
                      <a:lnTo>
                        <a:pt x="4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0" name="Freeform 923">
                  <a:extLst>
                    <a:ext uri="{FF2B5EF4-FFF2-40B4-BE49-F238E27FC236}">
                      <a16:creationId xmlns:a16="http://schemas.microsoft.com/office/drawing/2014/main" id="{0503CA27-6FEC-47A8-8F7A-8E26B4917B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52" y="2906"/>
                  <a:ext cx="175" cy="106"/>
                </a:xfrm>
                <a:custGeom>
                  <a:avLst/>
                  <a:gdLst>
                    <a:gd name="T0" fmla="*/ 12 w 74"/>
                    <a:gd name="T1" fmla="*/ 45 h 45"/>
                    <a:gd name="T2" fmla="*/ 11 w 74"/>
                    <a:gd name="T3" fmla="*/ 44 h 45"/>
                    <a:gd name="T4" fmla="*/ 1 w 74"/>
                    <a:gd name="T5" fmla="*/ 38 h 45"/>
                    <a:gd name="T6" fmla="*/ 0 w 74"/>
                    <a:gd name="T7" fmla="*/ 37 h 45"/>
                    <a:gd name="T8" fmla="*/ 1 w 74"/>
                    <a:gd name="T9" fmla="*/ 35 h 45"/>
                    <a:gd name="T10" fmla="*/ 61 w 74"/>
                    <a:gd name="T11" fmla="*/ 0 h 45"/>
                    <a:gd name="T12" fmla="*/ 63 w 74"/>
                    <a:gd name="T13" fmla="*/ 0 h 45"/>
                    <a:gd name="T14" fmla="*/ 73 w 74"/>
                    <a:gd name="T15" fmla="*/ 6 h 45"/>
                    <a:gd name="T16" fmla="*/ 74 w 74"/>
                    <a:gd name="T17" fmla="*/ 8 h 45"/>
                    <a:gd name="T18" fmla="*/ 73 w 74"/>
                    <a:gd name="T19" fmla="*/ 9 h 45"/>
                    <a:gd name="T20" fmla="*/ 13 w 74"/>
                    <a:gd name="T21" fmla="*/ 44 h 45"/>
                    <a:gd name="T22" fmla="*/ 12 w 74"/>
                    <a:gd name="T23" fmla="*/ 45 h 45"/>
                    <a:gd name="T24" fmla="*/ 6 w 74"/>
                    <a:gd name="T25" fmla="*/ 37 h 45"/>
                    <a:gd name="T26" fmla="*/ 12 w 74"/>
                    <a:gd name="T27" fmla="*/ 40 h 45"/>
                    <a:gd name="T28" fmla="*/ 68 w 74"/>
                    <a:gd name="T29" fmla="*/ 8 h 45"/>
                    <a:gd name="T30" fmla="*/ 62 w 74"/>
                    <a:gd name="T31" fmla="*/ 4 h 45"/>
                    <a:gd name="T32" fmla="*/ 6 w 74"/>
                    <a:gd name="T33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4" h="45">
                      <a:moveTo>
                        <a:pt x="12" y="45"/>
                      </a:moveTo>
                      <a:cubicBezTo>
                        <a:pt x="12" y="45"/>
                        <a:pt x="11" y="44"/>
                        <a:pt x="11" y="44"/>
                      </a:cubicBez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0" y="38"/>
                        <a:pt x="0" y="37"/>
                        <a:pt x="0" y="37"/>
                      </a:cubicBezTo>
                      <a:cubicBezTo>
                        <a:pt x="0" y="36"/>
                        <a:pt x="0" y="35"/>
                        <a:pt x="1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62" y="0"/>
                        <a:pt x="62" y="0"/>
                        <a:pt x="63" y="0"/>
                      </a:cubicBezTo>
                      <a:cubicBezTo>
                        <a:pt x="73" y="6"/>
                        <a:pt x="73" y="6"/>
                        <a:pt x="73" y="6"/>
                      </a:cubicBezTo>
                      <a:cubicBezTo>
                        <a:pt x="74" y="6"/>
                        <a:pt x="74" y="7"/>
                        <a:pt x="74" y="8"/>
                      </a:cubicBezTo>
                      <a:cubicBezTo>
                        <a:pt x="74" y="8"/>
                        <a:pt x="74" y="9"/>
                        <a:pt x="73" y="9"/>
                      </a:cubicBez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3" y="44"/>
                        <a:pt x="12" y="45"/>
                        <a:pt x="12" y="45"/>
                      </a:cubicBezTo>
                      <a:close/>
                      <a:moveTo>
                        <a:pt x="6" y="37"/>
                      </a:move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68" y="8"/>
                        <a:pt x="68" y="8"/>
                        <a:pt x="68" y="8"/>
                      </a:cubicBezTo>
                      <a:cubicBezTo>
                        <a:pt x="62" y="4"/>
                        <a:pt x="62" y="4"/>
                        <a:pt x="62" y="4"/>
                      </a:cubicBezTo>
                      <a:lnTo>
                        <a:pt x="6" y="3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1" name="Freeform 924">
                  <a:extLst>
                    <a:ext uri="{FF2B5EF4-FFF2-40B4-BE49-F238E27FC236}">
                      <a16:creationId xmlns:a16="http://schemas.microsoft.com/office/drawing/2014/main" id="{0C8414A3-62BB-412B-AA15-E355487A62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98" y="2859"/>
                  <a:ext cx="85" cy="68"/>
                </a:xfrm>
                <a:custGeom>
                  <a:avLst/>
                  <a:gdLst>
                    <a:gd name="T0" fmla="*/ 12 w 36"/>
                    <a:gd name="T1" fmla="*/ 29 h 29"/>
                    <a:gd name="T2" fmla="*/ 11 w 36"/>
                    <a:gd name="T3" fmla="*/ 28 h 29"/>
                    <a:gd name="T4" fmla="*/ 1 w 36"/>
                    <a:gd name="T5" fmla="*/ 22 h 29"/>
                    <a:gd name="T6" fmla="*/ 0 w 36"/>
                    <a:gd name="T7" fmla="*/ 21 h 29"/>
                    <a:gd name="T8" fmla="*/ 1 w 36"/>
                    <a:gd name="T9" fmla="*/ 19 h 29"/>
                    <a:gd name="T10" fmla="*/ 33 w 36"/>
                    <a:gd name="T11" fmla="*/ 0 h 29"/>
                    <a:gd name="T12" fmla="*/ 35 w 36"/>
                    <a:gd name="T13" fmla="*/ 0 h 29"/>
                    <a:gd name="T14" fmla="*/ 36 w 36"/>
                    <a:gd name="T15" fmla="*/ 2 h 29"/>
                    <a:gd name="T16" fmla="*/ 36 w 36"/>
                    <a:gd name="T17" fmla="*/ 14 h 29"/>
                    <a:gd name="T18" fmla="*/ 35 w 36"/>
                    <a:gd name="T19" fmla="*/ 16 h 29"/>
                    <a:gd name="T20" fmla="*/ 13 w 36"/>
                    <a:gd name="T21" fmla="*/ 28 h 29"/>
                    <a:gd name="T22" fmla="*/ 12 w 36"/>
                    <a:gd name="T23" fmla="*/ 29 h 29"/>
                    <a:gd name="T24" fmla="*/ 6 w 36"/>
                    <a:gd name="T25" fmla="*/ 21 h 29"/>
                    <a:gd name="T26" fmla="*/ 12 w 36"/>
                    <a:gd name="T27" fmla="*/ 24 h 29"/>
                    <a:gd name="T28" fmla="*/ 32 w 36"/>
                    <a:gd name="T29" fmla="*/ 13 h 29"/>
                    <a:gd name="T30" fmla="*/ 32 w 36"/>
                    <a:gd name="T31" fmla="*/ 6 h 29"/>
                    <a:gd name="T32" fmla="*/ 6 w 36"/>
                    <a:gd name="T33" fmla="*/ 21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6" h="29">
                      <a:moveTo>
                        <a:pt x="12" y="29"/>
                      </a:moveTo>
                      <a:cubicBezTo>
                        <a:pt x="12" y="29"/>
                        <a:pt x="11" y="29"/>
                        <a:pt x="11" y="28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2"/>
                        <a:pt x="0" y="21"/>
                        <a:pt x="0" y="21"/>
                      </a:cubicBezTo>
                      <a:cubicBezTo>
                        <a:pt x="0" y="20"/>
                        <a:pt x="0" y="19"/>
                        <a:pt x="1" y="1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0"/>
                        <a:pt x="34" y="0"/>
                        <a:pt x="35" y="0"/>
                      </a:cubicBezTo>
                      <a:cubicBezTo>
                        <a:pt x="35" y="1"/>
                        <a:pt x="36" y="1"/>
                        <a:pt x="36" y="2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cubicBezTo>
                        <a:pt x="13" y="29"/>
                        <a:pt x="12" y="29"/>
                        <a:pt x="12" y="29"/>
                      </a:cubicBezTo>
                      <a:close/>
                      <a:moveTo>
                        <a:pt x="6" y="21"/>
                      </a:move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32" y="13"/>
                        <a:pt x="32" y="13"/>
                        <a:pt x="32" y="13"/>
                      </a:cubicBezTo>
                      <a:cubicBezTo>
                        <a:pt x="32" y="6"/>
                        <a:pt x="32" y="6"/>
                        <a:pt x="32" y="6"/>
                      </a:cubicBezTo>
                      <a:lnTo>
                        <a:pt x="6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2" name="Freeform 925">
                  <a:extLst>
                    <a:ext uri="{FF2B5EF4-FFF2-40B4-BE49-F238E27FC236}">
                      <a16:creationId xmlns:a16="http://schemas.microsoft.com/office/drawing/2014/main" id="{B5E947B7-DDE8-43CE-8A53-C1FC2E447C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27" y="2892"/>
                  <a:ext cx="56" cy="63"/>
                </a:xfrm>
                <a:custGeom>
                  <a:avLst/>
                  <a:gdLst>
                    <a:gd name="T0" fmla="*/ 22 w 24"/>
                    <a:gd name="T1" fmla="*/ 27 h 27"/>
                    <a:gd name="T2" fmla="*/ 21 w 24"/>
                    <a:gd name="T3" fmla="*/ 27 h 27"/>
                    <a:gd name="T4" fmla="*/ 1 w 24"/>
                    <a:gd name="T5" fmla="*/ 15 h 27"/>
                    <a:gd name="T6" fmla="*/ 0 w 24"/>
                    <a:gd name="T7" fmla="*/ 14 h 27"/>
                    <a:gd name="T8" fmla="*/ 1 w 24"/>
                    <a:gd name="T9" fmla="*/ 12 h 27"/>
                    <a:gd name="T10" fmla="*/ 21 w 24"/>
                    <a:gd name="T11" fmla="*/ 0 h 27"/>
                    <a:gd name="T12" fmla="*/ 23 w 24"/>
                    <a:gd name="T13" fmla="*/ 0 h 27"/>
                    <a:gd name="T14" fmla="*/ 24 w 24"/>
                    <a:gd name="T15" fmla="*/ 2 h 27"/>
                    <a:gd name="T16" fmla="*/ 24 w 24"/>
                    <a:gd name="T17" fmla="*/ 25 h 27"/>
                    <a:gd name="T18" fmla="*/ 23 w 24"/>
                    <a:gd name="T19" fmla="*/ 27 h 27"/>
                    <a:gd name="T20" fmla="*/ 22 w 24"/>
                    <a:gd name="T21" fmla="*/ 27 h 27"/>
                    <a:gd name="T22" fmla="*/ 6 w 24"/>
                    <a:gd name="T23" fmla="*/ 14 h 27"/>
                    <a:gd name="T24" fmla="*/ 20 w 24"/>
                    <a:gd name="T25" fmla="*/ 22 h 27"/>
                    <a:gd name="T26" fmla="*/ 20 w 24"/>
                    <a:gd name="T27" fmla="*/ 6 h 27"/>
                    <a:gd name="T28" fmla="*/ 6 w 24"/>
                    <a:gd name="T29" fmla="*/ 1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27">
                      <a:moveTo>
                        <a:pt x="22" y="27"/>
                      </a:moveTo>
                      <a:cubicBezTo>
                        <a:pt x="22" y="27"/>
                        <a:pt x="21" y="27"/>
                        <a:pt x="21" y="27"/>
                      </a:cubicBezTo>
                      <a:cubicBezTo>
                        <a:pt x="1" y="15"/>
                        <a:pt x="1" y="15"/>
                        <a:pt x="1" y="15"/>
                      </a:cubicBezTo>
                      <a:cubicBezTo>
                        <a:pt x="0" y="15"/>
                        <a:pt x="0" y="14"/>
                        <a:pt x="0" y="14"/>
                      </a:cubicBezTo>
                      <a:cubicBezTo>
                        <a:pt x="0" y="13"/>
                        <a:pt x="0" y="12"/>
                        <a:pt x="1" y="12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2" y="0"/>
                        <a:pt x="23" y="0"/>
                      </a:cubicBezTo>
                      <a:cubicBezTo>
                        <a:pt x="23" y="1"/>
                        <a:pt x="24" y="1"/>
                        <a:pt x="24" y="2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4" y="26"/>
                        <a:pt x="23" y="27"/>
                        <a:pt x="23" y="27"/>
                      </a:cubicBezTo>
                      <a:cubicBezTo>
                        <a:pt x="23" y="27"/>
                        <a:pt x="22" y="27"/>
                        <a:pt x="22" y="27"/>
                      </a:cubicBezTo>
                      <a:close/>
                      <a:moveTo>
                        <a:pt x="6" y="14"/>
                      </a:move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20" y="6"/>
                        <a:pt x="20" y="6"/>
                        <a:pt x="20" y="6"/>
                      </a:cubicBezTo>
                      <a:lnTo>
                        <a:pt x="6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3" name="Freeform 926">
                  <a:extLst>
                    <a:ext uri="{FF2B5EF4-FFF2-40B4-BE49-F238E27FC236}">
                      <a16:creationId xmlns:a16="http://schemas.microsoft.com/office/drawing/2014/main" id="{8B6E6F24-5E32-454E-B1DF-2A9EEC6A6F6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8" y="2173"/>
                  <a:ext cx="94" cy="107"/>
                </a:xfrm>
                <a:custGeom>
                  <a:avLst/>
                  <a:gdLst>
                    <a:gd name="T0" fmla="*/ 2 w 40"/>
                    <a:gd name="T1" fmla="*/ 45 h 45"/>
                    <a:gd name="T2" fmla="*/ 1 w 40"/>
                    <a:gd name="T3" fmla="*/ 45 h 45"/>
                    <a:gd name="T4" fmla="*/ 0 w 40"/>
                    <a:gd name="T5" fmla="*/ 43 h 45"/>
                    <a:gd name="T6" fmla="*/ 0 w 40"/>
                    <a:gd name="T7" fmla="*/ 2 h 45"/>
                    <a:gd name="T8" fmla="*/ 1 w 40"/>
                    <a:gd name="T9" fmla="*/ 0 h 45"/>
                    <a:gd name="T10" fmla="*/ 3 w 40"/>
                    <a:gd name="T11" fmla="*/ 0 h 45"/>
                    <a:gd name="T12" fmla="*/ 39 w 40"/>
                    <a:gd name="T13" fmla="*/ 21 h 45"/>
                    <a:gd name="T14" fmla="*/ 40 w 40"/>
                    <a:gd name="T15" fmla="*/ 23 h 45"/>
                    <a:gd name="T16" fmla="*/ 39 w 40"/>
                    <a:gd name="T17" fmla="*/ 24 h 45"/>
                    <a:gd name="T18" fmla="*/ 3 w 40"/>
                    <a:gd name="T19" fmla="*/ 45 h 45"/>
                    <a:gd name="T20" fmla="*/ 2 w 40"/>
                    <a:gd name="T21" fmla="*/ 45 h 45"/>
                    <a:gd name="T22" fmla="*/ 4 w 40"/>
                    <a:gd name="T23" fmla="*/ 5 h 45"/>
                    <a:gd name="T24" fmla="*/ 4 w 40"/>
                    <a:gd name="T25" fmla="*/ 40 h 45"/>
                    <a:gd name="T26" fmla="*/ 34 w 40"/>
                    <a:gd name="T27" fmla="*/ 23 h 45"/>
                    <a:gd name="T28" fmla="*/ 4 w 40"/>
                    <a:gd name="T29" fmla="*/ 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0" h="45">
                      <a:moveTo>
                        <a:pt x="2" y="45"/>
                      </a:moveTo>
                      <a:cubicBezTo>
                        <a:pt x="2" y="45"/>
                        <a:pt x="1" y="45"/>
                        <a:pt x="1" y="45"/>
                      </a:cubicBezTo>
                      <a:cubicBezTo>
                        <a:pt x="1" y="45"/>
                        <a:pt x="0" y="44"/>
                        <a:pt x="0" y="4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9" y="21"/>
                        <a:pt x="39" y="21"/>
                        <a:pt x="39" y="21"/>
                      </a:cubicBezTo>
                      <a:cubicBezTo>
                        <a:pt x="40" y="21"/>
                        <a:pt x="40" y="22"/>
                        <a:pt x="40" y="23"/>
                      </a:cubicBezTo>
                      <a:cubicBezTo>
                        <a:pt x="40" y="23"/>
                        <a:pt x="40" y="24"/>
                        <a:pt x="39" y="24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5"/>
                        <a:pt x="2" y="45"/>
                        <a:pt x="2" y="45"/>
                      </a:cubicBezTo>
                      <a:close/>
                      <a:moveTo>
                        <a:pt x="4" y="5"/>
                      </a:move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34" y="23"/>
                        <a:pt x="34" y="23"/>
                        <a:pt x="34" y="23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4" name="Freeform 927">
                  <a:extLst>
                    <a:ext uri="{FF2B5EF4-FFF2-40B4-BE49-F238E27FC236}">
                      <a16:creationId xmlns:a16="http://schemas.microsoft.com/office/drawing/2014/main" id="{50A2D326-E5C2-418E-A7AB-DF2C355E15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2951"/>
                  <a:ext cx="57" cy="321"/>
                </a:xfrm>
                <a:custGeom>
                  <a:avLst/>
                  <a:gdLst>
                    <a:gd name="T0" fmla="*/ 2 w 24"/>
                    <a:gd name="T1" fmla="*/ 136 h 136"/>
                    <a:gd name="T2" fmla="*/ 1 w 24"/>
                    <a:gd name="T3" fmla="*/ 136 h 136"/>
                    <a:gd name="T4" fmla="*/ 0 w 24"/>
                    <a:gd name="T5" fmla="*/ 134 h 136"/>
                    <a:gd name="T6" fmla="*/ 0 w 24"/>
                    <a:gd name="T7" fmla="*/ 2 h 136"/>
                    <a:gd name="T8" fmla="*/ 1 w 24"/>
                    <a:gd name="T9" fmla="*/ 0 h 136"/>
                    <a:gd name="T10" fmla="*/ 3 w 24"/>
                    <a:gd name="T11" fmla="*/ 0 h 136"/>
                    <a:gd name="T12" fmla="*/ 23 w 24"/>
                    <a:gd name="T13" fmla="*/ 12 h 136"/>
                    <a:gd name="T14" fmla="*/ 24 w 24"/>
                    <a:gd name="T15" fmla="*/ 13 h 136"/>
                    <a:gd name="T16" fmla="*/ 24 w 24"/>
                    <a:gd name="T17" fmla="*/ 123 h 136"/>
                    <a:gd name="T18" fmla="*/ 23 w 24"/>
                    <a:gd name="T19" fmla="*/ 125 h 136"/>
                    <a:gd name="T20" fmla="*/ 3 w 24"/>
                    <a:gd name="T21" fmla="*/ 136 h 136"/>
                    <a:gd name="T22" fmla="*/ 2 w 24"/>
                    <a:gd name="T23" fmla="*/ 136 h 136"/>
                    <a:gd name="T24" fmla="*/ 4 w 24"/>
                    <a:gd name="T25" fmla="*/ 5 h 136"/>
                    <a:gd name="T26" fmla="*/ 4 w 24"/>
                    <a:gd name="T27" fmla="*/ 131 h 136"/>
                    <a:gd name="T28" fmla="*/ 20 w 24"/>
                    <a:gd name="T29" fmla="*/ 122 h 136"/>
                    <a:gd name="T30" fmla="*/ 20 w 24"/>
                    <a:gd name="T31" fmla="*/ 14 h 136"/>
                    <a:gd name="T32" fmla="*/ 4 w 24"/>
                    <a:gd name="T33" fmla="*/ 5 h 136"/>
                    <a:gd name="T34" fmla="*/ 22 w 24"/>
                    <a:gd name="T35" fmla="*/ 123 h 136"/>
                    <a:gd name="T36" fmla="*/ 22 w 24"/>
                    <a:gd name="T37" fmla="*/ 123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136">
                      <a:moveTo>
                        <a:pt x="2" y="136"/>
                      </a:moveTo>
                      <a:cubicBezTo>
                        <a:pt x="2" y="136"/>
                        <a:pt x="1" y="136"/>
                        <a:pt x="1" y="136"/>
                      </a:cubicBezTo>
                      <a:cubicBezTo>
                        <a:pt x="1" y="136"/>
                        <a:pt x="0" y="135"/>
                        <a:pt x="0" y="134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3" y="12"/>
                        <a:pt x="24" y="13"/>
                        <a:pt x="24" y="13"/>
                      </a:cubicBezTo>
                      <a:cubicBezTo>
                        <a:pt x="24" y="123"/>
                        <a:pt x="24" y="123"/>
                        <a:pt x="24" y="123"/>
                      </a:cubicBezTo>
                      <a:cubicBezTo>
                        <a:pt x="24" y="124"/>
                        <a:pt x="23" y="124"/>
                        <a:pt x="23" y="125"/>
                      </a:cubicBezTo>
                      <a:cubicBezTo>
                        <a:pt x="3" y="136"/>
                        <a:pt x="3" y="136"/>
                        <a:pt x="3" y="136"/>
                      </a:cubicBezTo>
                      <a:cubicBezTo>
                        <a:pt x="3" y="136"/>
                        <a:pt x="3" y="136"/>
                        <a:pt x="2" y="136"/>
                      </a:cubicBezTo>
                      <a:close/>
                      <a:moveTo>
                        <a:pt x="4" y="5"/>
                      </a:moveTo>
                      <a:cubicBezTo>
                        <a:pt x="4" y="131"/>
                        <a:pt x="4" y="131"/>
                        <a:pt x="4" y="131"/>
                      </a:cubicBezTo>
                      <a:cubicBezTo>
                        <a:pt x="20" y="122"/>
                        <a:pt x="20" y="122"/>
                        <a:pt x="20" y="122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lnTo>
                        <a:pt x="4" y="5"/>
                      </a:lnTo>
                      <a:close/>
                      <a:moveTo>
                        <a:pt x="22" y="123"/>
                      </a:moveTo>
                      <a:cubicBezTo>
                        <a:pt x="22" y="123"/>
                        <a:pt x="22" y="123"/>
                        <a:pt x="22" y="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5" name="Freeform 928">
                  <a:extLst>
                    <a:ext uri="{FF2B5EF4-FFF2-40B4-BE49-F238E27FC236}">
                      <a16:creationId xmlns:a16="http://schemas.microsoft.com/office/drawing/2014/main" id="{4D65993C-4E12-4F44-91FF-FB565A5E92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796" y="1391"/>
                  <a:ext cx="161" cy="246"/>
                </a:xfrm>
                <a:custGeom>
                  <a:avLst/>
                  <a:gdLst>
                    <a:gd name="T0" fmla="*/ 14 w 68"/>
                    <a:gd name="T1" fmla="*/ 104 h 104"/>
                    <a:gd name="T2" fmla="*/ 13 w 68"/>
                    <a:gd name="T3" fmla="*/ 104 h 104"/>
                    <a:gd name="T4" fmla="*/ 1 w 68"/>
                    <a:gd name="T5" fmla="*/ 98 h 104"/>
                    <a:gd name="T6" fmla="*/ 0 w 68"/>
                    <a:gd name="T7" fmla="*/ 96 h 104"/>
                    <a:gd name="T8" fmla="*/ 0 w 68"/>
                    <a:gd name="T9" fmla="*/ 35 h 104"/>
                    <a:gd name="T10" fmla="*/ 1 w 68"/>
                    <a:gd name="T11" fmla="*/ 33 h 104"/>
                    <a:gd name="T12" fmla="*/ 14 w 68"/>
                    <a:gd name="T13" fmla="*/ 26 h 104"/>
                    <a:gd name="T14" fmla="*/ 16 w 68"/>
                    <a:gd name="T15" fmla="*/ 26 h 104"/>
                    <a:gd name="T16" fmla="*/ 18 w 68"/>
                    <a:gd name="T17" fmla="*/ 27 h 104"/>
                    <a:gd name="T18" fmla="*/ 65 w 68"/>
                    <a:gd name="T19" fmla="*/ 0 h 104"/>
                    <a:gd name="T20" fmla="*/ 67 w 68"/>
                    <a:gd name="T21" fmla="*/ 0 h 104"/>
                    <a:gd name="T22" fmla="*/ 68 w 68"/>
                    <a:gd name="T23" fmla="*/ 2 h 104"/>
                    <a:gd name="T24" fmla="*/ 68 w 68"/>
                    <a:gd name="T25" fmla="*/ 72 h 104"/>
                    <a:gd name="T26" fmla="*/ 67 w 68"/>
                    <a:gd name="T27" fmla="*/ 74 h 104"/>
                    <a:gd name="T28" fmla="*/ 15 w 68"/>
                    <a:gd name="T29" fmla="*/ 104 h 104"/>
                    <a:gd name="T30" fmla="*/ 14 w 68"/>
                    <a:gd name="T31" fmla="*/ 104 h 104"/>
                    <a:gd name="T32" fmla="*/ 4 w 68"/>
                    <a:gd name="T33" fmla="*/ 95 h 104"/>
                    <a:gd name="T34" fmla="*/ 14 w 68"/>
                    <a:gd name="T35" fmla="*/ 100 h 104"/>
                    <a:gd name="T36" fmla="*/ 64 w 68"/>
                    <a:gd name="T37" fmla="*/ 71 h 104"/>
                    <a:gd name="T38" fmla="*/ 64 w 68"/>
                    <a:gd name="T39" fmla="*/ 5 h 104"/>
                    <a:gd name="T40" fmla="*/ 19 w 68"/>
                    <a:gd name="T41" fmla="*/ 31 h 104"/>
                    <a:gd name="T42" fmla="*/ 17 w 68"/>
                    <a:gd name="T43" fmla="*/ 31 h 104"/>
                    <a:gd name="T44" fmla="*/ 15 w 68"/>
                    <a:gd name="T45" fmla="*/ 30 h 104"/>
                    <a:gd name="T46" fmla="*/ 4 w 68"/>
                    <a:gd name="T47" fmla="*/ 36 h 104"/>
                    <a:gd name="T48" fmla="*/ 4 w 68"/>
                    <a:gd name="T49" fmla="*/ 9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8" h="104">
                      <a:moveTo>
                        <a:pt x="14" y="104"/>
                      </a:moveTo>
                      <a:cubicBezTo>
                        <a:pt x="13" y="104"/>
                        <a:pt x="13" y="104"/>
                        <a:pt x="13" y="104"/>
                      </a:cubicBezTo>
                      <a:cubicBezTo>
                        <a:pt x="1" y="98"/>
                        <a:pt x="1" y="98"/>
                        <a:pt x="1" y="98"/>
                      </a:cubicBezTo>
                      <a:cubicBezTo>
                        <a:pt x="1" y="97"/>
                        <a:pt x="0" y="97"/>
                        <a:pt x="0" y="96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34"/>
                        <a:pt x="1" y="34"/>
                        <a:pt x="1" y="33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14" y="26"/>
                        <a:pt x="15" y="26"/>
                        <a:pt x="16" y="26"/>
                      </a:cubicBezTo>
                      <a:cubicBezTo>
                        <a:pt x="18" y="27"/>
                        <a:pt x="18" y="27"/>
                        <a:pt x="18" y="27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6" y="0"/>
                        <a:pt x="67" y="0"/>
                        <a:pt x="67" y="0"/>
                      </a:cubicBezTo>
                      <a:cubicBezTo>
                        <a:pt x="68" y="0"/>
                        <a:pt x="68" y="1"/>
                        <a:pt x="68" y="2"/>
                      </a:cubicBezTo>
                      <a:cubicBezTo>
                        <a:pt x="68" y="72"/>
                        <a:pt x="68" y="72"/>
                        <a:pt x="68" y="72"/>
                      </a:cubicBezTo>
                      <a:cubicBezTo>
                        <a:pt x="68" y="73"/>
                        <a:pt x="68" y="73"/>
                        <a:pt x="67" y="74"/>
                      </a:cubicBezTo>
                      <a:cubicBezTo>
                        <a:pt x="15" y="104"/>
                        <a:pt x="15" y="104"/>
                        <a:pt x="15" y="104"/>
                      </a:cubicBezTo>
                      <a:cubicBezTo>
                        <a:pt x="14" y="104"/>
                        <a:pt x="14" y="104"/>
                        <a:pt x="14" y="104"/>
                      </a:cubicBezTo>
                      <a:close/>
                      <a:moveTo>
                        <a:pt x="4" y="95"/>
                      </a:moveTo>
                      <a:cubicBezTo>
                        <a:pt x="14" y="100"/>
                        <a:pt x="14" y="100"/>
                        <a:pt x="14" y="100"/>
                      </a:cubicBezTo>
                      <a:cubicBezTo>
                        <a:pt x="64" y="71"/>
                        <a:pt x="64" y="71"/>
                        <a:pt x="64" y="71"/>
                      </a:cubicBezTo>
                      <a:cubicBezTo>
                        <a:pt x="64" y="5"/>
                        <a:pt x="64" y="5"/>
                        <a:pt x="64" y="5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18" y="32"/>
                        <a:pt x="18" y="32"/>
                        <a:pt x="17" y="31"/>
                      </a:cubicBezTo>
                      <a:cubicBezTo>
                        <a:pt x="15" y="30"/>
                        <a:pt x="15" y="30"/>
                        <a:pt x="15" y="30"/>
                      </a:cubicBezTo>
                      <a:cubicBezTo>
                        <a:pt x="4" y="36"/>
                        <a:pt x="4" y="36"/>
                        <a:pt x="4" y="36"/>
                      </a:cubicBezTo>
                      <a:lnTo>
                        <a:pt x="4" y="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6" name="Freeform 929">
                  <a:extLst>
                    <a:ext uri="{FF2B5EF4-FFF2-40B4-BE49-F238E27FC236}">
                      <a16:creationId xmlns:a16="http://schemas.microsoft.com/office/drawing/2014/main" id="{B31B51A2-CB30-4D28-8ED3-DE2E803D80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1351"/>
                  <a:ext cx="78" cy="76"/>
                </a:xfrm>
                <a:custGeom>
                  <a:avLst/>
                  <a:gdLst>
                    <a:gd name="T0" fmla="*/ 2 w 33"/>
                    <a:gd name="T1" fmla="*/ 32 h 32"/>
                    <a:gd name="T2" fmla="*/ 1 w 33"/>
                    <a:gd name="T3" fmla="*/ 32 h 32"/>
                    <a:gd name="T4" fmla="*/ 0 w 33"/>
                    <a:gd name="T5" fmla="*/ 30 h 32"/>
                    <a:gd name="T6" fmla="*/ 0 w 33"/>
                    <a:gd name="T7" fmla="*/ 11 h 32"/>
                    <a:gd name="T8" fmla="*/ 1 w 33"/>
                    <a:gd name="T9" fmla="*/ 9 h 32"/>
                    <a:gd name="T10" fmla="*/ 3 w 33"/>
                    <a:gd name="T11" fmla="*/ 9 h 32"/>
                    <a:gd name="T12" fmla="*/ 9 w 33"/>
                    <a:gd name="T13" fmla="*/ 13 h 32"/>
                    <a:gd name="T14" fmla="*/ 30 w 33"/>
                    <a:gd name="T15" fmla="*/ 1 h 32"/>
                    <a:gd name="T16" fmla="*/ 32 w 33"/>
                    <a:gd name="T17" fmla="*/ 1 h 32"/>
                    <a:gd name="T18" fmla="*/ 33 w 33"/>
                    <a:gd name="T19" fmla="*/ 2 h 32"/>
                    <a:gd name="T20" fmla="*/ 33 w 33"/>
                    <a:gd name="T21" fmla="*/ 13 h 32"/>
                    <a:gd name="T22" fmla="*/ 32 w 33"/>
                    <a:gd name="T23" fmla="*/ 15 h 32"/>
                    <a:gd name="T24" fmla="*/ 3 w 33"/>
                    <a:gd name="T25" fmla="*/ 32 h 32"/>
                    <a:gd name="T26" fmla="*/ 2 w 33"/>
                    <a:gd name="T27" fmla="*/ 32 h 32"/>
                    <a:gd name="T28" fmla="*/ 4 w 33"/>
                    <a:gd name="T29" fmla="*/ 14 h 32"/>
                    <a:gd name="T30" fmla="*/ 4 w 33"/>
                    <a:gd name="T31" fmla="*/ 27 h 32"/>
                    <a:gd name="T32" fmla="*/ 29 w 33"/>
                    <a:gd name="T33" fmla="*/ 12 h 32"/>
                    <a:gd name="T34" fmla="*/ 29 w 33"/>
                    <a:gd name="T35" fmla="*/ 6 h 32"/>
                    <a:gd name="T36" fmla="*/ 10 w 33"/>
                    <a:gd name="T37" fmla="*/ 17 h 32"/>
                    <a:gd name="T38" fmla="*/ 8 w 33"/>
                    <a:gd name="T39" fmla="*/ 17 h 32"/>
                    <a:gd name="T40" fmla="*/ 4 w 33"/>
                    <a:gd name="T41" fmla="*/ 14 h 32"/>
                    <a:gd name="T42" fmla="*/ 31 w 33"/>
                    <a:gd name="T43" fmla="*/ 13 h 32"/>
                    <a:gd name="T44" fmla="*/ 31 w 33"/>
                    <a:gd name="T45" fmla="*/ 13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3" h="32">
                      <a:moveTo>
                        <a:pt x="2" y="32"/>
                      </a:move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2"/>
                        <a:pt x="0" y="31"/>
                        <a:pt x="0" y="30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0"/>
                        <a:pt x="0" y="9"/>
                        <a:pt x="1" y="9"/>
                      </a:cubicBezTo>
                      <a:cubicBezTo>
                        <a:pt x="1" y="8"/>
                        <a:pt x="2" y="8"/>
                        <a:pt x="3" y="9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1" y="0"/>
                        <a:pt x="32" y="0"/>
                        <a:pt x="32" y="1"/>
                      </a:cubicBezTo>
                      <a:cubicBezTo>
                        <a:pt x="33" y="1"/>
                        <a:pt x="33" y="2"/>
                        <a:pt x="33" y="2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3" y="14"/>
                        <a:pt x="33" y="14"/>
                        <a:pt x="32" y="15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lose/>
                      <a:moveTo>
                        <a:pt x="4" y="14"/>
                      </a:move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29" y="12"/>
                        <a:pt x="29" y="12"/>
                        <a:pt x="29" y="12"/>
                      </a:cubicBezTo>
                      <a:cubicBezTo>
                        <a:pt x="29" y="6"/>
                        <a:pt x="29" y="6"/>
                        <a:pt x="29" y="6"/>
                      </a:cubicBezTo>
                      <a:cubicBezTo>
                        <a:pt x="10" y="17"/>
                        <a:pt x="10" y="17"/>
                        <a:pt x="10" y="17"/>
                      </a:cubicBezTo>
                      <a:cubicBezTo>
                        <a:pt x="10" y="17"/>
                        <a:pt x="9" y="17"/>
                        <a:pt x="8" y="17"/>
                      </a:cubicBezTo>
                      <a:lnTo>
                        <a:pt x="4" y="14"/>
                      </a:lnTo>
                      <a:close/>
                      <a:moveTo>
                        <a:pt x="31" y="13"/>
                      </a:moveTo>
                      <a:cubicBezTo>
                        <a:pt x="31" y="13"/>
                        <a:pt x="31" y="13"/>
                        <a:pt x="31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7" name="Freeform 930">
                  <a:extLst>
                    <a:ext uri="{FF2B5EF4-FFF2-40B4-BE49-F238E27FC236}">
                      <a16:creationId xmlns:a16="http://schemas.microsoft.com/office/drawing/2014/main" id="{A11223A6-C473-4A2D-9785-720CF04BD9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148" y="1878"/>
                  <a:ext cx="156" cy="352"/>
                </a:xfrm>
                <a:custGeom>
                  <a:avLst/>
                  <a:gdLst>
                    <a:gd name="T0" fmla="*/ 40 w 66"/>
                    <a:gd name="T1" fmla="*/ 149 h 149"/>
                    <a:gd name="T2" fmla="*/ 39 w 66"/>
                    <a:gd name="T3" fmla="*/ 148 h 149"/>
                    <a:gd name="T4" fmla="*/ 1 w 66"/>
                    <a:gd name="T5" fmla="*/ 127 h 149"/>
                    <a:gd name="T6" fmla="*/ 0 w 66"/>
                    <a:gd name="T7" fmla="*/ 125 h 149"/>
                    <a:gd name="T8" fmla="*/ 0 w 66"/>
                    <a:gd name="T9" fmla="*/ 30 h 149"/>
                    <a:gd name="T10" fmla="*/ 1 w 66"/>
                    <a:gd name="T11" fmla="*/ 29 h 149"/>
                    <a:gd name="T12" fmla="*/ 50 w 66"/>
                    <a:gd name="T13" fmla="*/ 1 h 149"/>
                    <a:gd name="T14" fmla="*/ 52 w 66"/>
                    <a:gd name="T15" fmla="*/ 1 h 149"/>
                    <a:gd name="T16" fmla="*/ 65 w 66"/>
                    <a:gd name="T17" fmla="*/ 9 h 149"/>
                    <a:gd name="T18" fmla="*/ 66 w 66"/>
                    <a:gd name="T19" fmla="*/ 10 h 149"/>
                    <a:gd name="T20" fmla="*/ 66 w 66"/>
                    <a:gd name="T21" fmla="*/ 132 h 149"/>
                    <a:gd name="T22" fmla="*/ 65 w 66"/>
                    <a:gd name="T23" fmla="*/ 134 h 149"/>
                    <a:gd name="T24" fmla="*/ 41 w 66"/>
                    <a:gd name="T25" fmla="*/ 148 h 149"/>
                    <a:gd name="T26" fmla="*/ 40 w 66"/>
                    <a:gd name="T27" fmla="*/ 149 h 149"/>
                    <a:gd name="T28" fmla="*/ 4 w 66"/>
                    <a:gd name="T29" fmla="*/ 124 h 149"/>
                    <a:gd name="T30" fmla="*/ 40 w 66"/>
                    <a:gd name="T31" fmla="*/ 144 h 149"/>
                    <a:gd name="T32" fmla="*/ 62 w 66"/>
                    <a:gd name="T33" fmla="*/ 131 h 149"/>
                    <a:gd name="T34" fmla="*/ 62 w 66"/>
                    <a:gd name="T35" fmla="*/ 12 h 149"/>
                    <a:gd name="T36" fmla="*/ 51 w 66"/>
                    <a:gd name="T37" fmla="*/ 5 h 149"/>
                    <a:gd name="T38" fmla="*/ 4 w 66"/>
                    <a:gd name="T39" fmla="*/ 32 h 149"/>
                    <a:gd name="T40" fmla="*/ 4 w 66"/>
                    <a:gd name="T41" fmla="*/ 124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" h="149">
                      <a:moveTo>
                        <a:pt x="40" y="149"/>
                      </a:moveTo>
                      <a:cubicBezTo>
                        <a:pt x="40" y="149"/>
                        <a:pt x="39" y="149"/>
                        <a:pt x="39" y="148"/>
                      </a:cubicBezTo>
                      <a:cubicBezTo>
                        <a:pt x="1" y="127"/>
                        <a:pt x="1" y="127"/>
                        <a:pt x="1" y="127"/>
                      </a:cubicBezTo>
                      <a:cubicBezTo>
                        <a:pt x="1" y="126"/>
                        <a:pt x="0" y="125"/>
                        <a:pt x="0" y="12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0"/>
                        <a:pt x="1" y="29"/>
                        <a:pt x="1" y="29"/>
                      </a:cubicBez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50" y="0"/>
                        <a:pt x="51" y="0"/>
                        <a:pt x="52" y="1"/>
                      </a:cubicBezTo>
                      <a:cubicBezTo>
                        <a:pt x="65" y="9"/>
                        <a:pt x="65" y="9"/>
                        <a:pt x="65" y="9"/>
                      </a:cubicBezTo>
                      <a:cubicBezTo>
                        <a:pt x="66" y="9"/>
                        <a:pt x="66" y="10"/>
                        <a:pt x="66" y="10"/>
                      </a:cubicBezTo>
                      <a:cubicBezTo>
                        <a:pt x="66" y="132"/>
                        <a:pt x="66" y="132"/>
                        <a:pt x="66" y="132"/>
                      </a:cubicBezTo>
                      <a:cubicBezTo>
                        <a:pt x="66" y="133"/>
                        <a:pt x="66" y="134"/>
                        <a:pt x="65" y="134"/>
                      </a:cubicBezTo>
                      <a:cubicBezTo>
                        <a:pt x="41" y="148"/>
                        <a:pt x="41" y="148"/>
                        <a:pt x="41" y="148"/>
                      </a:cubicBezTo>
                      <a:cubicBezTo>
                        <a:pt x="41" y="149"/>
                        <a:pt x="40" y="149"/>
                        <a:pt x="40" y="149"/>
                      </a:cubicBezTo>
                      <a:close/>
                      <a:moveTo>
                        <a:pt x="4" y="124"/>
                      </a:moveTo>
                      <a:cubicBezTo>
                        <a:pt x="40" y="144"/>
                        <a:pt x="40" y="144"/>
                        <a:pt x="40" y="144"/>
                      </a:cubicBezTo>
                      <a:cubicBezTo>
                        <a:pt x="62" y="131"/>
                        <a:pt x="62" y="131"/>
                        <a:pt x="62" y="131"/>
                      </a:cubicBezTo>
                      <a:cubicBezTo>
                        <a:pt x="62" y="12"/>
                        <a:pt x="62" y="12"/>
                        <a:pt x="62" y="12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4" y="32"/>
                        <a:pt x="4" y="32"/>
                        <a:pt x="4" y="32"/>
                      </a:cubicBezTo>
                      <a:lnTo>
                        <a:pt x="4" y="1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8" name="Freeform 931">
                  <a:extLst>
                    <a:ext uri="{FF2B5EF4-FFF2-40B4-BE49-F238E27FC236}">
                      <a16:creationId xmlns:a16="http://schemas.microsoft.com/office/drawing/2014/main" id="{8020F727-6A5E-4B4C-9B13-2B1A10023B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242" y="2190"/>
                  <a:ext cx="62" cy="73"/>
                </a:xfrm>
                <a:custGeom>
                  <a:avLst/>
                  <a:gdLst>
                    <a:gd name="T0" fmla="*/ 24 w 26"/>
                    <a:gd name="T1" fmla="*/ 31 h 31"/>
                    <a:gd name="T2" fmla="*/ 23 w 26"/>
                    <a:gd name="T3" fmla="*/ 31 h 31"/>
                    <a:gd name="T4" fmla="*/ 1 w 26"/>
                    <a:gd name="T5" fmla="*/ 17 h 31"/>
                    <a:gd name="T6" fmla="*/ 0 w 26"/>
                    <a:gd name="T7" fmla="*/ 16 h 31"/>
                    <a:gd name="T8" fmla="*/ 1 w 26"/>
                    <a:gd name="T9" fmla="*/ 14 h 31"/>
                    <a:gd name="T10" fmla="*/ 23 w 26"/>
                    <a:gd name="T11" fmla="*/ 1 h 31"/>
                    <a:gd name="T12" fmla="*/ 25 w 26"/>
                    <a:gd name="T13" fmla="*/ 1 h 31"/>
                    <a:gd name="T14" fmla="*/ 26 w 26"/>
                    <a:gd name="T15" fmla="*/ 2 h 31"/>
                    <a:gd name="T16" fmla="*/ 26 w 26"/>
                    <a:gd name="T17" fmla="*/ 29 h 31"/>
                    <a:gd name="T18" fmla="*/ 25 w 26"/>
                    <a:gd name="T19" fmla="*/ 31 h 31"/>
                    <a:gd name="T20" fmla="*/ 24 w 26"/>
                    <a:gd name="T21" fmla="*/ 31 h 31"/>
                    <a:gd name="T22" fmla="*/ 6 w 26"/>
                    <a:gd name="T23" fmla="*/ 16 h 31"/>
                    <a:gd name="T24" fmla="*/ 22 w 26"/>
                    <a:gd name="T25" fmla="*/ 25 h 31"/>
                    <a:gd name="T26" fmla="*/ 22 w 26"/>
                    <a:gd name="T27" fmla="*/ 6 h 31"/>
                    <a:gd name="T28" fmla="*/ 6 w 26"/>
                    <a:gd name="T29" fmla="*/ 1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6" h="31">
                      <a:moveTo>
                        <a:pt x="24" y="31"/>
                      </a:moveTo>
                      <a:cubicBezTo>
                        <a:pt x="24" y="31"/>
                        <a:pt x="24" y="31"/>
                        <a:pt x="23" y="31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7"/>
                        <a:pt x="0" y="16"/>
                        <a:pt x="0" y="16"/>
                      </a:cubicBezTo>
                      <a:cubicBezTo>
                        <a:pt x="0" y="15"/>
                        <a:pt x="0" y="14"/>
                        <a:pt x="1" y="14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24" y="0"/>
                        <a:pt x="25" y="0"/>
                        <a:pt x="25" y="1"/>
                      </a:cubicBezTo>
                      <a:cubicBezTo>
                        <a:pt x="26" y="1"/>
                        <a:pt x="26" y="2"/>
                        <a:pt x="26" y="2"/>
                      </a:cubicBezTo>
                      <a:cubicBezTo>
                        <a:pt x="26" y="29"/>
                        <a:pt x="26" y="29"/>
                        <a:pt x="26" y="29"/>
                      </a:cubicBezTo>
                      <a:cubicBezTo>
                        <a:pt x="26" y="30"/>
                        <a:pt x="26" y="30"/>
                        <a:pt x="25" y="31"/>
                      </a:cubicBezTo>
                      <a:cubicBezTo>
                        <a:pt x="25" y="31"/>
                        <a:pt x="25" y="31"/>
                        <a:pt x="24" y="31"/>
                      </a:cubicBezTo>
                      <a:close/>
                      <a:moveTo>
                        <a:pt x="6" y="16"/>
                      </a:moveTo>
                      <a:cubicBezTo>
                        <a:pt x="22" y="25"/>
                        <a:pt x="22" y="25"/>
                        <a:pt x="22" y="25"/>
                      </a:cubicBezTo>
                      <a:cubicBezTo>
                        <a:pt x="22" y="6"/>
                        <a:pt x="22" y="6"/>
                        <a:pt x="22" y="6"/>
                      </a:cubicBezTo>
                      <a:lnTo>
                        <a:pt x="6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9" name="Freeform 932">
                  <a:extLst>
                    <a:ext uri="{FF2B5EF4-FFF2-40B4-BE49-F238E27FC236}">
                      <a16:creationId xmlns:a16="http://schemas.microsoft.com/office/drawing/2014/main" id="{C0D0221C-9E2C-4CB2-B827-3124F9DEDF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266" y="1781"/>
                  <a:ext cx="175" cy="414"/>
                </a:xfrm>
                <a:custGeom>
                  <a:avLst/>
                  <a:gdLst>
                    <a:gd name="T0" fmla="*/ 16 w 74"/>
                    <a:gd name="T1" fmla="*/ 175 h 175"/>
                    <a:gd name="T2" fmla="*/ 15 w 74"/>
                    <a:gd name="T3" fmla="*/ 174 h 175"/>
                    <a:gd name="T4" fmla="*/ 14 w 74"/>
                    <a:gd name="T5" fmla="*/ 173 h 175"/>
                    <a:gd name="T6" fmla="*/ 14 w 74"/>
                    <a:gd name="T7" fmla="*/ 52 h 175"/>
                    <a:gd name="T8" fmla="*/ 1 w 74"/>
                    <a:gd name="T9" fmla="*/ 44 h 175"/>
                    <a:gd name="T10" fmla="*/ 0 w 74"/>
                    <a:gd name="T11" fmla="*/ 42 h 175"/>
                    <a:gd name="T12" fmla="*/ 1 w 74"/>
                    <a:gd name="T13" fmla="*/ 41 h 175"/>
                    <a:gd name="T14" fmla="*/ 71 w 74"/>
                    <a:gd name="T15" fmla="*/ 1 h 175"/>
                    <a:gd name="T16" fmla="*/ 73 w 74"/>
                    <a:gd name="T17" fmla="*/ 1 h 175"/>
                    <a:gd name="T18" fmla="*/ 74 w 74"/>
                    <a:gd name="T19" fmla="*/ 2 h 175"/>
                    <a:gd name="T20" fmla="*/ 74 w 74"/>
                    <a:gd name="T21" fmla="*/ 140 h 175"/>
                    <a:gd name="T22" fmla="*/ 73 w 74"/>
                    <a:gd name="T23" fmla="*/ 142 h 175"/>
                    <a:gd name="T24" fmla="*/ 17 w 74"/>
                    <a:gd name="T25" fmla="*/ 174 h 175"/>
                    <a:gd name="T26" fmla="*/ 16 w 74"/>
                    <a:gd name="T27" fmla="*/ 175 h 175"/>
                    <a:gd name="T28" fmla="*/ 6 w 74"/>
                    <a:gd name="T29" fmla="*/ 42 h 175"/>
                    <a:gd name="T30" fmla="*/ 17 w 74"/>
                    <a:gd name="T31" fmla="*/ 49 h 175"/>
                    <a:gd name="T32" fmla="*/ 18 w 74"/>
                    <a:gd name="T33" fmla="*/ 50 h 175"/>
                    <a:gd name="T34" fmla="*/ 18 w 74"/>
                    <a:gd name="T35" fmla="*/ 169 h 175"/>
                    <a:gd name="T36" fmla="*/ 70 w 74"/>
                    <a:gd name="T37" fmla="*/ 139 h 175"/>
                    <a:gd name="T38" fmla="*/ 70 w 74"/>
                    <a:gd name="T39" fmla="*/ 6 h 175"/>
                    <a:gd name="T40" fmla="*/ 6 w 74"/>
                    <a:gd name="T41" fmla="*/ 42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4" h="175">
                      <a:moveTo>
                        <a:pt x="16" y="175"/>
                      </a:moveTo>
                      <a:cubicBezTo>
                        <a:pt x="16" y="175"/>
                        <a:pt x="15" y="174"/>
                        <a:pt x="15" y="174"/>
                      </a:cubicBezTo>
                      <a:cubicBezTo>
                        <a:pt x="15" y="174"/>
                        <a:pt x="14" y="173"/>
                        <a:pt x="14" y="173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1" y="44"/>
                        <a:pt x="0" y="43"/>
                        <a:pt x="0" y="42"/>
                      </a:cubicBezTo>
                      <a:cubicBezTo>
                        <a:pt x="0" y="42"/>
                        <a:pt x="1" y="41"/>
                        <a:pt x="1" y="4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2" y="0"/>
                        <a:pt x="73" y="1"/>
                      </a:cubicBezTo>
                      <a:cubicBezTo>
                        <a:pt x="73" y="1"/>
                        <a:pt x="74" y="2"/>
                        <a:pt x="74" y="2"/>
                      </a:cubicBezTo>
                      <a:cubicBezTo>
                        <a:pt x="74" y="140"/>
                        <a:pt x="74" y="140"/>
                        <a:pt x="74" y="140"/>
                      </a:cubicBezTo>
                      <a:cubicBezTo>
                        <a:pt x="74" y="141"/>
                        <a:pt x="73" y="142"/>
                        <a:pt x="73" y="142"/>
                      </a:cubicBezTo>
                      <a:cubicBezTo>
                        <a:pt x="17" y="174"/>
                        <a:pt x="17" y="174"/>
                        <a:pt x="17" y="174"/>
                      </a:cubicBezTo>
                      <a:cubicBezTo>
                        <a:pt x="17" y="174"/>
                        <a:pt x="16" y="175"/>
                        <a:pt x="16" y="175"/>
                      </a:cubicBezTo>
                      <a:close/>
                      <a:moveTo>
                        <a:pt x="6" y="42"/>
                      </a:moveTo>
                      <a:cubicBezTo>
                        <a:pt x="17" y="49"/>
                        <a:pt x="17" y="49"/>
                        <a:pt x="17" y="49"/>
                      </a:cubicBezTo>
                      <a:cubicBezTo>
                        <a:pt x="18" y="49"/>
                        <a:pt x="18" y="50"/>
                        <a:pt x="18" y="50"/>
                      </a:cubicBezTo>
                      <a:cubicBezTo>
                        <a:pt x="18" y="169"/>
                        <a:pt x="18" y="169"/>
                        <a:pt x="18" y="169"/>
                      </a:cubicBezTo>
                      <a:cubicBezTo>
                        <a:pt x="70" y="139"/>
                        <a:pt x="70" y="139"/>
                        <a:pt x="70" y="139"/>
                      </a:cubicBezTo>
                      <a:cubicBezTo>
                        <a:pt x="70" y="6"/>
                        <a:pt x="70" y="6"/>
                        <a:pt x="70" y="6"/>
                      </a:cubicBezTo>
                      <a:lnTo>
                        <a:pt x="6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0" name="Freeform 933">
                  <a:extLst>
                    <a:ext uri="{FF2B5EF4-FFF2-40B4-BE49-F238E27FC236}">
                      <a16:creationId xmlns:a16="http://schemas.microsoft.com/office/drawing/2014/main" id="{1E7E9229-9452-4092-A6DC-D6D562E6F0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71" y="1573"/>
                  <a:ext cx="623" cy="338"/>
                </a:xfrm>
                <a:custGeom>
                  <a:avLst/>
                  <a:gdLst>
                    <a:gd name="T0" fmla="*/ 126 w 264"/>
                    <a:gd name="T1" fmla="*/ 143 h 143"/>
                    <a:gd name="T2" fmla="*/ 125 w 264"/>
                    <a:gd name="T3" fmla="*/ 142 h 143"/>
                    <a:gd name="T4" fmla="*/ 1 w 264"/>
                    <a:gd name="T5" fmla="*/ 71 h 143"/>
                    <a:gd name="T6" fmla="*/ 0 w 264"/>
                    <a:gd name="T7" fmla="*/ 69 h 143"/>
                    <a:gd name="T8" fmla="*/ 1 w 264"/>
                    <a:gd name="T9" fmla="*/ 68 h 143"/>
                    <a:gd name="T10" fmla="*/ 87 w 264"/>
                    <a:gd name="T11" fmla="*/ 18 h 143"/>
                    <a:gd name="T12" fmla="*/ 89 w 264"/>
                    <a:gd name="T13" fmla="*/ 18 h 143"/>
                    <a:gd name="T14" fmla="*/ 147 w 264"/>
                    <a:gd name="T15" fmla="*/ 52 h 143"/>
                    <a:gd name="T16" fmla="*/ 147 w 264"/>
                    <a:gd name="T17" fmla="*/ 2 h 143"/>
                    <a:gd name="T18" fmla="*/ 148 w 264"/>
                    <a:gd name="T19" fmla="*/ 0 h 143"/>
                    <a:gd name="T20" fmla="*/ 150 w 264"/>
                    <a:gd name="T21" fmla="*/ 0 h 143"/>
                    <a:gd name="T22" fmla="*/ 182 w 264"/>
                    <a:gd name="T23" fmla="*/ 18 h 143"/>
                    <a:gd name="T24" fmla="*/ 183 w 264"/>
                    <a:gd name="T25" fmla="*/ 20 h 143"/>
                    <a:gd name="T26" fmla="*/ 183 w 264"/>
                    <a:gd name="T27" fmla="*/ 31 h 143"/>
                    <a:gd name="T28" fmla="*/ 193 w 264"/>
                    <a:gd name="T29" fmla="*/ 26 h 143"/>
                    <a:gd name="T30" fmla="*/ 195 w 264"/>
                    <a:gd name="T31" fmla="*/ 26 h 143"/>
                    <a:gd name="T32" fmla="*/ 263 w 264"/>
                    <a:gd name="T33" fmla="*/ 65 h 143"/>
                    <a:gd name="T34" fmla="*/ 264 w 264"/>
                    <a:gd name="T35" fmla="*/ 67 h 143"/>
                    <a:gd name="T36" fmla="*/ 264 w 264"/>
                    <a:gd name="T37" fmla="*/ 68 h 143"/>
                    <a:gd name="T38" fmla="*/ 263 w 264"/>
                    <a:gd name="T39" fmla="*/ 70 h 143"/>
                    <a:gd name="T40" fmla="*/ 249 w 264"/>
                    <a:gd name="T41" fmla="*/ 78 h 143"/>
                    <a:gd name="T42" fmla="*/ 247 w 264"/>
                    <a:gd name="T43" fmla="*/ 78 h 143"/>
                    <a:gd name="T44" fmla="*/ 246 w 264"/>
                    <a:gd name="T45" fmla="*/ 76 h 143"/>
                    <a:gd name="T46" fmla="*/ 246 w 264"/>
                    <a:gd name="T47" fmla="*/ 73 h 143"/>
                    <a:gd name="T48" fmla="*/ 127 w 264"/>
                    <a:gd name="T49" fmla="*/ 142 h 143"/>
                    <a:gd name="T50" fmla="*/ 126 w 264"/>
                    <a:gd name="T51" fmla="*/ 143 h 143"/>
                    <a:gd name="T52" fmla="*/ 6 w 264"/>
                    <a:gd name="T53" fmla="*/ 69 h 143"/>
                    <a:gd name="T54" fmla="*/ 126 w 264"/>
                    <a:gd name="T55" fmla="*/ 138 h 143"/>
                    <a:gd name="T56" fmla="*/ 247 w 264"/>
                    <a:gd name="T57" fmla="*/ 68 h 143"/>
                    <a:gd name="T58" fmla="*/ 249 w 264"/>
                    <a:gd name="T59" fmla="*/ 68 h 143"/>
                    <a:gd name="T60" fmla="*/ 250 w 264"/>
                    <a:gd name="T61" fmla="*/ 70 h 143"/>
                    <a:gd name="T62" fmla="*/ 250 w 264"/>
                    <a:gd name="T63" fmla="*/ 73 h 143"/>
                    <a:gd name="T64" fmla="*/ 259 w 264"/>
                    <a:gd name="T65" fmla="*/ 68 h 143"/>
                    <a:gd name="T66" fmla="*/ 194 w 264"/>
                    <a:gd name="T67" fmla="*/ 30 h 143"/>
                    <a:gd name="T68" fmla="*/ 182 w 264"/>
                    <a:gd name="T69" fmla="*/ 37 h 143"/>
                    <a:gd name="T70" fmla="*/ 180 w 264"/>
                    <a:gd name="T71" fmla="*/ 37 h 143"/>
                    <a:gd name="T72" fmla="*/ 179 w 264"/>
                    <a:gd name="T73" fmla="*/ 35 h 143"/>
                    <a:gd name="T74" fmla="*/ 179 w 264"/>
                    <a:gd name="T75" fmla="*/ 21 h 143"/>
                    <a:gd name="T76" fmla="*/ 151 w 264"/>
                    <a:gd name="T77" fmla="*/ 5 h 143"/>
                    <a:gd name="T78" fmla="*/ 151 w 264"/>
                    <a:gd name="T79" fmla="*/ 55 h 143"/>
                    <a:gd name="T80" fmla="*/ 150 w 264"/>
                    <a:gd name="T81" fmla="*/ 57 h 143"/>
                    <a:gd name="T82" fmla="*/ 148 w 264"/>
                    <a:gd name="T83" fmla="*/ 57 h 143"/>
                    <a:gd name="T84" fmla="*/ 88 w 264"/>
                    <a:gd name="T85" fmla="*/ 22 h 143"/>
                    <a:gd name="T86" fmla="*/ 6 w 264"/>
                    <a:gd name="T87" fmla="*/ 69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64" h="143">
                      <a:moveTo>
                        <a:pt x="126" y="143"/>
                      </a:moveTo>
                      <a:cubicBezTo>
                        <a:pt x="125" y="143"/>
                        <a:pt x="125" y="142"/>
                        <a:pt x="125" y="142"/>
                      </a:cubicBezTo>
                      <a:cubicBezTo>
                        <a:pt x="1" y="71"/>
                        <a:pt x="1" y="71"/>
                        <a:pt x="1" y="71"/>
                      </a:cubicBezTo>
                      <a:cubicBezTo>
                        <a:pt x="1" y="71"/>
                        <a:pt x="0" y="70"/>
                        <a:pt x="0" y="69"/>
                      </a:cubicBezTo>
                      <a:cubicBezTo>
                        <a:pt x="0" y="69"/>
                        <a:pt x="1" y="68"/>
                        <a:pt x="1" y="68"/>
                      </a:cubicBezTo>
                      <a:cubicBezTo>
                        <a:pt x="87" y="18"/>
                        <a:pt x="87" y="18"/>
                        <a:pt x="87" y="18"/>
                      </a:cubicBezTo>
                      <a:cubicBezTo>
                        <a:pt x="87" y="18"/>
                        <a:pt x="88" y="18"/>
                        <a:pt x="89" y="18"/>
                      </a:cubicBezTo>
                      <a:cubicBezTo>
                        <a:pt x="147" y="52"/>
                        <a:pt x="147" y="52"/>
                        <a:pt x="147" y="52"/>
                      </a:cubicBezTo>
                      <a:cubicBezTo>
                        <a:pt x="147" y="2"/>
                        <a:pt x="147" y="2"/>
                        <a:pt x="147" y="2"/>
                      </a:cubicBezTo>
                      <a:cubicBezTo>
                        <a:pt x="147" y="1"/>
                        <a:pt x="148" y="0"/>
                        <a:pt x="148" y="0"/>
                      </a:cubicBezTo>
                      <a:cubicBezTo>
                        <a:pt x="149" y="0"/>
                        <a:pt x="150" y="0"/>
                        <a:pt x="150" y="0"/>
                      </a:cubicBezTo>
                      <a:cubicBezTo>
                        <a:pt x="182" y="18"/>
                        <a:pt x="182" y="18"/>
                        <a:pt x="182" y="18"/>
                      </a:cubicBezTo>
                      <a:cubicBezTo>
                        <a:pt x="182" y="19"/>
                        <a:pt x="183" y="19"/>
                        <a:pt x="183" y="20"/>
                      </a:cubicBezTo>
                      <a:cubicBezTo>
                        <a:pt x="183" y="31"/>
                        <a:pt x="183" y="31"/>
                        <a:pt x="183" y="31"/>
                      </a:cubicBezTo>
                      <a:cubicBezTo>
                        <a:pt x="193" y="26"/>
                        <a:pt x="193" y="26"/>
                        <a:pt x="193" y="26"/>
                      </a:cubicBezTo>
                      <a:cubicBezTo>
                        <a:pt x="193" y="25"/>
                        <a:pt x="194" y="25"/>
                        <a:pt x="195" y="26"/>
                      </a:cubicBezTo>
                      <a:cubicBezTo>
                        <a:pt x="263" y="65"/>
                        <a:pt x="263" y="65"/>
                        <a:pt x="263" y="65"/>
                      </a:cubicBezTo>
                      <a:cubicBezTo>
                        <a:pt x="263" y="65"/>
                        <a:pt x="264" y="66"/>
                        <a:pt x="264" y="67"/>
                      </a:cubicBezTo>
                      <a:cubicBezTo>
                        <a:pt x="264" y="68"/>
                        <a:pt x="264" y="68"/>
                        <a:pt x="264" y="68"/>
                      </a:cubicBezTo>
                      <a:cubicBezTo>
                        <a:pt x="264" y="69"/>
                        <a:pt x="263" y="70"/>
                        <a:pt x="263" y="70"/>
                      </a:cubicBezTo>
                      <a:cubicBezTo>
                        <a:pt x="249" y="78"/>
                        <a:pt x="249" y="78"/>
                        <a:pt x="249" y="78"/>
                      </a:cubicBezTo>
                      <a:cubicBezTo>
                        <a:pt x="248" y="78"/>
                        <a:pt x="248" y="78"/>
                        <a:pt x="247" y="78"/>
                      </a:cubicBezTo>
                      <a:cubicBezTo>
                        <a:pt x="246" y="78"/>
                        <a:pt x="246" y="77"/>
                        <a:pt x="246" y="76"/>
                      </a:cubicBezTo>
                      <a:cubicBezTo>
                        <a:pt x="246" y="73"/>
                        <a:pt x="246" y="73"/>
                        <a:pt x="246" y="73"/>
                      </a:cubicBezTo>
                      <a:cubicBezTo>
                        <a:pt x="127" y="142"/>
                        <a:pt x="127" y="142"/>
                        <a:pt x="127" y="142"/>
                      </a:cubicBezTo>
                      <a:cubicBezTo>
                        <a:pt x="126" y="142"/>
                        <a:pt x="126" y="143"/>
                        <a:pt x="126" y="143"/>
                      </a:cubicBezTo>
                      <a:close/>
                      <a:moveTo>
                        <a:pt x="6" y="69"/>
                      </a:moveTo>
                      <a:cubicBezTo>
                        <a:pt x="126" y="138"/>
                        <a:pt x="126" y="138"/>
                        <a:pt x="126" y="138"/>
                      </a:cubicBezTo>
                      <a:cubicBezTo>
                        <a:pt x="247" y="68"/>
                        <a:pt x="247" y="68"/>
                        <a:pt x="247" y="68"/>
                      </a:cubicBezTo>
                      <a:cubicBezTo>
                        <a:pt x="248" y="68"/>
                        <a:pt x="248" y="68"/>
                        <a:pt x="249" y="68"/>
                      </a:cubicBezTo>
                      <a:cubicBezTo>
                        <a:pt x="250" y="69"/>
                        <a:pt x="250" y="69"/>
                        <a:pt x="250" y="70"/>
                      </a:cubicBezTo>
                      <a:cubicBezTo>
                        <a:pt x="250" y="73"/>
                        <a:pt x="250" y="73"/>
                        <a:pt x="250" y="73"/>
                      </a:cubicBezTo>
                      <a:cubicBezTo>
                        <a:pt x="259" y="68"/>
                        <a:pt x="259" y="68"/>
                        <a:pt x="259" y="68"/>
                      </a:cubicBezTo>
                      <a:cubicBezTo>
                        <a:pt x="194" y="30"/>
                        <a:pt x="194" y="30"/>
                        <a:pt x="194" y="30"/>
                      </a:cubicBezTo>
                      <a:cubicBezTo>
                        <a:pt x="182" y="37"/>
                        <a:pt x="182" y="37"/>
                        <a:pt x="182" y="37"/>
                      </a:cubicBezTo>
                      <a:cubicBezTo>
                        <a:pt x="181" y="37"/>
                        <a:pt x="180" y="37"/>
                        <a:pt x="180" y="37"/>
                      </a:cubicBezTo>
                      <a:cubicBezTo>
                        <a:pt x="179" y="36"/>
                        <a:pt x="179" y="35"/>
                        <a:pt x="179" y="35"/>
                      </a:cubicBezTo>
                      <a:cubicBezTo>
                        <a:pt x="179" y="21"/>
                        <a:pt x="179" y="21"/>
                        <a:pt x="179" y="21"/>
                      </a:cubicBezTo>
                      <a:cubicBezTo>
                        <a:pt x="151" y="5"/>
                        <a:pt x="151" y="5"/>
                        <a:pt x="151" y="5"/>
                      </a:cubicBezTo>
                      <a:cubicBezTo>
                        <a:pt x="151" y="55"/>
                        <a:pt x="151" y="55"/>
                        <a:pt x="151" y="55"/>
                      </a:cubicBezTo>
                      <a:cubicBezTo>
                        <a:pt x="151" y="56"/>
                        <a:pt x="151" y="57"/>
                        <a:pt x="150" y="57"/>
                      </a:cubicBezTo>
                      <a:cubicBezTo>
                        <a:pt x="150" y="57"/>
                        <a:pt x="149" y="57"/>
                        <a:pt x="148" y="57"/>
                      </a:cubicBezTo>
                      <a:cubicBezTo>
                        <a:pt x="88" y="22"/>
                        <a:pt x="88" y="22"/>
                        <a:pt x="88" y="22"/>
                      </a:cubicBezTo>
                      <a:lnTo>
                        <a:pt x="6" y="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1" name="Freeform 934">
                  <a:extLst>
                    <a:ext uri="{FF2B5EF4-FFF2-40B4-BE49-F238E27FC236}">
                      <a16:creationId xmlns:a16="http://schemas.microsoft.com/office/drawing/2014/main" id="{E5ABD9F0-7C87-44A0-AEC1-752EFF260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29" y="1382"/>
                  <a:ext cx="128" cy="80"/>
                </a:xfrm>
                <a:custGeom>
                  <a:avLst/>
                  <a:gdLst>
                    <a:gd name="T0" fmla="*/ 4 w 54"/>
                    <a:gd name="T1" fmla="*/ 34 h 34"/>
                    <a:gd name="T2" fmla="*/ 3 w 54"/>
                    <a:gd name="T3" fmla="*/ 34 h 34"/>
                    <a:gd name="T4" fmla="*/ 1 w 54"/>
                    <a:gd name="T5" fmla="*/ 33 h 34"/>
                    <a:gd name="T6" fmla="*/ 0 w 54"/>
                    <a:gd name="T7" fmla="*/ 31 h 34"/>
                    <a:gd name="T8" fmla="*/ 1 w 54"/>
                    <a:gd name="T9" fmla="*/ 29 h 34"/>
                    <a:gd name="T10" fmla="*/ 21 w 54"/>
                    <a:gd name="T11" fmla="*/ 18 h 34"/>
                    <a:gd name="T12" fmla="*/ 21 w 54"/>
                    <a:gd name="T13" fmla="*/ 18 h 34"/>
                    <a:gd name="T14" fmla="*/ 22 w 54"/>
                    <a:gd name="T15" fmla="*/ 18 h 34"/>
                    <a:gd name="T16" fmla="*/ 51 w 54"/>
                    <a:gd name="T17" fmla="*/ 0 h 34"/>
                    <a:gd name="T18" fmla="*/ 53 w 54"/>
                    <a:gd name="T19" fmla="*/ 0 h 34"/>
                    <a:gd name="T20" fmla="*/ 54 w 54"/>
                    <a:gd name="T21" fmla="*/ 2 h 34"/>
                    <a:gd name="T22" fmla="*/ 54 w 54"/>
                    <a:gd name="T23" fmla="*/ 4 h 34"/>
                    <a:gd name="T24" fmla="*/ 53 w 54"/>
                    <a:gd name="T25" fmla="*/ 6 h 34"/>
                    <a:gd name="T26" fmla="*/ 5 w 54"/>
                    <a:gd name="T27" fmla="*/ 34 h 34"/>
                    <a:gd name="T28" fmla="*/ 4 w 54"/>
                    <a:gd name="T29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4" h="34">
                      <a:moveTo>
                        <a:pt x="4" y="34"/>
                      </a:moveTo>
                      <a:cubicBezTo>
                        <a:pt x="4" y="34"/>
                        <a:pt x="3" y="34"/>
                        <a:pt x="3" y="34"/>
                      </a:cubicBez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1" y="32"/>
                        <a:pt x="0" y="32"/>
                        <a:pt x="0" y="31"/>
                      </a:cubicBezTo>
                      <a:cubicBezTo>
                        <a:pt x="0" y="30"/>
                        <a:pt x="1" y="30"/>
                        <a:pt x="1" y="29"/>
                      </a:cubicBezTo>
                      <a:cubicBezTo>
                        <a:pt x="21" y="18"/>
                        <a:pt x="21" y="18"/>
                        <a:pt x="21" y="18"/>
                      </a:cubicBezTo>
                      <a:cubicBezTo>
                        <a:pt x="21" y="18"/>
                        <a:pt x="21" y="18"/>
                        <a:pt x="21" y="18"/>
                      </a:cubicBezTo>
                      <a:cubicBezTo>
                        <a:pt x="21" y="18"/>
                        <a:pt x="21" y="18"/>
                        <a:pt x="22" y="18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2" y="0"/>
                        <a:pt x="53" y="0"/>
                        <a:pt x="53" y="0"/>
                      </a:cubicBezTo>
                      <a:cubicBezTo>
                        <a:pt x="54" y="1"/>
                        <a:pt x="54" y="1"/>
                        <a:pt x="54" y="2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5"/>
                        <a:pt x="54" y="5"/>
                        <a:pt x="53" y="6"/>
                      </a:cubicBez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5" y="34"/>
                        <a:pt x="4" y="34"/>
                        <a:pt x="4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2" name="Freeform 935">
                  <a:extLst>
                    <a:ext uri="{FF2B5EF4-FFF2-40B4-BE49-F238E27FC236}">
                      <a16:creationId xmlns:a16="http://schemas.microsoft.com/office/drawing/2014/main" id="{833C749B-456A-4FEF-9E0C-F6603F0F87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42" y="2922"/>
                  <a:ext cx="315" cy="435"/>
                </a:xfrm>
                <a:custGeom>
                  <a:avLst/>
                  <a:gdLst>
                    <a:gd name="T0" fmla="*/ 2 w 133"/>
                    <a:gd name="T1" fmla="*/ 184 h 184"/>
                    <a:gd name="T2" fmla="*/ 1 w 133"/>
                    <a:gd name="T3" fmla="*/ 183 h 184"/>
                    <a:gd name="T4" fmla="*/ 0 w 133"/>
                    <a:gd name="T5" fmla="*/ 182 h 184"/>
                    <a:gd name="T6" fmla="*/ 0 w 133"/>
                    <a:gd name="T7" fmla="*/ 32 h 184"/>
                    <a:gd name="T8" fmla="*/ 1 w 133"/>
                    <a:gd name="T9" fmla="*/ 30 h 184"/>
                    <a:gd name="T10" fmla="*/ 3 w 133"/>
                    <a:gd name="T11" fmla="*/ 29 h 184"/>
                    <a:gd name="T12" fmla="*/ 5 w 133"/>
                    <a:gd name="T13" fmla="*/ 29 h 184"/>
                    <a:gd name="T14" fmla="*/ 16 w 133"/>
                    <a:gd name="T15" fmla="*/ 35 h 184"/>
                    <a:gd name="T16" fmla="*/ 77 w 133"/>
                    <a:gd name="T17" fmla="*/ 0 h 184"/>
                    <a:gd name="T18" fmla="*/ 79 w 133"/>
                    <a:gd name="T19" fmla="*/ 0 h 184"/>
                    <a:gd name="T20" fmla="*/ 101 w 133"/>
                    <a:gd name="T21" fmla="*/ 12 h 184"/>
                    <a:gd name="T22" fmla="*/ 102 w 133"/>
                    <a:gd name="T23" fmla="*/ 14 h 184"/>
                    <a:gd name="T24" fmla="*/ 102 w 133"/>
                    <a:gd name="T25" fmla="*/ 24 h 184"/>
                    <a:gd name="T26" fmla="*/ 130 w 133"/>
                    <a:gd name="T27" fmla="*/ 8 h 184"/>
                    <a:gd name="T28" fmla="*/ 132 w 133"/>
                    <a:gd name="T29" fmla="*/ 8 h 184"/>
                    <a:gd name="T30" fmla="*/ 133 w 133"/>
                    <a:gd name="T31" fmla="*/ 10 h 184"/>
                    <a:gd name="T32" fmla="*/ 133 w 133"/>
                    <a:gd name="T33" fmla="*/ 107 h 184"/>
                    <a:gd name="T34" fmla="*/ 132 w 133"/>
                    <a:gd name="T35" fmla="*/ 109 h 184"/>
                    <a:gd name="T36" fmla="*/ 3 w 133"/>
                    <a:gd name="T37" fmla="*/ 183 h 184"/>
                    <a:gd name="T38" fmla="*/ 2 w 133"/>
                    <a:gd name="T39" fmla="*/ 184 h 184"/>
                    <a:gd name="T40" fmla="*/ 4 w 133"/>
                    <a:gd name="T41" fmla="*/ 33 h 184"/>
                    <a:gd name="T42" fmla="*/ 4 w 133"/>
                    <a:gd name="T43" fmla="*/ 178 h 184"/>
                    <a:gd name="T44" fmla="*/ 129 w 133"/>
                    <a:gd name="T45" fmla="*/ 106 h 184"/>
                    <a:gd name="T46" fmla="*/ 129 w 133"/>
                    <a:gd name="T47" fmla="*/ 13 h 184"/>
                    <a:gd name="T48" fmla="*/ 101 w 133"/>
                    <a:gd name="T49" fmla="*/ 30 h 184"/>
                    <a:gd name="T50" fmla="*/ 99 w 133"/>
                    <a:gd name="T51" fmla="*/ 30 h 184"/>
                    <a:gd name="T52" fmla="*/ 98 w 133"/>
                    <a:gd name="T53" fmla="*/ 28 h 184"/>
                    <a:gd name="T54" fmla="*/ 98 w 133"/>
                    <a:gd name="T55" fmla="*/ 15 h 184"/>
                    <a:gd name="T56" fmla="*/ 78 w 133"/>
                    <a:gd name="T57" fmla="*/ 4 h 184"/>
                    <a:gd name="T58" fmla="*/ 17 w 133"/>
                    <a:gd name="T59" fmla="*/ 39 h 184"/>
                    <a:gd name="T60" fmla="*/ 15 w 133"/>
                    <a:gd name="T61" fmla="*/ 39 h 184"/>
                    <a:gd name="T62" fmla="*/ 4 w 133"/>
                    <a:gd name="T63" fmla="*/ 33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3" h="184">
                      <a:moveTo>
                        <a:pt x="2" y="184"/>
                      </a:moveTo>
                      <a:cubicBezTo>
                        <a:pt x="1" y="184"/>
                        <a:pt x="1" y="184"/>
                        <a:pt x="1" y="183"/>
                      </a:cubicBezTo>
                      <a:cubicBezTo>
                        <a:pt x="0" y="183"/>
                        <a:pt x="0" y="182"/>
                        <a:pt x="0" y="18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1"/>
                        <a:pt x="0" y="30"/>
                        <a:pt x="1" y="30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4" y="28"/>
                        <a:pt x="4" y="28"/>
                        <a:pt x="5" y="29"/>
                      </a:cubicBezTo>
                      <a:cubicBezTo>
                        <a:pt x="16" y="35"/>
                        <a:pt x="16" y="35"/>
                        <a:pt x="16" y="35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8" y="0"/>
                        <a:pt x="78" y="0"/>
                        <a:pt x="79" y="0"/>
                      </a:cubicBezTo>
                      <a:cubicBezTo>
                        <a:pt x="101" y="12"/>
                        <a:pt x="101" y="12"/>
                        <a:pt x="101" y="12"/>
                      </a:cubicBezTo>
                      <a:cubicBezTo>
                        <a:pt x="101" y="13"/>
                        <a:pt x="102" y="13"/>
                        <a:pt x="102" y="14"/>
                      </a:cubicBezTo>
                      <a:cubicBezTo>
                        <a:pt x="102" y="24"/>
                        <a:pt x="102" y="24"/>
                        <a:pt x="102" y="24"/>
                      </a:cubicBezTo>
                      <a:cubicBezTo>
                        <a:pt x="130" y="8"/>
                        <a:pt x="130" y="8"/>
                        <a:pt x="130" y="8"/>
                      </a:cubicBezTo>
                      <a:cubicBezTo>
                        <a:pt x="131" y="7"/>
                        <a:pt x="132" y="7"/>
                        <a:pt x="132" y="8"/>
                      </a:cubicBezTo>
                      <a:cubicBezTo>
                        <a:pt x="133" y="8"/>
                        <a:pt x="133" y="9"/>
                        <a:pt x="133" y="10"/>
                      </a:cubicBezTo>
                      <a:cubicBezTo>
                        <a:pt x="133" y="107"/>
                        <a:pt x="133" y="107"/>
                        <a:pt x="133" y="107"/>
                      </a:cubicBezTo>
                      <a:cubicBezTo>
                        <a:pt x="133" y="107"/>
                        <a:pt x="133" y="108"/>
                        <a:pt x="132" y="109"/>
                      </a:cubicBezTo>
                      <a:cubicBezTo>
                        <a:pt x="3" y="183"/>
                        <a:pt x="3" y="183"/>
                        <a:pt x="3" y="183"/>
                      </a:cubicBezTo>
                      <a:cubicBezTo>
                        <a:pt x="2" y="184"/>
                        <a:pt x="2" y="184"/>
                        <a:pt x="2" y="184"/>
                      </a:cubicBezTo>
                      <a:close/>
                      <a:moveTo>
                        <a:pt x="4" y="33"/>
                      </a:moveTo>
                      <a:cubicBezTo>
                        <a:pt x="4" y="178"/>
                        <a:pt x="4" y="178"/>
                        <a:pt x="4" y="178"/>
                      </a:cubicBezTo>
                      <a:cubicBezTo>
                        <a:pt x="129" y="106"/>
                        <a:pt x="129" y="106"/>
                        <a:pt x="129" y="106"/>
                      </a:cubicBezTo>
                      <a:cubicBezTo>
                        <a:pt x="129" y="13"/>
                        <a:pt x="129" y="13"/>
                        <a:pt x="129" y="13"/>
                      </a:cubicBezTo>
                      <a:cubicBezTo>
                        <a:pt x="101" y="30"/>
                        <a:pt x="101" y="30"/>
                        <a:pt x="101" y="30"/>
                      </a:cubicBezTo>
                      <a:cubicBezTo>
                        <a:pt x="100" y="30"/>
                        <a:pt x="99" y="30"/>
                        <a:pt x="99" y="30"/>
                      </a:cubicBezTo>
                      <a:cubicBezTo>
                        <a:pt x="98" y="29"/>
                        <a:pt x="98" y="28"/>
                        <a:pt x="98" y="28"/>
                      </a:cubicBezTo>
                      <a:cubicBezTo>
                        <a:pt x="98" y="15"/>
                        <a:pt x="98" y="15"/>
                        <a:pt x="98" y="15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17" y="39"/>
                        <a:pt x="17" y="39"/>
                        <a:pt x="17" y="39"/>
                      </a:cubicBezTo>
                      <a:cubicBezTo>
                        <a:pt x="17" y="39"/>
                        <a:pt x="16" y="39"/>
                        <a:pt x="15" y="39"/>
                      </a:cubicBezTo>
                      <a:cubicBezTo>
                        <a:pt x="4" y="33"/>
                        <a:pt x="4" y="33"/>
                        <a:pt x="4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3" name="Freeform 936">
                  <a:extLst>
                    <a:ext uri="{FF2B5EF4-FFF2-40B4-BE49-F238E27FC236}">
                      <a16:creationId xmlns:a16="http://schemas.microsoft.com/office/drawing/2014/main" id="{AAFA7BA1-3FBA-4195-AC1C-956647DEDC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792"/>
                  <a:ext cx="73" cy="69"/>
                </a:xfrm>
                <a:custGeom>
                  <a:avLst/>
                  <a:gdLst>
                    <a:gd name="T0" fmla="*/ 2 w 31"/>
                    <a:gd name="T1" fmla="*/ 29 h 29"/>
                    <a:gd name="T2" fmla="*/ 1 w 31"/>
                    <a:gd name="T3" fmla="*/ 29 h 29"/>
                    <a:gd name="T4" fmla="*/ 0 w 31"/>
                    <a:gd name="T5" fmla="*/ 27 h 29"/>
                    <a:gd name="T6" fmla="*/ 0 w 31"/>
                    <a:gd name="T7" fmla="*/ 8 h 29"/>
                    <a:gd name="T8" fmla="*/ 1 w 31"/>
                    <a:gd name="T9" fmla="*/ 7 h 29"/>
                    <a:gd name="T10" fmla="*/ 12 w 31"/>
                    <a:gd name="T11" fmla="*/ 0 h 29"/>
                    <a:gd name="T12" fmla="*/ 14 w 31"/>
                    <a:gd name="T13" fmla="*/ 0 h 29"/>
                    <a:gd name="T14" fmla="*/ 30 w 31"/>
                    <a:gd name="T15" fmla="*/ 10 h 29"/>
                    <a:gd name="T16" fmla="*/ 31 w 31"/>
                    <a:gd name="T17" fmla="*/ 12 h 29"/>
                    <a:gd name="T18" fmla="*/ 30 w 31"/>
                    <a:gd name="T19" fmla="*/ 13 h 29"/>
                    <a:gd name="T20" fmla="*/ 3 w 31"/>
                    <a:gd name="T21" fmla="*/ 29 h 29"/>
                    <a:gd name="T22" fmla="*/ 2 w 31"/>
                    <a:gd name="T23" fmla="*/ 29 h 29"/>
                    <a:gd name="T24" fmla="*/ 4 w 31"/>
                    <a:gd name="T25" fmla="*/ 10 h 29"/>
                    <a:gd name="T26" fmla="*/ 4 w 31"/>
                    <a:gd name="T27" fmla="*/ 24 h 29"/>
                    <a:gd name="T28" fmla="*/ 25 w 31"/>
                    <a:gd name="T29" fmla="*/ 12 h 29"/>
                    <a:gd name="T30" fmla="*/ 13 w 31"/>
                    <a:gd name="T31" fmla="*/ 4 h 29"/>
                    <a:gd name="T32" fmla="*/ 4 w 31"/>
                    <a:gd name="T33" fmla="*/ 1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1" h="29">
                      <a:moveTo>
                        <a:pt x="2" y="29"/>
                      </a:moveTo>
                      <a:cubicBezTo>
                        <a:pt x="1" y="29"/>
                        <a:pt x="1" y="29"/>
                        <a:pt x="1" y="29"/>
                      </a:cubicBezTo>
                      <a:cubicBezTo>
                        <a:pt x="0" y="29"/>
                        <a:pt x="0" y="28"/>
                        <a:pt x="0" y="2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8"/>
                        <a:pt x="0" y="7"/>
                        <a:pt x="1" y="7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3" y="0"/>
                        <a:pt x="14" y="0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0"/>
                        <a:pt x="31" y="11"/>
                        <a:pt x="31" y="12"/>
                      </a:cubicBezTo>
                      <a:cubicBezTo>
                        <a:pt x="31" y="12"/>
                        <a:pt x="30" y="13"/>
                        <a:pt x="30" y="13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2" y="29"/>
                        <a:pt x="2" y="29"/>
                        <a:pt x="2" y="29"/>
                      </a:cubicBezTo>
                      <a:close/>
                      <a:moveTo>
                        <a:pt x="4" y="10"/>
                      </a:move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25" y="12"/>
                        <a:pt x="25" y="12"/>
                        <a:pt x="25" y="12"/>
                      </a:cubicBezTo>
                      <a:cubicBezTo>
                        <a:pt x="13" y="4"/>
                        <a:pt x="13" y="4"/>
                        <a:pt x="13" y="4"/>
                      </a:cubicBezTo>
                      <a:lnTo>
                        <a:pt x="4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4" name="Freeform 937">
                  <a:extLst>
                    <a:ext uri="{FF2B5EF4-FFF2-40B4-BE49-F238E27FC236}">
                      <a16:creationId xmlns:a16="http://schemas.microsoft.com/office/drawing/2014/main" id="{9CEB572A-39FD-4630-913B-5EF5E4E55D9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934"/>
                  <a:ext cx="78" cy="52"/>
                </a:xfrm>
                <a:custGeom>
                  <a:avLst/>
                  <a:gdLst>
                    <a:gd name="T0" fmla="*/ 2 w 33"/>
                    <a:gd name="T1" fmla="*/ 22 h 22"/>
                    <a:gd name="T2" fmla="*/ 1 w 33"/>
                    <a:gd name="T3" fmla="*/ 22 h 22"/>
                    <a:gd name="T4" fmla="*/ 0 w 33"/>
                    <a:gd name="T5" fmla="*/ 20 h 22"/>
                    <a:gd name="T6" fmla="*/ 0 w 33"/>
                    <a:gd name="T7" fmla="*/ 10 h 22"/>
                    <a:gd name="T8" fmla="*/ 1 w 33"/>
                    <a:gd name="T9" fmla="*/ 8 h 22"/>
                    <a:gd name="T10" fmla="*/ 3 w 33"/>
                    <a:gd name="T11" fmla="*/ 8 h 22"/>
                    <a:gd name="T12" fmla="*/ 9 w 33"/>
                    <a:gd name="T13" fmla="*/ 12 h 22"/>
                    <a:gd name="T14" fmla="*/ 30 w 33"/>
                    <a:gd name="T15" fmla="*/ 0 h 22"/>
                    <a:gd name="T16" fmla="*/ 32 w 33"/>
                    <a:gd name="T17" fmla="*/ 0 h 22"/>
                    <a:gd name="T18" fmla="*/ 33 w 33"/>
                    <a:gd name="T19" fmla="*/ 2 h 22"/>
                    <a:gd name="T20" fmla="*/ 33 w 33"/>
                    <a:gd name="T21" fmla="*/ 3 h 22"/>
                    <a:gd name="T22" fmla="*/ 32 w 33"/>
                    <a:gd name="T23" fmla="*/ 4 h 22"/>
                    <a:gd name="T24" fmla="*/ 3 w 33"/>
                    <a:gd name="T25" fmla="*/ 22 h 22"/>
                    <a:gd name="T26" fmla="*/ 2 w 33"/>
                    <a:gd name="T27" fmla="*/ 22 h 22"/>
                    <a:gd name="T28" fmla="*/ 4 w 33"/>
                    <a:gd name="T29" fmla="*/ 14 h 22"/>
                    <a:gd name="T30" fmla="*/ 4 w 33"/>
                    <a:gd name="T31" fmla="*/ 16 h 22"/>
                    <a:gd name="T32" fmla="*/ 6 w 33"/>
                    <a:gd name="T33" fmla="*/ 15 h 22"/>
                    <a:gd name="T34" fmla="*/ 4 w 33"/>
                    <a:gd name="T3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3" h="22">
                      <a:moveTo>
                        <a:pt x="2" y="22"/>
                      </a:move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1" y="8"/>
                      </a:cubicBezTo>
                      <a:cubicBezTo>
                        <a:pt x="1" y="8"/>
                        <a:pt x="2" y="8"/>
                        <a:pt x="3" y="8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1" y="0"/>
                        <a:pt x="32" y="0"/>
                        <a:pt x="32" y="0"/>
                      </a:cubicBezTo>
                      <a:cubicBezTo>
                        <a:pt x="33" y="0"/>
                        <a:pt x="33" y="1"/>
                        <a:pt x="33" y="2"/>
                      </a:cubicBezTo>
                      <a:cubicBezTo>
                        <a:pt x="33" y="3"/>
                        <a:pt x="33" y="3"/>
                        <a:pt x="33" y="3"/>
                      </a:cubicBezTo>
                      <a:cubicBezTo>
                        <a:pt x="33" y="3"/>
                        <a:pt x="33" y="4"/>
                        <a:pt x="32" y="4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2" y="22"/>
                        <a:pt x="2" y="22"/>
                        <a:pt x="2" y="22"/>
                      </a:cubicBezTo>
                      <a:close/>
                      <a:moveTo>
                        <a:pt x="4" y="14"/>
                      </a:moveTo>
                      <a:cubicBezTo>
                        <a:pt x="4" y="16"/>
                        <a:pt x="4" y="16"/>
                        <a:pt x="4" y="16"/>
                      </a:cubicBezTo>
                      <a:cubicBezTo>
                        <a:pt x="6" y="15"/>
                        <a:pt x="6" y="15"/>
                        <a:pt x="6" y="15"/>
                      </a:cubicBezTo>
                      <a:lnTo>
                        <a:pt x="4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5" name="Freeform 938">
                  <a:extLst>
                    <a:ext uri="{FF2B5EF4-FFF2-40B4-BE49-F238E27FC236}">
                      <a16:creationId xmlns:a16="http://schemas.microsoft.com/office/drawing/2014/main" id="{E7A50EC2-A680-4EFA-8EC2-D57A6C127A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64" y="2653"/>
                  <a:ext cx="562" cy="343"/>
                </a:xfrm>
                <a:custGeom>
                  <a:avLst/>
                  <a:gdLst>
                    <a:gd name="T0" fmla="*/ 122 w 238"/>
                    <a:gd name="T1" fmla="*/ 145 h 145"/>
                    <a:gd name="T2" fmla="*/ 121 w 238"/>
                    <a:gd name="T3" fmla="*/ 144 h 145"/>
                    <a:gd name="T4" fmla="*/ 1 w 238"/>
                    <a:gd name="T5" fmla="*/ 75 h 145"/>
                    <a:gd name="T6" fmla="*/ 0 w 238"/>
                    <a:gd name="T7" fmla="*/ 73 h 145"/>
                    <a:gd name="T8" fmla="*/ 1 w 238"/>
                    <a:gd name="T9" fmla="*/ 72 h 145"/>
                    <a:gd name="T10" fmla="*/ 124 w 238"/>
                    <a:gd name="T11" fmla="*/ 1 h 145"/>
                    <a:gd name="T12" fmla="*/ 126 w 238"/>
                    <a:gd name="T13" fmla="*/ 1 h 145"/>
                    <a:gd name="T14" fmla="*/ 212 w 238"/>
                    <a:gd name="T15" fmla="*/ 51 h 145"/>
                    <a:gd name="T16" fmla="*/ 220 w 238"/>
                    <a:gd name="T17" fmla="*/ 46 h 145"/>
                    <a:gd name="T18" fmla="*/ 222 w 238"/>
                    <a:gd name="T19" fmla="*/ 46 h 145"/>
                    <a:gd name="T20" fmla="*/ 237 w 238"/>
                    <a:gd name="T21" fmla="*/ 54 h 145"/>
                    <a:gd name="T22" fmla="*/ 238 w 238"/>
                    <a:gd name="T23" fmla="*/ 56 h 145"/>
                    <a:gd name="T24" fmla="*/ 237 w 238"/>
                    <a:gd name="T25" fmla="*/ 58 h 145"/>
                    <a:gd name="T26" fmla="*/ 232 w 238"/>
                    <a:gd name="T27" fmla="*/ 61 h 145"/>
                    <a:gd name="T28" fmla="*/ 230 w 238"/>
                    <a:gd name="T29" fmla="*/ 61 h 145"/>
                    <a:gd name="T30" fmla="*/ 227 w 238"/>
                    <a:gd name="T31" fmla="*/ 60 h 145"/>
                    <a:gd name="T32" fmla="*/ 165 w 238"/>
                    <a:gd name="T33" fmla="*/ 95 h 145"/>
                    <a:gd name="T34" fmla="*/ 183 w 238"/>
                    <a:gd name="T35" fmla="*/ 106 h 145"/>
                    <a:gd name="T36" fmla="*/ 184 w 238"/>
                    <a:gd name="T37" fmla="*/ 108 h 145"/>
                    <a:gd name="T38" fmla="*/ 183 w 238"/>
                    <a:gd name="T39" fmla="*/ 109 h 145"/>
                    <a:gd name="T40" fmla="*/ 123 w 238"/>
                    <a:gd name="T41" fmla="*/ 144 h 145"/>
                    <a:gd name="T42" fmla="*/ 122 w 238"/>
                    <a:gd name="T43" fmla="*/ 145 h 145"/>
                    <a:gd name="T44" fmla="*/ 6 w 238"/>
                    <a:gd name="T45" fmla="*/ 73 h 145"/>
                    <a:gd name="T46" fmla="*/ 122 w 238"/>
                    <a:gd name="T47" fmla="*/ 140 h 145"/>
                    <a:gd name="T48" fmla="*/ 178 w 238"/>
                    <a:gd name="T49" fmla="*/ 108 h 145"/>
                    <a:gd name="T50" fmla="*/ 160 w 238"/>
                    <a:gd name="T51" fmla="*/ 97 h 145"/>
                    <a:gd name="T52" fmla="*/ 159 w 238"/>
                    <a:gd name="T53" fmla="*/ 95 h 145"/>
                    <a:gd name="T54" fmla="*/ 160 w 238"/>
                    <a:gd name="T55" fmla="*/ 94 h 145"/>
                    <a:gd name="T56" fmla="*/ 226 w 238"/>
                    <a:gd name="T57" fmla="*/ 56 h 145"/>
                    <a:gd name="T58" fmla="*/ 228 w 238"/>
                    <a:gd name="T59" fmla="*/ 56 h 145"/>
                    <a:gd name="T60" fmla="*/ 231 w 238"/>
                    <a:gd name="T61" fmla="*/ 57 h 145"/>
                    <a:gd name="T62" fmla="*/ 232 w 238"/>
                    <a:gd name="T63" fmla="*/ 56 h 145"/>
                    <a:gd name="T64" fmla="*/ 221 w 238"/>
                    <a:gd name="T65" fmla="*/ 50 h 145"/>
                    <a:gd name="T66" fmla="*/ 215 w 238"/>
                    <a:gd name="T67" fmla="*/ 54 h 145"/>
                    <a:gd name="T68" fmla="*/ 214 w 238"/>
                    <a:gd name="T69" fmla="*/ 55 h 145"/>
                    <a:gd name="T70" fmla="*/ 212 w 238"/>
                    <a:gd name="T71" fmla="*/ 55 h 145"/>
                    <a:gd name="T72" fmla="*/ 210 w 238"/>
                    <a:gd name="T73" fmla="*/ 55 h 145"/>
                    <a:gd name="T74" fmla="*/ 209 w 238"/>
                    <a:gd name="T75" fmla="*/ 54 h 145"/>
                    <a:gd name="T76" fmla="*/ 125 w 238"/>
                    <a:gd name="T77" fmla="*/ 5 h 145"/>
                    <a:gd name="T78" fmla="*/ 6 w 238"/>
                    <a:gd name="T79" fmla="*/ 73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38" h="145">
                      <a:moveTo>
                        <a:pt x="122" y="145"/>
                      </a:moveTo>
                      <a:cubicBezTo>
                        <a:pt x="122" y="145"/>
                        <a:pt x="121" y="144"/>
                        <a:pt x="121" y="144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1" y="75"/>
                        <a:pt x="0" y="74"/>
                        <a:pt x="0" y="73"/>
                      </a:cubicBezTo>
                      <a:cubicBezTo>
                        <a:pt x="0" y="73"/>
                        <a:pt x="1" y="72"/>
                        <a:pt x="1" y="72"/>
                      </a:cubicBezTo>
                      <a:cubicBezTo>
                        <a:pt x="124" y="1"/>
                        <a:pt x="124" y="1"/>
                        <a:pt x="124" y="1"/>
                      </a:cubicBezTo>
                      <a:cubicBezTo>
                        <a:pt x="124" y="0"/>
                        <a:pt x="125" y="0"/>
                        <a:pt x="126" y="1"/>
                      </a:cubicBezTo>
                      <a:cubicBezTo>
                        <a:pt x="212" y="51"/>
                        <a:pt x="212" y="51"/>
                        <a:pt x="212" y="51"/>
                      </a:cubicBezTo>
                      <a:cubicBezTo>
                        <a:pt x="220" y="46"/>
                        <a:pt x="220" y="46"/>
                        <a:pt x="220" y="46"/>
                      </a:cubicBezTo>
                      <a:cubicBezTo>
                        <a:pt x="221" y="45"/>
                        <a:pt x="222" y="45"/>
                        <a:pt x="222" y="46"/>
                      </a:cubicBezTo>
                      <a:cubicBezTo>
                        <a:pt x="237" y="54"/>
                        <a:pt x="237" y="54"/>
                        <a:pt x="237" y="54"/>
                      </a:cubicBezTo>
                      <a:cubicBezTo>
                        <a:pt x="238" y="55"/>
                        <a:pt x="238" y="55"/>
                        <a:pt x="238" y="56"/>
                      </a:cubicBezTo>
                      <a:cubicBezTo>
                        <a:pt x="238" y="57"/>
                        <a:pt x="238" y="57"/>
                        <a:pt x="237" y="58"/>
                      </a:cubicBezTo>
                      <a:cubicBezTo>
                        <a:pt x="232" y="61"/>
                        <a:pt x="232" y="61"/>
                        <a:pt x="232" y="61"/>
                      </a:cubicBezTo>
                      <a:cubicBezTo>
                        <a:pt x="231" y="61"/>
                        <a:pt x="230" y="61"/>
                        <a:pt x="230" y="61"/>
                      </a:cubicBezTo>
                      <a:cubicBezTo>
                        <a:pt x="227" y="60"/>
                        <a:pt x="227" y="60"/>
                        <a:pt x="227" y="60"/>
                      </a:cubicBezTo>
                      <a:cubicBezTo>
                        <a:pt x="165" y="95"/>
                        <a:pt x="165" y="95"/>
                        <a:pt x="165" y="95"/>
                      </a:cubicBezTo>
                      <a:cubicBezTo>
                        <a:pt x="183" y="106"/>
                        <a:pt x="183" y="106"/>
                        <a:pt x="183" y="106"/>
                      </a:cubicBezTo>
                      <a:cubicBezTo>
                        <a:pt x="184" y="106"/>
                        <a:pt x="184" y="107"/>
                        <a:pt x="184" y="108"/>
                      </a:cubicBezTo>
                      <a:cubicBezTo>
                        <a:pt x="184" y="108"/>
                        <a:pt x="184" y="109"/>
                        <a:pt x="183" y="109"/>
                      </a:cubicBezTo>
                      <a:cubicBezTo>
                        <a:pt x="123" y="144"/>
                        <a:pt x="123" y="144"/>
                        <a:pt x="123" y="144"/>
                      </a:cubicBezTo>
                      <a:cubicBezTo>
                        <a:pt x="123" y="144"/>
                        <a:pt x="122" y="145"/>
                        <a:pt x="122" y="145"/>
                      </a:cubicBezTo>
                      <a:close/>
                      <a:moveTo>
                        <a:pt x="6" y="73"/>
                      </a:moveTo>
                      <a:cubicBezTo>
                        <a:pt x="122" y="140"/>
                        <a:pt x="122" y="140"/>
                        <a:pt x="122" y="140"/>
                      </a:cubicBezTo>
                      <a:cubicBezTo>
                        <a:pt x="178" y="108"/>
                        <a:pt x="178" y="108"/>
                        <a:pt x="178" y="108"/>
                      </a:cubicBezTo>
                      <a:cubicBezTo>
                        <a:pt x="160" y="97"/>
                        <a:pt x="160" y="97"/>
                        <a:pt x="160" y="97"/>
                      </a:cubicBezTo>
                      <a:cubicBezTo>
                        <a:pt x="160" y="97"/>
                        <a:pt x="159" y="96"/>
                        <a:pt x="159" y="95"/>
                      </a:cubicBezTo>
                      <a:cubicBezTo>
                        <a:pt x="159" y="95"/>
                        <a:pt x="160" y="94"/>
                        <a:pt x="160" y="94"/>
                      </a:cubicBezTo>
                      <a:cubicBezTo>
                        <a:pt x="226" y="56"/>
                        <a:pt x="226" y="56"/>
                        <a:pt x="226" y="56"/>
                      </a:cubicBezTo>
                      <a:cubicBezTo>
                        <a:pt x="227" y="55"/>
                        <a:pt x="228" y="55"/>
                        <a:pt x="228" y="56"/>
                      </a:cubicBezTo>
                      <a:cubicBezTo>
                        <a:pt x="231" y="57"/>
                        <a:pt x="231" y="57"/>
                        <a:pt x="231" y="57"/>
                      </a:cubicBezTo>
                      <a:cubicBezTo>
                        <a:pt x="232" y="56"/>
                        <a:pt x="232" y="56"/>
                        <a:pt x="232" y="56"/>
                      </a:cubicBezTo>
                      <a:cubicBezTo>
                        <a:pt x="221" y="50"/>
                        <a:pt x="221" y="50"/>
                        <a:pt x="221" y="50"/>
                      </a:cubicBezTo>
                      <a:cubicBezTo>
                        <a:pt x="215" y="54"/>
                        <a:pt x="215" y="54"/>
                        <a:pt x="215" y="54"/>
                      </a:cubicBezTo>
                      <a:cubicBezTo>
                        <a:pt x="215" y="54"/>
                        <a:pt x="214" y="55"/>
                        <a:pt x="214" y="55"/>
                      </a:cubicBezTo>
                      <a:cubicBezTo>
                        <a:pt x="213" y="55"/>
                        <a:pt x="213" y="55"/>
                        <a:pt x="212" y="55"/>
                      </a:cubicBezTo>
                      <a:cubicBezTo>
                        <a:pt x="212" y="55"/>
                        <a:pt x="211" y="55"/>
                        <a:pt x="210" y="55"/>
                      </a:cubicBezTo>
                      <a:cubicBezTo>
                        <a:pt x="210" y="55"/>
                        <a:pt x="209" y="54"/>
                        <a:pt x="209" y="54"/>
                      </a:cubicBezTo>
                      <a:cubicBezTo>
                        <a:pt x="125" y="5"/>
                        <a:pt x="125" y="5"/>
                        <a:pt x="125" y="5"/>
                      </a:cubicBezTo>
                      <a:lnTo>
                        <a:pt x="6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6" name="Freeform 939">
                  <a:extLst>
                    <a:ext uri="{FF2B5EF4-FFF2-40B4-BE49-F238E27FC236}">
                      <a16:creationId xmlns:a16="http://schemas.microsoft.com/office/drawing/2014/main" id="{02634B97-3621-4E4B-B4DE-2286B2D81BE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02" y="2778"/>
                  <a:ext cx="293" cy="466"/>
                </a:xfrm>
                <a:custGeom>
                  <a:avLst/>
                  <a:gdLst>
                    <a:gd name="T0" fmla="*/ 24 w 124"/>
                    <a:gd name="T1" fmla="*/ 197 h 197"/>
                    <a:gd name="T2" fmla="*/ 23 w 124"/>
                    <a:gd name="T3" fmla="*/ 197 h 197"/>
                    <a:gd name="T4" fmla="*/ 22 w 124"/>
                    <a:gd name="T5" fmla="*/ 195 h 197"/>
                    <a:gd name="T6" fmla="*/ 22 w 124"/>
                    <a:gd name="T7" fmla="*/ 87 h 197"/>
                    <a:gd name="T8" fmla="*/ 1 w 124"/>
                    <a:gd name="T9" fmla="*/ 75 h 197"/>
                    <a:gd name="T10" fmla="*/ 0 w 124"/>
                    <a:gd name="T11" fmla="*/ 73 h 197"/>
                    <a:gd name="T12" fmla="*/ 0 w 124"/>
                    <a:gd name="T13" fmla="*/ 69 h 197"/>
                    <a:gd name="T14" fmla="*/ 1 w 124"/>
                    <a:gd name="T15" fmla="*/ 68 h 197"/>
                    <a:gd name="T16" fmla="*/ 119 w 124"/>
                    <a:gd name="T17" fmla="*/ 0 h 197"/>
                    <a:gd name="T18" fmla="*/ 121 w 124"/>
                    <a:gd name="T19" fmla="*/ 0 h 197"/>
                    <a:gd name="T20" fmla="*/ 123 w 124"/>
                    <a:gd name="T21" fmla="*/ 1 h 197"/>
                    <a:gd name="T22" fmla="*/ 124 w 124"/>
                    <a:gd name="T23" fmla="*/ 3 h 197"/>
                    <a:gd name="T24" fmla="*/ 124 w 124"/>
                    <a:gd name="T25" fmla="*/ 15 h 197"/>
                    <a:gd name="T26" fmla="*/ 123 w 124"/>
                    <a:gd name="T27" fmla="*/ 17 h 197"/>
                    <a:gd name="T28" fmla="*/ 121 w 124"/>
                    <a:gd name="T29" fmla="*/ 17 h 197"/>
                    <a:gd name="T30" fmla="*/ 119 w 124"/>
                    <a:gd name="T31" fmla="*/ 16 h 197"/>
                    <a:gd name="T32" fmla="*/ 119 w 124"/>
                    <a:gd name="T33" fmla="*/ 141 h 197"/>
                    <a:gd name="T34" fmla="*/ 118 w 124"/>
                    <a:gd name="T35" fmla="*/ 143 h 197"/>
                    <a:gd name="T36" fmla="*/ 25 w 124"/>
                    <a:gd name="T37" fmla="*/ 197 h 197"/>
                    <a:gd name="T38" fmla="*/ 24 w 124"/>
                    <a:gd name="T39" fmla="*/ 197 h 197"/>
                    <a:gd name="T40" fmla="*/ 24 w 124"/>
                    <a:gd name="T41" fmla="*/ 83 h 197"/>
                    <a:gd name="T42" fmla="*/ 24 w 124"/>
                    <a:gd name="T43" fmla="*/ 84 h 197"/>
                    <a:gd name="T44" fmla="*/ 26 w 124"/>
                    <a:gd name="T45" fmla="*/ 85 h 197"/>
                    <a:gd name="T46" fmla="*/ 26 w 124"/>
                    <a:gd name="T47" fmla="*/ 192 h 197"/>
                    <a:gd name="T48" fmla="*/ 115 w 124"/>
                    <a:gd name="T49" fmla="*/ 140 h 197"/>
                    <a:gd name="T50" fmla="*/ 115 w 124"/>
                    <a:gd name="T51" fmla="*/ 13 h 197"/>
                    <a:gd name="T52" fmla="*/ 116 w 124"/>
                    <a:gd name="T53" fmla="*/ 11 h 197"/>
                    <a:gd name="T54" fmla="*/ 118 w 124"/>
                    <a:gd name="T55" fmla="*/ 11 h 197"/>
                    <a:gd name="T56" fmla="*/ 120 w 124"/>
                    <a:gd name="T57" fmla="*/ 12 h 197"/>
                    <a:gd name="T58" fmla="*/ 120 w 124"/>
                    <a:gd name="T59" fmla="*/ 4 h 197"/>
                    <a:gd name="T60" fmla="*/ 120 w 124"/>
                    <a:gd name="T61" fmla="*/ 4 h 197"/>
                    <a:gd name="T62" fmla="*/ 4 w 124"/>
                    <a:gd name="T63" fmla="*/ 71 h 197"/>
                    <a:gd name="T64" fmla="*/ 4 w 124"/>
                    <a:gd name="T65" fmla="*/ 72 h 197"/>
                    <a:gd name="T66" fmla="*/ 24 w 124"/>
                    <a:gd name="T67" fmla="*/ 83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4" h="197">
                      <a:moveTo>
                        <a:pt x="24" y="197"/>
                      </a:moveTo>
                      <a:cubicBezTo>
                        <a:pt x="23" y="197"/>
                        <a:pt x="23" y="197"/>
                        <a:pt x="23" y="197"/>
                      </a:cubicBezTo>
                      <a:cubicBezTo>
                        <a:pt x="22" y="197"/>
                        <a:pt x="22" y="196"/>
                        <a:pt x="22" y="195"/>
                      </a:cubicBezTo>
                      <a:cubicBezTo>
                        <a:pt x="22" y="87"/>
                        <a:pt x="22" y="87"/>
                        <a:pt x="22" y="87"/>
                      </a:cubicBezTo>
                      <a:cubicBezTo>
                        <a:pt x="1" y="75"/>
                        <a:pt x="1" y="75"/>
                        <a:pt x="1" y="75"/>
                      </a:cubicBezTo>
                      <a:cubicBezTo>
                        <a:pt x="1" y="74"/>
                        <a:pt x="0" y="74"/>
                        <a:pt x="0" y="73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69"/>
                        <a:pt x="1" y="68"/>
                        <a:pt x="1" y="68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20" y="0"/>
                        <a:pt x="121" y="0"/>
                      </a:cubicBezTo>
                      <a:cubicBezTo>
                        <a:pt x="123" y="1"/>
                        <a:pt x="123" y="1"/>
                        <a:pt x="123" y="1"/>
                      </a:cubicBezTo>
                      <a:cubicBezTo>
                        <a:pt x="123" y="2"/>
                        <a:pt x="124" y="2"/>
                        <a:pt x="124" y="3"/>
                      </a:cubicBezTo>
                      <a:cubicBezTo>
                        <a:pt x="124" y="15"/>
                        <a:pt x="124" y="15"/>
                        <a:pt x="124" y="15"/>
                      </a:cubicBezTo>
                      <a:cubicBezTo>
                        <a:pt x="124" y="16"/>
                        <a:pt x="123" y="17"/>
                        <a:pt x="123" y="17"/>
                      </a:cubicBezTo>
                      <a:cubicBezTo>
                        <a:pt x="122" y="18"/>
                        <a:pt x="121" y="18"/>
                        <a:pt x="121" y="17"/>
                      </a:cubicBezTo>
                      <a:cubicBezTo>
                        <a:pt x="119" y="16"/>
                        <a:pt x="119" y="16"/>
                        <a:pt x="119" y="16"/>
                      </a:cubicBezTo>
                      <a:cubicBezTo>
                        <a:pt x="119" y="141"/>
                        <a:pt x="119" y="141"/>
                        <a:pt x="119" y="141"/>
                      </a:cubicBezTo>
                      <a:cubicBezTo>
                        <a:pt x="119" y="142"/>
                        <a:pt x="118" y="143"/>
                        <a:pt x="118" y="143"/>
                      </a:cubicBezTo>
                      <a:cubicBezTo>
                        <a:pt x="25" y="197"/>
                        <a:pt x="25" y="197"/>
                        <a:pt x="25" y="197"/>
                      </a:cubicBezTo>
                      <a:cubicBezTo>
                        <a:pt x="24" y="197"/>
                        <a:pt x="24" y="197"/>
                        <a:pt x="24" y="197"/>
                      </a:cubicBezTo>
                      <a:close/>
                      <a:moveTo>
                        <a:pt x="24" y="83"/>
                      </a:moveTo>
                      <a:cubicBezTo>
                        <a:pt x="24" y="84"/>
                        <a:pt x="24" y="84"/>
                        <a:pt x="24" y="84"/>
                      </a:cubicBezTo>
                      <a:cubicBezTo>
                        <a:pt x="25" y="84"/>
                        <a:pt x="26" y="85"/>
                        <a:pt x="26" y="85"/>
                      </a:cubicBezTo>
                      <a:cubicBezTo>
                        <a:pt x="26" y="192"/>
                        <a:pt x="26" y="192"/>
                        <a:pt x="26" y="192"/>
                      </a:cubicBez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15" y="13"/>
                        <a:pt x="115" y="13"/>
                        <a:pt x="115" y="13"/>
                      </a:cubicBezTo>
                      <a:cubicBezTo>
                        <a:pt x="115" y="12"/>
                        <a:pt x="115" y="11"/>
                        <a:pt x="116" y="11"/>
                      </a:cubicBezTo>
                      <a:cubicBezTo>
                        <a:pt x="116" y="11"/>
                        <a:pt x="117" y="11"/>
                        <a:pt x="118" y="11"/>
                      </a:cubicBezTo>
                      <a:cubicBezTo>
                        <a:pt x="120" y="12"/>
                        <a:pt x="120" y="12"/>
                        <a:pt x="120" y="12"/>
                      </a:cubicBezTo>
                      <a:cubicBezTo>
                        <a:pt x="120" y="4"/>
                        <a:pt x="120" y="4"/>
                        <a:pt x="120" y="4"/>
                      </a:cubicBezTo>
                      <a:cubicBezTo>
                        <a:pt x="120" y="4"/>
                        <a:pt x="120" y="4"/>
                        <a:pt x="120" y="4"/>
                      </a:cubicBezTo>
                      <a:cubicBezTo>
                        <a:pt x="4" y="71"/>
                        <a:pt x="4" y="71"/>
                        <a:pt x="4" y="71"/>
                      </a:cubicBezTo>
                      <a:cubicBezTo>
                        <a:pt x="4" y="72"/>
                        <a:pt x="4" y="72"/>
                        <a:pt x="4" y="72"/>
                      </a:cubicBezTo>
                      <a:lnTo>
                        <a:pt x="24" y="8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7" name="Freeform 940">
                  <a:extLst>
                    <a:ext uri="{FF2B5EF4-FFF2-40B4-BE49-F238E27FC236}">
                      <a16:creationId xmlns:a16="http://schemas.microsoft.com/office/drawing/2014/main" id="{E0ED196B-D1E6-4AA2-888D-7884AE27B5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05" y="2662"/>
                  <a:ext cx="319" cy="166"/>
                </a:xfrm>
                <a:custGeom>
                  <a:avLst/>
                  <a:gdLst>
                    <a:gd name="T0" fmla="*/ 68 w 135"/>
                    <a:gd name="T1" fmla="*/ 70 h 70"/>
                    <a:gd name="T2" fmla="*/ 67 w 135"/>
                    <a:gd name="T3" fmla="*/ 70 h 70"/>
                    <a:gd name="T4" fmla="*/ 36 w 135"/>
                    <a:gd name="T5" fmla="*/ 53 h 70"/>
                    <a:gd name="T6" fmla="*/ 35 w 135"/>
                    <a:gd name="T7" fmla="*/ 51 h 70"/>
                    <a:gd name="T8" fmla="*/ 35 w 135"/>
                    <a:gd name="T9" fmla="*/ 50 h 70"/>
                    <a:gd name="T10" fmla="*/ 35 w 135"/>
                    <a:gd name="T11" fmla="*/ 50 h 70"/>
                    <a:gd name="T12" fmla="*/ 33 w 135"/>
                    <a:gd name="T13" fmla="*/ 50 h 70"/>
                    <a:gd name="T14" fmla="*/ 1 w 135"/>
                    <a:gd name="T15" fmla="*/ 32 h 70"/>
                    <a:gd name="T16" fmla="*/ 0 w 135"/>
                    <a:gd name="T17" fmla="*/ 31 h 70"/>
                    <a:gd name="T18" fmla="*/ 1 w 135"/>
                    <a:gd name="T19" fmla="*/ 29 h 70"/>
                    <a:gd name="T20" fmla="*/ 51 w 135"/>
                    <a:gd name="T21" fmla="*/ 1 h 70"/>
                    <a:gd name="T22" fmla="*/ 53 w 135"/>
                    <a:gd name="T23" fmla="*/ 1 h 70"/>
                    <a:gd name="T24" fmla="*/ 94 w 135"/>
                    <a:gd name="T25" fmla="*/ 24 h 70"/>
                    <a:gd name="T26" fmla="*/ 94 w 135"/>
                    <a:gd name="T27" fmla="*/ 10 h 70"/>
                    <a:gd name="T28" fmla="*/ 95 w 135"/>
                    <a:gd name="T29" fmla="*/ 8 h 70"/>
                    <a:gd name="T30" fmla="*/ 97 w 135"/>
                    <a:gd name="T31" fmla="*/ 8 h 70"/>
                    <a:gd name="T32" fmla="*/ 97 w 135"/>
                    <a:gd name="T33" fmla="*/ 8 h 70"/>
                    <a:gd name="T34" fmla="*/ 98 w 135"/>
                    <a:gd name="T35" fmla="*/ 10 h 70"/>
                    <a:gd name="T36" fmla="*/ 98 w 135"/>
                    <a:gd name="T37" fmla="*/ 11 h 70"/>
                    <a:gd name="T38" fmla="*/ 99 w 135"/>
                    <a:gd name="T39" fmla="*/ 10 h 70"/>
                    <a:gd name="T40" fmla="*/ 101 w 135"/>
                    <a:gd name="T41" fmla="*/ 10 h 70"/>
                    <a:gd name="T42" fmla="*/ 134 w 135"/>
                    <a:gd name="T43" fmla="*/ 29 h 70"/>
                    <a:gd name="T44" fmla="*/ 135 w 135"/>
                    <a:gd name="T45" fmla="*/ 31 h 70"/>
                    <a:gd name="T46" fmla="*/ 134 w 135"/>
                    <a:gd name="T47" fmla="*/ 32 h 70"/>
                    <a:gd name="T48" fmla="*/ 69 w 135"/>
                    <a:gd name="T49" fmla="*/ 70 h 70"/>
                    <a:gd name="T50" fmla="*/ 68 w 135"/>
                    <a:gd name="T51" fmla="*/ 70 h 70"/>
                    <a:gd name="T52" fmla="*/ 39 w 135"/>
                    <a:gd name="T53" fmla="*/ 50 h 70"/>
                    <a:gd name="T54" fmla="*/ 68 w 135"/>
                    <a:gd name="T55" fmla="*/ 66 h 70"/>
                    <a:gd name="T56" fmla="*/ 129 w 135"/>
                    <a:gd name="T57" fmla="*/ 31 h 70"/>
                    <a:gd name="T58" fmla="*/ 100 w 135"/>
                    <a:gd name="T59" fmla="*/ 14 h 70"/>
                    <a:gd name="T60" fmla="*/ 98 w 135"/>
                    <a:gd name="T61" fmla="*/ 16 h 70"/>
                    <a:gd name="T62" fmla="*/ 98 w 135"/>
                    <a:gd name="T63" fmla="*/ 28 h 70"/>
                    <a:gd name="T64" fmla="*/ 97 w 135"/>
                    <a:gd name="T65" fmla="*/ 29 h 70"/>
                    <a:gd name="T66" fmla="*/ 95 w 135"/>
                    <a:gd name="T67" fmla="*/ 29 h 70"/>
                    <a:gd name="T68" fmla="*/ 52 w 135"/>
                    <a:gd name="T69" fmla="*/ 5 h 70"/>
                    <a:gd name="T70" fmla="*/ 6 w 135"/>
                    <a:gd name="T71" fmla="*/ 31 h 70"/>
                    <a:gd name="T72" fmla="*/ 34 w 135"/>
                    <a:gd name="T73" fmla="*/ 46 h 70"/>
                    <a:gd name="T74" fmla="*/ 36 w 135"/>
                    <a:gd name="T75" fmla="*/ 45 h 70"/>
                    <a:gd name="T76" fmla="*/ 38 w 135"/>
                    <a:gd name="T77" fmla="*/ 45 h 70"/>
                    <a:gd name="T78" fmla="*/ 39 w 135"/>
                    <a:gd name="T79" fmla="*/ 47 h 70"/>
                    <a:gd name="T80" fmla="*/ 39 w 135"/>
                    <a:gd name="T81" fmla="*/ 5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35" h="70">
                      <a:moveTo>
                        <a:pt x="68" y="70"/>
                      </a:moveTo>
                      <a:cubicBezTo>
                        <a:pt x="67" y="70"/>
                        <a:pt x="67" y="70"/>
                        <a:pt x="67" y="70"/>
                      </a:cubicBezTo>
                      <a:cubicBezTo>
                        <a:pt x="36" y="53"/>
                        <a:pt x="36" y="53"/>
                        <a:pt x="36" y="53"/>
                      </a:cubicBezTo>
                      <a:cubicBezTo>
                        <a:pt x="36" y="52"/>
                        <a:pt x="35" y="52"/>
                        <a:pt x="35" y="51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4" y="51"/>
                        <a:pt x="33" y="51"/>
                        <a:pt x="33" y="50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1" y="32"/>
                        <a:pt x="0" y="31"/>
                        <a:pt x="0" y="31"/>
                      </a:cubicBezTo>
                      <a:cubicBezTo>
                        <a:pt x="0" y="30"/>
                        <a:pt x="1" y="29"/>
                        <a:pt x="1" y="29"/>
                      </a:cubicBezTo>
                      <a:cubicBezTo>
                        <a:pt x="51" y="1"/>
                        <a:pt x="51" y="1"/>
                        <a:pt x="51" y="1"/>
                      </a:cubicBezTo>
                      <a:cubicBezTo>
                        <a:pt x="51" y="0"/>
                        <a:pt x="52" y="0"/>
                        <a:pt x="53" y="1"/>
                      </a:cubicBezTo>
                      <a:cubicBezTo>
                        <a:pt x="94" y="24"/>
                        <a:pt x="94" y="24"/>
                        <a:pt x="94" y="24"/>
                      </a:cubicBezTo>
                      <a:cubicBezTo>
                        <a:pt x="94" y="10"/>
                        <a:pt x="94" y="10"/>
                        <a:pt x="94" y="10"/>
                      </a:cubicBezTo>
                      <a:cubicBezTo>
                        <a:pt x="94" y="9"/>
                        <a:pt x="94" y="8"/>
                        <a:pt x="95" y="8"/>
                      </a:cubicBezTo>
                      <a:cubicBezTo>
                        <a:pt x="96" y="7"/>
                        <a:pt x="96" y="7"/>
                        <a:pt x="97" y="8"/>
                      </a:cubicBezTo>
                      <a:cubicBezTo>
                        <a:pt x="97" y="8"/>
                        <a:pt x="97" y="8"/>
                        <a:pt x="97" y="8"/>
                      </a:cubicBezTo>
                      <a:cubicBezTo>
                        <a:pt x="98" y="8"/>
                        <a:pt x="98" y="9"/>
                        <a:pt x="98" y="10"/>
                      </a:cubicBezTo>
                      <a:cubicBezTo>
                        <a:pt x="98" y="11"/>
                        <a:pt x="98" y="11"/>
                        <a:pt x="98" y="11"/>
                      </a:cubicBezTo>
                      <a:cubicBezTo>
                        <a:pt x="99" y="10"/>
                        <a:pt x="99" y="10"/>
                        <a:pt x="99" y="10"/>
                      </a:cubicBezTo>
                      <a:cubicBezTo>
                        <a:pt x="100" y="10"/>
                        <a:pt x="101" y="10"/>
                        <a:pt x="101" y="10"/>
                      </a:cubicBezTo>
                      <a:cubicBezTo>
                        <a:pt x="134" y="29"/>
                        <a:pt x="134" y="29"/>
                        <a:pt x="134" y="29"/>
                      </a:cubicBezTo>
                      <a:cubicBezTo>
                        <a:pt x="134" y="29"/>
                        <a:pt x="135" y="30"/>
                        <a:pt x="135" y="31"/>
                      </a:cubicBezTo>
                      <a:cubicBezTo>
                        <a:pt x="135" y="31"/>
                        <a:pt x="134" y="32"/>
                        <a:pt x="134" y="32"/>
                      </a:cubicBezTo>
                      <a:cubicBezTo>
                        <a:pt x="69" y="70"/>
                        <a:pt x="69" y="70"/>
                        <a:pt x="69" y="70"/>
                      </a:cubicBezTo>
                      <a:cubicBezTo>
                        <a:pt x="68" y="70"/>
                        <a:pt x="68" y="70"/>
                        <a:pt x="68" y="70"/>
                      </a:cubicBezTo>
                      <a:close/>
                      <a:moveTo>
                        <a:pt x="39" y="50"/>
                      </a:moveTo>
                      <a:cubicBezTo>
                        <a:pt x="68" y="66"/>
                        <a:pt x="68" y="66"/>
                        <a:pt x="68" y="66"/>
                      </a:cubicBezTo>
                      <a:cubicBezTo>
                        <a:pt x="129" y="31"/>
                        <a:pt x="129" y="31"/>
                        <a:pt x="129" y="31"/>
                      </a:cubicBezTo>
                      <a:cubicBezTo>
                        <a:pt x="100" y="14"/>
                        <a:pt x="100" y="14"/>
                        <a:pt x="100" y="14"/>
                      </a:cubicBezTo>
                      <a:cubicBezTo>
                        <a:pt x="98" y="16"/>
                        <a:pt x="98" y="16"/>
                        <a:pt x="98" y="16"/>
                      </a:cubicBezTo>
                      <a:cubicBezTo>
                        <a:pt x="98" y="28"/>
                        <a:pt x="98" y="28"/>
                        <a:pt x="98" y="28"/>
                      </a:cubicBezTo>
                      <a:cubicBezTo>
                        <a:pt x="98" y="28"/>
                        <a:pt x="98" y="29"/>
                        <a:pt x="97" y="29"/>
                      </a:cubicBezTo>
                      <a:cubicBezTo>
                        <a:pt x="96" y="30"/>
                        <a:pt x="96" y="30"/>
                        <a:pt x="95" y="29"/>
                      </a:cubicBezTo>
                      <a:cubicBezTo>
                        <a:pt x="52" y="5"/>
                        <a:pt x="52" y="5"/>
                        <a:pt x="52" y="5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34" y="46"/>
                        <a:pt x="34" y="46"/>
                        <a:pt x="34" y="46"/>
                      </a:cubicBezTo>
                      <a:cubicBezTo>
                        <a:pt x="36" y="45"/>
                        <a:pt x="36" y="45"/>
                        <a:pt x="36" y="45"/>
                      </a:cubicBezTo>
                      <a:cubicBezTo>
                        <a:pt x="37" y="44"/>
                        <a:pt x="38" y="44"/>
                        <a:pt x="38" y="45"/>
                      </a:cubicBezTo>
                      <a:cubicBezTo>
                        <a:pt x="39" y="45"/>
                        <a:pt x="39" y="46"/>
                        <a:pt x="39" y="47"/>
                      </a:cubicBezTo>
                      <a:lnTo>
                        <a:pt x="39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8" name="Freeform 941">
                  <a:extLst>
                    <a:ext uri="{FF2B5EF4-FFF2-40B4-BE49-F238E27FC236}">
                      <a16:creationId xmlns:a16="http://schemas.microsoft.com/office/drawing/2014/main" id="{5A1343CC-EAC9-4984-8A9F-F11D6B70A2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2816"/>
                  <a:ext cx="307" cy="517"/>
                </a:xfrm>
                <a:custGeom>
                  <a:avLst/>
                  <a:gdLst>
                    <a:gd name="T0" fmla="*/ 128 w 130"/>
                    <a:gd name="T1" fmla="*/ 219 h 219"/>
                    <a:gd name="T2" fmla="*/ 127 w 130"/>
                    <a:gd name="T3" fmla="*/ 218 h 219"/>
                    <a:gd name="T4" fmla="*/ 1 w 130"/>
                    <a:gd name="T5" fmla="*/ 146 h 219"/>
                    <a:gd name="T6" fmla="*/ 0 w 130"/>
                    <a:gd name="T7" fmla="*/ 144 h 219"/>
                    <a:gd name="T8" fmla="*/ 0 w 130"/>
                    <a:gd name="T9" fmla="*/ 126 h 219"/>
                    <a:gd name="T10" fmla="*/ 1 w 130"/>
                    <a:gd name="T11" fmla="*/ 125 h 219"/>
                    <a:gd name="T12" fmla="*/ 5 w 130"/>
                    <a:gd name="T13" fmla="*/ 122 h 219"/>
                    <a:gd name="T14" fmla="*/ 5 w 130"/>
                    <a:gd name="T15" fmla="*/ 2 h 219"/>
                    <a:gd name="T16" fmla="*/ 6 w 130"/>
                    <a:gd name="T17" fmla="*/ 1 h 219"/>
                    <a:gd name="T18" fmla="*/ 8 w 130"/>
                    <a:gd name="T19" fmla="*/ 1 h 219"/>
                    <a:gd name="T20" fmla="*/ 129 w 130"/>
                    <a:gd name="T21" fmla="*/ 70 h 219"/>
                    <a:gd name="T22" fmla="*/ 130 w 130"/>
                    <a:gd name="T23" fmla="*/ 72 h 219"/>
                    <a:gd name="T24" fmla="*/ 130 w 130"/>
                    <a:gd name="T25" fmla="*/ 217 h 219"/>
                    <a:gd name="T26" fmla="*/ 129 w 130"/>
                    <a:gd name="T27" fmla="*/ 218 h 219"/>
                    <a:gd name="T28" fmla="*/ 128 w 130"/>
                    <a:gd name="T29" fmla="*/ 219 h 219"/>
                    <a:gd name="T30" fmla="*/ 4 w 130"/>
                    <a:gd name="T31" fmla="*/ 143 h 219"/>
                    <a:gd name="T32" fmla="*/ 126 w 130"/>
                    <a:gd name="T33" fmla="*/ 213 h 219"/>
                    <a:gd name="T34" fmla="*/ 126 w 130"/>
                    <a:gd name="T35" fmla="*/ 73 h 219"/>
                    <a:gd name="T36" fmla="*/ 9 w 130"/>
                    <a:gd name="T37" fmla="*/ 6 h 219"/>
                    <a:gd name="T38" fmla="*/ 9 w 130"/>
                    <a:gd name="T39" fmla="*/ 123 h 219"/>
                    <a:gd name="T40" fmla="*/ 8 w 130"/>
                    <a:gd name="T41" fmla="*/ 125 h 219"/>
                    <a:gd name="T42" fmla="*/ 4 w 130"/>
                    <a:gd name="T43" fmla="*/ 127 h 219"/>
                    <a:gd name="T44" fmla="*/ 4 w 130"/>
                    <a:gd name="T45" fmla="*/ 143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0" h="219">
                      <a:moveTo>
                        <a:pt x="128" y="219"/>
                      </a:moveTo>
                      <a:cubicBezTo>
                        <a:pt x="127" y="219"/>
                        <a:pt x="127" y="219"/>
                        <a:pt x="127" y="218"/>
                      </a:cubicBezTo>
                      <a:cubicBezTo>
                        <a:pt x="1" y="146"/>
                        <a:pt x="1" y="146"/>
                        <a:pt x="1" y="146"/>
                      </a:cubicBezTo>
                      <a:cubicBezTo>
                        <a:pt x="1" y="146"/>
                        <a:pt x="0" y="145"/>
                        <a:pt x="0" y="144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0" y="126"/>
                        <a:pt x="1" y="125"/>
                        <a:pt x="1" y="125"/>
                      </a:cubicBezTo>
                      <a:cubicBezTo>
                        <a:pt x="5" y="122"/>
                        <a:pt x="5" y="122"/>
                        <a:pt x="5" y="122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2"/>
                        <a:pt x="6" y="1"/>
                        <a:pt x="6" y="1"/>
                      </a:cubicBezTo>
                      <a:cubicBezTo>
                        <a:pt x="7" y="0"/>
                        <a:pt x="8" y="0"/>
                        <a:pt x="8" y="1"/>
                      </a:cubicBezTo>
                      <a:cubicBezTo>
                        <a:pt x="129" y="70"/>
                        <a:pt x="129" y="70"/>
                        <a:pt x="129" y="70"/>
                      </a:cubicBezTo>
                      <a:cubicBezTo>
                        <a:pt x="129" y="70"/>
                        <a:pt x="130" y="71"/>
                        <a:pt x="130" y="72"/>
                      </a:cubicBezTo>
                      <a:cubicBezTo>
                        <a:pt x="130" y="217"/>
                        <a:pt x="130" y="217"/>
                        <a:pt x="130" y="217"/>
                      </a:cubicBezTo>
                      <a:cubicBezTo>
                        <a:pt x="130" y="217"/>
                        <a:pt x="129" y="218"/>
                        <a:pt x="129" y="218"/>
                      </a:cubicBezTo>
                      <a:cubicBezTo>
                        <a:pt x="129" y="219"/>
                        <a:pt x="128" y="219"/>
                        <a:pt x="128" y="219"/>
                      </a:cubicBezTo>
                      <a:close/>
                      <a:moveTo>
                        <a:pt x="4" y="143"/>
                      </a:moveTo>
                      <a:cubicBezTo>
                        <a:pt x="126" y="213"/>
                        <a:pt x="126" y="213"/>
                        <a:pt x="126" y="213"/>
                      </a:cubicBezTo>
                      <a:cubicBezTo>
                        <a:pt x="126" y="73"/>
                        <a:pt x="126" y="73"/>
                        <a:pt x="126" y="73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9" y="123"/>
                        <a:pt x="9" y="123"/>
                        <a:pt x="9" y="123"/>
                      </a:cubicBezTo>
                      <a:cubicBezTo>
                        <a:pt x="9" y="124"/>
                        <a:pt x="9" y="125"/>
                        <a:pt x="8" y="125"/>
                      </a:cubicBezTo>
                      <a:cubicBezTo>
                        <a:pt x="4" y="127"/>
                        <a:pt x="4" y="127"/>
                        <a:pt x="4" y="127"/>
                      </a:cubicBezTo>
                      <a:lnTo>
                        <a:pt x="4" y="14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9" name="Freeform 942">
                  <a:extLst>
                    <a:ext uri="{FF2B5EF4-FFF2-40B4-BE49-F238E27FC236}">
                      <a16:creationId xmlns:a16="http://schemas.microsoft.com/office/drawing/2014/main" id="{D90A4B62-520F-4C07-9C84-911AA4B113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849"/>
                  <a:ext cx="78" cy="121"/>
                </a:xfrm>
                <a:custGeom>
                  <a:avLst/>
                  <a:gdLst>
                    <a:gd name="T0" fmla="*/ 9 w 33"/>
                    <a:gd name="T1" fmla="*/ 51 h 51"/>
                    <a:gd name="T2" fmla="*/ 8 w 33"/>
                    <a:gd name="T3" fmla="*/ 50 h 51"/>
                    <a:gd name="T4" fmla="*/ 1 w 33"/>
                    <a:gd name="T5" fmla="*/ 46 h 51"/>
                    <a:gd name="T6" fmla="*/ 0 w 33"/>
                    <a:gd name="T7" fmla="*/ 44 h 51"/>
                    <a:gd name="T8" fmla="*/ 0 w 33"/>
                    <a:gd name="T9" fmla="*/ 19 h 51"/>
                    <a:gd name="T10" fmla="*/ 1 w 33"/>
                    <a:gd name="T11" fmla="*/ 17 h 51"/>
                    <a:gd name="T12" fmla="*/ 30 w 33"/>
                    <a:gd name="T13" fmla="*/ 0 h 51"/>
                    <a:gd name="T14" fmla="*/ 32 w 33"/>
                    <a:gd name="T15" fmla="*/ 0 h 51"/>
                    <a:gd name="T16" fmla="*/ 33 w 33"/>
                    <a:gd name="T17" fmla="*/ 2 h 51"/>
                    <a:gd name="T18" fmla="*/ 33 w 33"/>
                    <a:gd name="T19" fmla="*/ 36 h 51"/>
                    <a:gd name="T20" fmla="*/ 32 w 33"/>
                    <a:gd name="T21" fmla="*/ 38 h 51"/>
                    <a:gd name="T22" fmla="*/ 10 w 33"/>
                    <a:gd name="T23" fmla="*/ 50 h 51"/>
                    <a:gd name="T24" fmla="*/ 9 w 33"/>
                    <a:gd name="T25" fmla="*/ 51 h 51"/>
                    <a:gd name="T26" fmla="*/ 4 w 33"/>
                    <a:gd name="T27" fmla="*/ 43 h 51"/>
                    <a:gd name="T28" fmla="*/ 9 w 33"/>
                    <a:gd name="T29" fmla="*/ 46 h 51"/>
                    <a:gd name="T30" fmla="*/ 29 w 33"/>
                    <a:gd name="T31" fmla="*/ 35 h 51"/>
                    <a:gd name="T32" fmla="*/ 29 w 33"/>
                    <a:gd name="T33" fmla="*/ 5 h 51"/>
                    <a:gd name="T34" fmla="*/ 4 w 33"/>
                    <a:gd name="T35" fmla="*/ 20 h 51"/>
                    <a:gd name="T36" fmla="*/ 4 w 33"/>
                    <a:gd name="T37" fmla="*/ 43 h 51"/>
                    <a:gd name="T38" fmla="*/ 31 w 33"/>
                    <a:gd name="T39" fmla="*/ 36 h 51"/>
                    <a:gd name="T40" fmla="*/ 31 w 33"/>
                    <a:gd name="T41" fmla="*/ 36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51">
                      <a:moveTo>
                        <a:pt x="9" y="51"/>
                      </a:moveTo>
                      <a:cubicBezTo>
                        <a:pt x="9" y="51"/>
                        <a:pt x="9" y="51"/>
                        <a:pt x="8" y="50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6"/>
                        <a:pt x="0" y="45"/>
                        <a:pt x="0" y="44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8"/>
                        <a:pt x="0" y="18"/>
                        <a:pt x="1" y="17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1" y="0"/>
                        <a:pt x="32" y="0"/>
                        <a:pt x="32" y="0"/>
                      </a:cubicBezTo>
                      <a:cubicBezTo>
                        <a:pt x="33" y="0"/>
                        <a:pt x="33" y="1"/>
                        <a:pt x="33" y="2"/>
                      </a:cubicBezTo>
                      <a:cubicBezTo>
                        <a:pt x="33" y="36"/>
                        <a:pt x="33" y="36"/>
                        <a:pt x="33" y="36"/>
                      </a:cubicBezTo>
                      <a:cubicBezTo>
                        <a:pt x="33" y="37"/>
                        <a:pt x="33" y="37"/>
                        <a:pt x="32" y="38"/>
                      </a:cubicBezTo>
                      <a:cubicBezTo>
                        <a:pt x="10" y="50"/>
                        <a:pt x="10" y="50"/>
                        <a:pt x="10" y="50"/>
                      </a:cubicBezTo>
                      <a:cubicBezTo>
                        <a:pt x="10" y="51"/>
                        <a:pt x="10" y="51"/>
                        <a:pt x="9" y="51"/>
                      </a:cubicBezTo>
                      <a:close/>
                      <a:moveTo>
                        <a:pt x="4" y="43"/>
                      </a:move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29" y="35"/>
                        <a:pt x="29" y="35"/>
                        <a:pt x="29" y="35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4" y="20"/>
                        <a:pt x="4" y="20"/>
                        <a:pt x="4" y="20"/>
                      </a:cubicBezTo>
                      <a:lnTo>
                        <a:pt x="4" y="43"/>
                      </a:lnTo>
                      <a:close/>
                      <a:moveTo>
                        <a:pt x="31" y="36"/>
                      </a:moveTo>
                      <a:cubicBezTo>
                        <a:pt x="31" y="36"/>
                        <a:pt x="31" y="36"/>
                        <a:pt x="3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0" name="Freeform 943">
                  <a:extLst>
                    <a:ext uri="{FF2B5EF4-FFF2-40B4-BE49-F238E27FC236}">
                      <a16:creationId xmlns:a16="http://schemas.microsoft.com/office/drawing/2014/main" id="{43AE1028-D6EB-4252-BD57-71B2C41DC2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2833"/>
                  <a:ext cx="80" cy="104"/>
                </a:xfrm>
                <a:custGeom>
                  <a:avLst/>
                  <a:gdLst>
                    <a:gd name="T0" fmla="*/ 2 w 34"/>
                    <a:gd name="T1" fmla="*/ 44 h 44"/>
                    <a:gd name="T2" fmla="*/ 1 w 34"/>
                    <a:gd name="T3" fmla="*/ 44 h 44"/>
                    <a:gd name="T4" fmla="*/ 0 w 34"/>
                    <a:gd name="T5" fmla="*/ 42 h 44"/>
                    <a:gd name="T6" fmla="*/ 0 w 34"/>
                    <a:gd name="T7" fmla="*/ 8 h 44"/>
                    <a:gd name="T8" fmla="*/ 1 w 34"/>
                    <a:gd name="T9" fmla="*/ 6 h 44"/>
                    <a:gd name="T10" fmla="*/ 11 w 34"/>
                    <a:gd name="T11" fmla="*/ 1 h 44"/>
                    <a:gd name="T12" fmla="*/ 13 w 34"/>
                    <a:gd name="T13" fmla="*/ 1 h 44"/>
                    <a:gd name="T14" fmla="*/ 33 w 34"/>
                    <a:gd name="T15" fmla="*/ 13 h 44"/>
                    <a:gd name="T16" fmla="*/ 34 w 34"/>
                    <a:gd name="T17" fmla="*/ 14 h 44"/>
                    <a:gd name="T18" fmla="*/ 34 w 34"/>
                    <a:gd name="T19" fmla="*/ 25 h 44"/>
                    <a:gd name="T20" fmla="*/ 33 w 34"/>
                    <a:gd name="T21" fmla="*/ 26 h 44"/>
                    <a:gd name="T22" fmla="*/ 3 w 34"/>
                    <a:gd name="T23" fmla="*/ 44 h 44"/>
                    <a:gd name="T24" fmla="*/ 2 w 34"/>
                    <a:gd name="T25" fmla="*/ 44 h 44"/>
                    <a:gd name="T26" fmla="*/ 4 w 34"/>
                    <a:gd name="T27" fmla="*/ 9 h 44"/>
                    <a:gd name="T28" fmla="*/ 4 w 34"/>
                    <a:gd name="T29" fmla="*/ 39 h 44"/>
                    <a:gd name="T30" fmla="*/ 30 w 34"/>
                    <a:gd name="T31" fmla="*/ 23 h 44"/>
                    <a:gd name="T32" fmla="*/ 30 w 34"/>
                    <a:gd name="T33" fmla="*/ 16 h 44"/>
                    <a:gd name="T34" fmla="*/ 12 w 34"/>
                    <a:gd name="T35" fmla="*/ 5 h 44"/>
                    <a:gd name="T36" fmla="*/ 4 w 34"/>
                    <a:gd name="T37" fmla="*/ 9 h 44"/>
                    <a:gd name="T38" fmla="*/ 32 w 34"/>
                    <a:gd name="T39" fmla="*/ 25 h 44"/>
                    <a:gd name="T40" fmla="*/ 32 w 34"/>
                    <a:gd name="T41" fmla="*/ 2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44">
                      <a:moveTo>
                        <a:pt x="2" y="44"/>
                      </a:moveTo>
                      <a:cubicBezTo>
                        <a:pt x="2" y="44"/>
                        <a:pt x="1" y="44"/>
                        <a:pt x="1" y="44"/>
                      </a:cubicBezTo>
                      <a:cubicBezTo>
                        <a:pt x="0" y="43"/>
                        <a:pt x="0" y="43"/>
                        <a:pt x="0" y="42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0"/>
                        <a:pt x="12" y="0"/>
                        <a:pt x="13" y="1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4" y="13"/>
                        <a:pt x="34" y="14"/>
                        <a:pt x="34" y="14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34" y="25"/>
                        <a:pt x="34" y="26"/>
                        <a:pt x="33" y="26"/>
                      </a:cubicBezTo>
                      <a:cubicBezTo>
                        <a:pt x="3" y="44"/>
                        <a:pt x="3" y="44"/>
                        <a:pt x="3" y="44"/>
                      </a:cubicBezTo>
                      <a:cubicBezTo>
                        <a:pt x="3" y="44"/>
                        <a:pt x="2" y="44"/>
                        <a:pt x="2" y="44"/>
                      </a:cubicBezTo>
                      <a:close/>
                      <a:moveTo>
                        <a:pt x="4" y="9"/>
                      </a:moveTo>
                      <a:cubicBezTo>
                        <a:pt x="4" y="39"/>
                        <a:pt x="4" y="39"/>
                        <a:pt x="4" y="39"/>
                      </a:cubicBezTo>
                      <a:cubicBezTo>
                        <a:pt x="30" y="23"/>
                        <a:pt x="30" y="23"/>
                        <a:pt x="30" y="23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12" y="5"/>
                        <a:pt x="12" y="5"/>
                        <a:pt x="12" y="5"/>
                      </a:cubicBezTo>
                      <a:lnTo>
                        <a:pt x="4" y="9"/>
                      </a:lnTo>
                      <a:close/>
                      <a:moveTo>
                        <a:pt x="32" y="25"/>
                      </a:moveTo>
                      <a:cubicBezTo>
                        <a:pt x="32" y="25"/>
                        <a:pt x="32" y="25"/>
                        <a:pt x="32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1" name="Freeform 944">
                  <a:extLst>
                    <a:ext uri="{FF2B5EF4-FFF2-40B4-BE49-F238E27FC236}">
                      <a16:creationId xmlns:a16="http://schemas.microsoft.com/office/drawing/2014/main" id="{7E4C39EF-DC3E-422C-B10E-5C48EEE84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23" y="2724"/>
                  <a:ext cx="109" cy="144"/>
                </a:xfrm>
                <a:custGeom>
                  <a:avLst/>
                  <a:gdLst>
                    <a:gd name="T0" fmla="*/ 44 w 46"/>
                    <a:gd name="T1" fmla="*/ 61 h 61"/>
                    <a:gd name="T2" fmla="*/ 43 w 46"/>
                    <a:gd name="T3" fmla="*/ 60 h 61"/>
                    <a:gd name="T4" fmla="*/ 24 w 46"/>
                    <a:gd name="T5" fmla="*/ 49 h 61"/>
                    <a:gd name="T6" fmla="*/ 23 w 46"/>
                    <a:gd name="T7" fmla="*/ 47 h 61"/>
                    <a:gd name="T8" fmla="*/ 24 w 46"/>
                    <a:gd name="T9" fmla="*/ 46 h 61"/>
                    <a:gd name="T10" fmla="*/ 28 w 46"/>
                    <a:gd name="T11" fmla="*/ 43 h 61"/>
                    <a:gd name="T12" fmla="*/ 1 w 46"/>
                    <a:gd name="T13" fmla="*/ 28 h 61"/>
                    <a:gd name="T14" fmla="*/ 0 w 46"/>
                    <a:gd name="T15" fmla="*/ 26 h 61"/>
                    <a:gd name="T16" fmla="*/ 1 w 46"/>
                    <a:gd name="T17" fmla="*/ 24 h 61"/>
                    <a:gd name="T18" fmla="*/ 43 w 46"/>
                    <a:gd name="T19" fmla="*/ 0 h 61"/>
                    <a:gd name="T20" fmla="*/ 45 w 46"/>
                    <a:gd name="T21" fmla="*/ 0 h 61"/>
                    <a:gd name="T22" fmla="*/ 46 w 46"/>
                    <a:gd name="T23" fmla="*/ 2 h 61"/>
                    <a:gd name="T24" fmla="*/ 46 w 46"/>
                    <a:gd name="T25" fmla="*/ 59 h 61"/>
                    <a:gd name="T26" fmla="*/ 45 w 46"/>
                    <a:gd name="T27" fmla="*/ 60 h 61"/>
                    <a:gd name="T28" fmla="*/ 44 w 46"/>
                    <a:gd name="T29" fmla="*/ 61 h 61"/>
                    <a:gd name="T30" fmla="*/ 29 w 46"/>
                    <a:gd name="T31" fmla="*/ 47 h 61"/>
                    <a:gd name="T32" fmla="*/ 42 w 46"/>
                    <a:gd name="T33" fmla="*/ 55 h 61"/>
                    <a:gd name="T34" fmla="*/ 42 w 46"/>
                    <a:gd name="T35" fmla="*/ 5 h 61"/>
                    <a:gd name="T36" fmla="*/ 6 w 46"/>
                    <a:gd name="T37" fmla="*/ 26 h 61"/>
                    <a:gd name="T38" fmla="*/ 33 w 46"/>
                    <a:gd name="T39" fmla="*/ 42 h 61"/>
                    <a:gd name="T40" fmla="*/ 34 w 46"/>
                    <a:gd name="T41" fmla="*/ 43 h 61"/>
                    <a:gd name="T42" fmla="*/ 33 w 46"/>
                    <a:gd name="T43" fmla="*/ 45 h 61"/>
                    <a:gd name="T44" fmla="*/ 29 w 46"/>
                    <a:gd name="T45" fmla="*/ 47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6" h="61">
                      <a:moveTo>
                        <a:pt x="44" y="61"/>
                      </a:moveTo>
                      <a:cubicBezTo>
                        <a:pt x="44" y="61"/>
                        <a:pt x="44" y="60"/>
                        <a:pt x="43" y="60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3" y="48"/>
                        <a:pt x="23" y="47"/>
                      </a:cubicBezTo>
                      <a:cubicBezTo>
                        <a:pt x="23" y="47"/>
                        <a:pt x="24" y="46"/>
                        <a:pt x="24" y="46"/>
                      </a:cubicBezTo>
                      <a:cubicBezTo>
                        <a:pt x="28" y="43"/>
                        <a:pt x="28" y="43"/>
                        <a:pt x="28" y="43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7"/>
                        <a:pt x="0" y="27"/>
                        <a:pt x="0" y="26"/>
                      </a:cubicBezTo>
                      <a:cubicBezTo>
                        <a:pt x="0" y="25"/>
                        <a:pt x="1" y="25"/>
                        <a:pt x="1" y="24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4" y="0"/>
                        <a:pt x="45" y="0"/>
                        <a:pt x="45" y="0"/>
                      </a:cubicBezTo>
                      <a:cubicBezTo>
                        <a:pt x="46" y="0"/>
                        <a:pt x="46" y="1"/>
                        <a:pt x="46" y="2"/>
                      </a:cubicBezTo>
                      <a:cubicBezTo>
                        <a:pt x="46" y="59"/>
                        <a:pt x="46" y="59"/>
                        <a:pt x="46" y="59"/>
                      </a:cubicBezTo>
                      <a:cubicBezTo>
                        <a:pt x="46" y="59"/>
                        <a:pt x="46" y="60"/>
                        <a:pt x="45" y="60"/>
                      </a:cubicBezTo>
                      <a:cubicBezTo>
                        <a:pt x="45" y="60"/>
                        <a:pt x="45" y="61"/>
                        <a:pt x="44" y="61"/>
                      </a:cubicBezTo>
                      <a:close/>
                      <a:moveTo>
                        <a:pt x="29" y="47"/>
                      </a:moveTo>
                      <a:cubicBezTo>
                        <a:pt x="42" y="55"/>
                        <a:pt x="42" y="55"/>
                        <a:pt x="42" y="55"/>
                      </a:cubicBezTo>
                      <a:cubicBezTo>
                        <a:pt x="42" y="5"/>
                        <a:pt x="42" y="5"/>
                        <a:pt x="42" y="5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33" y="42"/>
                        <a:pt x="33" y="42"/>
                        <a:pt x="33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4" y="44"/>
                        <a:pt x="34" y="45"/>
                        <a:pt x="33" y="45"/>
                      </a:cubicBezTo>
                      <a:lnTo>
                        <a:pt x="29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2" name="Freeform 945">
                  <a:extLst>
                    <a:ext uri="{FF2B5EF4-FFF2-40B4-BE49-F238E27FC236}">
                      <a16:creationId xmlns:a16="http://schemas.microsoft.com/office/drawing/2014/main" id="{3B339E11-1ADF-487A-9DF6-C111A786E01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2821"/>
                  <a:ext cx="28" cy="30"/>
                </a:xfrm>
                <a:custGeom>
                  <a:avLst/>
                  <a:gdLst>
                    <a:gd name="T0" fmla="*/ 2 w 12"/>
                    <a:gd name="T1" fmla="*/ 13 h 13"/>
                    <a:gd name="T2" fmla="*/ 1 w 12"/>
                    <a:gd name="T3" fmla="*/ 13 h 13"/>
                    <a:gd name="T4" fmla="*/ 0 w 12"/>
                    <a:gd name="T5" fmla="*/ 11 h 13"/>
                    <a:gd name="T6" fmla="*/ 0 w 12"/>
                    <a:gd name="T7" fmla="*/ 2 h 13"/>
                    <a:gd name="T8" fmla="*/ 1 w 12"/>
                    <a:gd name="T9" fmla="*/ 0 h 13"/>
                    <a:gd name="T10" fmla="*/ 3 w 12"/>
                    <a:gd name="T11" fmla="*/ 0 h 13"/>
                    <a:gd name="T12" fmla="*/ 11 w 12"/>
                    <a:gd name="T13" fmla="*/ 5 h 13"/>
                    <a:gd name="T14" fmla="*/ 12 w 12"/>
                    <a:gd name="T15" fmla="*/ 6 h 13"/>
                    <a:gd name="T16" fmla="*/ 11 w 12"/>
                    <a:gd name="T17" fmla="*/ 8 h 13"/>
                    <a:gd name="T18" fmla="*/ 3 w 12"/>
                    <a:gd name="T19" fmla="*/ 13 h 13"/>
                    <a:gd name="T20" fmla="*/ 2 w 12"/>
                    <a:gd name="T21" fmla="*/ 13 h 13"/>
                    <a:gd name="T22" fmla="*/ 4 w 12"/>
                    <a:gd name="T23" fmla="*/ 5 h 13"/>
                    <a:gd name="T24" fmla="*/ 4 w 12"/>
                    <a:gd name="T25" fmla="*/ 8 h 13"/>
                    <a:gd name="T26" fmla="*/ 6 w 12"/>
                    <a:gd name="T27" fmla="*/ 6 h 13"/>
                    <a:gd name="T28" fmla="*/ 4 w 12"/>
                    <a:gd name="T29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3">
                      <a:moveTo>
                        <a:pt x="2" y="13"/>
                      </a:moveTo>
                      <a:cubicBezTo>
                        <a:pt x="2" y="13"/>
                        <a:pt x="1" y="13"/>
                        <a:pt x="1" y="13"/>
                      </a:cubicBezTo>
                      <a:cubicBezTo>
                        <a:pt x="0" y="12"/>
                        <a:pt x="0" y="12"/>
                        <a:pt x="0" y="1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5"/>
                        <a:pt x="12" y="6"/>
                        <a:pt x="12" y="6"/>
                      </a:cubicBezTo>
                      <a:cubicBezTo>
                        <a:pt x="12" y="7"/>
                        <a:pt x="12" y="8"/>
                        <a:pt x="11" y="8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3"/>
                        <a:pt x="2" y="13"/>
                        <a:pt x="2" y="13"/>
                      </a:cubicBezTo>
                      <a:close/>
                      <a:moveTo>
                        <a:pt x="4" y="5"/>
                      </a:move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6" y="6"/>
                        <a:pt x="6" y="6"/>
                        <a:pt x="6" y="6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3" name="Freeform 946">
                  <a:extLst>
                    <a:ext uri="{FF2B5EF4-FFF2-40B4-BE49-F238E27FC236}">
                      <a16:creationId xmlns:a16="http://schemas.microsoft.com/office/drawing/2014/main" id="{F75B2119-E9A7-46D2-B82A-64616C2CA0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07" y="2783"/>
                  <a:ext cx="90" cy="57"/>
                </a:xfrm>
                <a:custGeom>
                  <a:avLst/>
                  <a:gdLst>
                    <a:gd name="T0" fmla="*/ 31 w 38"/>
                    <a:gd name="T1" fmla="*/ 24 h 24"/>
                    <a:gd name="T2" fmla="*/ 30 w 38"/>
                    <a:gd name="T3" fmla="*/ 23 h 24"/>
                    <a:gd name="T4" fmla="*/ 20 w 38"/>
                    <a:gd name="T5" fmla="*/ 18 h 24"/>
                    <a:gd name="T6" fmla="*/ 19 w 38"/>
                    <a:gd name="T7" fmla="*/ 16 h 24"/>
                    <a:gd name="T8" fmla="*/ 17 w 38"/>
                    <a:gd name="T9" fmla="*/ 16 h 24"/>
                    <a:gd name="T10" fmla="*/ 1 w 38"/>
                    <a:gd name="T11" fmla="*/ 7 h 24"/>
                    <a:gd name="T12" fmla="*/ 0 w 38"/>
                    <a:gd name="T13" fmla="*/ 5 h 24"/>
                    <a:gd name="T14" fmla="*/ 1 w 38"/>
                    <a:gd name="T15" fmla="*/ 3 h 24"/>
                    <a:gd name="T16" fmla="*/ 7 w 38"/>
                    <a:gd name="T17" fmla="*/ 0 h 24"/>
                    <a:gd name="T18" fmla="*/ 9 w 38"/>
                    <a:gd name="T19" fmla="*/ 0 h 24"/>
                    <a:gd name="T20" fmla="*/ 37 w 38"/>
                    <a:gd name="T21" fmla="*/ 17 h 24"/>
                    <a:gd name="T22" fmla="*/ 38 w 38"/>
                    <a:gd name="T23" fmla="*/ 18 h 24"/>
                    <a:gd name="T24" fmla="*/ 37 w 38"/>
                    <a:gd name="T25" fmla="*/ 20 h 24"/>
                    <a:gd name="T26" fmla="*/ 32 w 38"/>
                    <a:gd name="T27" fmla="*/ 23 h 24"/>
                    <a:gd name="T28" fmla="*/ 31 w 38"/>
                    <a:gd name="T29" fmla="*/ 24 h 24"/>
                    <a:gd name="T30" fmla="*/ 23 w 38"/>
                    <a:gd name="T31" fmla="*/ 15 h 24"/>
                    <a:gd name="T32" fmla="*/ 31 w 38"/>
                    <a:gd name="T33" fmla="*/ 19 h 24"/>
                    <a:gd name="T34" fmla="*/ 32 w 38"/>
                    <a:gd name="T35" fmla="*/ 18 h 24"/>
                    <a:gd name="T36" fmla="*/ 23 w 38"/>
                    <a:gd name="T37" fmla="*/ 13 h 24"/>
                    <a:gd name="T38" fmla="*/ 23 w 38"/>
                    <a:gd name="T39" fmla="*/ 13 h 24"/>
                    <a:gd name="T40" fmla="*/ 23 w 38"/>
                    <a:gd name="T41" fmla="*/ 15 h 24"/>
                    <a:gd name="T42" fmla="*/ 6 w 38"/>
                    <a:gd name="T43" fmla="*/ 5 h 24"/>
                    <a:gd name="T44" fmla="*/ 18 w 38"/>
                    <a:gd name="T45" fmla="*/ 12 h 24"/>
                    <a:gd name="T46" fmla="*/ 20 w 38"/>
                    <a:gd name="T47" fmla="*/ 11 h 24"/>
                    <a:gd name="T48" fmla="*/ 20 w 38"/>
                    <a:gd name="T49" fmla="*/ 11 h 24"/>
                    <a:gd name="T50" fmla="*/ 8 w 38"/>
                    <a:gd name="T51" fmla="*/ 4 h 24"/>
                    <a:gd name="T52" fmla="*/ 6 w 38"/>
                    <a:gd name="T53" fmla="*/ 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8" h="24">
                      <a:moveTo>
                        <a:pt x="31" y="24"/>
                      </a:moveTo>
                      <a:cubicBezTo>
                        <a:pt x="30" y="24"/>
                        <a:pt x="30" y="23"/>
                        <a:pt x="30" y="23"/>
                      </a:cubicBez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8"/>
                        <a:pt x="19" y="17"/>
                        <a:pt x="19" y="16"/>
                      </a:cubicBezTo>
                      <a:cubicBezTo>
                        <a:pt x="19" y="17"/>
                        <a:pt x="18" y="17"/>
                        <a:pt x="17" y="16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1" y="7"/>
                        <a:pt x="0" y="6"/>
                        <a:pt x="0" y="5"/>
                      </a:cubicBezTo>
                      <a:cubicBezTo>
                        <a:pt x="0" y="4"/>
                        <a:pt x="1" y="4"/>
                        <a:pt x="1" y="3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8" y="0"/>
                        <a:pt x="9" y="0"/>
                      </a:cubicBezTo>
                      <a:cubicBezTo>
                        <a:pt x="37" y="17"/>
                        <a:pt x="37" y="17"/>
                        <a:pt x="37" y="17"/>
                      </a:cubicBezTo>
                      <a:cubicBezTo>
                        <a:pt x="38" y="17"/>
                        <a:pt x="38" y="18"/>
                        <a:pt x="38" y="18"/>
                      </a:cubicBezTo>
                      <a:cubicBezTo>
                        <a:pt x="38" y="19"/>
                        <a:pt x="38" y="20"/>
                        <a:pt x="37" y="20"/>
                      </a:cubicBezTo>
                      <a:cubicBezTo>
                        <a:pt x="32" y="23"/>
                        <a:pt x="32" y="23"/>
                        <a:pt x="32" y="23"/>
                      </a:cubicBezTo>
                      <a:cubicBezTo>
                        <a:pt x="31" y="23"/>
                        <a:pt x="31" y="24"/>
                        <a:pt x="31" y="24"/>
                      </a:cubicBezTo>
                      <a:close/>
                      <a:moveTo>
                        <a:pt x="23" y="15"/>
                      </a:move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32" y="18"/>
                        <a:pt x="32" y="18"/>
                        <a:pt x="32" y="18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lnTo>
                        <a:pt x="23" y="15"/>
                      </a:lnTo>
                      <a:close/>
                      <a:moveTo>
                        <a:pt x="6" y="5"/>
                      </a:move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20" y="11"/>
                        <a:pt x="20" y="11"/>
                        <a:pt x="20" y="11"/>
                      </a:cubicBezTo>
                      <a:cubicBezTo>
                        <a:pt x="20" y="11"/>
                        <a:pt x="20" y="11"/>
                        <a:pt x="20" y="11"/>
                      </a:cubicBezTo>
                      <a:cubicBezTo>
                        <a:pt x="8" y="4"/>
                        <a:pt x="8" y="4"/>
                        <a:pt x="8" y="4"/>
                      </a:cubicBez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4" name="Freeform 947">
                  <a:extLst>
                    <a:ext uri="{FF2B5EF4-FFF2-40B4-BE49-F238E27FC236}">
                      <a16:creationId xmlns:a16="http://schemas.microsoft.com/office/drawing/2014/main" id="{E12E8A7B-2305-48FD-AD46-A26957D985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2" y="2889"/>
                  <a:ext cx="80" cy="55"/>
                </a:xfrm>
                <a:custGeom>
                  <a:avLst/>
                  <a:gdLst>
                    <a:gd name="T0" fmla="*/ 2 w 34"/>
                    <a:gd name="T1" fmla="*/ 23 h 23"/>
                    <a:gd name="T2" fmla="*/ 1 w 34"/>
                    <a:gd name="T3" fmla="*/ 22 h 23"/>
                    <a:gd name="T4" fmla="*/ 0 w 34"/>
                    <a:gd name="T5" fmla="*/ 21 h 23"/>
                    <a:gd name="T6" fmla="*/ 0 w 34"/>
                    <a:gd name="T7" fmla="*/ 20 h 23"/>
                    <a:gd name="T8" fmla="*/ 1 w 34"/>
                    <a:gd name="T9" fmla="*/ 18 h 23"/>
                    <a:gd name="T10" fmla="*/ 31 w 34"/>
                    <a:gd name="T11" fmla="*/ 1 h 23"/>
                    <a:gd name="T12" fmla="*/ 33 w 34"/>
                    <a:gd name="T13" fmla="*/ 1 h 23"/>
                    <a:gd name="T14" fmla="*/ 34 w 34"/>
                    <a:gd name="T15" fmla="*/ 2 h 23"/>
                    <a:gd name="T16" fmla="*/ 34 w 34"/>
                    <a:gd name="T17" fmla="*/ 3 h 23"/>
                    <a:gd name="T18" fmla="*/ 33 w 34"/>
                    <a:gd name="T19" fmla="*/ 5 h 23"/>
                    <a:gd name="T20" fmla="*/ 3 w 34"/>
                    <a:gd name="T21" fmla="*/ 22 h 23"/>
                    <a:gd name="T22" fmla="*/ 2 w 34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23">
                      <a:moveTo>
                        <a:pt x="2" y="23"/>
                      </a:moveTo>
                      <a:cubicBezTo>
                        <a:pt x="2" y="23"/>
                        <a:pt x="1" y="23"/>
                        <a:pt x="1" y="22"/>
                      </a:cubicBezTo>
                      <a:cubicBezTo>
                        <a:pt x="0" y="22"/>
                        <a:pt x="0" y="21"/>
                        <a:pt x="0" y="21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9"/>
                        <a:pt x="0" y="19"/>
                        <a:pt x="1" y="18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2" y="0"/>
                        <a:pt x="33" y="0"/>
                        <a:pt x="33" y="1"/>
                      </a:cubicBezTo>
                      <a:cubicBezTo>
                        <a:pt x="34" y="1"/>
                        <a:pt x="34" y="2"/>
                        <a:pt x="34" y="2"/>
                      </a:cubicBez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4" y="4"/>
                        <a:pt x="34" y="5"/>
                        <a:pt x="33" y="5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3" y="23"/>
                        <a:pt x="2" y="23"/>
                        <a:pt x="2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5" name="Freeform 948">
                  <a:extLst>
                    <a:ext uri="{FF2B5EF4-FFF2-40B4-BE49-F238E27FC236}">
                      <a16:creationId xmlns:a16="http://schemas.microsoft.com/office/drawing/2014/main" id="{EC7823CD-4110-4F9F-80CF-2818F43459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879" y="2816"/>
                  <a:ext cx="78" cy="78"/>
                </a:xfrm>
                <a:custGeom>
                  <a:avLst/>
                  <a:gdLst>
                    <a:gd name="T0" fmla="*/ 2 w 33"/>
                    <a:gd name="T1" fmla="*/ 33 h 33"/>
                    <a:gd name="T2" fmla="*/ 1 w 33"/>
                    <a:gd name="T3" fmla="*/ 33 h 33"/>
                    <a:gd name="T4" fmla="*/ 0 w 33"/>
                    <a:gd name="T5" fmla="*/ 31 h 33"/>
                    <a:gd name="T6" fmla="*/ 0 w 33"/>
                    <a:gd name="T7" fmla="*/ 19 h 33"/>
                    <a:gd name="T8" fmla="*/ 1 w 33"/>
                    <a:gd name="T9" fmla="*/ 17 h 33"/>
                    <a:gd name="T10" fmla="*/ 29 w 33"/>
                    <a:gd name="T11" fmla="*/ 1 h 33"/>
                    <a:gd name="T12" fmla="*/ 31 w 33"/>
                    <a:gd name="T13" fmla="*/ 1 h 33"/>
                    <a:gd name="T14" fmla="*/ 32 w 33"/>
                    <a:gd name="T15" fmla="*/ 1 h 33"/>
                    <a:gd name="T16" fmla="*/ 33 w 33"/>
                    <a:gd name="T17" fmla="*/ 3 h 33"/>
                    <a:gd name="T18" fmla="*/ 33 w 33"/>
                    <a:gd name="T19" fmla="*/ 14 h 33"/>
                    <a:gd name="T20" fmla="*/ 32 w 33"/>
                    <a:gd name="T21" fmla="*/ 16 h 33"/>
                    <a:gd name="T22" fmla="*/ 3 w 33"/>
                    <a:gd name="T23" fmla="*/ 33 h 33"/>
                    <a:gd name="T24" fmla="*/ 2 w 33"/>
                    <a:gd name="T25" fmla="*/ 33 h 33"/>
                    <a:gd name="T26" fmla="*/ 4 w 33"/>
                    <a:gd name="T27" fmla="*/ 20 h 33"/>
                    <a:gd name="T28" fmla="*/ 4 w 33"/>
                    <a:gd name="T29" fmla="*/ 28 h 33"/>
                    <a:gd name="T30" fmla="*/ 29 w 33"/>
                    <a:gd name="T31" fmla="*/ 13 h 33"/>
                    <a:gd name="T32" fmla="*/ 29 w 33"/>
                    <a:gd name="T33" fmla="*/ 5 h 33"/>
                    <a:gd name="T34" fmla="*/ 4 w 33"/>
                    <a:gd name="T35" fmla="*/ 20 h 33"/>
                    <a:gd name="T36" fmla="*/ 31 w 33"/>
                    <a:gd name="T37" fmla="*/ 14 h 33"/>
                    <a:gd name="T38" fmla="*/ 31 w 33"/>
                    <a:gd name="T39" fmla="*/ 1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3" h="33">
                      <a:moveTo>
                        <a:pt x="2" y="33"/>
                      </a:moveTo>
                      <a:cubicBezTo>
                        <a:pt x="1" y="33"/>
                        <a:pt x="1" y="33"/>
                        <a:pt x="1" y="33"/>
                      </a:cubicBezTo>
                      <a:cubicBezTo>
                        <a:pt x="0" y="33"/>
                        <a:pt x="0" y="32"/>
                        <a:pt x="0" y="31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8"/>
                        <a:pt x="0" y="18"/>
                        <a:pt x="1" y="17"/>
                      </a:cubicBezTo>
                      <a:cubicBezTo>
                        <a:pt x="29" y="1"/>
                        <a:pt x="29" y="1"/>
                        <a:pt x="29" y="1"/>
                      </a:cubicBezTo>
                      <a:cubicBezTo>
                        <a:pt x="30" y="0"/>
                        <a:pt x="31" y="0"/>
                        <a:pt x="31" y="1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3" y="2"/>
                        <a:pt x="33" y="2"/>
                        <a:pt x="33" y="3"/>
                      </a:cubicBezTo>
                      <a:cubicBezTo>
                        <a:pt x="33" y="14"/>
                        <a:pt x="33" y="14"/>
                        <a:pt x="33" y="14"/>
                      </a:cubicBezTo>
                      <a:cubicBezTo>
                        <a:pt x="33" y="15"/>
                        <a:pt x="33" y="15"/>
                        <a:pt x="32" y="16"/>
                      </a:cubicBezTo>
                      <a:cubicBezTo>
                        <a:pt x="3" y="33"/>
                        <a:pt x="3" y="33"/>
                        <a:pt x="3" y="33"/>
                      </a:cubicBezTo>
                      <a:cubicBezTo>
                        <a:pt x="2" y="33"/>
                        <a:pt x="2" y="33"/>
                        <a:pt x="2" y="33"/>
                      </a:cubicBezTo>
                      <a:close/>
                      <a:moveTo>
                        <a:pt x="4" y="20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29" y="5"/>
                        <a:pt x="29" y="5"/>
                        <a:pt x="29" y="5"/>
                      </a:cubicBezTo>
                      <a:lnTo>
                        <a:pt x="4" y="20"/>
                      </a:lnTo>
                      <a:close/>
                      <a:moveTo>
                        <a:pt x="31" y="14"/>
                      </a:moveTo>
                      <a:cubicBezTo>
                        <a:pt x="31" y="14"/>
                        <a:pt x="31" y="14"/>
                        <a:pt x="31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6" name="Freeform 949">
                  <a:extLst>
                    <a:ext uri="{FF2B5EF4-FFF2-40B4-BE49-F238E27FC236}">
                      <a16:creationId xmlns:a16="http://schemas.microsoft.com/office/drawing/2014/main" id="{1BB1335D-92A4-42C0-830E-DA76B299CD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952" y="2996"/>
                  <a:ext cx="160" cy="271"/>
                </a:xfrm>
                <a:custGeom>
                  <a:avLst/>
                  <a:gdLst>
                    <a:gd name="T0" fmla="*/ 66 w 68"/>
                    <a:gd name="T1" fmla="*/ 115 h 115"/>
                    <a:gd name="T2" fmla="*/ 65 w 68"/>
                    <a:gd name="T3" fmla="*/ 115 h 115"/>
                    <a:gd name="T4" fmla="*/ 1 w 68"/>
                    <a:gd name="T5" fmla="*/ 78 h 115"/>
                    <a:gd name="T6" fmla="*/ 0 w 68"/>
                    <a:gd name="T7" fmla="*/ 76 h 115"/>
                    <a:gd name="T8" fmla="*/ 0 w 68"/>
                    <a:gd name="T9" fmla="*/ 2 h 115"/>
                    <a:gd name="T10" fmla="*/ 1 w 68"/>
                    <a:gd name="T11" fmla="*/ 0 h 115"/>
                    <a:gd name="T12" fmla="*/ 3 w 68"/>
                    <a:gd name="T13" fmla="*/ 0 h 115"/>
                    <a:gd name="T14" fmla="*/ 67 w 68"/>
                    <a:gd name="T15" fmla="*/ 37 h 115"/>
                    <a:gd name="T16" fmla="*/ 68 w 68"/>
                    <a:gd name="T17" fmla="*/ 39 h 115"/>
                    <a:gd name="T18" fmla="*/ 68 w 68"/>
                    <a:gd name="T19" fmla="*/ 113 h 115"/>
                    <a:gd name="T20" fmla="*/ 67 w 68"/>
                    <a:gd name="T21" fmla="*/ 115 h 115"/>
                    <a:gd name="T22" fmla="*/ 66 w 68"/>
                    <a:gd name="T23" fmla="*/ 115 h 115"/>
                    <a:gd name="T24" fmla="*/ 4 w 68"/>
                    <a:gd name="T25" fmla="*/ 75 h 115"/>
                    <a:gd name="T26" fmla="*/ 64 w 68"/>
                    <a:gd name="T27" fmla="*/ 109 h 115"/>
                    <a:gd name="T28" fmla="*/ 64 w 68"/>
                    <a:gd name="T29" fmla="*/ 40 h 115"/>
                    <a:gd name="T30" fmla="*/ 4 w 68"/>
                    <a:gd name="T31" fmla="*/ 5 h 115"/>
                    <a:gd name="T32" fmla="*/ 4 w 68"/>
                    <a:gd name="T33" fmla="*/ 7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8" h="115">
                      <a:moveTo>
                        <a:pt x="66" y="115"/>
                      </a:moveTo>
                      <a:cubicBezTo>
                        <a:pt x="66" y="115"/>
                        <a:pt x="65" y="115"/>
                        <a:pt x="65" y="115"/>
                      </a:cubicBezTo>
                      <a:cubicBezTo>
                        <a:pt x="1" y="78"/>
                        <a:pt x="1" y="78"/>
                        <a:pt x="1" y="78"/>
                      </a:cubicBezTo>
                      <a:cubicBezTo>
                        <a:pt x="0" y="77"/>
                        <a:pt x="0" y="76"/>
                        <a:pt x="0" y="7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67" y="37"/>
                        <a:pt x="67" y="37"/>
                        <a:pt x="67" y="37"/>
                      </a:cubicBezTo>
                      <a:cubicBezTo>
                        <a:pt x="68" y="37"/>
                        <a:pt x="68" y="38"/>
                        <a:pt x="68" y="39"/>
                      </a:cubicBezTo>
                      <a:cubicBezTo>
                        <a:pt x="68" y="113"/>
                        <a:pt x="68" y="113"/>
                        <a:pt x="68" y="113"/>
                      </a:cubicBezTo>
                      <a:cubicBezTo>
                        <a:pt x="68" y="113"/>
                        <a:pt x="68" y="114"/>
                        <a:pt x="67" y="115"/>
                      </a:cubicBezTo>
                      <a:cubicBezTo>
                        <a:pt x="67" y="115"/>
                        <a:pt x="66" y="115"/>
                        <a:pt x="66" y="115"/>
                      </a:cubicBezTo>
                      <a:close/>
                      <a:moveTo>
                        <a:pt x="4" y="75"/>
                      </a:moveTo>
                      <a:cubicBezTo>
                        <a:pt x="64" y="109"/>
                        <a:pt x="64" y="109"/>
                        <a:pt x="64" y="109"/>
                      </a:cubicBezTo>
                      <a:cubicBezTo>
                        <a:pt x="64" y="40"/>
                        <a:pt x="64" y="40"/>
                        <a:pt x="64" y="40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7" name="Freeform 950">
                  <a:extLst>
                    <a:ext uri="{FF2B5EF4-FFF2-40B4-BE49-F238E27FC236}">
                      <a16:creationId xmlns:a16="http://schemas.microsoft.com/office/drawing/2014/main" id="{47FB9913-9D90-4D81-848C-92559380A1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1039"/>
                  <a:ext cx="168" cy="112"/>
                </a:xfrm>
                <a:custGeom>
                  <a:avLst/>
                  <a:gdLst>
                    <a:gd name="T0" fmla="*/ 52 w 71"/>
                    <a:gd name="T1" fmla="*/ 47 h 47"/>
                    <a:gd name="T2" fmla="*/ 51 w 71"/>
                    <a:gd name="T3" fmla="*/ 46 h 47"/>
                    <a:gd name="T4" fmla="*/ 1 w 71"/>
                    <a:gd name="T5" fmla="*/ 18 h 47"/>
                    <a:gd name="T6" fmla="*/ 0 w 71"/>
                    <a:gd name="T7" fmla="*/ 16 h 47"/>
                    <a:gd name="T8" fmla="*/ 0 w 71"/>
                    <a:gd name="T9" fmla="*/ 7 h 47"/>
                    <a:gd name="T10" fmla="*/ 1 w 71"/>
                    <a:gd name="T11" fmla="*/ 6 h 47"/>
                    <a:gd name="T12" fmla="*/ 11 w 71"/>
                    <a:gd name="T13" fmla="*/ 0 h 47"/>
                    <a:gd name="T14" fmla="*/ 13 w 71"/>
                    <a:gd name="T15" fmla="*/ 0 h 47"/>
                    <a:gd name="T16" fmla="*/ 70 w 71"/>
                    <a:gd name="T17" fmla="*/ 33 h 47"/>
                    <a:gd name="T18" fmla="*/ 71 w 71"/>
                    <a:gd name="T19" fmla="*/ 34 h 47"/>
                    <a:gd name="T20" fmla="*/ 70 w 71"/>
                    <a:gd name="T21" fmla="*/ 36 h 47"/>
                    <a:gd name="T22" fmla="*/ 53 w 71"/>
                    <a:gd name="T23" fmla="*/ 46 h 47"/>
                    <a:gd name="T24" fmla="*/ 52 w 71"/>
                    <a:gd name="T25" fmla="*/ 47 h 47"/>
                    <a:gd name="T26" fmla="*/ 4 w 71"/>
                    <a:gd name="T27" fmla="*/ 15 h 47"/>
                    <a:gd name="T28" fmla="*/ 52 w 71"/>
                    <a:gd name="T29" fmla="*/ 42 h 47"/>
                    <a:gd name="T30" fmla="*/ 65 w 71"/>
                    <a:gd name="T31" fmla="*/ 34 h 47"/>
                    <a:gd name="T32" fmla="*/ 12 w 71"/>
                    <a:gd name="T33" fmla="*/ 4 h 47"/>
                    <a:gd name="T34" fmla="*/ 4 w 71"/>
                    <a:gd name="T35" fmla="*/ 9 h 47"/>
                    <a:gd name="T36" fmla="*/ 4 w 71"/>
                    <a:gd name="T37" fmla="*/ 15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1" h="47">
                      <a:moveTo>
                        <a:pt x="52" y="47"/>
                      </a:moveTo>
                      <a:cubicBezTo>
                        <a:pt x="52" y="47"/>
                        <a:pt x="51" y="46"/>
                        <a:pt x="51" y="46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1" y="17"/>
                        <a:pt x="0" y="17"/>
                        <a:pt x="0" y="1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1" y="6"/>
                        <a:pt x="1" y="6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2" y="0"/>
                        <a:pt x="13" y="0"/>
                        <a:pt x="13" y="0"/>
                      </a:cubicBezTo>
                      <a:cubicBezTo>
                        <a:pt x="70" y="33"/>
                        <a:pt x="70" y="33"/>
                        <a:pt x="70" y="33"/>
                      </a:cubicBezTo>
                      <a:cubicBezTo>
                        <a:pt x="71" y="33"/>
                        <a:pt x="71" y="34"/>
                        <a:pt x="71" y="34"/>
                      </a:cubicBezTo>
                      <a:cubicBezTo>
                        <a:pt x="71" y="35"/>
                        <a:pt x="71" y="36"/>
                        <a:pt x="70" y="36"/>
                      </a:cubicBezTo>
                      <a:cubicBezTo>
                        <a:pt x="53" y="46"/>
                        <a:pt x="53" y="46"/>
                        <a:pt x="53" y="46"/>
                      </a:cubicBezTo>
                      <a:cubicBezTo>
                        <a:pt x="53" y="46"/>
                        <a:pt x="52" y="47"/>
                        <a:pt x="52" y="47"/>
                      </a:cubicBezTo>
                      <a:close/>
                      <a:moveTo>
                        <a:pt x="4" y="15"/>
                      </a:moveTo>
                      <a:cubicBezTo>
                        <a:pt x="52" y="42"/>
                        <a:pt x="52" y="42"/>
                        <a:pt x="52" y="42"/>
                      </a:cubicBezTo>
                      <a:cubicBezTo>
                        <a:pt x="65" y="34"/>
                        <a:pt x="65" y="34"/>
                        <a:pt x="65" y="34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9"/>
                        <a:pt x="4" y="9"/>
                        <a:pt x="4" y="9"/>
                      </a:cubicBezTo>
                      <a:lnTo>
                        <a:pt x="4" y="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8" name="Freeform 951">
                  <a:extLst>
                    <a:ext uri="{FF2B5EF4-FFF2-40B4-BE49-F238E27FC236}">
                      <a16:creationId xmlns:a16="http://schemas.microsoft.com/office/drawing/2014/main" id="{A5AED68E-9D86-4656-B5C3-5B29C9CCB2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66" y="1741"/>
                  <a:ext cx="291" cy="177"/>
                </a:xfrm>
                <a:custGeom>
                  <a:avLst/>
                  <a:gdLst>
                    <a:gd name="T0" fmla="*/ 6 w 123"/>
                    <a:gd name="T1" fmla="*/ 75 h 75"/>
                    <a:gd name="T2" fmla="*/ 5 w 123"/>
                    <a:gd name="T3" fmla="*/ 74 h 75"/>
                    <a:gd name="T4" fmla="*/ 1 w 123"/>
                    <a:gd name="T5" fmla="*/ 72 h 75"/>
                    <a:gd name="T6" fmla="*/ 0 w 123"/>
                    <a:gd name="T7" fmla="*/ 70 h 75"/>
                    <a:gd name="T8" fmla="*/ 1 w 123"/>
                    <a:gd name="T9" fmla="*/ 69 h 75"/>
                    <a:gd name="T10" fmla="*/ 120 w 123"/>
                    <a:gd name="T11" fmla="*/ 0 h 75"/>
                    <a:gd name="T12" fmla="*/ 122 w 123"/>
                    <a:gd name="T13" fmla="*/ 0 h 75"/>
                    <a:gd name="T14" fmla="*/ 123 w 123"/>
                    <a:gd name="T15" fmla="*/ 2 h 75"/>
                    <a:gd name="T16" fmla="*/ 123 w 123"/>
                    <a:gd name="T17" fmla="*/ 6 h 75"/>
                    <a:gd name="T18" fmla="*/ 122 w 123"/>
                    <a:gd name="T19" fmla="*/ 8 h 75"/>
                    <a:gd name="T20" fmla="*/ 7 w 123"/>
                    <a:gd name="T21" fmla="*/ 74 h 75"/>
                    <a:gd name="T22" fmla="*/ 6 w 123"/>
                    <a:gd name="T23" fmla="*/ 75 h 75"/>
                    <a:gd name="T24" fmla="*/ 121 w 123"/>
                    <a:gd name="T25" fmla="*/ 6 h 75"/>
                    <a:gd name="T26" fmla="*/ 121 w 123"/>
                    <a:gd name="T27" fmla="*/ 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3" h="75">
                      <a:moveTo>
                        <a:pt x="6" y="75"/>
                      </a:moveTo>
                      <a:cubicBezTo>
                        <a:pt x="6" y="75"/>
                        <a:pt x="5" y="75"/>
                        <a:pt x="5" y="74"/>
                      </a:cubicBezTo>
                      <a:cubicBezTo>
                        <a:pt x="1" y="72"/>
                        <a:pt x="1" y="72"/>
                        <a:pt x="1" y="72"/>
                      </a:cubicBezTo>
                      <a:cubicBezTo>
                        <a:pt x="1" y="72"/>
                        <a:pt x="0" y="71"/>
                        <a:pt x="0" y="70"/>
                      </a:cubicBezTo>
                      <a:cubicBezTo>
                        <a:pt x="0" y="70"/>
                        <a:pt x="1" y="69"/>
                        <a:pt x="1" y="69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1" y="0"/>
                        <a:pt x="122" y="0"/>
                        <a:pt x="122" y="0"/>
                      </a:cubicBezTo>
                      <a:cubicBezTo>
                        <a:pt x="123" y="0"/>
                        <a:pt x="123" y="1"/>
                        <a:pt x="123" y="2"/>
                      </a:cubicBezTo>
                      <a:cubicBezTo>
                        <a:pt x="123" y="6"/>
                        <a:pt x="123" y="6"/>
                        <a:pt x="123" y="6"/>
                      </a:cubicBezTo>
                      <a:cubicBezTo>
                        <a:pt x="123" y="7"/>
                        <a:pt x="123" y="8"/>
                        <a:pt x="122" y="8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7" y="75"/>
                        <a:pt x="6" y="75"/>
                        <a:pt x="6" y="75"/>
                      </a:cubicBezTo>
                      <a:close/>
                      <a:moveTo>
                        <a:pt x="121" y="6"/>
                      </a:moveTo>
                      <a:cubicBezTo>
                        <a:pt x="121" y="6"/>
                        <a:pt x="121" y="6"/>
                        <a:pt x="12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9" name="Freeform 952">
                  <a:extLst>
                    <a:ext uri="{FF2B5EF4-FFF2-40B4-BE49-F238E27FC236}">
                      <a16:creationId xmlns:a16="http://schemas.microsoft.com/office/drawing/2014/main" id="{5EBAF357-F8DC-4812-8B27-4CF638CEB4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42" y="1996"/>
                  <a:ext cx="298" cy="284"/>
                </a:xfrm>
                <a:custGeom>
                  <a:avLst/>
                  <a:gdLst>
                    <a:gd name="T0" fmla="*/ 2 w 126"/>
                    <a:gd name="T1" fmla="*/ 120 h 120"/>
                    <a:gd name="T2" fmla="*/ 1 w 126"/>
                    <a:gd name="T3" fmla="*/ 120 h 120"/>
                    <a:gd name="T4" fmla="*/ 0 w 126"/>
                    <a:gd name="T5" fmla="*/ 118 h 120"/>
                    <a:gd name="T6" fmla="*/ 0 w 126"/>
                    <a:gd name="T7" fmla="*/ 27 h 120"/>
                    <a:gd name="T8" fmla="*/ 1 w 126"/>
                    <a:gd name="T9" fmla="*/ 26 h 120"/>
                    <a:gd name="T10" fmla="*/ 44 w 126"/>
                    <a:gd name="T11" fmla="*/ 1 h 120"/>
                    <a:gd name="T12" fmla="*/ 46 w 126"/>
                    <a:gd name="T13" fmla="*/ 1 h 120"/>
                    <a:gd name="T14" fmla="*/ 125 w 126"/>
                    <a:gd name="T15" fmla="*/ 46 h 120"/>
                    <a:gd name="T16" fmla="*/ 126 w 126"/>
                    <a:gd name="T17" fmla="*/ 48 h 120"/>
                    <a:gd name="T18" fmla="*/ 125 w 126"/>
                    <a:gd name="T19" fmla="*/ 50 h 120"/>
                    <a:gd name="T20" fmla="*/ 3 w 126"/>
                    <a:gd name="T21" fmla="*/ 120 h 120"/>
                    <a:gd name="T22" fmla="*/ 2 w 126"/>
                    <a:gd name="T23" fmla="*/ 120 h 120"/>
                    <a:gd name="T24" fmla="*/ 4 w 126"/>
                    <a:gd name="T25" fmla="*/ 29 h 120"/>
                    <a:gd name="T26" fmla="*/ 4 w 126"/>
                    <a:gd name="T27" fmla="*/ 115 h 120"/>
                    <a:gd name="T28" fmla="*/ 120 w 126"/>
                    <a:gd name="T29" fmla="*/ 48 h 120"/>
                    <a:gd name="T30" fmla="*/ 45 w 126"/>
                    <a:gd name="T31" fmla="*/ 5 h 120"/>
                    <a:gd name="T32" fmla="*/ 4 w 126"/>
                    <a:gd name="T33" fmla="*/ 2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6" h="120">
                      <a:moveTo>
                        <a:pt x="2" y="120"/>
                      </a:moveTo>
                      <a:cubicBezTo>
                        <a:pt x="1" y="120"/>
                        <a:pt x="1" y="120"/>
                        <a:pt x="1" y="120"/>
                      </a:cubicBezTo>
                      <a:cubicBezTo>
                        <a:pt x="0" y="120"/>
                        <a:pt x="0" y="119"/>
                        <a:pt x="0" y="11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27"/>
                        <a:pt x="0" y="26"/>
                        <a:pt x="1" y="26"/>
                      </a:cubicBezTo>
                      <a:cubicBezTo>
                        <a:pt x="44" y="1"/>
                        <a:pt x="44" y="1"/>
                        <a:pt x="44" y="1"/>
                      </a:cubicBezTo>
                      <a:cubicBezTo>
                        <a:pt x="44" y="0"/>
                        <a:pt x="45" y="0"/>
                        <a:pt x="46" y="1"/>
                      </a:cubicBezTo>
                      <a:cubicBezTo>
                        <a:pt x="125" y="46"/>
                        <a:pt x="125" y="46"/>
                        <a:pt x="125" y="46"/>
                      </a:cubicBezTo>
                      <a:cubicBezTo>
                        <a:pt x="125" y="47"/>
                        <a:pt x="126" y="47"/>
                        <a:pt x="126" y="48"/>
                      </a:cubicBezTo>
                      <a:cubicBezTo>
                        <a:pt x="126" y="49"/>
                        <a:pt x="125" y="49"/>
                        <a:pt x="125" y="50"/>
                      </a:cubicBezTo>
                      <a:cubicBezTo>
                        <a:pt x="3" y="120"/>
                        <a:pt x="3" y="120"/>
                        <a:pt x="3" y="120"/>
                      </a:cubicBezTo>
                      <a:cubicBezTo>
                        <a:pt x="2" y="120"/>
                        <a:pt x="2" y="120"/>
                        <a:pt x="2" y="120"/>
                      </a:cubicBezTo>
                      <a:close/>
                      <a:moveTo>
                        <a:pt x="4" y="29"/>
                      </a:moveTo>
                      <a:cubicBezTo>
                        <a:pt x="4" y="115"/>
                        <a:pt x="4" y="115"/>
                        <a:pt x="4" y="115"/>
                      </a:cubicBezTo>
                      <a:cubicBezTo>
                        <a:pt x="120" y="48"/>
                        <a:pt x="120" y="48"/>
                        <a:pt x="120" y="48"/>
                      </a:cubicBezTo>
                      <a:cubicBezTo>
                        <a:pt x="45" y="5"/>
                        <a:pt x="45" y="5"/>
                        <a:pt x="45" y="5"/>
                      </a:cubicBezTo>
                      <a:lnTo>
                        <a:pt x="4" y="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0" name="Freeform 953">
                  <a:extLst>
                    <a:ext uri="{FF2B5EF4-FFF2-40B4-BE49-F238E27FC236}">
                      <a16:creationId xmlns:a16="http://schemas.microsoft.com/office/drawing/2014/main" id="{A36CF2C9-C50C-406D-AAD5-3099912C26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42" y="1755"/>
                  <a:ext cx="315" cy="357"/>
                </a:xfrm>
                <a:custGeom>
                  <a:avLst/>
                  <a:gdLst>
                    <a:gd name="T0" fmla="*/ 125 w 133"/>
                    <a:gd name="T1" fmla="*/ 151 h 151"/>
                    <a:gd name="T2" fmla="*/ 124 w 133"/>
                    <a:gd name="T3" fmla="*/ 151 h 151"/>
                    <a:gd name="T4" fmla="*/ 45 w 133"/>
                    <a:gd name="T5" fmla="*/ 105 h 151"/>
                    <a:gd name="T6" fmla="*/ 3 w 133"/>
                    <a:gd name="T7" fmla="*/ 129 h 151"/>
                    <a:gd name="T8" fmla="*/ 1 w 133"/>
                    <a:gd name="T9" fmla="*/ 129 h 151"/>
                    <a:gd name="T10" fmla="*/ 0 w 133"/>
                    <a:gd name="T11" fmla="*/ 127 h 151"/>
                    <a:gd name="T12" fmla="*/ 0 w 133"/>
                    <a:gd name="T13" fmla="*/ 71 h 151"/>
                    <a:gd name="T14" fmla="*/ 1 w 133"/>
                    <a:gd name="T15" fmla="*/ 69 h 151"/>
                    <a:gd name="T16" fmla="*/ 10 w 133"/>
                    <a:gd name="T17" fmla="*/ 64 h 151"/>
                    <a:gd name="T18" fmla="*/ 12 w 133"/>
                    <a:gd name="T19" fmla="*/ 64 h 151"/>
                    <a:gd name="T20" fmla="*/ 16 w 133"/>
                    <a:gd name="T21" fmla="*/ 66 h 151"/>
                    <a:gd name="T22" fmla="*/ 130 w 133"/>
                    <a:gd name="T23" fmla="*/ 0 h 151"/>
                    <a:gd name="T24" fmla="*/ 132 w 133"/>
                    <a:gd name="T25" fmla="*/ 0 h 151"/>
                    <a:gd name="T26" fmla="*/ 133 w 133"/>
                    <a:gd name="T27" fmla="*/ 2 h 151"/>
                    <a:gd name="T28" fmla="*/ 133 w 133"/>
                    <a:gd name="T29" fmla="*/ 146 h 151"/>
                    <a:gd name="T30" fmla="*/ 132 w 133"/>
                    <a:gd name="T31" fmla="*/ 147 h 151"/>
                    <a:gd name="T32" fmla="*/ 126 w 133"/>
                    <a:gd name="T33" fmla="*/ 151 h 151"/>
                    <a:gd name="T34" fmla="*/ 125 w 133"/>
                    <a:gd name="T35" fmla="*/ 151 h 151"/>
                    <a:gd name="T36" fmla="*/ 45 w 133"/>
                    <a:gd name="T37" fmla="*/ 101 h 151"/>
                    <a:gd name="T38" fmla="*/ 46 w 133"/>
                    <a:gd name="T39" fmla="*/ 101 h 151"/>
                    <a:gd name="T40" fmla="*/ 125 w 133"/>
                    <a:gd name="T41" fmla="*/ 147 h 151"/>
                    <a:gd name="T42" fmla="*/ 129 w 133"/>
                    <a:gd name="T43" fmla="*/ 144 h 151"/>
                    <a:gd name="T44" fmla="*/ 129 w 133"/>
                    <a:gd name="T45" fmla="*/ 5 h 151"/>
                    <a:gd name="T46" fmla="*/ 17 w 133"/>
                    <a:gd name="T47" fmla="*/ 70 h 151"/>
                    <a:gd name="T48" fmla="*/ 15 w 133"/>
                    <a:gd name="T49" fmla="*/ 70 h 151"/>
                    <a:gd name="T50" fmla="*/ 11 w 133"/>
                    <a:gd name="T51" fmla="*/ 68 h 151"/>
                    <a:gd name="T52" fmla="*/ 4 w 133"/>
                    <a:gd name="T53" fmla="*/ 72 h 151"/>
                    <a:gd name="T54" fmla="*/ 4 w 133"/>
                    <a:gd name="T55" fmla="*/ 124 h 151"/>
                    <a:gd name="T56" fmla="*/ 44 w 133"/>
                    <a:gd name="T57" fmla="*/ 101 h 151"/>
                    <a:gd name="T58" fmla="*/ 45 w 133"/>
                    <a:gd name="T59" fmla="*/ 10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33" h="151">
                      <a:moveTo>
                        <a:pt x="125" y="151"/>
                      </a:moveTo>
                      <a:cubicBezTo>
                        <a:pt x="125" y="151"/>
                        <a:pt x="125" y="151"/>
                        <a:pt x="124" y="151"/>
                      </a:cubicBezTo>
                      <a:cubicBezTo>
                        <a:pt x="45" y="105"/>
                        <a:pt x="45" y="105"/>
                        <a:pt x="45" y="105"/>
                      </a:cubicBezTo>
                      <a:cubicBezTo>
                        <a:pt x="3" y="129"/>
                        <a:pt x="3" y="129"/>
                        <a:pt x="3" y="129"/>
                      </a:cubicBezTo>
                      <a:cubicBezTo>
                        <a:pt x="2" y="130"/>
                        <a:pt x="1" y="130"/>
                        <a:pt x="1" y="129"/>
                      </a:cubicBezTo>
                      <a:cubicBezTo>
                        <a:pt x="0" y="129"/>
                        <a:pt x="0" y="128"/>
                        <a:pt x="0" y="127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0"/>
                        <a:pt x="0" y="69"/>
                        <a:pt x="1" y="69"/>
                      </a:cubicBezTo>
                      <a:cubicBezTo>
                        <a:pt x="10" y="64"/>
                        <a:pt x="10" y="64"/>
                        <a:pt x="10" y="64"/>
                      </a:cubicBezTo>
                      <a:cubicBezTo>
                        <a:pt x="10" y="63"/>
                        <a:pt x="11" y="63"/>
                        <a:pt x="12" y="64"/>
                      </a:cubicBezTo>
                      <a:cubicBezTo>
                        <a:pt x="16" y="66"/>
                        <a:pt x="16" y="66"/>
                        <a:pt x="16" y="66"/>
                      </a:cubicBezTo>
                      <a:cubicBezTo>
                        <a:pt x="130" y="0"/>
                        <a:pt x="130" y="0"/>
                        <a:pt x="130" y="0"/>
                      </a:cubicBezTo>
                      <a:cubicBezTo>
                        <a:pt x="131" y="0"/>
                        <a:pt x="132" y="0"/>
                        <a:pt x="132" y="0"/>
                      </a:cubicBezTo>
                      <a:cubicBezTo>
                        <a:pt x="133" y="1"/>
                        <a:pt x="133" y="1"/>
                        <a:pt x="133" y="2"/>
                      </a:cubicBezTo>
                      <a:cubicBezTo>
                        <a:pt x="133" y="146"/>
                        <a:pt x="133" y="146"/>
                        <a:pt x="133" y="146"/>
                      </a:cubicBezTo>
                      <a:cubicBezTo>
                        <a:pt x="133" y="146"/>
                        <a:pt x="133" y="147"/>
                        <a:pt x="132" y="147"/>
                      </a:cubicBezTo>
                      <a:cubicBezTo>
                        <a:pt x="126" y="151"/>
                        <a:pt x="126" y="151"/>
                        <a:pt x="126" y="151"/>
                      </a:cubicBezTo>
                      <a:cubicBezTo>
                        <a:pt x="126" y="151"/>
                        <a:pt x="126" y="151"/>
                        <a:pt x="125" y="151"/>
                      </a:cubicBezTo>
                      <a:close/>
                      <a:moveTo>
                        <a:pt x="45" y="101"/>
                      </a:moveTo>
                      <a:cubicBezTo>
                        <a:pt x="45" y="101"/>
                        <a:pt x="46" y="101"/>
                        <a:pt x="46" y="101"/>
                      </a:cubicBezTo>
                      <a:cubicBezTo>
                        <a:pt x="125" y="147"/>
                        <a:pt x="125" y="147"/>
                        <a:pt x="125" y="147"/>
                      </a:cubicBezTo>
                      <a:cubicBezTo>
                        <a:pt x="129" y="144"/>
                        <a:pt x="129" y="144"/>
                        <a:pt x="129" y="144"/>
                      </a:cubicBezTo>
                      <a:cubicBezTo>
                        <a:pt x="129" y="5"/>
                        <a:pt x="129" y="5"/>
                        <a:pt x="129" y="5"/>
                      </a:cubicBezTo>
                      <a:cubicBezTo>
                        <a:pt x="17" y="70"/>
                        <a:pt x="17" y="70"/>
                        <a:pt x="17" y="70"/>
                      </a:cubicBezTo>
                      <a:cubicBezTo>
                        <a:pt x="17" y="71"/>
                        <a:pt x="16" y="71"/>
                        <a:pt x="15" y="70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4" y="124"/>
                        <a:pt x="4" y="124"/>
                        <a:pt x="4" y="124"/>
                      </a:cubicBezTo>
                      <a:cubicBezTo>
                        <a:pt x="44" y="101"/>
                        <a:pt x="44" y="101"/>
                        <a:pt x="44" y="101"/>
                      </a:cubicBezTo>
                      <a:cubicBezTo>
                        <a:pt x="44" y="101"/>
                        <a:pt x="45" y="101"/>
                        <a:pt x="45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1" name="Freeform 954">
                  <a:extLst>
                    <a:ext uri="{FF2B5EF4-FFF2-40B4-BE49-F238E27FC236}">
                      <a16:creationId xmlns:a16="http://schemas.microsoft.com/office/drawing/2014/main" id="{8699F2F3-1420-4CB6-B27E-3201FB617A5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57" y="2641"/>
                  <a:ext cx="210" cy="137"/>
                </a:xfrm>
                <a:custGeom>
                  <a:avLst/>
                  <a:gdLst>
                    <a:gd name="T0" fmla="*/ 87 w 89"/>
                    <a:gd name="T1" fmla="*/ 58 h 58"/>
                    <a:gd name="T2" fmla="*/ 86 w 89"/>
                    <a:gd name="T3" fmla="*/ 57 h 58"/>
                    <a:gd name="T4" fmla="*/ 1 w 89"/>
                    <a:gd name="T5" fmla="*/ 8 h 58"/>
                    <a:gd name="T6" fmla="*/ 0 w 89"/>
                    <a:gd name="T7" fmla="*/ 7 h 58"/>
                    <a:gd name="T8" fmla="*/ 1 w 89"/>
                    <a:gd name="T9" fmla="*/ 5 h 58"/>
                    <a:gd name="T10" fmla="*/ 9 w 89"/>
                    <a:gd name="T11" fmla="*/ 0 h 58"/>
                    <a:gd name="T12" fmla="*/ 11 w 89"/>
                    <a:gd name="T13" fmla="*/ 0 h 58"/>
                    <a:gd name="T14" fmla="*/ 88 w 89"/>
                    <a:gd name="T15" fmla="*/ 45 h 58"/>
                    <a:gd name="T16" fmla="*/ 89 w 89"/>
                    <a:gd name="T17" fmla="*/ 47 h 58"/>
                    <a:gd name="T18" fmla="*/ 89 w 89"/>
                    <a:gd name="T19" fmla="*/ 56 h 58"/>
                    <a:gd name="T20" fmla="*/ 88 w 89"/>
                    <a:gd name="T21" fmla="*/ 57 h 58"/>
                    <a:gd name="T22" fmla="*/ 87 w 89"/>
                    <a:gd name="T23" fmla="*/ 58 h 58"/>
                    <a:gd name="T24" fmla="*/ 6 w 89"/>
                    <a:gd name="T25" fmla="*/ 7 h 58"/>
                    <a:gd name="T26" fmla="*/ 85 w 89"/>
                    <a:gd name="T27" fmla="*/ 52 h 58"/>
                    <a:gd name="T28" fmla="*/ 85 w 89"/>
                    <a:gd name="T29" fmla="*/ 48 h 58"/>
                    <a:gd name="T30" fmla="*/ 10 w 89"/>
                    <a:gd name="T31" fmla="*/ 4 h 58"/>
                    <a:gd name="T32" fmla="*/ 6 w 89"/>
                    <a:gd name="T33" fmla="*/ 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9" h="58">
                      <a:moveTo>
                        <a:pt x="87" y="58"/>
                      </a:moveTo>
                      <a:cubicBezTo>
                        <a:pt x="87" y="58"/>
                        <a:pt x="87" y="57"/>
                        <a:pt x="86" y="57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1" y="8"/>
                        <a:pt x="0" y="7"/>
                        <a:pt x="0" y="7"/>
                      </a:cubicBezTo>
                      <a:cubicBezTo>
                        <a:pt x="0" y="6"/>
                        <a:pt x="1" y="5"/>
                        <a:pt x="1" y="5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1" y="0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89" y="45"/>
                        <a:pt x="89" y="46"/>
                        <a:pt x="89" y="47"/>
                      </a:cubicBezTo>
                      <a:cubicBezTo>
                        <a:pt x="89" y="56"/>
                        <a:pt x="89" y="56"/>
                        <a:pt x="89" y="56"/>
                      </a:cubicBezTo>
                      <a:cubicBezTo>
                        <a:pt x="89" y="56"/>
                        <a:pt x="89" y="57"/>
                        <a:pt x="88" y="57"/>
                      </a:cubicBezTo>
                      <a:cubicBezTo>
                        <a:pt x="88" y="57"/>
                        <a:pt x="88" y="58"/>
                        <a:pt x="87" y="58"/>
                      </a:cubicBezTo>
                      <a:close/>
                      <a:moveTo>
                        <a:pt x="6" y="7"/>
                      </a:moveTo>
                      <a:cubicBezTo>
                        <a:pt x="85" y="52"/>
                        <a:pt x="85" y="52"/>
                        <a:pt x="85" y="52"/>
                      </a:cubicBezTo>
                      <a:cubicBezTo>
                        <a:pt x="85" y="48"/>
                        <a:pt x="85" y="48"/>
                        <a:pt x="85" y="48"/>
                      </a:cubicBezTo>
                      <a:cubicBezTo>
                        <a:pt x="10" y="4"/>
                        <a:pt x="10" y="4"/>
                        <a:pt x="10" y="4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" name="Freeform 955">
                  <a:extLst>
                    <a:ext uri="{FF2B5EF4-FFF2-40B4-BE49-F238E27FC236}">
                      <a16:creationId xmlns:a16="http://schemas.microsoft.com/office/drawing/2014/main" id="{A456AADC-7DC6-40B8-A9DA-54377F47EF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95" y="1734"/>
                  <a:ext cx="373" cy="364"/>
                </a:xfrm>
                <a:custGeom>
                  <a:avLst/>
                  <a:gdLst>
                    <a:gd name="T0" fmla="*/ 121 w 158"/>
                    <a:gd name="T1" fmla="*/ 154 h 154"/>
                    <a:gd name="T2" fmla="*/ 120 w 158"/>
                    <a:gd name="T3" fmla="*/ 154 h 154"/>
                    <a:gd name="T4" fmla="*/ 119 w 158"/>
                    <a:gd name="T5" fmla="*/ 152 h 154"/>
                    <a:gd name="T6" fmla="*/ 119 w 158"/>
                    <a:gd name="T7" fmla="*/ 90 h 154"/>
                    <a:gd name="T8" fmla="*/ 1 w 158"/>
                    <a:gd name="T9" fmla="*/ 22 h 154"/>
                    <a:gd name="T10" fmla="*/ 0 w 158"/>
                    <a:gd name="T11" fmla="*/ 20 h 154"/>
                    <a:gd name="T12" fmla="*/ 1 w 158"/>
                    <a:gd name="T13" fmla="*/ 18 h 154"/>
                    <a:gd name="T14" fmla="*/ 32 w 158"/>
                    <a:gd name="T15" fmla="*/ 0 h 154"/>
                    <a:gd name="T16" fmla="*/ 34 w 158"/>
                    <a:gd name="T17" fmla="*/ 0 h 154"/>
                    <a:gd name="T18" fmla="*/ 157 w 158"/>
                    <a:gd name="T19" fmla="*/ 72 h 154"/>
                    <a:gd name="T20" fmla="*/ 158 w 158"/>
                    <a:gd name="T21" fmla="*/ 73 h 154"/>
                    <a:gd name="T22" fmla="*/ 157 w 158"/>
                    <a:gd name="T23" fmla="*/ 75 h 154"/>
                    <a:gd name="T24" fmla="*/ 149 w 158"/>
                    <a:gd name="T25" fmla="*/ 80 h 154"/>
                    <a:gd name="T26" fmla="*/ 149 w 158"/>
                    <a:gd name="T27" fmla="*/ 137 h 154"/>
                    <a:gd name="T28" fmla="*/ 148 w 158"/>
                    <a:gd name="T29" fmla="*/ 139 h 154"/>
                    <a:gd name="T30" fmla="*/ 122 w 158"/>
                    <a:gd name="T31" fmla="*/ 154 h 154"/>
                    <a:gd name="T32" fmla="*/ 121 w 158"/>
                    <a:gd name="T33" fmla="*/ 154 h 154"/>
                    <a:gd name="T34" fmla="*/ 6 w 158"/>
                    <a:gd name="T35" fmla="*/ 20 h 154"/>
                    <a:gd name="T36" fmla="*/ 122 w 158"/>
                    <a:gd name="T37" fmla="*/ 87 h 154"/>
                    <a:gd name="T38" fmla="*/ 123 w 158"/>
                    <a:gd name="T39" fmla="*/ 89 h 154"/>
                    <a:gd name="T40" fmla="*/ 123 w 158"/>
                    <a:gd name="T41" fmla="*/ 149 h 154"/>
                    <a:gd name="T42" fmla="*/ 145 w 158"/>
                    <a:gd name="T43" fmla="*/ 136 h 154"/>
                    <a:gd name="T44" fmla="*/ 145 w 158"/>
                    <a:gd name="T45" fmla="*/ 79 h 154"/>
                    <a:gd name="T46" fmla="*/ 146 w 158"/>
                    <a:gd name="T47" fmla="*/ 77 h 154"/>
                    <a:gd name="T48" fmla="*/ 152 w 158"/>
                    <a:gd name="T49" fmla="*/ 73 h 154"/>
                    <a:gd name="T50" fmla="*/ 33 w 158"/>
                    <a:gd name="T51" fmla="*/ 5 h 154"/>
                    <a:gd name="T52" fmla="*/ 6 w 158"/>
                    <a:gd name="T53" fmla="*/ 2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8" h="154">
                      <a:moveTo>
                        <a:pt x="121" y="154"/>
                      </a:moveTo>
                      <a:cubicBezTo>
                        <a:pt x="121" y="154"/>
                        <a:pt x="121" y="154"/>
                        <a:pt x="120" y="154"/>
                      </a:cubicBezTo>
                      <a:cubicBezTo>
                        <a:pt x="120" y="154"/>
                        <a:pt x="119" y="153"/>
                        <a:pt x="119" y="152"/>
                      </a:cubicBezTo>
                      <a:cubicBezTo>
                        <a:pt x="119" y="90"/>
                        <a:pt x="119" y="90"/>
                        <a:pt x="119" y="90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1"/>
                        <a:pt x="0" y="21"/>
                        <a:pt x="0" y="20"/>
                      </a:cubicBezTo>
                      <a:cubicBezTo>
                        <a:pt x="0" y="19"/>
                        <a:pt x="0" y="18"/>
                        <a:pt x="1" y="18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157" y="72"/>
                        <a:pt x="157" y="72"/>
                        <a:pt x="157" y="72"/>
                      </a:cubicBezTo>
                      <a:cubicBezTo>
                        <a:pt x="158" y="72"/>
                        <a:pt x="158" y="73"/>
                        <a:pt x="158" y="73"/>
                      </a:cubicBezTo>
                      <a:cubicBezTo>
                        <a:pt x="158" y="74"/>
                        <a:pt x="158" y="75"/>
                        <a:pt x="157" y="75"/>
                      </a:cubicBezTo>
                      <a:cubicBezTo>
                        <a:pt x="149" y="80"/>
                        <a:pt x="149" y="80"/>
                        <a:pt x="149" y="80"/>
                      </a:cubicBezTo>
                      <a:cubicBezTo>
                        <a:pt x="149" y="137"/>
                        <a:pt x="149" y="137"/>
                        <a:pt x="149" y="137"/>
                      </a:cubicBezTo>
                      <a:cubicBezTo>
                        <a:pt x="149" y="138"/>
                        <a:pt x="149" y="139"/>
                        <a:pt x="148" y="139"/>
                      </a:cubicBezTo>
                      <a:cubicBezTo>
                        <a:pt x="122" y="154"/>
                        <a:pt x="122" y="154"/>
                        <a:pt x="122" y="154"/>
                      </a:cubicBezTo>
                      <a:cubicBezTo>
                        <a:pt x="122" y="154"/>
                        <a:pt x="122" y="154"/>
                        <a:pt x="121" y="154"/>
                      </a:cubicBezTo>
                      <a:close/>
                      <a:moveTo>
                        <a:pt x="6" y="20"/>
                      </a:moveTo>
                      <a:cubicBezTo>
                        <a:pt x="122" y="87"/>
                        <a:pt x="122" y="87"/>
                        <a:pt x="122" y="87"/>
                      </a:cubicBezTo>
                      <a:cubicBezTo>
                        <a:pt x="123" y="87"/>
                        <a:pt x="123" y="88"/>
                        <a:pt x="123" y="89"/>
                      </a:cubicBezTo>
                      <a:cubicBezTo>
                        <a:pt x="123" y="149"/>
                        <a:pt x="123" y="149"/>
                        <a:pt x="123" y="149"/>
                      </a:cubicBezTo>
                      <a:cubicBezTo>
                        <a:pt x="145" y="136"/>
                        <a:pt x="145" y="136"/>
                        <a:pt x="145" y="136"/>
                      </a:cubicBezTo>
                      <a:cubicBezTo>
                        <a:pt x="145" y="79"/>
                        <a:pt x="145" y="79"/>
                        <a:pt x="145" y="79"/>
                      </a:cubicBezTo>
                      <a:cubicBezTo>
                        <a:pt x="145" y="78"/>
                        <a:pt x="145" y="77"/>
                        <a:pt x="146" y="77"/>
                      </a:cubicBezTo>
                      <a:cubicBezTo>
                        <a:pt x="152" y="73"/>
                        <a:pt x="152" y="73"/>
                        <a:pt x="152" y="73"/>
                      </a:cubicBezTo>
                      <a:cubicBezTo>
                        <a:pt x="33" y="5"/>
                        <a:pt x="33" y="5"/>
                        <a:pt x="33" y="5"/>
                      </a:cubicBezTo>
                      <a:lnTo>
                        <a:pt x="6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3" name="Freeform 956">
                  <a:extLst>
                    <a:ext uri="{FF2B5EF4-FFF2-40B4-BE49-F238E27FC236}">
                      <a16:creationId xmlns:a16="http://schemas.microsoft.com/office/drawing/2014/main" id="{5E9B859B-BA6A-4589-8B88-06B51739BA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64" y="1609"/>
                  <a:ext cx="217" cy="130"/>
                </a:xfrm>
                <a:custGeom>
                  <a:avLst/>
                  <a:gdLst>
                    <a:gd name="T0" fmla="*/ 4 w 92"/>
                    <a:gd name="T1" fmla="*/ 55 h 55"/>
                    <a:gd name="T2" fmla="*/ 3 w 92"/>
                    <a:gd name="T3" fmla="*/ 55 h 55"/>
                    <a:gd name="T4" fmla="*/ 1 w 92"/>
                    <a:gd name="T5" fmla="*/ 54 h 55"/>
                    <a:gd name="T6" fmla="*/ 0 w 92"/>
                    <a:gd name="T7" fmla="*/ 52 h 55"/>
                    <a:gd name="T8" fmla="*/ 1 w 92"/>
                    <a:gd name="T9" fmla="*/ 51 h 55"/>
                    <a:gd name="T10" fmla="*/ 89 w 92"/>
                    <a:gd name="T11" fmla="*/ 0 h 55"/>
                    <a:gd name="T12" fmla="*/ 91 w 92"/>
                    <a:gd name="T13" fmla="*/ 0 h 55"/>
                    <a:gd name="T14" fmla="*/ 92 w 92"/>
                    <a:gd name="T15" fmla="*/ 2 h 55"/>
                    <a:gd name="T16" fmla="*/ 92 w 92"/>
                    <a:gd name="T17" fmla="*/ 3 h 55"/>
                    <a:gd name="T18" fmla="*/ 91 w 92"/>
                    <a:gd name="T19" fmla="*/ 5 h 55"/>
                    <a:gd name="T20" fmla="*/ 5 w 92"/>
                    <a:gd name="T21" fmla="*/ 55 h 55"/>
                    <a:gd name="T22" fmla="*/ 4 w 92"/>
                    <a:gd name="T23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2" h="55">
                      <a:moveTo>
                        <a:pt x="4" y="55"/>
                      </a:moveTo>
                      <a:cubicBezTo>
                        <a:pt x="3" y="55"/>
                        <a:pt x="3" y="55"/>
                        <a:pt x="3" y="55"/>
                      </a:cubicBezTo>
                      <a:cubicBezTo>
                        <a:pt x="1" y="54"/>
                        <a:pt x="1" y="54"/>
                        <a:pt x="1" y="54"/>
                      </a:cubicBezTo>
                      <a:cubicBezTo>
                        <a:pt x="1" y="54"/>
                        <a:pt x="0" y="53"/>
                        <a:pt x="0" y="52"/>
                      </a:cubicBezTo>
                      <a:cubicBezTo>
                        <a:pt x="0" y="52"/>
                        <a:pt x="1" y="51"/>
                        <a:pt x="1" y="51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90" y="0"/>
                        <a:pt x="90" y="0"/>
                        <a:pt x="91" y="0"/>
                      </a:cubicBezTo>
                      <a:cubicBezTo>
                        <a:pt x="92" y="0"/>
                        <a:pt x="92" y="1"/>
                        <a:pt x="92" y="2"/>
                      </a:cubicBezTo>
                      <a:cubicBezTo>
                        <a:pt x="92" y="3"/>
                        <a:pt x="92" y="3"/>
                        <a:pt x="92" y="3"/>
                      </a:cubicBezTo>
                      <a:cubicBezTo>
                        <a:pt x="92" y="4"/>
                        <a:pt x="92" y="5"/>
                        <a:pt x="91" y="5"/>
                      </a:cubicBezTo>
                      <a:cubicBezTo>
                        <a:pt x="5" y="55"/>
                        <a:pt x="5" y="55"/>
                        <a:pt x="5" y="55"/>
                      </a:cubicBezTo>
                      <a:cubicBezTo>
                        <a:pt x="4" y="55"/>
                        <a:pt x="4" y="55"/>
                        <a:pt x="4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4" name="Freeform 957">
                  <a:extLst>
                    <a:ext uri="{FF2B5EF4-FFF2-40B4-BE49-F238E27FC236}">
                      <a16:creationId xmlns:a16="http://schemas.microsoft.com/office/drawing/2014/main" id="{E91FBB0F-2978-4A9F-AC02-AC5C498EE6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76" y="2256"/>
                  <a:ext cx="19" cy="19"/>
                </a:xfrm>
                <a:custGeom>
                  <a:avLst/>
                  <a:gdLst>
                    <a:gd name="T0" fmla="*/ 2 w 8"/>
                    <a:gd name="T1" fmla="*/ 8 h 8"/>
                    <a:gd name="T2" fmla="*/ 1 w 8"/>
                    <a:gd name="T3" fmla="*/ 7 h 8"/>
                    <a:gd name="T4" fmla="*/ 0 w 8"/>
                    <a:gd name="T5" fmla="*/ 6 h 8"/>
                    <a:gd name="T6" fmla="*/ 0 w 8"/>
                    <a:gd name="T7" fmla="*/ 2 h 8"/>
                    <a:gd name="T8" fmla="*/ 1 w 8"/>
                    <a:gd name="T9" fmla="*/ 0 h 8"/>
                    <a:gd name="T10" fmla="*/ 3 w 8"/>
                    <a:gd name="T11" fmla="*/ 0 h 8"/>
                    <a:gd name="T12" fmla="*/ 7 w 8"/>
                    <a:gd name="T13" fmla="*/ 2 h 8"/>
                    <a:gd name="T14" fmla="*/ 8 w 8"/>
                    <a:gd name="T15" fmla="*/ 4 h 8"/>
                    <a:gd name="T16" fmla="*/ 7 w 8"/>
                    <a:gd name="T17" fmla="*/ 6 h 8"/>
                    <a:gd name="T18" fmla="*/ 3 w 8"/>
                    <a:gd name="T19" fmla="*/ 7 h 8"/>
                    <a:gd name="T20" fmla="*/ 2 w 8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8">
                      <a:moveTo>
                        <a:pt x="2" y="8"/>
                      </a:moveTo>
                      <a:cubicBezTo>
                        <a:pt x="2" y="8"/>
                        <a:pt x="2" y="8"/>
                        <a:pt x="1" y="7"/>
                      </a:cubicBezTo>
                      <a:cubicBezTo>
                        <a:pt x="1" y="7"/>
                        <a:pt x="0" y="6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7" y="2"/>
                        <a:pt x="7" y="2"/>
                        <a:pt x="7" y="2"/>
                      </a:cubicBezTo>
                      <a:cubicBezTo>
                        <a:pt x="7" y="3"/>
                        <a:pt x="8" y="3"/>
                        <a:pt x="8" y="4"/>
                      </a:cubicBezTo>
                      <a:cubicBezTo>
                        <a:pt x="8" y="5"/>
                        <a:pt x="7" y="5"/>
                        <a:pt x="7" y="6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8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5" name="Freeform 958">
                  <a:extLst>
                    <a:ext uri="{FF2B5EF4-FFF2-40B4-BE49-F238E27FC236}">
                      <a16:creationId xmlns:a16="http://schemas.microsoft.com/office/drawing/2014/main" id="{81D6C25A-92E2-4AE7-B37D-B6ECFE54E0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76" y="2058"/>
                  <a:ext cx="477" cy="295"/>
                </a:xfrm>
                <a:custGeom>
                  <a:avLst/>
                  <a:gdLst>
                    <a:gd name="T0" fmla="*/ 73 w 202"/>
                    <a:gd name="T1" fmla="*/ 125 h 125"/>
                    <a:gd name="T2" fmla="*/ 72 w 202"/>
                    <a:gd name="T3" fmla="*/ 125 h 125"/>
                    <a:gd name="T4" fmla="*/ 1 w 202"/>
                    <a:gd name="T5" fmla="*/ 84 h 125"/>
                    <a:gd name="T6" fmla="*/ 0 w 202"/>
                    <a:gd name="T7" fmla="*/ 83 h 125"/>
                    <a:gd name="T8" fmla="*/ 0 w 202"/>
                    <a:gd name="T9" fmla="*/ 17 h 125"/>
                    <a:gd name="T10" fmla="*/ 1 w 202"/>
                    <a:gd name="T11" fmla="*/ 15 h 125"/>
                    <a:gd name="T12" fmla="*/ 27 w 202"/>
                    <a:gd name="T13" fmla="*/ 1 h 125"/>
                    <a:gd name="T14" fmla="*/ 29 w 202"/>
                    <a:gd name="T15" fmla="*/ 1 h 125"/>
                    <a:gd name="T16" fmla="*/ 30 w 202"/>
                    <a:gd name="T17" fmla="*/ 2 h 125"/>
                    <a:gd name="T18" fmla="*/ 30 w 202"/>
                    <a:gd name="T19" fmla="*/ 92 h 125"/>
                    <a:gd name="T20" fmla="*/ 152 w 202"/>
                    <a:gd name="T21" fmla="*/ 21 h 125"/>
                    <a:gd name="T22" fmla="*/ 154 w 202"/>
                    <a:gd name="T23" fmla="*/ 21 h 125"/>
                    <a:gd name="T24" fmla="*/ 201 w 202"/>
                    <a:gd name="T25" fmla="*/ 48 h 125"/>
                    <a:gd name="T26" fmla="*/ 202 w 202"/>
                    <a:gd name="T27" fmla="*/ 50 h 125"/>
                    <a:gd name="T28" fmla="*/ 201 w 202"/>
                    <a:gd name="T29" fmla="*/ 52 h 125"/>
                    <a:gd name="T30" fmla="*/ 74 w 202"/>
                    <a:gd name="T31" fmla="*/ 125 h 125"/>
                    <a:gd name="T32" fmla="*/ 73 w 202"/>
                    <a:gd name="T33" fmla="*/ 125 h 125"/>
                    <a:gd name="T34" fmla="*/ 30 w 202"/>
                    <a:gd name="T35" fmla="*/ 96 h 125"/>
                    <a:gd name="T36" fmla="*/ 73 w 202"/>
                    <a:gd name="T37" fmla="*/ 121 h 125"/>
                    <a:gd name="T38" fmla="*/ 196 w 202"/>
                    <a:gd name="T39" fmla="*/ 50 h 125"/>
                    <a:gd name="T40" fmla="*/ 153 w 202"/>
                    <a:gd name="T41" fmla="*/ 25 h 125"/>
                    <a:gd name="T42" fmla="*/ 30 w 202"/>
                    <a:gd name="T43" fmla="*/ 96 h 125"/>
                    <a:gd name="T44" fmla="*/ 4 w 202"/>
                    <a:gd name="T45" fmla="*/ 82 h 125"/>
                    <a:gd name="T46" fmla="*/ 26 w 202"/>
                    <a:gd name="T47" fmla="*/ 94 h 125"/>
                    <a:gd name="T48" fmla="*/ 26 w 202"/>
                    <a:gd name="T49" fmla="*/ 6 h 125"/>
                    <a:gd name="T50" fmla="*/ 4 w 202"/>
                    <a:gd name="T51" fmla="*/ 18 h 125"/>
                    <a:gd name="T52" fmla="*/ 4 w 202"/>
                    <a:gd name="T53" fmla="*/ 82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2" h="125">
                      <a:moveTo>
                        <a:pt x="73" y="125"/>
                      </a:moveTo>
                      <a:cubicBezTo>
                        <a:pt x="73" y="125"/>
                        <a:pt x="72" y="125"/>
                        <a:pt x="72" y="125"/>
                      </a:cubicBezTo>
                      <a:cubicBezTo>
                        <a:pt x="1" y="84"/>
                        <a:pt x="1" y="84"/>
                        <a:pt x="1" y="84"/>
                      </a:cubicBezTo>
                      <a:cubicBezTo>
                        <a:pt x="1" y="84"/>
                        <a:pt x="0" y="83"/>
                        <a:pt x="0" y="8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6"/>
                        <a:pt x="1" y="16"/>
                        <a:pt x="1" y="15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8" y="0"/>
                        <a:pt x="28" y="0"/>
                        <a:pt x="29" y="1"/>
                      </a:cubicBezTo>
                      <a:cubicBezTo>
                        <a:pt x="30" y="1"/>
                        <a:pt x="30" y="2"/>
                        <a:pt x="30" y="2"/>
                      </a:cubicBezTo>
                      <a:cubicBezTo>
                        <a:pt x="30" y="92"/>
                        <a:pt x="30" y="92"/>
                        <a:pt x="30" y="92"/>
                      </a:cubicBezTo>
                      <a:cubicBezTo>
                        <a:pt x="152" y="21"/>
                        <a:pt x="152" y="21"/>
                        <a:pt x="152" y="21"/>
                      </a:cubicBezTo>
                      <a:cubicBezTo>
                        <a:pt x="153" y="21"/>
                        <a:pt x="154" y="21"/>
                        <a:pt x="154" y="21"/>
                      </a:cubicBezTo>
                      <a:cubicBezTo>
                        <a:pt x="201" y="48"/>
                        <a:pt x="201" y="48"/>
                        <a:pt x="201" y="48"/>
                      </a:cubicBezTo>
                      <a:cubicBezTo>
                        <a:pt x="202" y="48"/>
                        <a:pt x="202" y="49"/>
                        <a:pt x="202" y="50"/>
                      </a:cubicBezTo>
                      <a:cubicBezTo>
                        <a:pt x="202" y="51"/>
                        <a:pt x="202" y="51"/>
                        <a:pt x="201" y="52"/>
                      </a:cubicBezTo>
                      <a:cubicBezTo>
                        <a:pt x="74" y="125"/>
                        <a:pt x="74" y="125"/>
                        <a:pt x="74" y="125"/>
                      </a:cubicBezTo>
                      <a:cubicBezTo>
                        <a:pt x="74" y="125"/>
                        <a:pt x="73" y="125"/>
                        <a:pt x="73" y="125"/>
                      </a:cubicBezTo>
                      <a:close/>
                      <a:moveTo>
                        <a:pt x="30" y="96"/>
                      </a:moveTo>
                      <a:cubicBezTo>
                        <a:pt x="73" y="121"/>
                        <a:pt x="73" y="121"/>
                        <a:pt x="73" y="121"/>
                      </a:cubicBezTo>
                      <a:cubicBezTo>
                        <a:pt x="196" y="50"/>
                        <a:pt x="196" y="50"/>
                        <a:pt x="196" y="50"/>
                      </a:cubicBezTo>
                      <a:cubicBezTo>
                        <a:pt x="153" y="25"/>
                        <a:pt x="153" y="25"/>
                        <a:pt x="153" y="25"/>
                      </a:cubicBezTo>
                      <a:lnTo>
                        <a:pt x="30" y="96"/>
                      </a:lnTo>
                      <a:close/>
                      <a:moveTo>
                        <a:pt x="4" y="82"/>
                      </a:moveTo>
                      <a:cubicBezTo>
                        <a:pt x="26" y="94"/>
                        <a:pt x="26" y="94"/>
                        <a:pt x="26" y="94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4" y="18"/>
                        <a:pt x="4" y="18"/>
                        <a:pt x="4" y="18"/>
                      </a:cubicBezTo>
                      <a:lnTo>
                        <a:pt x="4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6" name="Freeform 959">
                  <a:extLst>
                    <a:ext uri="{FF2B5EF4-FFF2-40B4-BE49-F238E27FC236}">
                      <a16:creationId xmlns:a16="http://schemas.microsoft.com/office/drawing/2014/main" id="{9DDF3B2A-BC40-47AF-AB91-4B42C48D43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1025"/>
                  <a:ext cx="31" cy="33"/>
                </a:xfrm>
                <a:custGeom>
                  <a:avLst/>
                  <a:gdLst>
                    <a:gd name="T0" fmla="*/ 2 w 13"/>
                    <a:gd name="T1" fmla="*/ 14 h 14"/>
                    <a:gd name="T2" fmla="*/ 1 w 13"/>
                    <a:gd name="T3" fmla="*/ 13 h 14"/>
                    <a:gd name="T4" fmla="*/ 0 w 13"/>
                    <a:gd name="T5" fmla="*/ 12 h 14"/>
                    <a:gd name="T6" fmla="*/ 0 w 13"/>
                    <a:gd name="T7" fmla="*/ 2 h 14"/>
                    <a:gd name="T8" fmla="*/ 1 w 13"/>
                    <a:gd name="T9" fmla="*/ 0 h 14"/>
                    <a:gd name="T10" fmla="*/ 3 w 13"/>
                    <a:gd name="T11" fmla="*/ 0 h 14"/>
                    <a:gd name="T12" fmla="*/ 12 w 13"/>
                    <a:gd name="T13" fmla="*/ 5 h 14"/>
                    <a:gd name="T14" fmla="*/ 13 w 13"/>
                    <a:gd name="T15" fmla="*/ 7 h 14"/>
                    <a:gd name="T16" fmla="*/ 12 w 13"/>
                    <a:gd name="T17" fmla="*/ 8 h 14"/>
                    <a:gd name="T18" fmla="*/ 3 w 13"/>
                    <a:gd name="T19" fmla="*/ 13 h 14"/>
                    <a:gd name="T20" fmla="*/ 2 w 13"/>
                    <a:gd name="T21" fmla="*/ 14 h 14"/>
                    <a:gd name="T22" fmla="*/ 4 w 13"/>
                    <a:gd name="T23" fmla="*/ 5 h 14"/>
                    <a:gd name="T24" fmla="*/ 4 w 13"/>
                    <a:gd name="T25" fmla="*/ 8 h 14"/>
                    <a:gd name="T26" fmla="*/ 7 w 13"/>
                    <a:gd name="T27" fmla="*/ 7 h 14"/>
                    <a:gd name="T28" fmla="*/ 4 w 13"/>
                    <a:gd name="T29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4">
                      <a:moveTo>
                        <a:pt x="2" y="14"/>
                      </a:moveTo>
                      <a:cubicBezTo>
                        <a:pt x="2" y="14"/>
                        <a:pt x="2" y="13"/>
                        <a:pt x="1" y="13"/>
                      </a:cubicBezTo>
                      <a:cubicBezTo>
                        <a:pt x="1" y="13"/>
                        <a:pt x="0" y="12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2" y="5"/>
                        <a:pt x="13" y="6"/>
                        <a:pt x="13" y="7"/>
                      </a:cubicBezTo>
                      <a:cubicBezTo>
                        <a:pt x="13" y="7"/>
                        <a:pt x="12" y="8"/>
                        <a:pt x="12" y="8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3"/>
                        <a:pt x="3" y="14"/>
                        <a:pt x="2" y="14"/>
                      </a:cubicBezTo>
                      <a:close/>
                      <a:moveTo>
                        <a:pt x="4" y="5"/>
                      </a:move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7" y="7"/>
                        <a:pt x="7" y="7"/>
                        <a:pt x="7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7" name="Freeform 960">
                  <a:extLst>
                    <a:ext uri="{FF2B5EF4-FFF2-40B4-BE49-F238E27FC236}">
                      <a16:creationId xmlns:a16="http://schemas.microsoft.com/office/drawing/2014/main" id="{0FD511B9-F5E9-4A5A-A2DA-4C5FE84C2B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88" y="1285"/>
                  <a:ext cx="293" cy="499"/>
                </a:xfrm>
                <a:custGeom>
                  <a:avLst/>
                  <a:gdLst>
                    <a:gd name="T0" fmla="*/ 3 w 124"/>
                    <a:gd name="T1" fmla="*/ 211 h 211"/>
                    <a:gd name="T2" fmla="*/ 2 w 124"/>
                    <a:gd name="T3" fmla="*/ 211 h 211"/>
                    <a:gd name="T4" fmla="*/ 1 w 124"/>
                    <a:gd name="T5" fmla="*/ 210 h 211"/>
                    <a:gd name="T6" fmla="*/ 0 w 124"/>
                    <a:gd name="T7" fmla="*/ 208 h 211"/>
                    <a:gd name="T8" fmla="*/ 0 w 124"/>
                    <a:gd name="T9" fmla="*/ 71 h 211"/>
                    <a:gd name="T10" fmla="*/ 1 w 124"/>
                    <a:gd name="T11" fmla="*/ 70 h 211"/>
                    <a:gd name="T12" fmla="*/ 121 w 124"/>
                    <a:gd name="T13" fmla="*/ 1 h 211"/>
                    <a:gd name="T14" fmla="*/ 123 w 124"/>
                    <a:gd name="T15" fmla="*/ 1 h 211"/>
                    <a:gd name="T16" fmla="*/ 124 w 124"/>
                    <a:gd name="T17" fmla="*/ 2 h 211"/>
                    <a:gd name="T18" fmla="*/ 124 w 124"/>
                    <a:gd name="T19" fmla="*/ 137 h 211"/>
                    <a:gd name="T20" fmla="*/ 123 w 124"/>
                    <a:gd name="T21" fmla="*/ 139 h 211"/>
                    <a:gd name="T22" fmla="*/ 35 w 124"/>
                    <a:gd name="T23" fmla="*/ 189 h 211"/>
                    <a:gd name="T24" fmla="*/ 35 w 124"/>
                    <a:gd name="T25" fmla="*/ 190 h 211"/>
                    <a:gd name="T26" fmla="*/ 36 w 124"/>
                    <a:gd name="T27" fmla="*/ 191 h 211"/>
                    <a:gd name="T28" fmla="*/ 35 w 124"/>
                    <a:gd name="T29" fmla="*/ 193 h 211"/>
                    <a:gd name="T30" fmla="*/ 4 w 124"/>
                    <a:gd name="T31" fmla="*/ 211 h 211"/>
                    <a:gd name="T32" fmla="*/ 3 w 124"/>
                    <a:gd name="T33" fmla="*/ 211 h 211"/>
                    <a:gd name="T34" fmla="*/ 4 w 124"/>
                    <a:gd name="T35" fmla="*/ 73 h 211"/>
                    <a:gd name="T36" fmla="*/ 4 w 124"/>
                    <a:gd name="T37" fmla="*/ 206 h 211"/>
                    <a:gd name="T38" fmla="*/ 30 w 124"/>
                    <a:gd name="T39" fmla="*/ 191 h 211"/>
                    <a:gd name="T40" fmla="*/ 30 w 124"/>
                    <a:gd name="T41" fmla="*/ 191 h 211"/>
                    <a:gd name="T42" fmla="*/ 29 w 124"/>
                    <a:gd name="T43" fmla="*/ 189 h 211"/>
                    <a:gd name="T44" fmla="*/ 30 w 124"/>
                    <a:gd name="T45" fmla="*/ 188 h 211"/>
                    <a:gd name="T46" fmla="*/ 120 w 124"/>
                    <a:gd name="T47" fmla="*/ 136 h 211"/>
                    <a:gd name="T48" fmla="*/ 120 w 124"/>
                    <a:gd name="T49" fmla="*/ 6 h 211"/>
                    <a:gd name="T50" fmla="*/ 4 w 124"/>
                    <a:gd name="T51" fmla="*/ 73 h 211"/>
                    <a:gd name="T52" fmla="*/ 122 w 124"/>
                    <a:gd name="T53" fmla="*/ 137 h 211"/>
                    <a:gd name="T54" fmla="*/ 122 w 124"/>
                    <a:gd name="T55" fmla="*/ 137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24" h="211">
                      <a:moveTo>
                        <a:pt x="3" y="211"/>
                      </a:moveTo>
                      <a:cubicBezTo>
                        <a:pt x="3" y="211"/>
                        <a:pt x="3" y="211"/>
                        <a:pt x="2" y="211"/>
                      </a:cubicBezTo>
                      <a:cubicBezTo>
                        <a:pt x="1" y="210"/>
                        <a:pt x="1" y="210"/>
                        <a:pt x="1" y="210"/>
                      </a:cubicBezTo>
                      <a:cubicBezTo>
                        <a:pt x="1" y="210"/>
                        <a:pt x="0" y="209"/>
                        <a:pt x="0" y="208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1"/>
                        <a:pt x="1" y="70"/>
                        <a:pt x="1" y="70"/>
                      </a:cubicBezTo>
                      <a:cubicBezTo>
                        <a:pt x="121" y="1"/>
                        <a:pt x="121" y="1"/>
                        <a:pt x="121" y="1"/>
                      </a:cubicBezTo>
                      <a:cubicBezTo>
                        <a:pt x="122" y="0"/>
                        <a:pt x="122" y="0"/>
                        <a:pt x="123" y="1"/>
                      </a:cubicBezTo>
                      <a:cubicBezTo>
                        <a:pt x="124" y="1"/>
                        <a:pt x="124" y="2"/>
                        <a:pt x="124" y="2"/>
                      </a:cubicBezTo>
                      <a:cubicBezTo>
                        <a:pt x="124" y="137"/>
                        <a:pt x="124" y="137"/>
                        <a:pt x="124" y="137"/>
                      </a:cubicBezTo>
                      <a:cubicBezTo>
                        <a:pt x="124" y="138"/>
                        <a:pt x="124" y="138"/>
                        <a:pt x="123" y="139"/>
                      </a:cubicBezTo>
                      <a:cubicBezTo>
                        <a:pt x="35" y="189"/>
                        <a:pt x="35" y="189"/>
                        <a:pt x="35" y="189"/>
                      </a:cubicBezTo>
                      <a:cubicBezTo>
                        <a:pt x="35" y="190"/>
                        <a:pt x="35" y="190"/>
                        <a:pt x="35" y="190"/>
                      </a:cubicBezTo>
                      <a:cubicBezTo>
                        <a:pt x="36" y="190"/>
                        <a:pt x="36" y="191"/>
                        <a:pt x="36" y="191"/>
                      </a:cubicBezTo>
                      <a:cubicBezTo>
                        <a:pt x="36" y="192"/>
                        <a:pt x="36" y="193"/>
                        <a:pt x="35" y="193"/>
                      </a:cubicBezTo>
                      <a:cubicBezTo>
                        <a:pt x="4" y="211"/>
                        <a:pt x="4" y="211"/>
                        <a:pt x="4" y="211"/>
                      </a:cubicBezTo>
                      <a:cubicBezTo>
                        <a:pt x="4" y="211"/>
                        <a:pt x="4" y="211"/>
                        <a:pt x="3" y="211"/>
                      </a:cubicBezTo>
                      <a:close/>
                      <a:moveTo>
                        <a:pt x="4" y="73"/>
                      </a:moveTo>
                      <a:cubicBezTo>
                        <a:pt x="4" y="206"/>
                        <a:pt x="4" y="206"/>
                        <a:pt x="4" y="206"/>
                      </a:cubicBezTo>
                      <a:cubicBezTo>
                        <a:pt x="30" y="191"/>
                        <a:pt x="30" y="191"/>
                        <a:pt x="30" y="191"/>
                      </a:cubicBezTo>
                      <a:cubicBezTo>
                        <a:pt x="30" y="191"/>
                        <a:pt x="30" y="191"/>
                        <a:pt x="30" y="191"/>
                      </a:cubicBezTo>
                      <a:cubicBezTo>
                        <a:pt x="29" y="191"/>
                        <a:pt x="29" y="190"/>
                        <a:pt x="29" y="189"/>
                      </a:cubicBezTo>
                      <a:cubicBezTo>
                        <a:pt x="29" y="189"/>
                        <a:pt x="29" y="188"/>
                        <a:pt x="30" y="188"/>
                      </a:cubicBezTo>
                      <a:cubicBezTo>
                        <a:pt x="120" y="136"/>
                        <a:pt x="120" y="136"/>
                        <a:pt x="120" y="136"/>
                      </a:cubicBezTo>
                      <a:cubicBezTo>
                        <a:pt x="120" y="6"/>
                        <a:pt x="120" y="6"/>
                        <a:pt x="120" y="6"/>
                      </a:cubicBezTo>
                      <a:lnTo>
                        <a:pt x="4" y="73"/>
                      </a:lnTo>
                      <a:close/>
                      <a:moveTo>
                        <a:pt x="122" y="137"/>
                      </a:moveTo>
                      <a:cubicBezTo>
                        <a:pt x="122" y="137"/>
                        <a:pt x="122" y="137"/>
                        <a:pt x="122" y="1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8" name="Freeform 961">
                  <a:extLst>
                    <a:ext uri="{FF2B5EF4-FFF2-40B4-BE49-F238E27FC236}">
                      <a16:creationId xmlns:a16="http://schemas.microsoft.com/office/drawing/2014/main" id="{E1C9637A-8730-4ACE-8552-3CB2790111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1169"/>
                  <a:ext cx="28" cy="33"/>
                </a:xfrm>
                <a:custGeom>
                  <a:avLst/>
                  <a:gdLst>
                    <a:gd name="T0" fmla="*/ 2 w 12"/>
                    <a:gd name="T1" fmla="*/ 14 h 14"/>
                    <a:gd name="T2" fmla="*/ 1 w 12"/>
                    <a:gd name="T3" fmla="*/ 14 h 14"/>
                    <a:gd name="T4" fmla="*/ 0 w 12"/>
                    <a:gd name="T5" fmla="*/ 12 h 14"/>
                    <a:gd name="T6" fmla="*/ 0 w 12"/>
                    <a:gd name="T7" fmla="*/ 2 h 14"/>
                    <a:gd name="T8" fmla="*/ 1 w 12"/>
                    <a:gd name="T9" fmla="*/ 0 h 14"/>
                    <a:gd name="T10" fmla="*/ 3 w 12"/>
                    <a:gd name="T11" fmla="*/ 0 h 14"/>
                    <a:gd name="T12" fmla="*/ 11 w 12"/>
                    <a:gd name="T13" fmla="*/ 5 h 14"/>
                    <a:gd name="T14" fmla="*/ 12 w 12"/>
                    <a:gd name="T15" fmla="*/ 7 h 14"/>
                    <a:gd name="T16" fmla="*/ 11 w 12"/>
                    <a:gd name="T17" fmla="*/ 9 h 14"/>
                    <a:gd name="T18" fmla="*/ 3 w 12"/>
                    <a:gd name="T19" fmla="*/ 14 h 14"/>
                    <a:gd name="T20" fmla="*/ 2 w 12"/>
                    <a:gd name="T21" fmla="*/ 14 h 14"/>
                    <a:gd name="T22" fmla="*/ 4 w 12"/>
                    <a:gd name="T23" fmla="*/ 6 h 14"/>
                    <a:gd name="T24" fmla="*/ 4 w 12"/>
                    <a:gd name="T25" fmla="*/ 9 h 14"/>
                    <a:gd name="T26" fmla="*/ 6 w 12"/>
                    <a:gd name="T27" fmla="*/ 7 h 14"/>
                    <a:gd name="T28" fmla="*/ 4 w 12"/>
                    <a:gd name="T29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4">
                      <a:moveTo>
                        <a:pt x="2" y="14"/>
                      </a:move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0" y="13"/>
                        <a:pt x="0" y="13"/>
                        <a:pt x="0" y="1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1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6"/>
                        <a:pt x="12" y="6"/>
                        <a:pt x="12" y="7"/>
                      </a:cubicBezTo>
                      <a:cubicBezTo>
                        <a:pt x="12" y="8"/>
                        <a:pt x="12" y="8"/>
                        <a:pt x="11" y="9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2" y="14"/>
                        <a:pt x="2" y="14"/>
                        <a:pt x="2" y="14"/>
                      </a:cubicBezTo>
                      <a:close/>
                      <a:moveTo>
                        <a:pt x="4" y="6"/>
                      </a:move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6" y="7"/>
                        <a:pt x="6" y="7"/>
                        <a:pt x="6" y="7"/>
                      </a:cubicBez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9" name="Freeform 962">
                  <a:extLst>
                    <a:ext uri="{FF2B5EF4-FFF2-40B4-BE49-F238E27FC236}">
                      <a16:creationId xmlns:a16="http://schemas.microsoft.com/office/drawing/2014/main" id="{29CAFAB5-AE58-4D13-9BD1-14F9D6D2FE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42" y="706"/>
                  <a:ext cx="317" cy="383"/>
                </a:xfrm>
                <a:custGeom>
                  <a:avLst/>
                  <a:gdLst>
                    <a:gd name="T0" fmla="*/ 64 w 134"/>
                    <a:gd name="T1" fmla="*/ 162 h 162"/>
                    <a:gd name="T2" fmla="*/ 63 w 134"/>
                    <a:gd name="T3" fmla="*/ 162 h 162"/>
                    <a:gd name="T4" fmla="*/ 1 w 134"/>
                    <a:gd name="T5" fmla="*/ 126 h 162"/>
                    <a:gd name="T6" fmla="*/ 0 w 134"/>
                    <a:gd name="T7" fmla="*/ 125 h 162"/>
                    <a:gd name="T8" fmla="*/ 0 w 134"/>
                    <a:gd name="T9" fmla="*/ 30 h 162"/>
                    <a:gd name="T10" fmla="*/ 1 w 134"/>
                    <a:gd name="T11" fmla="*/ 29 h 162"/>
                    <a:gd name="T12" fmla="*/ 49 w 134"/>
                    <a:gd name="T13" fmla="*/ 1 h 162"/>
                    <a:gd name="T14" fmla="*/ 51 w 134"/>
                    <a:gd name="T15" fmla="*/ 1 h 162"/>
                    <a:gd name="T16" fmla="*/ 133 w 134"/>
                    <a:gd name="T17" fmla="*/ 48 h 162"/>
                    <a:gd name="T18" fmla="*/ 134 w 134"/>
                    <a:gd name="T19" fmla="*/ 49 h 162"/>
                    <a:gd name="T20" fmla="*/ 134 w 134"/>
                    <a:gd name="T21" fmla="*/ 51 h 162"/>
                    <a:gd name="T22" fmla="*/ 133 w 134"/>
                    <a:gd name="T23" fmla="*/ 52 h 162"/>
                    <a:gd name="T24" fmla="*/ 120 w 134"/>
                    <a:gd name="T25" fmla="*/ 60 h 162"/>
                    <a:gd name="T26" fmla="*/ 120 w 134"/>
                    <a:gd name="T27" fmla="*/ 129 h 162"/>
                    <a:gd name="T28" fmla="*/ 119 w 134"/>
                    <a:gd name="T29" fmla="*/ 131 h 162"/>
                    <a:gd name="T30" fmla="*/ 65 w 134"/>
                    <a:gd name="T31" fmla="*/ 162 h 162"/>
                    <a:gd name="T32" fmla="*/ 64 w 134"/>
                    <a:gd name="T33" fmla="*/ 162 h 162"/>
                    <a:gd name="T34" fmla="*/ 4 w 134"/>
                    <a:gd name="T35" fmla="*/ 124 h 162"/>
                    <a:gd name="T36" fmla="*/ 64 w 134"/>
                    <a:gd name="T37" fmla="*/ 158 h 162"/>
                    <a:gd name="T38" fmla="*/ 116 w 134"/>
                    <a:gd name="T39" fmla="*/ 128 h 162"/>
                    <a:gd name="T40" fmla="*/ 116 w 134"/>
                    <a:gd name="T41" fmla="*/ 58 h 162"/>
                    <a:gd name="T42" fmla="*/ 117 w 134"/>
                    <a:gd name="T43" fmla="*/ 57 h 162"/>
                    <a:gd name="T44" fmla="*/ 129 w 134"/>
                    <a:gd name="T45" fmla="*/ 50 h 162"/>
                    <a:gd name="T46" fmla="*/ 50 w 134"/>
                    <a:gd name="T47" fmla="*/ 5 h 162"/>
                    <a:gd name="T48" fmla="*/ 4 w 134"/>
                    <a:gd name="T49" fmla="*/ 31 h 162"/>
                    <a:gd name="T50" fmla="*/ 4 w 134"/>
                    <a:gd name="T51" fmla="*/ 124 h 162"/>
                    <a:gd name="T52" fmla="*/ 132 w 134"/>
                    <a:gd name="T53" fmla="*/ 51 h 162"/>
                    <a:gd name="T54" fmla="*/ 132 w 134"/>
                    <a:gd name="T55" fmla="*/ 51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34" h="162">
                      <a:moveTo>
                        <a:pt x="64" y="162"/>
                      </a:moveTo>
                      <a:cubicBezTo>
                        <a:pt x="63" y="162"/>
                        <a:pt x="63" y="162"/>
                        <a:pt x="63" y="162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0" y="126"/>
                        <a:pt x="0" y="125"/>
                        <a:pt x="0" y="12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0"/>
                        <a:pt x="0" y="29"/>
                        <a:pt x="1" y="29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50" y="0"/>
                        <a:pt x="50" y="0"/>
                        <a:pt x="51" y="1"/>
                      </a:cubicBezTo>
                      <a:cubicBezTo>
                        <a:pt x="133" y="48"/>
                        <a:pt x="133" y="48"/>
                        <a:pt x="133" y="48"/>
                      </a:cubicBezTo>
                      <a:cubicBezTo>
                        <a:pt x="133" y="48"/>
                        <a:pt x="134" y="49"/>
                        <a:pt x="134" y="49"/>
                      </a:cubicBezTo>
                      <a:cubicBezTo>
                        <a:pt x="134" y="51"/>
                        <a:pt x="134" y="51"/>
                        <a:pt x="134" y="51"/>
                      </a:cubicBezTo>
                      <a:cubicBezTo>
                        <a:pt x="134" y="51"/>
                        <a:pt x="133" y="52"/>
                        <a:pt x="133" y="52"/>
                      </a:cubicBezTo>
                      <a:cubicBezTo>
                        <a:pt x="120" y="60"/>
                        <a:pt x="120" y="60"/>
                        <a:pt x="120" y="60"/>
                      </a:cubicBezTo>
                      <a:cubicBezTo>
                        <a:pt x="120" y="129"/>
                        <a:pt x="120" y="129"/>
                        <a:pt x="120" y="129"/>
                      </a:cubicBezTo>
                      <a:cubicBezTo>
                        <a:pt x="120" y="130"/>
                        <a:pt x="120" y="130"/>
                        <a:pt x="119" y="131"/>
                      </a:cubicBezTo>
                      <a:cubicBezTo>
                        <a:pt x="65" y="162"/>
                        <a:pt x="65" y="162"/>
                        <a:pt x="65" y="162"/>
                      </a:cubicBezTo>
                      <a:cubicBezTo>
                        <a:pt x="64" y="162"/>
                        <a:pt x="64" y="162"/>
                        <a:pt x="64" y="162"/>
                      </a:cubicBezTo>
                      <a:close/>
                      <a:moveTo>
                        <a:pt x="4" y="124"/>
                      </a:moveTo>
                      <a:cubicBezTo>
                        <a:pt x="64" y="158"/>
                        <a:pt x="64" y="158"/>
                        <a:pt x="64" y="158"/>
                      </a:cubicBezTo>
                      <a:cubicBezTo>
                        <a:pt x="116" y="128"/>
                        <a:pt x="116" y="128"/>
                        <a:pt x="116" y="128"/>
                      </a:cubicBezTo>
                      <a:cubicBezTo>
                        <a:pt x="116" y="58"/>
                        <a:pt x="116" y="58"/>
                        <a:pt x="116" y="58"/>
                      </a:cubicBezTo>
                      <a:cubicBezTo>
                        <a:pt x="116" y="58"/>
                        <a:pt x="117" y="57"/>
                        <a:pt x="117" y="57"/>
                      </a:cubicBezTo>
                      <a:cubicBezTo>
                        <a:pt x="129" y="50"/>
                        <a:pt x="129" y="50"/>
                        <a:pt x="129" y="50"/>
                      </a:cubicBezTo>
                      <a:cubicBezTo>
                        <a:pt x="50" y="5"/>
                        <a:pt x="50" y="5"/>
                        <a:pt x="50" y="5"/>
                      </a:cubicBezTo>
                      <a:cubicBezTo>
                        <a:pt x="4" y="31"/>
                        <a:pt x="4" y="31"/>
                        <a:pt x="4" y="31"/>
                      </a:cubicBezTo>
                      <a:lnTo>
                        <a:pt x="4" y="124"/>
                      </a:lnTo>
                      <a:close/>
                      <a:moveTo>
                        <a:pt x="132" y="51"/>
                      </a:moveTo>
                      <a:cubicBezTo>
                        <a:pt x="132" y="51"/>
                        <a:pt x="132" y="51"/>
                        <a:pt x="132" y="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0" name="Freeform 963">
                  <a:extLst>
                    <a:ext uri="{FF2B5EF4-FFF2-40B4-BE49-F238E27FC236}">
                      <a16:creationId xmlns:a16="http://schemas.microsoft.com/office/drawing/2014/main" id="{7E9D8C60-648F-4FD5-A0D5-F59544A2F5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76" y="730"/>
                  <a:ext cx="62" cy="314"/>
                </a:xfrm>
                <a:custGeom>
                  <a:avLst/>
                  <a:gdLst>
                    <a:gd name="T0" fmla="*/ 12 w 26"/>
                    <a:gd name="T1" fmla="*/ 133 h 133"/>
                    <a:gd name="T2" fmla="*/ 11 w 26"/>
                    <a:gd name="T3" fmla="*/ 132 h 133"/>
                    <a:gd name="T4" fmla="*/ 1 w 26"/>
                    <a:gd name="T5" fmla="*/ 127 h 133"/>
                    <a:gd name="T6" fmla="*/ 0 w 26"/>
                    <a:gd name="T7" fmla="*/ 125 h 133"/>
                    <a:gd name="T8" fmla="*/ 0 w 26"/>
                    <a:gd name="T9" fmla="*/ 2 h 133"/>
                    <a:gd name="T10" fmla="*/ 1 w 26"/>
                    <a:gd name="T11" fmla="*/ 0 h 133"/>
                    <a:gd name="T12" fmla="*/ 3 w 26"/>
                    <a:gd name="T13" fmla="*/ 0 h 133"/>
                    <a:gd name="T14" fmla="*/ 25 w 26"/>
                    <a:gd name="T15" fmla="*/ 13 h 133"/>
                    <a:gd name="T16" fmla="*/ 26 w 26"/>
                    <a:gd name="T17" fmla="*/ 14 h 133"/>
                    <a:gd name="T18" fmla="*/ 26 w 26"/>
                    <a:gd name="T19" fmla="*/ 124 h 133"/>
                    <a:gd name="T20" fmla="*/ 25 w 26"/>
                    <a:gd name="T21" fmla="*/ 126 h 133"/>
                    <a:gd name="T22" fmla="*/ 13 w 26"/>
                    <a:gd name="T23" fmla="*/ 132 h 133"/>
                    <a:gd name="T24" fmla="*/ 12 w 26"/>
                    <a:gd name="T25" fmla="*/ 133 h 133"/>
                    <a:gd name="T26" fmla="*/ 4 w 26"/>
                    <a:gd name="T27" fmla="*/ 124 h 133"/>
                    <a:gd name="T28" fmla="*/ 12 w 26"/>
                    <a:gd name="T29" fmla="*/ 128 h 133"/>
                    <a:gd name="T30" fmla="*/ 22 w 26"/>
                    <a:gd name="T31" fmla="*/ 123 h 133"/>
                    <a:gd name="T32" fmla="*/ 22 w 26"/>
                    <a:gd name="T33" fmla="*/ 16 h 133"/>
                    <a:gd name="T34" fmla="*/ 4 w 26"/>
                    <a:gd name="T35" fmla="*/ 6 h 133"/>
                    <a:gd name="T36" fmla="*/ 4 w 26"/>
                    <a:gd name="T37" fmla="*/ 124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" h="133">
                      <a:moveTo>
                        <a:pt x="12" y="133"/>
                      </a:moveTo>
                      <a:cubicBezTo>
                        <a:pt x="12" y="133"/>
                        <a:pt x="12" y="133"/>
                        <a:pt x="11" y="132"/>
                      </a:cubicBezTo>
                      <a:cubicBezTo>
                        <a:pt x="1" y="127"/>
                        <a:pt x="1" y="127"/>
                        <a:pt x="1" y="127"/>
                      </a:cubicBezTo>
                      <a:cubicBezTo>
                        <a:pt x="1" y="126"/>
                        <a:pt x="0" y="126"/>
                        <a:pt x="0" y="12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5" y="13"/>
                        <a:pt x="26" y="14"/>
                        <a:pt x="26" y="14"/>
                      </a:cubicBezTo>
                      <a:cubicBezTo>
                        <a:pt x="26" y="124"/>
                        <a:pt x="26" y="124"/>
                        <a:pt x="26" y="124"/>
                      </a:cubicBezTo>
                      <a:cubicBezTo>
                        <a:pt x="26" y="125"/>
                        <a:pt x="25" y="126"/>
                        <a:pt x="25" y="126"/>
                      </a:cubicBezTo>
                      <a:cubicBezTo>
                        <a:pt x="13" y="132"/>
                        <a:pt x="13" y="132"/>
                        <a:pt x="13" y="132"/>
                      </a:cubicBezTo>
                      <a:cubicBezTo>
                        <a:pt x="13" y="133"/>
                        <a:pt x="13" y="133"/>
                        <a:pt x="12" y="133"/>
                      </a:cubicBezTo>
                      <a:close/>
                      <a:moveTo>
                        <a:pt x="4" y="124"/>
                      </a:moveTo>
                      <a:cubicBezTo>
                        <a:pt x="12" y="128"/>
                        <a:pt x="12" y="128"/>
                        <a:pt x="12" y="128"/>
                      </a:cubicBezTo>
                      <a:cubicBezTo>
                        <a:pt x="22" y="123"/>
                        <a:pt x="22" y="123"/>
                        <a:pt x="22" y="12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4" y="6"/>
                        <a:pt x="4" y="6"/>
                        <a:pt x="4" y="6"/>
                      </a:cubicBezTo>
                      <a:lnTo>
                        <a:pt x="4" y="1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1" name="Freeform 964">
                  <a:extLst>
                    <a:ext uri="{FF2B5EF4-FFF2-40B4-BE49-F238E27FC236}">
                      <a16:creationId xmlns:a16="http://schemas.microsoft.com/office/drawing/2014/main" id="{57236BE5-0BB2-455B-815B-CCB00DD9EA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21" y="1143"/>
                  <a:ext cx="560" cy="312"/>
                </a:xfrm>
                <a:custGeom>
                  <a:avLst/>
                  <a:gdLst>
                    <a:gd name="T0" fmla="*/ 115 w 237"/>
                    <a:gd name="T1" fmla="*/ 132 h 132"/>
                    <a:gd name="T2" fmla="*/ 114 w 237"/>
                    <a:gd name="T3" fmla="*/ 132 h 132"/>
                    <a:gd name="T4" fmla="*/ 1 w 237"/>
                    <a:gd name="T5" fmla="*/ 67 h 132"/>
                    <a:gd name="T6" fmla="*/ 0 w 237"/>
                    <a:gd name="T7" fmla="*/ 65 h 132"/>
                    <a:gd name="T8" fmla="*/ 0 w 237"/>
                    <a:gd name="T9" fmla="*/ 38 h 132"/>
                    <a:gd name="T10" fmla="*/ 1 w 237"/>
                    <a:gd name="T11" fmla="*/ 36 h 132"/>
                    <a:gd name="T12" fmla="*/ 3 w 237"/>
                    <a:gd name="T13" fmla="*/ 36 h 132"/>
                    <a:gd name="T14" fmla="*/ 50 w 237"/>
                    <a:gd name="T15" fmla="*/ 64 h 132"/>
                    <a:gd name="T16" fmla="*/ 159 w 237"/>
                    <a:gd name="T17" fmla="*/ 1 h 132"/>
                    <a:gd name="T18" fmla="*/ 161 w 237"/>
                    <a:gd name="T19" fmla="*/ 1 h 132"/>
                    <a:gd name="T20" fmla="*/ 236 w 237"/>
                    <a:gd name="T21" fmla="*/ 44 h 132"/>
                    <a:gd name="T22" fmla="*/ 237 w 237"/>
                    <a:gd name="T23" fmla="*/ 46 h 132"/>
                    <a:gd name="T24" fmla="*/ 237 w 237"/>
                    <a:gd name="T25" fmla="*/ 60 h 132"/>
                    <a:gd name="T26" fmla="*/ 236 w 237"/>
                    <a:gd name="T27" fmla="*/ 62 h 132"/>
                    <a:gd name="T28" fmla="*/ 116 w 237"/>
                    <a:gd name="T29" fmla="*/ 132 h 132"/>
                    <a:gd name="T30" fmla="*/ 115 w 237"/>
                    <a:gd name="T31" fmla="*/ 132 h 132"/>
                    <a:gd name="T32" fmla="*/ 4 w 237"/>
                    <a:gd name="T33" fmla="*/ 64 h 132"/>
                    <a:gd name="T34" fmla="*/ 115 w 237"/>
                    <a:gd name="T35" fmla="*/ 128 h 132"/>
                    <a:gd name="T36" fmla="*/ 233 w 237"/>
                    <a:gd name="T37" fmla="*/ 59 h 132"/>
                    <a:gd name="T38" fmla="*/ 233 w 237"/>
                    <a:gd name="T39" fmla="*/ 47 h 132"/>
                    <a:gd name="T40" fmla="*/ 160 w 237"/>
                    <a:gd name="T41" fmla="*/ 5 h 132"/>
                    <a:gd name="T42" fmla="*/ 51 w 237"/>
                    <a:gd name="T43" fmla="*/ 68 h 132"/>
                    <a:gd name="T44" fmla="*/ 49 w 237"/>
                    <a:gd name="T45" fmla="*/ 68 h 132"/>
                    <a:gd name="T46" fmla="*/ 4 w 237"/>
                    <a:gd name="T47" fmla="*/ 41 h 132"/>
                    <a:gd name="T48" fmla="*/ 4 w 237"/>
                    <a:gd name="T49" fmla="*/ 64 h 132"/>
                    <a:gd name="T50" fmla="*/ 235 w 237"/>
                    <a:gd name="T51" fmla="*/ 60 h 132"/>
                    <a:gd name="T52" fmla="*/ 235 w 237"/>
                    <a:gd name="T53" fmla="*/ 6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37" h="132">
                      <a:moveTo>
                        <a:pt x="115" y="132"/>
                      </a:moveTo>
                      <a:cubicBezTo>
                        <a:pt x="114" y="132"/>
                        <a:pt x="114" y="132"/>
                        <a:pt x="114" y="132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0" y="66"/>
                        <a:pt x="0" y="66"/>
                        <a:pt x="0" y="6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7"/>
                        <a:pt x="0" y="37"/>
                        <a:pt x="1" y="36"/>
                      </a:cubicBezTo>
                      <a:cubicBezTo>
                        <a:pt x="1" y="36"/>
                        <a:pt x="2" y="36"/>
                        <a:pt x="3" y="36"/>
                      </a:cubicBezTo>
                      <a:cubicBezTo>
                        <a:pt x="50" y="64"/>
                        <a:pt x="50" y="64"/>
                        <a:pt x="50" y="64"/>
                      </a:cubicBezTo>
                      <a:cubicBezTo>
                        <a:pt x="159" y="1"/>
                        <a:pt x="159" y="1"/>
                        <a:pt x="159" y="1"/>
                      </a:cubicBezTo>
                      <a:cubicBezTo>
                        <a:pt x="159" y="0"/>
                        <a:pt x="160" y="0"/>
                        <a:pt x="161" y="1"/>
                      </a:cubicBezTo>
                      <a:cubicBezTo>
                        <a:pt x="236" y="44"/>
                        <a:pt x="236" y="44"/>
                        <a:pt x="236" y="44"/>
                      </a:cubicBezTo>
                      <a:cubicBezTo>
                        <a:pt x="237" y="44"/>
                        <a:pt x="237" y="45"/>
                        <a:pt x="237" y="46"/>
                      </a:cubicBezTo>
                      <a:cubicBezTo>
                        <a:pt x="237" y="60"/>
                        <a:pt x="237" y="60"/>
                        <a:pt x="237" y="60"/>
                      </a:cubicBezTo>
                      <a:cubicBezTo>
                        <a:pt x="237" y="61"/>
                        <a:pt x="237" y="62"/>
                        <a:pt x="236" y="62"/>
                      </a:cubicBezTo>
                      <a:cubicBezTo>
                        <a:pt x="116" y="132"/>
                        <a:pt x="116" y="132"/>
                        <a:pt x="116" y="132"/>
                      </a:cubicBezTo>
                      <a:cubicBezTo>
                        <a:pt x="115" y="132"/>
                        <a:pt x="115" y="132"/>
                        <a:pt x="115" y="132"/>
                      </a:cubicBezTo>
                      <a:close/>
                      <a:moveTo>
                        <a:pt x="4" y="64"/>
                      </a:moveTo>
                      <a:cubicBezTo>
                        <a:pt x="115" y="128"/>
                        <a:pt x="115" y="128"/>
                        <a:pt x="115" y="128"/>
                      </a:cubicBezTo>
                      <a:cubicBezTo>
                        <a:pt x="233" y="59"/>
                        <a:pt x="233" y="59"/>
                        <a:pt x="233" y="59"/>
                      </a:cubicBezTo>
                      <a:cubicBezTo>
                        <a:pt x="233" y="47"/>
                        <a:pt x="233" y="47"/>
                        <a:pt x="233" y="47"/>
                      </a:cubicBezTo>
                      <a:cubicBezTo>
                        <a:pt x="160" y="5"/>
                        <a:pt x="160" y="5"/>
                        <a:pt x="160" y="5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1" y="68"/>
                        <a:pt x="50" y="68"/>
                        <a:pt x="49" y="68"/>
                      </a:cubicBezTo>
                      <a:cubicBezTo>
                        <a:pt x="4" y="41"/>
                        <a:pt x="4" y="41"/>
                        <a:pt x="4" y="41"/>
                      </a:cubicBezTo>
                      <a:lnTo>
                        <a:pt x="4" y="64"/>
                      </a:lnTo>
                      <a:close/>
                      <a:moveTo>
                        <a:pt x="235" y="60"/>
                      </a:moveTo>
                      <a:cubicBezTo>
                        <a:pt x="235" y="60"/>
                        <a:pt x="235" y="60"/>
                        <a:pt x="235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2" name="Freeform 965">
                  <a:extLst>
                    <a:ext uri="{FF2B5EF4-FFF2-40B4-BE49-F238E27FC236}">
                      <a16:creationId xmlns:a16="http://schemas.microsoft.com/office/drawing/2014/main" id="{4B956F3D-5254-4E94-995B-1ED32CADC4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07" y="1231"/>
                  <a:ext cx="317" cy="491"/>
                </a:xfrm>
                <a:custGeom>
                  <a:avLst/>
                  <a:gdLst>
                    <a:gd name="T0" fmla="*/ 132 w 134"/>
                    <a:gd name="T1" fmla="*/ 208 h 208"/>
                    <a:gd name="T2" fmla="*/ 131 w 134"/>
                    <a:gd name="T3" fmla="*/ 208 h 208"/>
                    <a:gd name="T4" fmla="*/ 1 w 134"/>
                    <a:gd name="T5" fmla="*/ 133 h 208"/>
                    <a:gd name="T6" fmla="*/ 0 w 134"/>
                    <a:gd name="T7" fmla="*/ 131 h 208"/>
                    <a:gd name="T8" fmla="*/ 0 w 134"/>
                    <a:gd name="T9" fmla="*/ 2 h 208"/>
                    <a:gd name="T10" fmla="*/ 1 w 134"/>
                    <a:gd name="T11" fmla="*/ 0 h 208"/>
                    <a:gd name="T12" fmla="*/ 3 w 134"/>
                    <a:gd name="T13" fmla="*/ 0 h 208"/>
                    <a:gd name="T14" fmla="*/ 23 w 134"/>
                    <a:gd name="T15" fmla="*/ 11 h 208"/>
                    <a:gd name="T16" fmla="*/ 24 w 134"/>
                    <a:gd name="T17" fmla="*/ 13 h 208"/>
                    <a:gd name="T18" fmla="*/ 24 w 134"/>
                    <a:gd name="T19" fmla="*/ 22 h 208"/>
                    <a:gd name="T20" fmla="*/ 31 w 134"/>
                    <a:gd name="T21" fmla="*/ 18 h 208"/>
                    <a:gd name="T22" fmla="*/ 33 w 134"/>
                    <a:gd name="T23" fmla="*/ 18 h 208"/>
                    <a:gd name="T24" fmla="*/ 49 w 134"/>
                    <a:gd name="T25" fmla="*/ 27 h 208"/>
                    <a:gd name="T26" fmla="*/ 66 w 134"/>
                    <a:gd name="T27" fmla="*/ 17 h 208"/>
                    <a:gd name="T28" fmla="*/ 68 w 134"/>
                    <a:gd name="T29" fmla="*/ 17 h 208"/>
                    <a:gd name="T30" fmla="*/ 133 w 134"/>
                    <a:gd name="T31" fmla="*/ 54 h 208"/>
                    <a:gd name="T32" fmla="*/ 134 w 134"/>
                    <a:gd name="T33" fmla="*/ 56 h 208"/>
                    <a:gd name="T34" fmla="*/ 134 w 134"/>
                    <a:gd name="T35" fmla="*/ 206 h 208"/>
                    <a:gd name="T36" fmla="*/ 133 w 134"/>
                    <a:gd name="T37" fmla="*/ 208 h 208"/>
                    <a:gd name="T38" fmla="*/ 132 w 134"/>
                    <a:gd name="T39" fmla="*/ 208 h 208"/>
                    <a:gd name="T40" fmla="*/ 4 w 134"/>
                    <a:gd name="T41" fmla="*/ 130 h 208"/>
                    <a:gd name="T42" fmla="*/ 130 w 134"/>
                    <a:gd name="T43" fmla="*/ 203 h 208"/>
                    <a:gd name="T44" fmla="*/ 130 w 134"/>
                    <a:gd name="T45" fmla="*/ 57 h 208"/>
                    <a:gd name="T46" fmla="*/ 67 w 134"/>
                    <a:gd name="T47" fmla="*/ 21 h 208"/>
                    <a:gd name="T48" fmla="*/ 50 w 134"/>
                    <a:gd name="T49" fmla="*/ 31 h 208"/>
                    <a:gd name="T50" fmla="*/ 48 w 134"/>
                    <a:gd name="T51" fmla="*/ 31 h 208"/>
                    <a:gd name="T52" fmla="*/ 32 w 134"/>
                    <a:gd name="T53" fmla="*/ 22 h 208"/>
                    <a:gd name="T54" fmla="*/ 23 w 134"/>
                    <a:gd name="T55" fmla="*/ 27 h 208"/>
                    <a:gd name="T56" fmla="*/ 21 w 134"/>
                    <a:gd name="T57" fmla="*/ 27 h 208"/>
                    <a:gd name="T58" fmla="*/ 20 w 134"/>
                    <a:gd name="T59" fmla="*/ 25 h 208"/>
                    <a:gd name="T60" fmla="*/ 20 w 134"/>
                    <a:gd name="T61" fmla="*/ 14 h 208"/>
                    <a:gd name="T62" fmla="*/ 4 w 134"/>
                    <a:gd name="T63" fmla="*/ 5 h 208"/>
                    <a:gd name="T64" fmla="*/ 4 w 134"/>
                    <a:gd name="T65" fmla="*/ 130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4" h="208">
                      <a:moveTo>
                        <a:pt x="132" y="208"/>
                      </a:moveTo>
                      <a:cubicBezTo>
                        <a:pt x="132" y="208"/>
                        <a:pt x="131" y="208"/>
                        <a:pt x="131" y="208"/>
                      </a:cubicBezTo>
                      <a:cubicBezTo>
                        <a:pt x="1" y="133"/>
                        <a:pt x="1" y="133"/>
                        <a:pt x="1" y="133"/>
                      </a:cubicBezTo>
                      <a:cubicBezTo>
                        <a:pt x="0" y="132"/>
                        <a:pt x="0" y="132"/>
                        <a:pt x="0" y="13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2"/>
                        <a:pt x="24" y="12"/>
                        <a:pt x="24" y="13"/>
                      </a:cubicBezTo>
                      <a:cubicBezTo>
                        <a:pt x="24" y="22"/>
                        <a:pt x="24" y="22"/>
                        <a:pt x="24" y="22"/>
                      </a:cubicBezTo>
                      <a:cubicBezTo>
                        <a:pt x="31" y="18"/>
                        <a:pt x="31" y="18"/>
                        <a:pt x="31" y="18"/>
                      </a:cubicBezTo>
                      <a:cubicBezTo>
                        <a:pt x="32" y="17"/>
                        <a:pt x="32" y="17"/>
                        <a:pt x="33" y="18"/>
                      </a:cubicBezTo>
                      <a:cubicBezTo>
                        <a:pt x="49" y="27"/>
                        <a:pt x="49" y="27"/>
                        <a:pt x="49" y="27"/>
                      </a:cubicBezTo>
                      <a:cubicBezTo>
                        <a:pt x="66" y="17"/>
                        <a:pt x="66" y="17"/>
                        <a:pt x="66" y="17"/>
                      </a:cubicBezTo>
                      <a:cubicBezTo>
                        <a:pt x="67" y="16"/>
                        <a:pt x="67" y="16"/>
                        <a:pt x="68" y="17"/>
                      </a:cubicBezTo>
                      <a:cubicBezTo>
                        <a:pt x="133" y="54"/>
                        <a:pt x="133" y="54"/>
                        <a:pt x="133" y="54"/>
                      </a:cubicBezTo>
                      <a:cubicBezTo>
                        <a:pt x="134" y="55"/>
                        <a:pt x="134" y="55"/>
                        <a:pt x="134" y="56"/>
                      </a:cubicBezTo>
                      <a:cubicBezTo>
                        <a:pt x="134" y="206"/>
                        <a:pt x="134" y="206"/>
                        <a:pt x="134" y="206"/>
                      </a:cubicBezTo>
                      <a:cubicBezTo>
                        <a:pt x="134" y="207"/>
                        <a:pt x="134" y="208"/>
                        <a:pt x="133" y="208"/>
                      </a:cubicBezTo>
                      <a:cubicBezTo>
                        <a:pt x="133" y="208"/>
                        <a:pt x="132" y="208"/>
                        <a:pt x="132" y="208"/>
                      </a:cubicBezTo>
                      <a:close/>
                      <a:moveTo>
                        <a:pt x="4" y="130"/>
                      </a:moveTo>
                      <a:cubicBezTo>
                        <a:pt x="130" y="203"/>
                        <a:pt x="130" y="203"/>
                        <a:pt x="130" y="203"/>
                      </a:cubicBezTo>
                      <a:cubicBezTo>
                        <a:pt x="130" y="57"/>
                        <a:pt x="130" y="57"/>
                        <a:pt x="130" y="57"/>
                      </a:cubicBezTo>
                      <a:cubicBezTo>
                        <a:pt x="67" y="21"/>
                        <a:pt x="67" y="21"/>
                        <a:pt x="67" y="21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49" y="31"/>
                        <a:pt x="48" y="31"/>
                        <a:pt x="48" y="31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2" y="27"/>
                        <a:pt x="21" y="27"/>
                        <a:pt x="21" y="27"/>
                      </a:cubicBezTo>
                      <a:cubicBezTo>
                        <a:pt x="20" y="27"/>
                        <a:pt x="20" y="26"/>
                        <a:pt x="20" y="25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4" y="1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3" name="Freeform 966">
                  <a:extLst>
                    <a:ext uri="{FF2B5EF4-FFF2-40B4-BE49-F238E27FC236}">
                      <a16:creationId xmlns:a16="http://schemas.microsoft.com/office/drawing/2014/main" id="{4D4E7943-E5D2-4D7E-A3BD-0DCFD7986F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76" y="1781"/>
                  <a:ext cx="19" cy="340"/>
                </a:xfrm>
                <a:custGeom>
                  <a:avLst/>
                  <a:gdLst>
                    <a:gd name="T0" fmla="*/ 3 w 8"/>
                    <a:gd name="T1" fmla="*/ 144 h 144"/>
                    <a:gd name="T2" fmla="*/ 2 w 8"/>
                    <a:gd name="T3" fmla="*/ 144 h 144"/>
                    <a:gd name="T4" fmla="*/ 0 w 8"/>
                    <a:gd name="T5" fmla="*/ 142 h 144"/>
                    <a:gd name="T6" fmla="*/ 0 w 8"/>
                    <a:gd name="T7" fmla="*/ 4 h 144"/>
                    <a:gd name="T8" fmla="*/ 1 w 8"/>
                    <a:gd name="T9" fmla="*/ 3 h 144"/>
                    <a:gd name="T10" fmla="*/ 5 w 8"/>
                    <a:gd name="T11" fmla="*/ 1 h 144"/>
                    <a:gd name="T12" fmla="*/ 7 w 8"/>
                    <a:gd name="T13" fmla="*/ 1 h 144"/>
                    <a:gd name="T14" fmla="*/ 8 w 8"/>
                    <a:gd name="T15" fmla="*/ 2 h 144"/>
                    <a:gd name="T16" fmla="*/ 8 w 8"/>
                    <a:gd name="T17" fmla="*/ 140 h 144"/>
                    <a:gd name="T18" fmla="*/ 7 w 8"/>
                    <a:gd name="T19" fmla="*/ 142 h 144"/>
                    <a:gd name="T20" fmla="*/ 4 w 8"/>
                    <a:gd name="T21" fmla="*/ 144 h 144"/>
                    <a:gd name="T22" fmla="*/ 3 w 8"/>
                    <a:gd name="T23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44">
                      <a:moveTo>
                        <a:pt x="3" y="144"/>
                      </a:moveTo>
                      <a:cubicBezTo>
                        <a:pt x="2" y="144"/>
                        <a:pt x="2" y="144"/>
                        <a:pt x="2" y="144"/>
                      </a:cubicBezTo>
                      <a:cubicBezTo>
                        <a:pt x="1" y="144"/>
                        <a:pt x="0" y="143"/>
                        <a:pt x="0" y="142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3"/>
                        <a:pt x="1" y="3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6" y="0"/>
                        <a:pt x="7" y="1"/>
                      </a:cubicBezTo>
                      <a:cubicBezTo>
                        <a:pt x="7" y="1"/>
                        <a:pt x="8" y="2"/>
                        <a:pt x="8" y="2"/>
                      </a:cubicBezTo>
                      <a:cubicBezTo>
                        <a:pt x="8" y="140"/>
                        <a:pt x="8" y="140"/>
                        <a:pt x="8" y="140"/>
                      </a:cubicBezTo>
                      <a:cubicBezTo>
                        <a:pt x="8" y="141"/>
                        <a:pt x="7" y="142"/>
                        <a:pt x="7" y="142"/>
                      </a:cubicBezTo>
                      <a:cubicBezTo>
                        <a:pt x="4" y="144"/>
                        <a:pt x="4" y="144"/>
                        <a:pt x="4" y="144"/>
                      </a:cubicBezTo>
                      <a:cubicBezTo>
                        <a:pt x="3" y="144"/>
                        <a:pt x="3" y="144"/>
                        <a:pt x="3" y="1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4" name="Freeform 967">
                  <a:extLst>
                    <a:ext uri="{FF2B5EF4-FFF2-40B4-BE49-F238E27FC236}">
                      <a16:creationId xmlns:a16="http://schemas.microsoft.com/office/drawing/2014/main" id="{13F5A043-B5F5-4672-9FA9-DF8F25E485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21" y="1162"/>
                  <a:ext cx="38" cy="29"/>
                </a:xfrm>
                <a:custGeom>
                  <a:avLst/>
                  <a:gdLst>
                    <a:gd name="T0" fmla="*/ 13 w 16"/>
                    <a:gd name="T1" fmla="*/ 12 h 12"/>
                    <a:gd name="T2" fmla="*/ 12 w 16"/>
                    <a:gd name="T3" fmla="*/ 12 h 12"/>
                    <a:gd name="T4" fmla="*/ 1 w 16"/>
                    <a:gd name="T5" fmla="*/ 5 h 12"/>
                    <a:gd name="T6" fmla="*/ 0 w 16"/>
                    <a:gd name="T7" fmla="*/ 3 h 12"/>
                    <a:gd name="T8" fmla="*/ 0 w 16"/>
                    <a:gd name="T9" fmla="*/ 2 h 12"/>
                    <a:gd name="T10" fmla="*/ 1 w 16"/>
                    <a:gd name="T11" fmla="*/ 0 h 12"/>
                    <a:gd name="T12" fmla="*/ 3 w 16"/>
                    <a:gd name="T13" fmla="*/ 0 h 12"/>
                    <a:gd name="T14" fmla="*/ 15 w 16"/>
                    <a:gd name="T15" fmla="*/ 7 h 12"/>
                    <a:gd name="T16" fmla="*/ 16 w 16"/>
                    <a:gd name="T17" fmla="*/ 9 h 12"/>
                    <a:gd name="T18" fmla="*/ 15 w 16"/>
                    <a:gd name="T19" fmla="*/ 11 h 12"/>
                    <a:gd name="T20" fmla="*/ 14 w 16"/>
                    <a:gd name="T21" fmla="*/ 12 h 12"/>
                    <a:gd name="T22" fmla="*/ 13 w 16"/>
                    <a:gd name="T2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" h="12">
                      <a:moveTo>
                        <a:pt x="13" y="12"/>
                      </a:moveTo>
                      <a:cubicBezTo>
                        <a:pt x="13" y="12"/>
                        <a:pt x="12" y="12"/>
                        <a:pt x="12" y="12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5"/>
                        <a:pt x="0" y="4"/>
                        <a:pt x="0" y="3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6" y="8"/>
                        <a:pt x="16" y="8"/>
                        <a:pt x="16" y="9"/>
                      </a:cubicBezTo>
                      <a:cubicBezTo>
                        <a:pt x="16" y="10"/>
                        <a:pt x="16" y="10"/>
                        <a:pt x="15" y="11"/>
                      </a:cubicBezTo>
                      <a:cubicBezTo>
                        <a:pt x="14" y="12"/>
                        <a:pt x="14" y="12"/>
                        <a:pt x="14" y="12"/>
                      </a:cubicBezTo>
                      <a:cubicBezTo>
                        <a:pt x="14" y="12"/>
                        <a:pt x="13" y="12"/>
                        <a:pt x="1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ADBECB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" name="Freeform 969">
                <a:extLst>
                  <a:ext uri="{FF2B5EF4-FFF2-40B4-BE49-F238E27FC236}">
                    <a16:creationId xmlns:a16="http://schemas.microsoft.com/office/drawing/2014/main" id="{7DFA545E-B95C-4E04-9D90-638CC84FEC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08" y="2169"/>
                <a:ext cx="130" cy="255"/>
              </a:xfrm>
              <a:custGeom>
                <a:avLst/>
                <a:gdLst>
                  <a:gd name="T0" fmla="*/ 53 w 55"/>
                  <a:gd name="T1" fmla="*/ 108 h 108"/>
                  <a:gd name="T2" fmla="*/ 52 w 55"/>
                  <a:gd name="T3" fmla="*/ 107 h 108"/>
                  <a:gd name="T4" fmla="*/ 1 w 55"/>
                  <a:gd name="T5" fmla="*/ 79 h 108"/>
                  <a:gd name="T6" fmla="*/ 0 w 55"/>
                  <a:gd name="T7" fmla="*/ 77 h 108"/>
                  <a:gd name="T8" fmla="*/ 0 w 55"/>
                  <a:gd name="T9" fmla="*/ 3 h 108"/>
                  <a:gd name="T10" fmla="*/ 1 w 55"/>
                  <a:gd name="T11" fmla="*/ 1 h 108"/>
                  <a:gd name="T12" fmla="*/ 3 w 55"/>
                  <a:gd name="T13" fmla="*/ 1 h 108"/>
                  <a:gd name="T14" fmla="*/ 39 w 55"/>
                  <a:gd name="T15" fmla="*/ 21 h 108"/>
                  <a:gd name="T16" fmla="*/ 40 w 55"/>
                  <a:gd name="T17" fmla="*/ 23 h 108"/>
                  <a:gd name="T18" fmla="*/ 39 w 55"/>
                  <a:gd name="T19" fmla="*/ 25 h 108"/>
                  <a:gd name="T20" fmla="*/ 11 w 55"/>
                  <a:gd name="T21" fmla="*/ 41 h 108"/>
                  <a:gd name="T22" fmla="*/ 54 w 55"/>
                  <a:gd name="T23" fmla="*/ 66 h 108"/>
                  <a:gd name="T24" fmla="*/ 55 w 55"/>
                  <a:gd name="T25" fmla="*/ 67 h 108"/>
                  <a:gd name="T26" fmla="*/ 55 w 55"/>
                  <a:gd name="T27" fmla="*/ 106 h 108"/>
                  <a:gd name="T28" fmla="*/ 54 w 55"/>
                  <a:gd name="T29" fmla="*/ 107 h 108"/>
                  <a:gd name="T30" fmla="*/ 53 w 55"/>
                  <a:gd name="T31" fmla="*/ 108 h 108"/>
                  <a:gd name="T32" fmla="*/ 4 w 55"/>
                  <a:gd name="T33" fmla="*/ 76 h 108"/>
                  <a:gd name="T34" fmla="*/ 51 w 55"/>
                  <a:gd name="T35" fmla="*/ 102 h 108"/>
                  <a:gd name="T36" fmla="*/ 51 w 55"/>
                  <a:gd name="T37" fmla="*/ 68 h 108"/>
                  <a:gd name="T38" fmla="*/ 6 w 55"/>
                  <a:gd name="T39" fmla="*/ 43 h 108"/>
                  <a:gd name="T40" fmla="*/ 5 w 55"/>
                  <a:gd name="T41" fmla="*/ 41 h 108"/>
                  <a:gd name="T42" fmla="*/ 6 w 55"/>
                  <a:gd name="T43" fmla="*/ 39 h 108"/>
                  <a:gd name="T44" fmla="*/ 34 w 55"/>
                  <a:gd name="T45" fmla="*/ 23 h 108"/>
                  <a:gd name="T46" fmla="*/ 4 w 55"/>
                  <a:gd name="T47" fmla="*/ 6 h 108"/>
                  <a:gd name="T48" fmla="*/ 4 w 55"/>
                  <a:gd name="T49" fmla="*/ 7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108">
                    <a:moveTo>
                      <a:pt x="53" y="108"/>
                    </a:moveTo>
                    <a:cubicBezTo>
                      <a:pt x="52" y="108"/>
                      <a:pt x="52" y="108"/>
                      <a:pt x="52" y="107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1" y="78"/>
                      <a:pt x="0" y="78"/>
                      <a:pt x="0" y="77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2"/>
                      <a:pt x="40" y="22"/>
                      <a:pt x="40" y="23"/>
                    </a:cubicBezTo>
                    <a:cubicBezTo>
                      <a:pt x="40" y="24"/>
                      <a:pt x="39" y="24"/>
                      <a:pt x="39" y="25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54" y="66"/>
                      <a:pt x="54" y="66"/>
                      <a:pt x="54" y="66"/>
                    </a:cubicBezTo>
                    <a:cubicBezTo>
                      <a:pt x="54" y="66"/>
                      <a:pt x="55" y="67"/>
                      <a:pt x="55" y="67"/>
                    </a:cubicBezTo>
                    <a:cubicBezTo>
                      <a:pt x="55" y="106"/>
                      <a:pt x="55" y="106"/>
                      <a:pt x="55" y="106"/>
                    </a:cubicBezTo>
                    <a:cubicBezTo>
                      <a:pt x="55" y="106"/>
                      <a:pt x="54" y="107"/>
                      <a:pt x="54" y="107"/>
                    </a:cubicBezTo>
                    <a:cubicBezTo>
                      <a:pt x="53" y="108"/>
                      <a:pt x="53" y="108"/>
                      <a:pt x="53" y="108"/>
                    </a:cubicBezTo>
                    <a:close/>
                    <a:moveTo>
                      <a:pt x="4" y="76"/>
                    </a:moveTo>
                    <a:cubicBezTo>
                      <a:pt x="51" y="102"/>
                      <a:pt x="51" y="102"/>
                      <a:pt x="51" y="102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5" y="42"/>
                      <a:pt x="5" y="42"/>
                      <a:pt x="5" y="41"/>
                    </a:cubicBezTo>
                    <a:cubicBezTo>
                      <a:pt x="5" y="40"/>
                      <a:pt x="5" y="40"/>
                      <a:pt x="6" y="39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970">
                <a:extLst>
                  <a:ext uri="{FF2B5EF4-FFF2-40B4-BE49-F238E27FC236}">
                    <a16:creationId xmlns:a16="http://schemas.microsoft.com/office/drawing/2014/main" id="{8BC24B04-6FE1-417B-87B2-4F28B8348D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00" y="2457"/>
                <a:ext cx="38" cy="40"/>
              </a:xfrm>
              <a:custGeom>
                <a:avLst/>
                <a:gdLst>
                  <a:gd name="T0" fmla="*/ 14 w 16"/>
                  <a:gd name="T1" fmla="*/ 17 h 17"/>
                  <a:gd name="T2" fmla="*/ 13 w 16"/>
                  <a:gd name="T3" fmla="*/ 17 h 17"/>
                  <a:gd name="T4" fmla="*/ 1 w 16"/>
                  <a:gd name="T5" fmla="*/ 10 h 17"/>
                  <a:gd name="T6" fmla="*/ 0 w 16"/>
                  <a:gd name="T7" fmla="*/ 9 h 17"/>
                  <a:gd name="T8" fmla="*/ 1 w 16"/>
                  <a:gd name="T9" fmla="*/ 7 h 17"/>
                  <a:gd name="T10" fmla="*/ 13 w 16"/>
                  <a:gd name="T11" fmla="*/ 0 h 17"/>
                  <a:gd name="T12" fmla="*/ 15 w 16"/>
                  <a:gd name="T13" fmla="*/ 0 h 17"/>
                  <a:gd name="T14" fmla="*/ 16 w 16"/>
                  <a:gd name="T15" fmla="*/ 2 h 17"/>
                  <a:gd name="T16" fmla="*/ 16 w 16"/>
                  <a:gd name="T17" fmla="*/ 15 h 17"/>
                  <a:gd name="T18" fmla="*/ 15 w 16"/>
                  <a:gd name="T19" fmla="*/ 17 h 17"/>
                  <a:gd name="T20" fmla="*/ 14 w 16"/>
                  <a:gd name="T21" fmla="*/ 17 h 17"/>
                  <a:gd name="T22" fmla="*/ 6 w 16"/>
                  <a:gd name="T23" fmla="*/ 9 h 17"/>
                  <a:gd name="T24" fmla="*/ 12 w 16"/>
                  <a:gd name="T25" fmla="*/ 12 h 17"/>
                  <a:gd name="T26" fmla="*/ 12 w 16"/>
                  <a:gd name="T27" fmla="*/ 6 h 17"/>
                  <a:gd name="T28" fmla="*/ 6 w 16"/>
                  <a:gd name="T2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17">
                    <a:moveTo>
                      <a:pt x="14" y="17"/>
                    </a:moveTo>
                    <a:cubicBezTo>
                      <a:pt x="13" y="17"/>
                      <a:pt x="13" y="17"/>
                      <a:pt x="13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9"/>
                      <a:pt x="0" y="9"/>
                    </a:cubicBezTo>
                    <a:cubicBezTo>
                      <a:pt x="0" y="8"/>
                      <a:pt x="1" y="7"/>
                      <a:pt x="1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5" y="1"/>
                      <a:pt x="16" y="1"/>
                      <a:pt x="16" y="2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6"/>
                      <a:pt x="15" y="16"/>
                      <a:pt x="15" y="17"/>
                    </a:cubicBezTo>
                    <a:cubicBezTo>
                      <a:pt x="14" y="17"/>
                      <a:pt x="14" y="17"/>
                      <a:pt x="14" y="17"/>
                    </a:cubicBezTo>
                    <a:close/>
                    <a:moveTo>
                      <a:pt x="6" y="9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"/>
                      <a:pt x="12" y="6"/>
                      <a:pt x="12" y="6"/>
                    </a:cubicBezTo>
                    <a:lnTo>
                      <a:pt x="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971">
                <a:extLst>
                  <a:ext uri="{FF2B5EF4-FFF2-40B4-BE49-F238E27FC236}">
                    <a16:creationId xmlns:a16="http://schemas.microsoft.com/office/drawing/2014/main" id="{F215F6E5-FE96-4611-88BD-96451F88A0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81" y="1779"/>
                <a:ext cx="302" cy="402"/>
              </a:xfrm>
              <a:custGeom>
                <a:avLst/>
                <a:gdLst>
                  <a:gd name="T0" fmla="*/ 68 w 128"/>
                  <a:gd name="T1" fmla="*/ 170 h 170"/>
                  <a:gd name="T2" fmla="*/ 67 w 128"/>
                  <a:gd name="T3" fmla="*/ 169 h 170"/>
                  <a:gd name="T4" fmla="*/ 55 w 128"/>
                  <a:gd name="T5" fmla="*/ 163 h 170"/>
                  <a:gd name="T6" fmla="*/ 43 w 128"/>
                  <a:gd name="T7" fmla="*/ 169 h 170"/>
                  <a:gd name="T8" fmla="*/ 41 w 128"/>
                  <a:gd name="T9" fmla="*/ 169 h 170"/>
                  <a:gd name="T10" fmla="*/ 1 w 128"/>
                  <a:gd name="T11" fmla="*/ 146 h 170"/>
                  <a:gd name="T12" fmla="*/ 0 w 128"/>
                  <a:gd name="T13" fmla="*/ 144 h 170"/>
                  <a:gd name="T14" fmla="*/ 1 w 128"/>
                  <a:gd name="T15" fmla="*/ 142 h 170"/>
                  <a:gd name="T16" fmla="*/ 3 w 128"/>
                  <a:gd name="T17" fmla="*/ 141 h 170"/>
                  <a:gd name="T18" fmla="*/ 3 w 128"/>
                  <a:gd name="T19" fmla="*/ 2 h 170"/>
                  <a:gd name="T20" fmla="*/ 4 w 128"/>
                  <a:gd name="T21" fmla="*/ 1 h 170"/>
                  <a:gd name="T22" fmla="*/ 5 w 128"/>
                  <a:gd name="T23" fmla="*/ 0 h 170"/>
                  <a:gd name="T24" fmla="*/ 7 w 128"/>
                  <a:gd name="T25" fmla="*/ 0 h 170"/>
                  <a:gd name="T26" fmla="*/ 127 w 128"/>
                  <a:gd name="T27" fmla="*/ 69 h 170"/>
                  <a:gd name="T28" fmla="*/ 128 w 128"/>
                  <a:gd name="T29" fmla="*/ 71 h 170"/>
                  <a:gd name="T30" fmla="*/ 128 w 128"/>
                  <a:gd name="T31" fmla="*/ 134 h 170"/>
                  <a:gd name="T32" fmla="*/ 127 w 128"/>
                  <a:gd name="T33" fmla="*/ 136 h 170"/>
                  <a:gd name="T34" fmla="*/ 69 w 128"/>
                  <a:gd name="T35" fmla="*/ 169 h 170"/>
                  <a:gd name="T36" fmla="*/ 68 w 128"/>
                  <a:gd name="T37" fmla="*/ 170 h 170"/>
                  <a:gd name="T38" fmla="*/ 55 w 128"/>
                  <a:gd name="T39" fmla="*/ 158 h 170"/>
                  <a:gd name="T40" fmla="*/ 56 w 128"/>
                  <a:gd name="T41" fmla="*/ 159 h 170"/>
                  <a:gd name="T42" fmla="*/ 68 w 128"/>
                  <a:gd name="T43" fmla="*/ 165 h 170"/>
                  <a:gd name="T44" fmla="*/ 124 w 128"/>
                  <a:gd name="T45" fmla="*/ 133 h 170"/>
                  <a:gd name="T46" fmla="*/ 124 w 128"/>
                  <a:gd name="T47" fmla="*/ 72 h 170"/>
                  <a:gd name="T48" fmla="*/ 7 w 128"/>
                  <a:gd name="T49" fmla="*/ 5 h 170"/>
                  <a:gd name="T50" fmla="*/ 7 w 128"/>
                  <a:gd name="T51" fmla="*/ 142 h 170"/>
                  <a:gd name="T52" fmla="*/ 6 w 128"/>
                  <a:gd name="T53" fmla="*/ 144 h 170"/>
                  <a:gd name="T54" fmla="*/ 6 w 128"/>
                  <a:gd name="T55" fmla="*/ 144 h 170"/>
                  <a:gd name="T56" fmla="*/ 42 w 128"/>
                  <a:gd name="T57" fmla="*/ 165 h 170"/>
                  <a:gd name="T58" fmla="*/ 54 w 128"/>
                  <a:gd name="T59" fmla="*/ 159 h 170"/>
                  <a:gd name="T60" fmla="*/ 55 w 128"/>
                  <a:gd name="T61" fmla="*/ 158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8" h="170">
                    <a:moveTo>
                      <a:pt x="68" y="170"/>
                    </a:moveTo>
                    <a:cubicBezTo>
                      <a:pt x="67" y="170"/>
                      <a:pt x="67" y="170"/>
                      <a:pt x="67" y="169"/>
                    </a:cubicBezTo>
                    <a:cubicBezTo>
                      <a:pt x="55" y="163"/>
                      <a:pt x="55" y="163"/>
                      <a:pt x="55" y="163"/>
                    </a:cubicBezTo>
                    <a:cubicBezTo>
                      <a:pt x="43" y="169"/>
                      <a:pt x="43" y="169"/>
                      <a:pt x="43" y="169"/>
                    </a:cubicBezTo>
                    <a:cubicBezTo>
                      <a:pt x="43" y="169"/>
                      <a:pt x="42" y="169"/>
                      <a:pt x="41" y="169"/>
                    </a:cubicBezTo>
                    <a:cubicBezTo>
                      <a:pt x="1" y="146"/>
                      <a:pt x="1" y="146"/>
                      <a:pt x="1" y="146"/>
                    </a:cubicBezTo>
                    <a:cubicBezTo>
                      <a:pt x="1" y="146"/>
                      <a:pt x="0" y="145"/>
                      <a:pt x="0" y="144"/>
                    </a:cubicBezTo>
                    <a:cubicBezTo>
                      <a:pt x="0" y="143"/>
                      <a:pt x="1" y="143"/>
                      <a:pt x="1" y="142"/>
                    </a:cubicBezTo>
                    <a:cubicBezTo>
                      <a:pt x="3" y="141"/>
                      <a:pt x="3" y="141"/>
                      <a:pt x="3" y="14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0"/>
                    </a:cubicBezTo>
                    <a:cubicBezTo>
                      <a:pt x="127" y="69"/>
                      <a:pt x="127" y="69"/>
                      <a:pt x="127" y="69"/>
                    </a:cubicBezTo>
                    <a:cubicBezTo>
                      <a:pt x="127" y="69"/>
                      <a:pt x="128" y="70"/>
                      <a:pt x="128" y="71"/>
                    </a:cubicBezTo>
                    <a:cubicBezTo>
                      <a:pt x="128" y="134"/>
                      <a:pt x="128" y="134"/>
                      <a:pt x="128" y="134"/>
                    </a:cubicBezTo>
                    <a:cubicBezTo>
                      <a:pt x="128" y="135"/>
                      <a:pt x="127" y="135"/>
                      <a:pt x="127" y="136"/>
                    </a:cubicBezTo>
                    <a:cubicBezTo>
                      <a:pt x="69" y="169"/>
                      <a:pt x="69" y="169"/>
                      <a:pt x="69" y="169"/>
                    </a:cubicBezTo>
                    <a:cubicBezTo>
                      <a:pt x="68" y="170"/>
                      <a:pt x="68" y="170"/>
                      <a:pt x="68" y="170"/>
                    </a:cubicBezTo>
                    <a:close/>
                    <a:moveTo>
                      <a:pt x="55" y="158"/>
                    </a:moveTo>
                    <a:cubicBezTo>
                      <a:pt x="55" y="158"/>
                      <a:pt x="55" y="158"/>
                      <a:pt x="56" y="159"/>
                    </a:cubicBezTo>
                    <a:cubicBezTo>
                      <a:pt x="68" y="165"/>
                      <a:pt x="68" y="165"/>
                      <a:pt x="68" y="165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42"/>
                      <a:pt x="7" y="142"/>
                      <a:pt x="7" y="142"/>
                    </a:cubicBezTo>
                    <a:cubicBezTo>
                      <a:pt x="7" y="143"/>
                      <a:pt x="7" y="144"/>
                      <a:pt x="6" y="144"/>
                    </a:cubicBezTo>
                    <a:cubicBezTo>
                      <a:pt x="6" y="144"/>
                      <a:pt x="6" y="144"/>
                      <a:pt x="6" y="144"/>
                    </a:cubicBezTo>
                    <a:cubicBezTo>
                      <a:pt x="42" y="165"/>
                      <a:pt x="42" y="165"/>
                      <a:pt x="42" y="165"/>
                    </a:cubicBezTo>
                    <a:cubicBezTo>
                      <a:pt x="54" y="159"/>
                      <a:pt x="54" y="159"/>
                      <a:pt x="54" y="159"/>
                    </a:cubicBezTo>
                    <a:cubicBezTo>
                      <a:pt x="54" y="158"/>
                      <a:pt x="54" y="158"/>
                      <a:pt x="55" y="1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972">
                <a:extLst>
                  <a:ext uri="{FF2B5EF4-FFF2-40B4-BE49-F238E27FC236}">
                    <a16:creationId xmlns:a16="http://schemas.microsoft.com/office/drawing/2014/main" id="{B7502A5E-E035-49FE-97CB-BB4E4897D9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27" y="2221"/>
                <a:ext cx="141" cy="106"/>
              </a:xfrm>
              <a:custGeom>
                <a:avLst/>
                <a:gdLst>
                  <a:gd name="T0" fmla="*/ 45 w 60"/>
                  <a:gd name="T1" fmla="*/ 45 h 45"/>
                  <a:gd name="T2" fmla="*/ 44 w 60"/>
                  <a:gd name="T3" fmla="*/ 45 h 45"/>
                  <a:gd name="T4" fmla="*/ 1 w 60"/>
                  <a:gd name="T5" fmla="*/ 21 h 45"/>
                  <a:gd name="T6" fmla="*/ 0 w 60"/>
                  <a:gd name="T7" fmla="*/ 19 h 45"/>
                  <a:gd name="T8" fmla="*/ 1 w 60"/>
                  <a:gd name="T9" fmla="*/ 17 h 45"/>
                  <a:gd name="T10" fmla="*/ 30 w 60"/>
                  <a:gd name="T11" fmla="*/ 0 h 45"/>
                  <a:gd name="T12" fmla="*/ 32 w 60"/>
                  <a:gd name="T13" fmla="*/ 0 h 45"/>
                  <a:gd name="T14" fmla="*/ 59 w 60"/>
                  <a:gd name="T15" fmla="*/ 15 h 45"/>
                  <a:gd name="T16" fmla="*/ 60 w 60"/>
                  <a:gd name="T17" fmla="*/ 17 h 45"/>
                  <a:gd name="T18" fmla="*/ 59 w 60"/>
                  <a:gd name="T19" fmla="*/ 19 h 45"/>
                  <a:gd name="T20" fmla="*/ 47 w 60"/>
                  <a:gd name="T21" fmla="*/ 26 h 45"/>
                  <a:gd name="T22" fmla="*/ 47 w 60"/>
                  <a:gd name="T23" fmla="*/ 43 h 45"/>
                  <a:gd name="T24" fmla="*/ 46 w 60"/>
                  <a:gd name="T25" fmla="*/ 45 h 45"/>
                  <a:gd name="T26" fmla="*/ 45 w 60"/>
                  <a:gd name="T27" fmla="*/ 45 h 45"/>
                  <a:gd name="T28" fmla="*/ 6 w 60"/>
                  <a:gd name="T29" fmla="*/ 19 h 45"/>
                  <a:gd name="T30" fmla="*/ 43 w 60"/>
                  <a:gd name="T31" fmla="*/ 40 h 45"/>
                  <a:gd name="T32" fmla="*/ 43 w 60"/>
                  <a:gd name="T33" fmla="*/ 24 h 45"/>
                  <a:gd name="T34" fmla="*/ 44 w 60"/>
                  <a:gd name="T35" fmla="*/ 23 h 45"/>
                  <a:gd name="T36" fmla="*/ 54 w 60"/>
                  <a:gd name="T37" fmla="*/ 17 h 45"/>
                  <a:gd name="T38" fmla="*/ 31 w 60"/>
                  <a:gd name="T39" fmla="*/ 4 h 45"/>
                  <a:gd name="T40" fmla="*/ 6 w 60"/>
                  <a:gd name="T41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5">
                    <a:moveTo>
                      <a:pt x="45" y="45"/>
                    </a:moveTo>
                    <a:cubicBezTo>
                      <a:pt x="44" y="45"/>
                      <a:pt x="44" y="45"/>
                      <a:pt x="44" y="45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0"/>
                      <a:pt x="0" y="20"/>
                      <a:pt x="0" y="19"/>
                    </a:cubicBezTo>
                    <a:cubicBezTo>
                      <a:pt x="0" y="18"/>
                      <a:pt x="0" y="18"/>
                      <a:pt x="1" y="17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1" y="0"/>
                      <a:pt x="32" y="0"/>
                      <a:pt x="32" y="0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59" y="16"/>
                      <a:pt x="60" y="16"/>
                      <a:pt x="60" y="17"/>
                    </a:cubicBezTo>
                    <a:cubicBezTo>
                      <a:pt x="60" y="18"/>
                      <a:pt x="59" y="18"/>
                      <a:pt x="59" y="19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7" y="44"/>
                      <a:pt x="46" y="45"/>
                      <a:pt x="46" y="45"/>
                    </a:cubicBezTo>
                    <a:cubicBezTo>
                      <a:pt x="45" y="45"/>
                      <a:pt x="45" y="45"/>
                      <a:pt x="45" y="45"/>
                    </a:cubicBezTo>
                    <a:close/>
                    <a:moveTo>
                      <a:pt x="6" y="19"/>
                    </a:moveTo>
                    <a:cubicBezTo>
                      <a:pt x="43" y="40"/>
                      <a:pt x="43" y="40"/>
                      <a:pt x="43" y="4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4" y="23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31" y="4"/>
                      <a:pt x="31" y="4"/>
                      <a:pt x="31" y="4"/>
                    </a:cubicBezTo>
                    <a:lnTo>
                      <a:pt x="6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973">
                <a:extLst>
                  <a:ext uri="{FF2B5EF4-FFF2-40B4-BE49-F238E27FC236}">
                    <a16:creationId xmlns:a16="http://schemas.microsoft.com/office/drawing/2014/main" id="{DA7F2CD6-FD1D-4186-B4B4-A1E4DB1DA8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76" y="2473"/>
                <a:ext cx="62" cy="182"/>
              </a:xfrm>
              <a:custGeom>
                <a:avLst/>
                <a:gdLst>
                  <a:gd name="T0" fmla="*/ 13 w 26"/>
                  <a:gd name="T1" fmla="*/ 77 h 77"/>
                  <a:gd name="T2" fmla="*/ 12 w 26"/>
                  <a:gd name="T3" fmla="*/ 77 h 77"/>
                  <a:gd name="T4" fmla="*/ 1 w 26"/>
                  <a:gd name="T5" fmla="*/ 71 h 77"/>
                  <a:gd name="T6" fmla="*/ 0 w 26"/>
                  <a:gd name="T7" fmla="*/ 69 h 77"/>
                  <a:gd name="T8" fmla="*/ 0 w 26"/>
                  <a:gd name="T9" fmla="*/ 7 h 77"/>
                  <a:gd name="T10" fmla="*/ 1 w 26"/>
                  <a:gd name="T11" fmla="*/ 6 h 77"/>
                  <a:gd name="T12" fmla="*/ 10 w 26"/>
                  <a:gd name="T13" fmla="*/ 1 h 77"/>
                  <a:gd name="T14" fmla="*/ 12 w 26"/>
                  <a:gd name="T15" fmla="*/ 1 h 77"/>
                  <a:gd name="T16" fmla="*/ 25 w 26"/>
                  <a:gd name="T17" fmla="*/ 8 h 77"/>
                  <a:gd name="T18" fmla="*/ 26 w 26"/>
                  <a:gd name="T19" fmla="*/ 10 h 77"/>
                  <a:gd name="T20" fmla="*/ 26 w 26"/>
                  <a:gd name="T21" fmla="*/ 69 h 77"/>
                  <a:gd name="T22" fmla="*/ 25 w 26"/>
                  <a:gd name="T23" fmla="*/ 71 h 77"/>
                  <a:gd name="T24" fmla="*/ 14 w 26"/>
                  <a:gd name="T25" fmla="*/ 77 h 77"/>
                  <a:gd name="T26" fmla="*/ 13 w 26"/>
                  <a:gd name="T27" fmla="*/ 77 h 77"/>
                  <a:gd name="T28" fmla="*/ 4 w 26"/>
                  <a:gd name="T29" fmla="*/ 68 h 77"/>
                  <a:gd name="T30" fmla="*/ 13 w 26"/>
                  <a:gd name="T31" fmla="*/ 73 h 77"/>
                  <a:gd name="T32" fmla="*/ 22 w 26"/>
                  <a:gd name="T33" fmla="*/ 68 h 77"/>
                  <a:gd name="T34" fmla="*/ 22 w 26"/>
                  <a:gd name="T35" fmla="*/ 11 h 77"/>
                  <a:gd name="T36" fmla="*/ 11 w 26"/>
                  <a:gd name="T37" fmla="*/ 5 h 77"/>
                  <a:gd name="T38" fmla="*/ 4 w 26"/>
                  <a:gd name="T39" fmla="*/ 9 h 77"/>
                  <a:gd name="T40" fmla="*/ 4 w 26"/>
                  <a:gd name="T41" fmla="*/ 68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77">
                    <a:moveTo>
                      <a:pt x="13" y="77"/>
                    </a:moveTo>
                    <a:cubicBezTo>
                      <a:pt x="13" y="77"/>
                      <a:pt x="12" y="77"/>
                      <a:pt x="12" y="77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6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6"/>
                      <a:pt x="1" y="6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5" y="9"/>
                      <a:pt x="26" y="9"/>
                      <a:pt x="26" y="10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70"/>
                      <a:pt x="25" y="71"/>
                      <a:pt x="25" y="71"/>
                    </a:cubicBezTo>
                    <a:cubicBezTo>
                      <a:pt x="14" y="77"/>
                      <a:pt x="14" y="77"/>
                      <a:pt x="14" y="77"/>
                    </a:cubicBezTo>
                    <a:cubicBezTo>
                      <a:pt x="14" y="77"/>
                      <a:pt x="13" y="77"/>
                      <a:pt x="13" y="77"/>
                    </a:cubicBezTo>
                    <a:close/>
                    <a:moveTo>
                      <a:pt x="4" y="68"/>
                    </a:moveTo>
                    <a:cubicBezTo>
                      <a:pt x="13" y="73"/>
                      <a:pt x="13" y="73"/>
                      <a:pt x="13" y="73"/>
                    </a:cubicBezTo>
                    <a:cubicBezTo>
                      <a:pt x="22" y="68"/>
                      <a:pt x="22" y="68"/>
                      <a:pt x="22" y="68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974">
                <a:extLst>
                  <a:ext uri="{FF2B5EF4-FFF2-40B4-BE49-F238E27FC236}">
                    <a16:creationId xmlns:a16="http://schemas.microsoft.com/office/drawing/2014/main" id="{53124BBE-6271-4928-A856-211A6C81B2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00" y="2173"/>
                <a:ext cx="137" cy="90"/>
              </a:xfrm>
              <a:custGeom>
                <a:avLst/>
                <a:gdLst>
                  <a:gd name="T0" fmla="*/ 28 w 58"/>
                  <a:gd name="T1" fmla="*/ 38 h 38"/>
                  <a:gd name="T2" fmla="*/ 27 w 58"/>
                  <a:gd name="T3" fmla="*/ 38 h 38"/>
                  <a:gd name="T4" fmla="*/ 1 w 58"/>
                  <a:gd name="T5" fmla="*/ 23 h 38"/>
                  <a:gd name="T6" fmla="*/ 0 w 58"/>
                  <a:gd name="T7" fmla="*/ 21 h 38"/>
                  <a:gd name="T8" fmla="*/ 1 w 58"/>
                  <a:gd name="T9" fmla="*/ 19 h 38"/>
                  <a:gd name="T10" fmla="*/ 33 w 58"/>
                  <a:gd name="T11" fmla="*/ 1 h 38"/>
                  <a:gd name="T12" fmla="*/ 35 w 58"/>
                  <a:gd name="T13" fmla="*/ 1 h 38"/>
                  <a:gd name="T14" fmla="*/ 57 w 58"/>
                  <a:gd name="T15" fmla="*/ 13 h 38"/>
                  <a:gd name="T16" fmla="*/ 58 w 58"/>
                  <a:gd name="T17" fmla="*/ 15 h 38"/>
                  <a:gd name="T18" fmla="*/ 58 w 58"/>
                  <a:gd name="T19" fmla="*/ 20 h 38"/>
                  <a:gd name="T20" fmla="*/ 57 w 58"/>
                  <a:gd name="T21" fmla="*/ 21 h 38"/>
                  <a:gd name="T22" fmla="*/ 29 w 58"/>
                  <a:gd name="T23" fmla="*/ 38 h 38"/>
                  <a:gd name="T24" fmla="*/ 28 w 58"/>
                  <a:gd name="T25" fmla="*/ 38 h 38"/>
                  <a:gd name="T26" fmla="*/ 6 w 58"/>
                  <a:gd name="T27" fmla="*/ 21 h 38"/>
                  <a:gd name="T28" fmla="*/ 28 w 58"/>
                  <a:gd name="T29" fmla="*/ 34 h 38"/>
                  <a:gd name="T30" fmla="*/ 54 w 58"/>
                  <a:gd name="T31" fmla="*/ 19 h 38"/>
                  <a:gd name="T32" fmla="*/ 54 w 58"/>
                  <a:gd name="T33" fmla="*/ 16 h 38"/>
                  <a:gd name="T34" fmla="*/ 34 w 58"/>
                  <a:gd name="T35" fmla="*/ 5 h 38"/>
                  <a:gd name="T36" fmla="*/ 6 w 58"/>
                  <a:gd name="T37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8" h="38">
                    <a:moveTo>
                      <a:pt x="28" y="38"/>
                    </a:moveTo>
                    <a:cubicBezTo>
                      <a:pt x="28" y="38"/>
                      <a:pt x="27" y="38"/>
                      <a:pt x="27" y="38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20"/>
                      <a:pt x="1" y="19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4" y="0"/>
                      <a:pt x="35" y="0"/>
                      <a:pt x="35" y="1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8" y="14"/>
                      <a:pt x="58" y="14"/>
                      <a:pt x="58" y="15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8" y="20"/>
                      <a:pt x="58" y="21"/>
                      <a:pt x="57" y="21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9" y="38"/>
                      <a:pt x="29" y="38"/>
                      <a:pt x="28" y="38"/>
                    </a:cubicBezTo>
                    <a:close/>
                    <a:moveTo>
                      <a:pt x="6" y="21"/>
                    </a:moveTo>
                    <a:cubicBezTo>
                      <a:pt x="28" y="34"/>
                      <a:pt x="28" y="34"/>
                      <a:pt x="28" y="3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34" y="5"/>
                      <a:pt x="34" y="5"/>
                      <a:pt x="34" y="5"/>
                    </a:cubicBezTo>
                    <a:lnTo>
                      <a:pt x="6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975">
                <a:extLst>
                  <a:ext uri="{FF2B5EF4-FFF2-40B4-BE49-F238E27FC236}">
                    <a16:creationId xmlns:a16="http://schemas.microsoft.com/office/drawing/2014/main" id="{9BD7AB7D-25D5-429C-9A44-49F8EF2033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31" y="2379"/>
                <a:ext cx="155" cy="307"/>
              </a:xfrm>
              <a:custGeom>
                <a:avLst/>
                <a:gdLst>
                  <a:gd name="T0" fmla="*/ 43 w 66"/>
                  <a:gd name="T1" fmla="*/ 130 h 130"/>
                  <a:gd name="T2" fmla="*/ 42 w 66"/>
                  <a:gd name="T3" fmla="*/ 130 h 130"/>
                  <a:gd name="T4" fmla="*/ 42 w 66"/>
                  <a:gd name="T5" fmla="*/ 129 h 130"/>
                  <a:gd name="T6" fmla="*/ 41 w 66"/>
                  <a:gd name="T7" fmla="*/ 128 h 130"/>
                  <a:gd name="T8" fmla="*/ 41 w 66"/>
                  <a:gd name="T9" fmla="*/ 74 h 130"/>
                  <a:gd name="T10" fmla="*/ 1 w 66"/>
                  <a:gd name="T11" fmla="*/ 51 h 130"/>
                  <a:gd name="T12" fmla="*/ 0 w 66"/>
                  <a:gd name="T13" fmla="*/ 49 h 130"/>
                  <a:gd name="T14" fmla="*/ 0 w 66"/>
                  <a:gd name="T15" fmla="*/ 34 h 130"/>
                  <a:gd name="T16" fmla="*/ 1 w 66"/>
                  <a:gd name="T17" fmla="*/ 33 h 130"/>
                  <a:gd name="T18" fmla="*/ 14 w 66"/>
                  <a:gd name="T19" fmla="*/ 25 h 130"/>
                  <a:gd name="T20" fmla="*/ 15 w 66"/>
                  <a:gd name="T21" fmla="*/ 25 h 130"/>
                  <a:gd name="T22" fmla="*/ 15 w 66"/>
                  <a:gd name="T23" fmla="*/ 24 h 130"/>
                  <a:gd name="T24" fmla="*/ 57 w 66"/>
                  <a:gd name="T25" fmla="*/ 0 h 130"/>
                  <a:gd name="T26" fmla="*/ 59 w 66"/>
                  <a:gd name="T27" fmla="*/ 0 h 130"/>
                  <a:gd name="T28" fmla="*/ 65 w 66"/>
                  <a:gd name="T29" fmla="*/ 4 h 130"/>
                  <a:gd name="T30" fmla="*/ 66 w 66"/>
                  <a:gd name="T31" fmla="*/ 5 h 130"/>
                  <a:gd name="T32" fmla="*/ 65 w 66"/>
                  <a:gd name="T33" fmla="*/ 7 h 130"/>
                  <a:gd name="T34" fmla="*/ 17 w 66"/>
                  <a:gd name="T35" fmla="*/ 35 h 130"/>
                  <a:gd name="T36" fmla="*/ 53 w 66"/>
                  <a:gd name="T37" fmla="*/ 56 h 130"/>
                  <a:gd name="T38" fmla="*/ 54 w 66"/>
                  <a:gd name="T39" fmla="*/ 58 h 130"/>
                  <a:gd name="T40" fmla="*/ 53 w 66"/>
                  <a:gd name="T41" fmla="*/ 59 h 130"/>
                  <a:gd name="T42" fmla="*/ 45 w 66"/>
                  <a:gd name="T43" fmla="*/ 64 h 130"/>
                  <a:gd name="T44" fmla="*/ 45 w 66"/>
                  <a:gd name="T45" fmla="*/ 128 h 130"/>
                  <a:gd name="T46" fmla="*/ 44 w 66"/>
                  <a:gd name="T47" fmla="*/ 130 h 130"/>
                  <a:gd name="T48" fmla="*/ 43 w 66"/>
                  <a:gd name="T49" fmla="*/ 130 h 130"/>
                  <a:gd name="T50" fmla="*/ 4 w 66"/>
                  <a:gd name="T51" fmla="*/ 48 h 130"/>
                  <a:gd name="T52" fmla="*/ 41 w 66"/>
                  <a:gd name="T53" fmla="*/ 69 h 130"/>
                  <a:gd name="T54" fmla="*/ 41 w 66"/>
                  <a:gd name="T55" fmla="*/ 62 h 130"/>
                  <a:gd name="T56" fmla="*/ 42 w 66"/>
                  <a:gd name="T57" fmla="*/ 61 h 130"/>
                  <a:gd name="T58" fmla="*/ 48 w 66"/>
                  <a:gd name="T59" fmla="*/ 58 h 130"/>
                  <a:gd name="T60" fmla="*/ 12 w 66"/>
                  <a:gd name="T61" fmla="*/ 37 h 130"/>
                  <a:gd name="T62" fmla="*/ 11 w 66"/>
                  <a:gd name="T63" fmla="*/ 35 h 130"/>
                  <a:gd name="T64" fmla="*/ 12 w 66"/>
                  <a:gd name="T65" fmla="*/ 33 h 130"/>
                  <a:gd name="T66" fmla="*/ 60 w 66"/>
                  <a:gd name="T67" fmla="*/ 5 h 130"/>
                  <a:gd name="T68" fmla="*/ 58 w 66"/>
                  <a:gd name="T69" fmla="*/ 4 h 130"/>
                  <a:gd name="T70" fmla="*/ 18 w 66"/>
                  <a:gd name="T71" fmla="*/ 27 h 130"/>
                  <a:gd name="T72" fmla="*/ 18 w 66"/>
                  <a:gd name="T73" fmla="*/ 28 h 130"/>
                  <a:gd name="T74" fmla="*/ 17 w 66"/>
                  <a:gd name="T75" fmla="*/ 30 h 130"/>
                  <a:gd name="T76" fmla="*/ 15 w 66"/>
                  <a:gd name="T77" fmla="*/ 30 h 130"/>
                  <a:gd name="T78" fmla="*/ 15 w 66"/>
                  <a:gd name="T79" fmla="*/ 29 h 130"/>
                  <a:gd name="T80" fmla="*/ 4 w 66"/>
                  <a:gd name="T81" fmla="*/ 35 h 130"/>
                  <a:gd name="T82" fmla="*/ 4 w 66"/>
                  <a:gd name="T83" fmla="*/ 4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130">
                    <a:moveTo>
                      <a:pt x="43" y="130"/>
                    </a:moveTo>
                    <a:cubicBezTo>
                      <a:pt x="43" y="130"/>
                      <a:pt x="43" y="130"/>
                      <a:pt x="42" y="130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1" y="129"/>
                      <a:pt x="41" y="128"/>
                      <a:pt x="41" y="128"/>
                    </a:cubicBezTo>
                    <a:cubicBezTo>
                      <a:pt x="41" y="74"/>
                      <a:pt x="41" y="74"/>
                      <a:pt x="41" y="74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4"/>
                      <a:pt x="1" y="33"/>
                      <a:pt x="1" y="33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5"/>
                      <a:pt x="14" y="25"/>
                      <a:pt x="15" y="25"/>
                    </a:cubicBezTo>
                    <a:cubicBezTo>
                      <a:pt x="15" y="25"/>
                      <a:pt x="15" y="24"/>
                      <a:pt x="15" y="24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8" y="0"/>
                      <a:pt x="59" y="0"/>
                      <a:pt x="59" y="0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6" y="4"/>
                      <a:pt x="66" y="5"/>
                      <a:pt x="66" y="5"/>
                    </a:cubicBezTo>
                    <a:cubicBezTo>
                      <a:pt x="66" y="6"/>
                      <a:pt x="66" y="7"/>
                      <a:pt x="65" y="7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53" y="56"/>
                      <a:pt x="54" y="57"/>
                      <a:pt x="54" y="58"/>
                    </a:cubicBezTo>
                    <a:cubicBezTo>
                      <a:pt x="54" y="58"/>
                      <a:pt x="53" y="59"/>
                      <a:pt x="53" y="59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5" y="129"/>
                      <a:pt x="45" y="129"/>
                      <a:pt x="44" y="130"/>
                    </a:cubicBezTo>
                    <a:cubicBezTo>
                      <a:pt x="44" y="130"/>
                      <a:pt x="44" y="130"/>
                      <a:pt x="43" y="130"/>
                    </a:cubicBezTo>
                    <a:close/>
                    <a:moveTo>
                      <a:pt x="4" y="48"/>
                    </a:moveTo>
                    <a:cubicBezTo>
                      <a:pt x="41" y="69"/>
                      <a:pt x="41" y="69"/>
                      <a:pt x="41" y="69"/>
                    </a:cubicBezTo>
                    <a:cubicBezTo>
                      <a:pt x="41" y="62"/>
                      <a:pt x="41" y="62"/>
                      <a:pt x="41" y="62"/>
                    </a:cubicBezTo>
                    <a:cubicBezTo>
                      <a:pt x="41" y="62"/>
                      <a:pt x="42" y="61"/>
                      <a:pt x="42" y="61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1" y="36"/>
                      <a:pt x="11" y="36"/>
                      <a:pt x="11" y="35"/>
                    </a:cubicBezTo>
                    <a:cubicBezTo>
                      <a:pt x="11" y="34"/>
                      <a:pt x="11" y="34"/>
                      <a:pt x="12" y="33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18" y="29"/>
                      <a:pt x="18" y="29"/>
                      <a:pt x="17" y="30"/>
                    </a:cubicBezTo>
                    <a:cubicBezTo>
                      <a:pt x="17" y="30"/>
                      <a:pt x="16" y="30"/>
                      <a:pt x="15" y="30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4" y="35"/>
                      <a:pt x="4" y="35"/>
                      <a:pt x="4" y="35"/>
                    </a:cubicBezTo>
                    <a:lnTo>
                      <a:pt x="4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976">
                <a:extLst>
                  <a:ext uri="{FF2B5EF4-FFF2-40B4-BE49-F238E27FC236}">
                    <a16:creationId xmlns:a16="http://schemas.microsoft.com/office/drawing/2014/main" id="{756093C9-0D0C-43E5-AEC2-819D9AA2E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32" y="2684"/>
                <a:ext cx="12" cy="12"/>
              </a:xfrm>
              <a:custGeom>
                <a:avLst/>
                <a:gdLst>
                  <a:gd name="T0" fmla="*/ 2 w 5"/>
                  <a:gd name="T1" fmla="*/ 5 h 5"/>
                  <a:gd name="T2" fmla="*/ 1 w 5"/>
                  <a:gd name="T3" fmla="*/ 4 h 5"/>
                  <a:gd name="T4" fmla="*/ 0 w 5"/>
                  <a:gd name="T5" fmla="*/ 3 h 5"/>
                  <a:gd name="T6" fmla="*/ 0 w 5"/>
                  <a:gd name="T7" fmla="*/ 2 h 5"/>
                  <a:gd name="T8" fmla="*/ 1 w 5"/>
                  <a:gd name="T9" fmla="*/ 0 h 5"/>
                  <a:gd name="T10" fmla="*/ 3 w 5"/>
                  <a:gd name="T11" fmla="*/ 0 h 5"/>
                  <a:gd name="T12" fmla="*/ 4 w 5"/>
                  <a:gd name="T13" fmla="*/ 0 h 5"/>
                  <a:gd name="T14" fmla="*/ 5 w 5"/>
                  <a:gd name="T15" fmla="*/ 2 h 5"/>
                  <a:gd name="T16" fmla="*/ 4 w 5"/>
                  <a:gd name="T17" fmla="*/ 4 h 5"/>
                  <a:gd name="T18" fmla="*/ 3 w 5"/>
                  <a:gd name="T19" fmla="*/ 4 h 5"/>
                  <a:gd name="T20" fmla="*/ 2 w 5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5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5" y="1"/>
                      <a:pt x="5" y="2"/>
                    </a:cubicBezTo>
                    <a:cubicBezTo>
                      <a:pt x="5" y="3"/>
                      <a:pt x="4" y="3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977">
                <a:extLst>
                  <a:ext uri="{FF2B5EF4-FFF2-40B4-BE49-F238E27FC236}">
                    <a16:creationId xmlns:a16="http://schemas.microsoft.com/office/drawing/2014/main" id="{2B063DB4-CFCC-4725-8DAC-0E6F65AEA8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32" y="2511"/>
                <a:ext cx="149" cy="180"/>
              </a:xfrm>
              <a:custGeom>
                <a:avLst/>
                <a:gdLst>
                  <a:gd name="T0" fmla="*/ 4 w 63"/>
                  <a:gd name="T1" fmla="*/ 76 h 76"/>
                  <a:gd name="T2" fmla="*/ 3 w 63"/>
                  <a:gd name="T3" fmla="*/ 76 h 76"/>
                  <a:gd name="T4" fmla="*/ 1 w 63"/>
                  <a:gd name="T5" fmla="*/ 75 h 76"/>
                  <a:gd name="T6" fmla="*/ 0 w 63"/>
                  <a:gd name="T7" fmla="*/ 73 h 76"/>
                  <a:gd name="T8" fmla="*/ 0 w 63"/>
                  <a:gd name="T9" fmla="*/ 7 h 76"/>
                  <a:gd name="T10" fmla="*/ 1 w 63"/>
                  <a:gd name="T11" fmla="*/ 6 h 76"/>
                  <a:gd name="T12" fmla="*/ 9 w 63"/>
                  <a:gd name="T13" fmla="*/ 1 h 76"/>
                  <a:gd name="T14" fmla="*/ 11 w 63"/>
                  <a:gd name="T15" fmla="*/ 1 h 76"/>
                  <a:gd name="T16" fmla="*/ 38 w 63"/>
                  <a:gd name="T17" fmla="*/ 16 h 76"/>
                  <a:gd name="T18" fmla="*/ 60 w 63"/>
                  <a:gd name="T19" fmla="*/ 4 h 76"/>
                  <a:gd name="T20" fmla="*/ 62 w 63"/>
                  <a:gd name="T21" fmla="*/ 4 h 76"/>
                  <a:gd name="T22" fmla="*/ 63 w 63"/>
                  <a:gd name="T23" fmla="*/ 5 h 76"/>
                  <a:gd name="T24" fmla="*/ 63 w 63"/>
                  <a:gd name="T25" fmla="*/ 41 h 76"/>
                  <a:gd name="T26" fmla="*/ 62 w 63"/>
                  <a:gd name="T27" fmla="*/ 43 h 76"/>
                  <a:gd name="T28" fmla="*/ 5 w 63"/>
                  <a:gd name="T29" fmla="*/ 76 h 76"/>
                  <a:gd name="T30" fmla="*/ 4 w 63"/>
                  <a:gd name="T31" fmla="*/ 76 h 76"/>
                  <a:gd name="T32" fmla="*/ 4 w 63"/>
                  <a:gd name="T33" fmla="*/ 72 h 76"/>
                  <a:gd name="T34" fmla="*/ 4 w 63"/>
                  <a:gd name="T35" fmla="*/ 72 h 76"/>
                  <a:gd name="T36" fmla="*/ 59 w 63"/>
                  <a:gd name="T37" fmla="*/ 40 h 76"/>
                  <a:gd name="T38" fmla="*/ 59 w 63"/>
                  <a:gd name="T39" fmla="*/ 9 h 76"/>
                  <a:gd name="T40" fmla="*/ 39 w 63"/>
                  <a:gd name="T41" fmla="*/ 20 h 76"/>
                  <a:gd name="T42" fmla="*/ 37 w 63"/>
                  <a:gd name="T43" fmla="*/ 20 h 76"/>
                  <a:gd name="T44" fmla="*/ 10 w 63"/>
                  <a:gd name="T45" fmla="*/ 5 h 76"/>
                  <a:gd name="T46" fmla="*/ 4 w 63"/>
                  <a:gd name="T47" fmla="*/ 9 h 76"/>
                  <a:gd name="T48" fmla="*/ 4 w 63"/>
                  <a:gd name="T49" fmla="*/ 7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76">
                    <a:moveTo>
                      <a:pt x="4" y="76"/>
                    </a:moveTo>
                    <a:cubicBezTo>
                      <a:pt x="4" y="76"/>
                      <a:pt x="4" y="76"/>
                      <a:pt x="3" y="76"/>
                    </a:cubicBezTo>
                    <a:cubicBezTo>
                      <a:pt x="1" y="75"/>
                      <a:pt x="1" y="75"/>
                      <a:pt x="1" y="75"/>
                    </a:cubicBezTo>
                    <a:cubicBezTo>
                      <a:pt x="0" y="74"/>
                      <a:pt x="0" y="74"/>
                      <a:pt x="0" y="7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61" y="3"/>
                      <a:pt x="61" y="3"/>
                      <a:pt x="62" y="4"/>
                    </a:cubicBezTo>
                    <a:cubicBezTo>
                      <a:pt x="63" y="4"/>
                      <a:pt x="63" y="5"/>
                      <a:pt x="63" y="5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2"/>
                      <a:pt x="63" y="43"/>
                      <a:pt x="62" y="43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76"/>
                      <a:pt x="5" y="76"/>
                      <a:pt x="4" y="76"/>
                    </a:cubicBezTo>
                    <a:close/>
                    <a:moveTo>
                      <a:pt x="4" y="72"/>
                    </a:moveTo>
                    <a:cubicBezTo>
                      <a:pt x="4" y="72"/>
                      <a:pt x="4" y="72"/>
                      <a:pt x="4" y="72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21"/>
                      <a:pt x="38" y="21"/>
                      <a:pt x="37" y="20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978">
                <a:extLst>
                  <a:ext uri="{FF2B5EF4-FFF2-40B4-BE49-F238E27FC236}">
                    <a16:creationId xmlns:a16="http://schemas.microsoft.com/office/drawing/2014/main" id="{3B203DD0-2085-479A-872A-E6DBA34B1C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76" y="2464"/>
                <a:ext cx="26" cy="28"/>
              </a:xfrm>
              <a:custGeom>
                <a:avLst/>
                <a:gdLst>
                  <a:gd name="T0" fmla="*/ 2 w 11"/>
                  <a:gd name="T1" fmla="*/ 12 h 12"/>
                  <a:gd name="T2" fmla="*/ 1 w 11"/>
                  <a:gd name="T3" fmla="*/ 11 h 12"/>
                  <a:gd name="T4" fmla="*/ 0 w 11"/>
                  <a:gd name="T5" fmla="*/ 10 h 12"/>
                  <a:gd name="T6" fmla="*/ 0 w 11"/>
                  <a:gd name="T7" fmla="*/ 2 h 12"/>
                  <a:gd name="T8" fmla="*/ 1 w 11"/>
                  <a:gd name="T9" fmla="*/ 0 h 12"/>
                  <a:gd name="T10" fmla="*/ 3 w 11"/>
                  <a:gd name="T11" fmla="*/ 0 h 12"/>
                  <a:gd name="T12" fmla="*/ 10 w 11"/>
                  <a:gd name="T13" fmla="*/ 4 h 12"/>
                  <a:gd name="T14" fmla="*/ 11 w 11"/>
                  <a:gd name="T15" fmla="*/ 6 h 12"/>
                  <a:gd name="T16" fmla="*/ 10 w 11"/>
                  <a:gd name="T17" fmla="*/ 7 h 12"/>
                  <a:gd name="T18" fmla="*/ 3 w 11"/>
                  <a:gd name="T19" fmla="*/ 11 h 12"/>
                  <a:gd name="T20" fmla="*/ 2 w 11"/>
                  <a:gd name="T21" fmla="*/ 12 h 12"/>
                  <a:gd name="T22" fmla="*/ 4 w 11"/>
                  <a:gd name="T23" fmla="*/ 5 h 12"/>
                  <a:gd name="T24" fmla="*/ 4 w 11"/>
                  <a:gd name="T25" fmla="*/ 6 h 12"/>
                  <a:gd name="T26" fmla="*/ 5 w 11"/>
                  <a:gd name="T27" fmla="*/ 6 h 12"/>
                  <a:gd name="T28" fmla="*/ 4 w 11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cubicBezTo>
                      <a:pt x="2" y="12"/>
                      <a:pt x="2" y="11"/>
                      <a:pt x="1" y="11"/>
                    </a:cubicBezTo>
                    <a:cubicBezTo>
                      <a:pt x="1" y="11"/>
                      <a:pt x="0" y="10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1" y="5"/>
                      <a:pt x="11" y="6"/>
                    </a:cubicBezTo>
                    <a:cubicBezTo>
                      <a:pt x="11" y="6"/>
                      <a:pt x="11" y="7"/>
                      <a:pt x="10" y="7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lose/>
                    <a:moveTo>
                      <a:pt x="4" y="5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979">
                <a:extLst>
                  <a:ext uri="{FF2B5EF4-FFF2-40B4-BE49-F238E27FC236}">
                    <a16:creationId xmlns:a16="http://schemas.microsoft.com/office/drawing/2014/main" id="{3E97214A-94A9-4C2F-AF2E-6A89040B03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2" y="2608"/>
                <a:ext cx="217" cy="130"/>
              </a:xfrm>
              <a:custGeom>
                <a:avLst/>
                <a:gdLst>
                  <a:gd name="T0" fmla="*/ 34 w 92"/>
                  <a:gd name="T1" fmla="*/ 55 h 55"/>
                  <a:gd name="T2" fmla="*/ 33 w 92"/>
                  <a:gd name="T3" fmla="*/ 55 h 55"/>
                  <a:gd name="T4" fmla="*/ 1 w 92"/>
                  <a:gd name="T5" fmla="*/ 36 h 55"/>
                  <a:gd name="T6" fmla="*/ 0 w 92"/>
                  <a:gd name="T7" fmla="*/ 34 h 55"/>
                  <a:gd name="T8" fmla="*/ 1 w 92"/>
                  <a:gd name="T9" fmla="*/ 32 h 55"/>
                  <a:gd name="T10" fmla="*/ 57 w 92"/>
                  <a:gd name="T11" fmla="*/ 0 h 55"/>
                  <a:gd name="T12" fmla="*/ 59 w 92"/>
                  <a:gd name="T13" fmla="*/ 0 h 55"/>
                  <a:gd name="T14" fmla="*/ 91 w 92"/>
                  <a:gd name="T15" fmla="*/ 19 h 55"/>
                  <a:gd name="T16" fmla="*/ 92 w 92"/>
                  <a:gd name="T17" fmla="*/ 21 h 55"/>
                  <a:gd name="T18" fmla="*/ 91 w 92"/>
                  <a:gd name="T19" fmla="*/ 22 h 55"/>
                  <a:gd name="T20" fmla="*/ 35 w 92"/>
                  <a:gd name="T21" fmla="*/ 55 h 55"/>
                  <a:gd name="T22" fmla="*/ 34 w 92"/>
                  <a:gd name="T23" fmla="*/ 55 h 55"/>
                  <a:gd name="T24" fmla="*/ 6 w 92"/>
                  <a:gd name="T25" fmla="*/ 34 h 55"/>
                  <a:gd name="T26" fmla="*/ 34 w 92"/>
                  <a:gd name="T27" fmla="*/ 51 h 55"/>
                  <a:gd name="T28" fmla="*/ 86 w 92"/>
                  <a:gd name="T29" fmla="*/ 21 h 55"/>
                  <a:gd name="T30" fmla="*/ 58 w 92"/>
                  <a:gd name="T31" fmla="*/ 4 h 55"/>
                  <a:gd name="T32" fmla="*/ 6 w 92"/>
                  <a:gd name="T33" fmla="*/ 3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2" h="55">
                    <a:moveTo>
                      <a:pt x="34" y="55"/>
                    </a:moveTo>
                    <a:cubicBezTo>
                      <a:pt x="34" y="55"/>
                      <a:pt x="34" y="55"/>
                      <a:pt x="33" y="55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0" y="36"/>
                      <a:pt x="0" y="35"/>
                      <a:pt x="0" y="34"/>
                    </a:cubicBezTo>
                    <a:cubicBezTo>
                      <a:pt x="0" y="33"/>
                      <a:pt x="0" y="33"/>
                      <a:pt x="1" y="32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7" y="0"/>
                      <a:pt x="58" y="0"/>
                      <a:pt x="59" y="0"/>
                    </a:cubicBezTo>
                    <a:cubicBezTo>
                      <a:pt x="91" y="19"/>
                      <a:pt x="91" y="19"/>
                      <a:pt x="91" y="19"/>
                    </a:cubicBezTo>
                    <a:cubicBezTo>
                      <a:pt x="92" y="19"/>
                      <a:pt x="92" y="20"/>
                      <a:pt x="92" y="21"/>
                    </a:cubicBezTo>
                    <a:cubicBezTo>
                      <a:pt x="92" y="21"/>
                      <a:pt x="92" y="22"/>
                      <a:pt x="91" y="22"/>
                    </a:cubicBezTo>
                    <a:cubicBezTo>
                      <a:pt x="35" y="55"/>
                      <a:pt x="35" y="55"/>
                      <a:pt x="35" y="55"/>
                    </a:cubicBezTo>
                    <a:cubicBezTo>
                      <a:pt x="35" y="55"/>
                      <a:pt x="35" y="55"/>
                      <a:pt x="34" y="55"/>
                    </a:cubicBezTo>
                    <a:close/>
                    <a:moveTo>
                      <a:pt x="6" y="34"/>
                    </a:moveTo>
                    <a:cubicBezTo>
                      <a:pt x="34" y="51"/>
                      <a:pt x="34" y="51"/>
                      <a:pt x="34" y="51"/>
                    </a:cubicBezTo>
                    <a:cubicBezTo>
                      <a:pt x="86" y="21"/>
                      <a:pt x="86" y="21"/>
                      <a:pt x="86" y="21"/>
                    </a:cubicBezTo>
                    <a:cubicBezTo>
                      <a:pt x="58" y="4"/>
                      <a:pt x="58" y="4"/>
                      <a:pt x="58" y="4"/>
                    </a:cubicBezTo>
                    <a:lnTo>
                      <a:pt x="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980">
                <a:extLst>
                  <a:ext uri="{FF2B5EF4-FFF2-40B4-BE49-F238E27FC236}">
                    <a16:creationId xmlns:a16="http://schemas.microsoft.com/office/drawing/2014/main" id="{422F1D22-557D-49A5-BAC2-01ACBF359A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77" y="2488"/>
                <a:ext cx="130" cy="241"/>
              </a:xfrm>
              <a:custGeom>
                <a:avLst/>
                <a:gdLst>
                  <a:gd name="T0" fmla="*/ 2 w 55"/>
                  <a:gd name="T1" fmla="*/ 102 h 102"/>
                  <a:gd name="T2" fmla="*/ 1 w 55"/>
                  <a:gd name="T3" fmla="*/ 102 h 102"/>
                  <a:gd name="T4" fmla="*/ 0 w 55"/>
                  <a:gd name="T5" fmla="*/ 100 h 102"/>
                  <a:gd name="T6" fmla="*/ 0 w 55"/>
                  <a:gd name="T7" fmla="*/ 26 h 102"/>
                  <a:gd name="T8" fmla="*/ 1 w 55"/>
                  <a:gd name="T9" fmla="*/ 24 h 102"/>
                  <a:gd name="T10" fmla="*/ 42 w 55"/>
                  <a:gd name="T11" fmla="*/ 1 h 102"/>
                  <a:gd name="T12" fmla="*/ 44 w 55"/>
                  <a:gd name="T13" fmla="*/ 1 h 102"/>
                  <a:gd name="T14" fmla="*/ 45 w 55"/>
                  <a:gd name="T15" fmla="*/ 2 h 102"/>
                  <a:gd name="T16" fmla="*/ 45 w 55"/>
                  <a:gd name="T17" fmla="*/ 63 h 102"/>
                  <a:gd name="T18" fmla="*/ 54 w 55"/>
                  <a:gd name="T19" fmla="*/ 69 h 102"/>
                  <a:gd name="T20" fmla="*/ 55 w 55"/>
                  <a:gd name="T21" fmla="*/ 70 h 102"/>
                  <a:gd name="T22" fmla="*/ 54 w 55"/>
                  <a:gd name="T23" fmla="*/ 72 h 102"/>
                  <a:gd name="T24" fmla="*/ 3 w 55"/>
                  <a:gd name="T25" fmla="*/ 102 h 102"/>
                  <a:gd name="T26" fmla="*/ 2 w 55"/>
                  <a:gd name="T27" fmla="*/ 102 h 102"/>
                  <a:gd name="T28" fmla="*/ 4 w 55"/>
                  <a:gd name="T29" fmla="*/ 27 h 102"/>
                  <a:gd name="T30" fmla="*/ 4 w 55"/>
                  <a:gd name="T31" fmla="*/ 97 h 102"/>
                  <a:gd name="T32" fmla="*/ 49 w 55"/>
                  <a:gd name="T33" fmla="*/ 70 h 102"/>
                  <a:gd name="T34" fmla="*/ 42 w 55"/>
                  <a:gd name="T35" fmla="*/ 66 h 102"/>
                  <a:gd name="T36" fmla="*/ 41 w 55"/>
                  <a:gd name="T37" fmla="*/ 64 h 102"/>
                  <a:gd name="T38" fmla="*/ 41 w 55"/>
                  <a:gd name="T39" fmla="*/ 6 h 102"/>
                  <a:gd name="T40" fmla="*/ 4 w 55"/>
                  <a:gd name="T41" fmla="*/ 2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5" h="102">
                    <a:moveTo>
                      <a:pt x="2" y="102"/>
                    </a:move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2"/>
                      <a:pt x="0" y="101"/>
                      <a:pt x="0" y="10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5"/>
                      <a:pt x="0" y="25"/>
                      <a:pt x="1" y="24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2" y="0"/>
                      <a:pt x="43" y="0"/>
                      <a:pt x="44" y="1"/>
                    </a:cubicBezTo>
                    <a:cubicBezTo>
                      <a:pt x="44" y="1"/>
                      <a:pt x="45" y="2"/>
                      <a:pt x="45" y="2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54" y="69"/>
                      <a:pt x="54" y="69"/>
                      <a:pt x="54" y="69"/>
                    </a:cubicBezTo>
                    <a:cubicBezTo>
                      <a:pt x="55" y="69"/>
                      <a:pt x="55" y="70"/>
                      <a:pt x="55" y="70"/>
                    </a:cubicBezTo>
                    <a:cubicBezTo>
                      <a:pt x="55" y="71"/>
                      <a:pt x="55" y="72"/>
                      <a:pt x="54" y="72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2" y="102"/>
                      <a:pt x="2" y="102"/>
                      <a:pt x="2" y="102"/>
                    </a:cubicBezTo>
                    <a:close/>
                    <a:moveTo>
                      <a:pt x="4" y="27"/>
                    </a:moveTo>
                    <a:cubicBezTo>
                      <a:pt x="4" y="97"/>
                      <a:pt x="4" y="97"/>
                      <a:pt x="4" y="97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2" y="66"/>
                      <a:pt x="42" y="66"/>
                      <a:pt x="42" y="66"/>
                    </a:cubicBezTo>
                    <a:cubicBezTo>
                      <a:pt x="41" y="66"/>
                      <a:pt x="41" y="65"/>
                      <a:pt x="41" y="64"/>
                    </a:cubicBezTo>
                    <a:cubicBezTo>
                      <a:pt x="41" y="6"/>
                      <a:pt x="41" y="6"/>
                      <a:pt x="41" y="6"/>
                    </a:cubicBezTo>
                    <a:lnTo>
                      <a:pt x="4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981">
                <a:extLst>
                  <a:ext uri="{FF2B5EF4-FFF2-40B4-BE49-F238E27FC236}">
                    <a16:creationId xmlns:a16="http://schemas.microsoft.com/office/drawing/2014/main" id="{5578ADE1-3844-47CE-AC20-C8F04190CE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76" y="2280"/>
                <a:ext cx="291" cy="472"/>
              </a:xfrm>
              <a:custGeom>
                <a:avLst/>
                <a:gdLst>
                  <a:gd name="T0" fmla="*/ 121 w 123"/>
                  <a:gd name="T1" fmla="*/ 200 h 200"/>
                  <a:gd name="T2" fmla="*/ 120 w 123"/>
                  <a:gd name="T3" fmla="*/ 200 h 200"/>
                  <a:gd name="T4" fmla="*/ 44 w 123"/>
                  <a:gd name="T5" fmla="*/ 156 h 200"/>
                  <a:gd name="T6" fmla="*/ 36 w 123"/>
                  <a:gd name="T7" fmla="*/ 160 h 200"/>
                  <a:gd name="T8" fmla="*/ 34 w 123"/>
                  <a:gd name="T9" fmla="*/ 160 h 200"/>
                  <a:gd name="T10" fmla="*/ 1 w 123"/>
                  <a:gd name="T11" fmla="*/ 141 h 200"/>
                  <a:gd name="T12" fmla="*/ 0 w 123"/>
                  <a:gd name="T13" fmla="*/ 139 h 200"/>
                  <a:gd name="T14" fmla="*/ 0 w 123"/>
                  <a:gd name="T15" fmla="*/ 103 h 200"/>
                  <a:gd name="T16" fmla="*/ 1 w 123"/>
                  <a:gd name="T17" fmla="*/ 101 h 200"/>
                  <a:gd name="T18" fmla="*/ 42 w 123"/>
                  <a:gd name="T19" fmla="*/ 77 h 200"/>
                  <a:gd name="T20" fmla="*/ 1 w 123"/>
                  <a:gd name="T21" fmla="*/ 53 h 200"/>
                  <a:gd name="T22" fmla="*/ 0 w 123"/>
                  <a:gd name="T23" fmla="*/ 52 h 200"/>
                  <a:gd name="T24" fmla="*/ 0 w 123"/>
                  <a:gd name="T25" fmla="*/ 6 h 200"/>
                  <a:gd name="T26" fmla="*/ 0 w 123"/>
                  <a:gd name="T27" fmla="*/ 4 h 200"/>
                  <a:gd name="T28" fmla="*/ 0 w 123"/>
                  <a:gd name="T29" fmla="*/ 2 h 200"/>
                  <a:gd name="T30" fmla="*/ 1 w 123"/>
                  <a:gd name="T31" fmla="*/ 0 h 200"/>
                  <a:gd name="T32" fmla="*/ 3 w 123"/>
                  <a:gd name="T33" fmla="*/ 0 h 200"/>
                  <a:gd name="T34" fmla="*/ 122 w 123"/>
                  <a:gd name="T35" fmla="*/ 69 h 200"/>
                  <a:gd name="T36" fmla="*/ 123 w 123"/>
                  <a:gd name="T37" fmla="*/ 70 h 200"/>
                  <a:gd name="T38" fmla="*/ 123 w 123"/>
                  <a:gd name="T39" fmla="*/ 198 h 200"/>
                  <a:gd name="T40" fmla="*/ 122 w 123"/>
                  <a:gd name="T41" fmla="*/ 200 h 200"/>
                  <a:gd name="T42" fmla="*/ 121 w 123"/>
                  <a:gd name="T43" fmla="*/ 200 h 200"/>
                  <a:gd name="T44" fmla="*/ 44 w 123"/>
                  <a:gd name="T45" fmla="*/ 151 h 200"/>
                  <a:gd name="T46" fmla="*/ 45 w 123"/>
                  <a:gd name="T47" fmla="*/ 152 h 200"/>
                  <a:gd name="T48" fmla="*/ 119 w 123"/>
                  <a:gd name="T49" fmla="*/ 194 h 200"/>
                  <a:gd name="T50" fmla="*/ 119 w 123"/>
                  <a:gd name="T51" fmla="*/ 72 h 200"/>
                  <a:gd name="T52" fmla="*/ 4 w 123"/>
                  <a:gd name="T53" fmla="*/ 5 h 200"/>
                  <a:gd name="T54" fmla="*/ 4 w 123"/>
                  <a:gd name="T55" fmla="*/ 6 h 200"/>
                  <a:gd name="T56" fmla="*/ 4 w 123"/>
                  <a:gd name="T57" fmla="*/ 8 h 200"/>
                  <a:gd name="T58" fmla="*/ 4 w 123"/>
                  <a:gd name="T59" fmla="*/ 50 h 200"/>
                  <a:gd name="T60" fmla="*/ 47 w 123"/>
                  <a:gd name="T61" fmla="*/ 75 h 200"/>
                  <a:gd name="T62" fmla="*/ 48 w 123"/>
                  <a:gd name="T63" fmla="*/ 77 h 200"/>
                  <a:gd name="T64" fmla="*/ 47 w 123"/>
                  <a:gd name="T65" fmla="*/ 79 h 200"/>
                  <a:gd name="T66" fmla="*/ 4 w 123"/>
                  <a:gd name="T67" fmla="*/ 104 h 200"/>
                  <a:gd name="T68" fmla="*/ 4 w 123"/>
                  <a:gd name="T69" fmla="*/ 138 h 200"/>
                  <a:gd name="T70" fmla="*/ 35 w 123"/>
                  <a:gd name="T71" fmla="*/ 156 h 200"/>
                  <a:gd name="T72" fmla="*/ 43 w 123"/>
                  <a:gd name="T73" fmla="*/ 152 h 200"/>
                  <a:gd name="T74" fmla="*/ 44 w 123"/>
                  <a:gd name="T75" fmla="*/ 15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3" h="200">
                    <a:moveTo>
                      <a:pt x="121" y="200"/>
                    </a:moveTo>
                    <a:cubicBezTo>
                      <a:pt x="121" y="200"/>
                      <a:pt x="121" y="200"/>
                      <a:pt x="120" y="200"/>
                    </a:cubicBezTo>
                    <a:cubicBezTo>
                      <a:pt x="44" y="156"/>
                      <a:pt x="44" y="156"/>
                      <a:pt x="44" y="156"/>
                    </a:cubicBezTo>
                    <a:cubicBezTo>
                      <a:pt x="36" y="160"/>
                      <a:pt x="36" y="160"/>
                      <a:pt x="36" y="160"/>
                    </a:cubicBezTo>
                    <a:cubicBezTo>
                      <a:pt x="35" y="161"/>
                      <a:pt x="34" y="161"/>
                      <a:pt x="34" y="160"/>
                    </a:cubicBezTo>
                    <a:cubicBezTo>
                      <a:pt x="1" y="141"/>
                      <a:pt x="1" y="141"/>
                      <a:pt x="1" y="141"/>
                    </a:cubicBezTo>
                    <a:cubicBezTo>
                      <a:pt x="0" y="141"/>
                      <a:pt x="0" y="140"/>
                      <a:pt x="0" y="139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102"/>
                      <a:pt x="0" y="101"/>
                      <a:pt x="1" y="101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3"/>
                      <a:pt x="0" y="52"/>
                      <a:pt x="0" y="5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23" y="69"/>
                      <a:pt x="123" y="70"/>
                      <a:pt x="123" y="70"/>
                    </a:cubicBezTo>
                    <a:cubicBezTo>
                      <a:pt x="123" y="198"/>
                      <a:pt x="123" y="198"/>
                      <a:pt x="123" y="198"/>
                    </a:cubicBezTo>
                    <a:cubicBezTo>
                      <a:pt x="123" y="199"/>
                      <a:pt x="123" y="199"/>
                      <a:pt x="122" y="200"/>
                    </a:cubicBezTo>
                    <a:cubicBezTo>
                      <a:pt x="122" y="200"/>
                      <a:pt x="122" y="200"/>
                      <a:pt x="121" y="200"/>
                    </a:cubicBezTo>
                    <a:close/>
                    <a:moveTo>
                      <a:pt x="44" y="151"/>
                    </a:moveTo>
                    <a:cubicBezTo>
                      <a:pt x="44" y="151"/>
                      <a:pt x="45" y="151"/>
                      <a:pt x="45" y="152"/>
                    </a:cubicBezTo>
                    <a:cubicBezTo>
                      <a:pt x="119" y="194"/>
                      <a:pt x="119" y="194"/>
                      <a:pt x="119" y="194"/>
                    </a:cubicBezTo>
                    <a:cubicBezTo>
                      <a:pt x="119" y="72"/>
                      <a:pt x="119" y="72"/>
                      <a:pt x="119" y="7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4" y="8"/>
                      <a:pt x="4" y="8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7" y="76"/>
                      <a:pt x="48" y="76"/>
                      <a:pt x="48" y="77"/>
                    </a:cubicBezTo>
                    <a:cubicBezTo>
                      <a:pt x="48" y="78"/>
                      <a:pt x="47" y="78"/>
                      <a:pt x="47" y="7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35" y="156"/>
                      <a:pt x="35" y="156"/>
                      <a:pt x="35" y="156"/>
                    </a:cubicBezTo>
                    <a:cubicBezTo>
                      <a:pt x="43" y="152"/>
                      <a:pt x="43" y="152"/>
                      <a:pt x="43" y="152"/>
                    </a:cubicBezTo>
                    <a:cubicBezTo>
                      <a:pt x="43" y="151"/>
                      <a:pt x="44" y="151"/>
                      <a:pt x="44" y="1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" name="Freeform 982">
                <a:extLst>
                  <a:ext uri="{FF2B5EF4-FFF2-40B4-BE49-F238E27FC236}">
                    <a16:creationId xmlns:a16="http://schemas.microsoft.com/office/drawing/2014/main" id="{6A3579DA-7348-485F-86F5-DC08CD64CD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26" y="2641"/>
                <a:ext cx="106" cy="85"/>
              </a:xfrm>
              <a:custGeom>
                <a:avLst/>
                <a:gdLst>
                  <a:gd name="T0" fmla="*/ 43 w 45"/>
                  <a:gd name="T1" fmla="*/ 36 h 36"/>
                  <a:gd name="T2" fmla="*/ 42 w 45"/>
                  <a:gd name="T3" fmla="*/ 36 h 36"/>
                  <a:gd name="T4" fmla="*/ 1 w 45"/>
                  <a:gd name="T5" fmla="*/ 12 h 36"/>
                  <a:gd name="T6" fmla="*/ 0 w 45"/>
                  <a:gd name="T7" fmla="*/ 10 h 36"/>
                  <a:gd name="T8" fmla="*/ 1 w 45"/>
                  <a:gd name="T9" fmla="*/ 9 h 36"/>
                  <a:gd name="T10" fmla="*/ 16 w 45"/>
                  <a:gd name="T11" fmla="*/ 0 h 36"/>
                  <a:gd name="T12" fmla="*/ 18 w 45"/>
                  <a:gd name="T13" fmla="*/ 0 h 36"/>
                  <a:gd name="T14" fmla="*/ 44 w 45"/>
                  <a:gd name="T15" fmla="*/ 16 h 36"/>
                  <a:gd name="T16" fmla="*/ 45 w 45"/>
                  <a:gd name="T17" fmla="*/ 18 h 36"/>
                  <a:gd name="T18" fmla="*/ 45 w 45"/>
                  <a:gd name="T19" fmla="*/ 34 h 36"/>
                  <a:gd name="T20" fmla="*/ 44 w 45"/>
                  <a:gd name="T21" fmla="*/ 36 h 36"/>
                  <a:gd name="T22" fmla="*/ 43 w 45"/>
                  <a:gd name="T23" fmla="*/ 36 h 36"/>
                  <a:gd name="T24" fmla="*/ 6 w 45"/>
                  <a:gd name="T25" fmla="*/ 10 h 36"/>
                  <a:gd name="T26" fmla="*/ 41 w 45"/>
                  <a:gd name="T27" fmla="*/ 30 h 36"/>
                  <a:gd name="T28" fmla="*/ 41 w 45"/>
                  <a:gd name="T29" fmla="*/ 19 h 36"/>
                  <a:gd name="T30" fmla="*/ 17 w 45"/>
                  <a:gd name="T31" fmla="*/ 4 h 36"/>
                  <a:gd name="T32" fmla="*/ 6 w 45"/>
                  <a:gd name="T33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36">
                    <a:moveTo>
                      <a:pt x="43" y="36"/>
                    </a:moveTo>
                    <a:cubicBezTo>
                      <a:pt x="43" y="36"/>
                      <a:pt x="43" y="36"/>
                      <a:pt x="42" y="36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10"/>
                      <a:pt x="1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5" y="16"/>
                      <a:pt x="45" y="17"/>
                      <a:pt x="45" y="18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5" y="35"/>
                      <a:pt x="45" y="35"/>
                      <a:pt x="44" y="36"/>
                    </a:cubicBezTo>
                    <a:cubicBezTo>
                      <a:pt x="44" y="36"/>
                      <a:pt x="44" y="36"/>
                      <a:pt x="43" y="36"/>
                    </a:cubicBezTo>
                    <a:close/>
                    <a:moveTo>
                      <a:pt x="6" y="10"/>
                    </a:move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17" y="4"/>
                      <a:pt x="17" y="4"/>
                      <a:pt x="17" y="4"/>
                    </a:cubicBezTo>
                    <a:lnTo>
                      <a:pt x="6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983">
                <a:extLst>
                  <a:ext uri="{FF2B5EF4-FFF2-40B4-BE49-F238E27FC236}">
                    <a16:creationId xmlns:a16="http://schemas.microsoft.com/office/drawing/2014/main" id="{607027A5-E6C0-4C01-9895-94DDB75B95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07" y="2495"/>
                <a:ext cx="125" cy="189"/>
              </a:xfrm>
              <a:custGeom>
                <a:avLst/>
                <a:gdLst>
                  <a:gd name="T0" fmla="*/ 51 w 53"/>
                  <a:gd name="T1" fmla="*/ 80 h 80"/>
                  <a:gd name="T2" fmla="*/ 50 w 53"/>
                  <a:gd name="T3" fmla="*/ 79 h 80"/>
                  <a:gd name="T4" fmla="*/ 25 w 53"/>
                  <a:gd name="T5" fmla="*/ 65 h 80"/>
                  <a:gd name="T6" fmla="*/ 10 w 53"/>
                  <a:gd name="T7" fmla="*/ 73 h 80"/>
                  <a:gd name="T8" fmla="*/ 8 w 53"/>
                  <a:gd name="T9" fmla="*/ 73 h 80"/>
                  <a:gd name="T10" fmla="*/ 1 w 53"/>
                  <a:gd name="T11" fmla="*/ 69 h 80"/>
                  <a:gd name="T12" fmla="*/ 0 w 53"/>
                  <a:gd name="T13" fmla="*/ 67 h 80"/>
                  <a:gd name="T14" fmla="*/ 1 w 53"/>
                  <a:gd name="T15" fmla="*/ 66 h 80"/>
                  <a:gd name="T16" fmla="*/ 10 w 53"/>
                  <a:gd name="T17" fmla="*/ 60 h 80"/>
                  <a:gd name="T18" fmla="*/ 10 w 53"/>
                  <a:gd name="T19" fmla="*/ 2 h 80"/>
                  <a:gd name="T20" fmla="*/ 11 w 53"/>
                  <a:gd name="T21" fmla="*/ 0 h 80"/>
                  <a:gd name="T22" fmla="*/ 13 w 53"/>
                  <a:gd name="T23" fmla="*/ 0 h 80"/>
                  <a:gd name="T24" fmla="*/ 52 w 53"/>
                  <a:gd name="T25" fmla="*/ 23 h 80"/>
                  <a:gd name="T26" fmla="*/ 53 w 53"/>
                  <a:gd name="T27" fmla="*/ 24 h 80"/>
                  <a:gd name="T28" fmla="*/ 53 w 53"/>
                  <a:gd name="T29" fmla="*/ 78 h 80"/>
                  <a:gd name="T30" fmla="*/ 52 w 53"/>
                  <a:gd name="T31" fmla="*/ 79 h 80"/>
                  <a:gd name="T32" fmla="*/ 51 w 53"/>
                  <a:gd name="T33" fmla="*/ 80 h 80"/>
                  <a:gd name="T34" fmla="*/ 25 w 53"/>
                  <a:gd name="T35" fmla="*/ 60 h 80"/>
                  <a:gd name="T36" fmla="*/ 26 w 53"/>
                  <a:gd name="T37" fmla="*/ 61 h 80"/>
                  <a:gd name="T38" fmla="*/ 49 w 53"/>
                  <a:gd name="T39" fmla="*/ 74 h 80"/>
                  <a:gd name="T40" fmla="*/ 49 w 53"/>
                  <a:gd name="T41" fmla="*/ 26 h 80"/>
                  <a:gd name="T42" fmla="*/ 14 w 53"/>
                  <a:gd name="T43" fmla="*/ 5 h 80"/>
                  <a:gd name="T44" fmla="*/ 14 w 53"/>
                  <a:gd name="T45" fmla="*/ 61 h 80"/>
                  <a:gd name="T46" fmla="*/ 13 w 53"/>
                  <a:gd name="T47" fmla="*/ 63 h 80"/>
                  <a:gd name="T48" fmla="*/ 6 w 53"/>
                  <a:gd name="T49" fmla="*/ 67 h 80"/>
                  <a:gd name="T50" fmla="*/ 9 w 53"/>
                  <a:gd name="T51" fmla="*/ 69 h 80"/>
                  <a:gd name="T52" fmla="*/ 24 w 53"/>
                  <a:gd name="T53" fmla="*/ 61 h 80"/>
                  <a:gd name="T54" fmla="*/ 25 w 53"/>
                  <a:gd name="T55" fmla="*/ 6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" h="80">
                    <a:moveTo>
                      <a:pt x="51" y="80"/>
                    </a:moveTo>
                    <a:cubicBezTo>
                      <a:pt x="51" y="80"/>
                      <a:pt x="51" y="80"/>
                      <a:pt x="50" y="79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9" y="73"/>
                      <a:pt x="8" y="73"/>
                      <a:pt x="8" y="73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9"/>
                      <a:pt x="0" y="68"/>
                      <a:pt x="0" y="67"/>
                    </a:cubicBezTo>
                    <a:cubicBezTo>
                      <a:pt x="0" y="67"/>
                      <a:pt x="0" y="66"/>
                      <a:pt x="1" y="66"/>
                    </a:cubicBezTo>
                    <a:cubicBezTo>
                      <a:pt x="10" y="60"/>
                      <a:pt x="10" y="60"/>
                      <a:pt x="10" y="6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1"/>
                      <a:pt x="11" y="1"/>
                      <a:pt x="11" y="0"/>
                    </a:cubicBezTo>
                    <a:cubicBezTo>
                      <a:pt x="12" y="0"/>
                      <a:pt x="13" y="0"/>
                      <a:pt x="13" y="0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3" y="23"/>
                      <a:pt x="53" y="24"/>
                      <a:pt x="53" y="24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3" y="78"/>
                      <a:pt x="53" y="79"/>
                      <a:pt x="52" y="79"/>
                    </a:cubicBezTo>
                    <a:cubicBezTo>
                      <a:pt x="52" y="80"/>
                      <a:pt x="52" y="80"/>
                      <a:pt x="51" y="80"/>
                    </a:cubicBezTo>
                    <a:close/>
                    <a:moveTo>
                      <a:pt x="25" y="60"/>
                    </a:moveTo>
                    <a:cubicBezTo>
                      <a:pt x="25" y="60"/>
                      <a:pt x="25" y="60"/>
                      <a:pt x="26" y="61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61"/>
                      <a:pt x="14" y="61"/>
                      <a:pt x="14" y="61"/>
                    </a:cubicBezTo>
                    <a:cubicBezTo>
                      <a:pt x="14" y="62"/>
                      <a:pt x="14" y="63"/>
                      <a:pt x="13" y="63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24" y="60"/>
                      <a:pt x="24" y="60"/>
                      <a:pt x="2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984">
                <a:extLst>
                  <a:ext uri="{FF2B5EF4-FFF2-40B4-BE49-F238E27FC236}">
                    <a16:creationId xmlns:a16="http://schemas.microsoft.com/office/drawing/2014/main" id="{DCF66A5F-7BE6-492D-B958-81C352A4C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524"/>
                <a:ext cx="282" cy="191"/>
              </a:xfrm>
              <a:custGeom>
                <a:avLst/>
                <a:gdLst>
                  <a:gd name="T0" fmla="*/ 54 w 119"/>
                  <a:gd name="T1" fmla="*/ 81 h 81"/>
                  <a:gd name="T2" fmla="*/ 53 w 119"/>
                  <a:gd name="T3" fmla="*/ 81 h 81"/>
                  <a:gd name="T4" fmla="*/ 44 w 119"/>
                  <a:gd name="T5" fmla="*/ 76 h 81"/>
                  <a:gd name="T6" fmla="*/ 43 w 119"/>
                  <a:gd name="T7" fmla="*/ 74 h 81"/>
                  <a:gd name="T8" fmla="*/ 43 w 119"/>
                  <a:gd name="T9" fmla="*/ 56 h 81"/>
                  <a:gd name="T10" fmla="*/ 28 w 119"/>
                  <a:gd name="T11" fmla="*/ 65 h 81"/>
                  <a:gd name="T12" fmla="*/ 26 w 119"/>
                  <a:gd name="T13" fmla="*/ 65 h 81"/>
                  <a:gd name="T14" fmla="*/ 1 w 119"/>
                  <a:gd name="T15" fmla="*/ 51 h 81"/>
                  <a:gd name="T16" fmla="*/ 0 w 119"/>
                  <a:gd name="T17" fmla="*/ 49 h 81"/>
                  <a:gd name="T18" fmla="*/ 0 w 119"/>
                  <a:gd name="T19" fmla="*/ 43 h 81"/>
                  <a:gd name="T20" fmla="*/ 1 w 119"/>
                  <a:gd name="T21" fmla="*/ 41 h 81"/>
                  <a:gd name="T22" fmla="*/ 72 w 119"/>
                  <a:gd name="T23" fmla="*/ 0 h 81"/>
                  <a:gd name="T24" fmla="*/ 74 w 119"/>
                  <a:gd name="T25" fmla="*/ 0 h 81"/>
                  <a:gd name="T26" fmla="*/ 101 w 119"/>
                  <a:gd name="T27" fmla="*/ 16 h 81"/>
                  <a:gd name="T28" fmla="*/ 102 w 119"/>
                  <a:gd name="T29" fmla="*/ 18 h 81"/>
                  <a:gd name="T30" fmla="*/ 102 w 119"/>
                  <a:gd name="T31" fmla="*/ 31 h 81"/>
                  <a:gd name="T32" fmla="*/ 118 w 119"/>
                  <a:gd name="T33" fmla="*/ 40 h 81"/>
                  <a:gd name="T34" fmla="*/ 119 w 119"/>
                  <a:gd name="T35" fmla="*/ 42 h 81"/>
                  <a:gd name="T36" fmla="*/ 118 w 119"/>
                  <a:gd name="T37" fmla="*/ 44 h 81"/>
                  <a:gd name="T38" fmla="*/ 86 w 119"/>
                  <a:gd name="T39" fmla="*/ 63 h 81"/>
                  <a:gd name="T40" fmla="*/ 84 w 119"/>
                  <a:gd name="T41" fmla="*/ 63 h 81"/>
                  <a:gd name="T42" fmla="*/ 58 w 119"/>
                  <a:gd name="T43" fmla="*/ 48 h 81"/>
                  <a:gd name="T44" fmla="*/ 58 w 119"/>
                  <a:gd name="T45" fmla="*/ 78 h 81"/>
                  <a:gd name="T46" fmla="*/ 57 w 119"/>
                  <a:gd name="T47" fmla="*/ 79 h 81"/>
                  <a:gd name="T48" fmla="*/ 55 w 119"/>
                  <a:gd name="T49" fmla="*/ 81 h 81"/>
                  <a:gd name="T50" fmla="*/ 54 w 119"/>
                  <a:gd name="T51" fmla="*/ 81 h 81"/>
                  <a:gd name="T52" fmla="*/ 47 w 119"/>
                  <a:gd name="T53" fmla="*/ 73 h 81"/>
                  <a:gd name="T54" fmla="*/ 54 w 119"/>
                  <a:gd name="T55" fmla="*/ 76 h 81"/>
                  <a:gd name="T56" fmla="*/ 54 w 119"/>
                  <a:gd name="T57" fmla="*/ 76 h 81"/>
                  <a:gd name="T58" fmla="*/ 54 w 119"/>
                  <a:gd name="T59" fmla="*/ 44 h 81"/>
                  <a:gd name="T60" fmla="*/ 55 w 119"/>
                  <a:gd name="T61" fmla="*/ 43 h 81"/>
                  <a:gd name="T62" fmla="*/ 57 w 119"/>
                  <a:gd name="T63" fmla="*/ 43 h 81"/>
                  <a:gd name="T64" fmla="*/ 85 w 119"/>
                  <a:gd name="T65" fmla="*/ 59 h 81"/>
                  <a:gd name="T66" fmla="*/ 113 w 119"/>
                  <a:gd name="T67" fmla="*/ 42 h 81"/>
                  <a:gd name="T68" fmla="*/ 99 w 119"/>
                  <a:gd name="T69" fmla="*/ 34 h 81"/>
                  <a:gd name="T70" fmla="*/ 98 w 119"/>
                  <a:gd name="T71" fmla="*/ 32 h 81"/>
                  <a:gd name="T72" fmla="*/ 98 w 119"/>
                  <a:gd name="T73" fmla="*/ 19 h 81"/>
                  <a:gd name="T74" fmla="*/ 73 w 119"/>
                  <a:gd name="T75" fmla="*/ 5 h 81"/>
                  <a:gd name="T76" fmla="*/ 4 w 119"/>
                  <a:gd name="T77" fmla="*/ 44 h 81"/>
                  <a:gd name="T78" fmla="*/ 4 w 119"/>
                  <a:gd name="T79" fmla="*/ 48 h 81"/>
                  <a:gd name="T80" fmla="*/ 27 w 119"/>
                  <a:gd name="T81" fmla="*/ 61 h 81"/>
                  <a:gd name="T82" fmla="*/ 44 w 119"/>
                  <a:gd name="T83" fmla="*/ 51 h 81"/>
                  <a:gd name="T84" fmla="*/ 46 w 119"/>
                  <a:gd name="T85" fmla="*/ 51 h 81"/>
                  <a:gd name="T86" fmla="*/ 47 w 119"/>
                  <a:gd name="T87" fmla="*/ 53 h 81"/>
                  <a:gd name="T88" fmla="*/ 47 w 119"/>
                  <a:gd name="T89" fmla="*/ 7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81">
                    <a:moveTo>
                      <a:pt x="54" y="81"/>
                    </a:moveTo>
                    <a:cubicBezTo>
                      <a:pt x="54" y="81"/>
                      <a:pt x="53" y="81"/>
                      <a:pt x="53" y="81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4" y="75"/>
                      <a:pt x="43" y="75"/>
                      <a:pt x="43" y="74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7" y="65"/>
                      <a:pt x="26" y="65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1" y="50"/>
                      <a:pt x="0" y="50"/>
                      <a:pt x="0" y="4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2"/>
                      <a:pt x="1" y="41"/>
                      <a:pt x="1" y="4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73" y="0"/>
                      <a:pt x="74" y="0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1" y="16"/>
                      <a:pt x="102" y="17"/>
                      <a:pt x="102" y="18"/>
                    </a:cubicBezTo>
                    <a:cubicBezTo>
                      <a:pt x="102" y="31"/>
                      <a:pt x="102" y="31"/>
                      <a:pt x="102" y="3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9" y="41"/>
                      <a:pt x="119" y="41"/>
                      <a:pt x="119" y="42"/>
                    </a:cubicBezTo>
                    <a:cubicBezTo>
                      <a:pt x="119" y="43"/>
                      <a:pt x="119" y="44"/>
                      <a:pt x="118" y="44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5" y="63"/>
                      <a:pt x="85" y="63"/>
                      <a:pt x="84" y="63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78"/>
                      <a:pt x="58" y="79"/>
                      <a:pt x="57" y="79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5" y="81"/>
                      <a:pt x="54" y="81"/>
                      <a:pt x="54" y="81"/>
                    </a:cubicBezTo>
                    <a:close/>
                    <a:moveTo>
                      <a:pt x="47" y="73"/>
                    </a:move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4"/>
                      <a:pt x="54" y="43"/>
                      <a:pt x="55" y="43"/>
                    </a:cubicBezTo>
                    <a:cubicBezTo>
                      <a:pt x="56" y="42"/>
                      <a:pt x="56" y="42"/>
                      <a:pt x="57" y="43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99" y="34"/>
                      <a:pt x="99" y="34"/>
                      <a:pt x="99" y="34"/>
                    </a:cubicBezTo>
                    <a:cubicBezTo>
                      <a:pt x="98" y="33"/>
                      <a:pt x="98" y="33"/>
                      <a:pt x="98" y="32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27" y="61"/>
                      <a:pt x="27" y="61"/>
                      <a:pt x="27" y="6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5" y="51"/>
                      <a:pt x="46" y="51"/>
                      <a:pt x="46" y="51"/>
                    </a:cubicBezTo>
                    <a:cubicBezTo>
                      <a:pt x="47" y="52"/>
                      <a:pt x="47" y="52"/>
                      <a:pt x="47" y="53"/>
                    </a:cubicBezTo>
                    <a:lnTo>
                      <a:pt x="47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985">
                <a:extLst>
                  <a:ext uri="{FF2B5EF4-FFF2-40B4-BE49-F238E27FC236}">
                    <a16:creationId xmlns:a16="http://schemas.microsoft.com/office/drawing/2014/main" id="{23EF85BB-1F26-4E4B-8721-47FC70913A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316"/>
                <a:ext cx="241" cy="309"/>
              </a:xfrm>
              <a:custGeom>
                <a:avLst/>
                <a:gdLst>
                  <a:gd name="T0" fmla="*/ 2 w 102"/>
                  <a:gd name="T1" fmla="*/ 131 h 131"/>
                  <a:gd name="T2" fmla="*/ 1 w 102"/>
                  <a:gd name="T3" fmla="*/ 131 h 131"/>
                  <a:gd name="T4" fmla="*/ 0 w 102"/>
                  <a:gd name="T5" fmla="*/ 129 h 131"/>
                  <a:gd name="T6" fmla="*/ 0 w 102"/>
                  <a:gd name="T7" fmla="*/ 58 h 131"/>
                  <a:gd name="T8" fmla="*/ 1 w 102"/>
                  <a:gd name="T9" fmla="*/ 57 h 131"/>
                  <a:gd name="T10" fmla="*/ 99 w 102"/>
                  <a:gd name="T11" fmla="*/ 1 h 131"/>
                  <a:gd name="T12" fmla="*/ 101 w 102"/>
                  <a:gd name="T13" fmla="*/ 1 h 131"/>
                  <a:gd name="T14" fmla="*/ 102 w 102"/>
                  <a:gd name="T15" fmla="*/ 2 h 131"/>
                  <a:gd name="T16" fmla="*/ 102 w 102"/>
                  <a:gd name="T17" fmla="*/ 104 h 131"/>
                  <a:gd name="T18" fmla="*/ 101 w 102"/>
                  <a:gd name="T19" fmla="*/ 106 h 131"/>
                  <a:gd name="T20" fmla="*/ 99 w 102"/>
                  <a:gd name="T21" fmla="*/ 106 h 131"/>
                  <a:gd name="T22" fmla="*/ 73 w 102"/>
                  <a:gd name="T23" fmla="*/ 91 h 131"/>
                  <a:gd name="T24" fmla="*/ 3 w 102"/>
                  <a:gd name="T25" fmla="*/ 131 h 131"/>
                  <a:gd name="T26" fmla="*/ 2 w 102"/>
                  <a:gd name="T27" fmla="*/ 131 h 131"/>
                  <a:gd name="T28" fmla="*/ 4 w 102"/>
                  <a:gd name="T29" fmla="*/ 60 h 131"/>
                  <a:gd name="T30" fmla="*/ 4 w 102"/>
                  <a:gd name="T31" fmla="*/ 125 h 131"/>
                  <a:gd name="T32" fmla="*/ 72 w 102"/>
                  <a:gd name="T33" fmla="*/ 87 h 131"/>
                  <a:gd name="T34" fmla="*/ 74 w 102"/>
                  <a:gd name="T35" fmla="*/ 87 h 131"/>
                  <a:gd name="T36" fmla="*/ 98 w 102"/>
                  <a:gd name="T37" fmla="*/ 100 h 131"/>
                  <a:gd name="T38" fmla="*/ 98 w 102"/>
                  <a:gd name="T39" fmla="*/ 6 h 131"/>
                  <a:gd name="T40" fmla="*/ 4 w 102"/>
                  <a:gd name="T41" fmla="*/ 6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31">
                    <a:moveTo>
                      <a:pt x="2" y="131"/>
                    </a:moveTo>
                    <a:cubicBezTo>
                      <a:pt x="2" y="131"/>
                      <a:pt x="2" y="131"/>
                      <a:pt x="1" y="131"/>
                    </a:cubicBezTo>
                    <a:cubicBezTo>
                      <a:pt x="1" y="130"/>
                      <a:pt x="0" y="130"/>
                      <a:pt x="0" y="129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1" y="57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5"/>
                      <a:pt x="101" y="105"/>
                      <a:pt x="101" y="106"/>
                    </a:cubicBezTo>
                    <a:cubicBezTo>
                      <a:pt x="100" y="106"/>
                      <a:pt x="99" y="106"/>
                      <a:pt x="99" y="106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" y="131"/>
                      <a:pt x="3" y="131"/>
                      <a:pt x="2" y="131"/>
                    </a:cubicBezTo>
                    <a:close/>
                    <a:moveTo>
                      <a:pt x="4" y="60"/>
                    </a:moveTo>
                    <a:cubicBezTo>
                      <a:pt x="4" y="125"/>
                      <a:pt x="4" y="125"/>
                      <a:pt x="4" y="125"/>
                    </a:cubicBezTo>
                    <a:cubicBezTo>
                      <a:pt x="72" y="87"/>
                      <a:pt x="72" y="87"/>
                      <a:pt x="72" y="87"/>
                    </a:cubicBezTo>
                    <a:cubicBezTo>
                      <a:pt x="72" y="86"/>
                      <a:pt x="73" y="86"/>
                      <a:pt x="74" y="87"/>
                    </a:cubicBezTo>
                    <a:cubicBezTo>
                      <a:pt x="98" y="100"/>
                      <a:pt x="98" y="100"/>
                      <a:pt x="98" y="100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986">
                <a:extLst>
                  <a:ext uri="{FF2B5EF4-FFF2-40B4-BE49-F238E27FC236}">
                    <a16:creationId xmlns:a16="http://schemas.microsoft.com/office/drawing/2014/main" id="{4FCFF2C1-18EE-4CBA-BB42-E626F5DF71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640"/>
                <a:ext cx="67" cy="73"/>
              </a:xfrm>
              <a:custGeom>
                <a:avLst/>
                <a:gdLst>
                  <a:gd name="T0" fmla="*/ 2 w 28"/>
                  <a:gd name="T1" fmla="*/ 31 h 31"/>
                  <a:gd name="T2" fmla="*/ 1 w 28"/>
                  <a:gd name="T3" fmla="*/ 30 h 31"/>
                  <a:gd name="T4" fmla="*/ 0 w 28"/>
                  <a:gd name="T5" fmla="*/ 29 h 31"/>
                  <a:gd name="T6" fmla="*/ 0 w 28"/>
                  <a:gd name="T7" fmla="*/ 2 h 31"/>
                  <a:gd name="T8" fmla="*/ 1 w 28"/>
                  <a:gd name="T9" fmla="*/ 0 h 31"/>
                  <a:gd name="T10" fmla="*/ 3 w 28"/>
                  <a:gd name="T11" fmla="*/ 0 h 31"/>
                  <a:gd name="T12" fmla="*/ 27 w 28"/>
                  <a:gd name="T13" fmla="*/ 14 h 31"/>
                  <a:gd name="T14" fmla="*/ 28 w 28"/>
                  <a:gd name="T15" fmla="*/ 15 h 31"/>
                  <a:gd name="T16" fmla="*/ 27 w 28"/>
                  <a:gd name="T17" fmla="*/ 17 h 31"/>
                  <a:gd name="T18" fmla="*/ 3 w 28"/>
                  <a:gd name="T19" fmla="*/ 30 h 31"/>
                  <a:gd name="T20" fmla="*/ 2 w 28"/>
                  <a:gd name="T21" fmla="*/ 31 h 31"/>
                  <a:gd name="T22" fmla="*/ 4 w 28"/>
                  <a:gd name="T23" fmla="*/ 5 h 31"/>
                  <a:gd name="T24" fmla="*/ 4 w 28"/>
                  <a:gd name="T25" fmla="*/ 25 h 31"/>
                  <a:gd name="T26" fmla="*/ 22 w 28"/>
                  <a:gd name="T27" fmla="*/ 15 h 31"/>
                  <a:gd name="T28" fmla="*/ 4 w 28"/>
                  <a:gd name="T2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1">
                    <a:moveTo>
                      <a:pt x="2" y="31"/>
                    </a:moveTo>
                    <a:cubicBezTo>
                      <a:pt x="2" y="31"/>
                      <a:pt x="2" y="31"/>
                      <a:pt x="1" y="30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4"/>
                      <a:pt x="28" y="15"/>
                      <a:pt x="28" y="15"/>
                    </a:cubicBezTo>
                    <a:cubicBezTo>
                      <a:pt x="28" y="16"/>
                      <a:pt x="27" y="17"/>
                      <a:pt x="27" y="17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1"/>
                      <a:pt x="3" y="31"/>
                      <a:pt x="2" y="31"/>
                    </a:cubicBezTo>
                    <a:close/>
                    <a:moveTo>
                      <a:pt x="4" y="5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22" y="15"/>
                      <a:pt x="22" y="15"/>
                      <a:pt x="22" y="15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987">
                <a:extLst>
                  <a:ext uri="{FF2B5EF4-FFF2-40B4-BE49-F238E27FC236}">
                    <a16:creationId xmlns:a16="http://schemas.microsoft.com/office/drawing/2014/main" id="{20CE7C47-BEF1-44FE-B20E-8F170A99E3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76" y="1250"/>
                <a:ext cx="62" cy="68"/>
              </a:xfrm>
              <a:custGeom>
                <a:avLst/>
                <a:gdLst>
                  <a:gd name="T0" fmla="*/ 2 w 26"/>
                  <a:gd name="T1" fmla="*/ 29 h 29"/>
                  <a:gd name="T2" fmla="*/ 1 w 26"/>
                  <a:gd name="T3" fmla="*/ 29 h 29"/>
                  <a:gd name="T4" fmla="*/ 0 w 26"/>
                  <a:gd name="T5" fmla="*/ 27 h 29"/>
                  <a:gd name="T6" fmla="*/ 0 w 26"/>
                  <a:gd name="T7" fmla="*/ 2 h 29"/>
                  <a:gd name="T8" fmla="*/ 1 w 26"/>
                  <a:gd name="T9" fmla="*/ 1 h 29"/>
                  <a:gd name="T10" fmla="*/ 3 w 26"/>
                  <a:gd name="T11" fmla="*/ 1 h 29"/>
                  <a:gd name="T12" fmla="*/ 25 w 26"/>
                  <a:gd name="T13" fmla="*/ 13 h 29"/>
                  <a:gd name="T14" fmla="*/ 26 w 26"/>
                  <a:gd name="T15" fmla="*/ 15 h 29"/>
                  <a:gd name="T16" fmla="*/ 25 w 26"/>
                  <a:gd name="T17" fmla="*/ 17 h 29"/>
                  <a:gd name="T18" fmla="*/ 3 w 26"/>
                  <a:gd name="T19" fmla="*/ 29 h 29"/>
                  <a:gd name="T20" fmla="*/ 2 w 26"/>
                  <a:gd name="T21" fmla="*/ 29 h 29"/>
                  <a:gd name="T22" fmla="*/ 4 w 26"/>
                  <a:gd name="T23" fmla="*/ 6 h 29"/>
                  <a:gd name="T24" fmla="*/ 4 w 26"/>
                  <a:gd name="T25" fmla="*/ 24 h 29"/>
                  <a:gd name="T26" fmla="*/ 20 w 26"/>
                  <a:gd name="T27" fmla="*/ 15 h 29"/>
                  <a:gd name="T28" fmla="*/ 4 w 26"/>
                  <a:gd name="T29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29">
                    <a:moveTo>
                      <a:pt x="2" y="29"/>
                    </a:moveTo>
                    <a:cubicBezTo>
                      <a:pt x="2" y="29"/>
                      <a:pt x="2" y="29"/>
                      <a:pt x="1" y="29"/>
                    </a:cubicBezTo>
                    <a:cubicBezTo>
                      <a:pt x="1" y="29"/>
                      <a:pt x="0" y="28"/>
                      <a:pt x="0" y="2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6" y="13"/>
                      <a:pt x="26" y="14"/>
                      <a:pt x="26" y="15"/>
                    </a:cubicBezTo>
                    <a:cubicBezTo>
                      <a:pt x="26" y="16"/>
                      <a:pt x="26" y="16"/>
                      <a:pt x="25" y="17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2" y="29"/>
                    </a:cubicBezTo>
                    <a:close/>
                    <a:moveTo>
                      <a:pt x="4" y="6"/>
                    </a:moveTo>
                    <a:cubicBezTo>
                      <a:pt x="4" y="24"/>
                      <a:pt x="4" y="24"/>
                      <a:pt x="4" y="24"/>
                    </a:cubicBezTo>
                    <a:cubicBezTo>
                      <a:pt x="20" y="15"/>
                      <a:pt x="20" y="15"/>
                      <a:pt x="20" y="15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988">
                <a:extLst>
                  <a:ext uri="{FF2B5EF4-FFF2-40B4-BE49-F238E27FC236}">
                    <a16:creationId xmlns:a16="http://schemas.microsoft.com/office/drawing/2014/main" id="{7CF10861-4EEC-4B58-8641-519BA9A091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673"/>
                <a:ext cx="109" cy="111"/>
              </a:xfrm>
              <a:custGeom>
                <a:avLst/>
                <a:gdLst>
                  <a:gd name="T0" fmla="*/ 4 w 46"/>
                  <a:gd name="T1" fmla="*/ 47 h 47"/>
                  <a:gd name="T2" fmla="*/ 3 w 46"/>
                  <a:gd name="T3" fmla="*/ 47 h 47"/>
                  <a:gd name="T4" fmla="*/ 1 w 46"/>
                  <a:gd name="T5" fmla="*/ 46 h 47"/>
                  <a:gd name="T6" fmla="*/ 0 w 46"/>
                  <a:gd name="T7" fmla="*/ 44 h 47"/>
                  <a:gd name="T8" fmla="*/ 0 w 46"/>
                  <a:gd name="T9" fmla="*/ 17 h 47"/>
                  <a:gd name="T10" fmla="*/ 1 w 46"/>
                  <a:gd name="T11" fmla="*/ 15 h 47"/>
                  <a:gd name="T12" fmla="*/ 26 w 46"/>
                  <a:gd name="T13" fmla="*/ 1 h 47"/>
                  <a:gd name="T14" fmla="*/ 28 w 46"/>
                  <a:gd name="T15" fmla="*/ 1 h 47"/>
                  <a:gd name="T16" fmla="*/ 45 w 46"/>
                  <a:gd name="T17" fmla="*/ 10 h 47"/>
                  <a:gd name="T18" fmla="*/ 46 w 46"/>
                  <a:gd name="T19" fmla="*/ 12 h 47"/>
                  <a:gd name="T20" fmla="*/ 46 w 46"/>
                  <a:gd name="T21" fmla="*/ 22 h 47"/>
                  <a:gd name="T22" fmla="*/ 45 w 46"/>
                  <a:gd name="T23" fmla="*/ 23 h 47"/>
                  <a:gd name="T24" fmla="*/ 5 w 46"/>
                  <a:gd name="T25" fmla="*/ 47 h 47"/>
                  <a:gd name="T26" fmla="*/ 4 w 46"/>
                  <a:gd name="T27" fmla="*/ 47 h 47"/>
                  <a:gd name="T28" fmla="*/ 4 w 46"/>
                  <a:gd name="T29" fmla="*/ 18 h 47"/>
                  <a:gd name="T30" fmla="*/ 4 w 46"/>
                  <a:gd name="T31" fmla="*/ 42 h 47"/>
                  <a:gd name="T32" fmla="*/ 42 w 46"/>
                  <a:gd name="T33" fmla="*/ 21 h 47"/>
                  <a:gd name="T34" fmla="*/ 42 w 46"/>
                  <a:gd name="T35" fmla="*/ 13 h 47"/>
                  <a:gd name="T36" fmla="*/ 27 w 46"/>
                  <a:gd name="T37" fmla="*/ 5 h 47"/>
                  <a:gd name="T38" fmla="*/ 4 w 46"/>
                  <a:gd name="T39" fmla="*/ 1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7">
                    <a:moveTo>
                      <a:pt x="4" y="47"/>
                    </a:move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6"/>
                      <a:pt x="1" y="15"/>
                      <a:pt x="1" y="15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8" y="0"/>
                      <a:pt x="28" y="1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6" y="11"/>
                      <a:pt x="46" y="12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22"/>
                      <a:pt x="45" y="23"/>
                      <a:pt x="45" y="23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7"/>
                      <a:pt x="4" y="47"/>
                      <a:pt x="4" y="47"/>
                    </a:cubicBezTo>
                    <a:close/>
                    <a:moveTo>
                      <a:pt x="4" y="18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27" y="5"/>
                      <a:pt x="27" y="5"/>
                      <a:pt x="27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989">
                <a:extLst>
                  <a:ext uri="{FF2B5EF4-FFF2-40B4-BE49-F238E27FC236}">
                    <a16:creationId xmlns:a16="http://schemas.microsoft.com/office/drawing/2014/main" id="{A55770CB-B9B5-4389-BEF3-BF715BFB42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76" y="1285"/>
                <a:ext cx="59" cy="312"/>
              </a:xfrm>
              <a:custGeom>
                <a:avLst/>
                <a:gdLst>
                  <a:gd name="T0" fmla="*/ 23 w 25"/>
                  <a:gd name="T1" fmla="*/ 132 h 132"/>
                  <a:gd name="T2" fmla="*/ 22 w 25"/>
                  <a:gd name="T3" fmla="*/ 132 h 132"/>
                  <a:gd name="T4" fmla="*/ 1 w 25"/>
                  <a:gd name="T5" fmla="*/ 120 h 132"/>
                  <a:gd name="T6" fmla="*/ 0 w 25"/>
                  <a:gd name="T7" fmla="*/ 118 h 132"/>
                  <a:gd name="T8" fmla="*/ 0 w 25"/>
                  <a:gd name="T9" fmla="*/ 14 h 132"/>
                  <a:gd name="T10" fmla="*/ 1 w 25"/>
                  <a:gd name="T11" fmla="*/ 13 h 132"/>
                  <a:gd name="T12" fmla="*/ 22 w 25"/>
                  <a:gd name="T13" fmla="*/ 1 h 132"/>
                  <a:gd name="T14" fmla="*/ 24 w 25"/>
                  <a:gd name="T15" fmla="*/ 1 h 132"/>
                  <a:gd name="T16" fmla="*/ 25 w 25"/>
                  <a:gd name="T17" fmla="*/ 2 h 132"/>
                  <a:gd name="T18" fmla="*/ 25 w 25"/>
                  <a:gd name="T19" fmla="*/ 130 h 132"/>
                  <a:gd name="T20" fmla="*/ 24 w 25"/>
                  <a:gd name="T21" fmla="*/ 132 h 132"/>
                  <a:gd name="T22" fmla="*/ 23 w 25"/>
                  <a:gd name="T23" fmla="*/ 132 h 132"/>
                  <a:gd name="T24" fmla="*/ 4 w 25"/>
                  <a:gd name="T25" fmla="*/ 117 h 132"/>
                  <a:gd name="T26" fmla="*/ 21 w 25"/>
                  <a:gd name="T27" fmla="*/ 126 h 132"/>
                  <a:gd name="T28" fmla="*/ 21 w 25"/>
                  <a:gd name="T29" fmla="*/ 6 h 132"/>
                  <a:gd name="T30" fmla="*/ 4 w 25"/>
                  <a:gd name="T31" fmla="*/ 16 h 132"/>
                  <a:gd name="T32" fmla="*/ 4 w 25"/>
                  <a:gd name="T33" fmla="*/ 11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132">
                    <a:moveTo>
                      <a:pt x="23" y="132"/>
                    </a:moveTo>
                    <a:cubicBezTo>
                      <a:pt x="23" y="132"/>
                      <a:pt x="22" y="132"/>
                      <a:pt x="22" y="132"/>
                    </a:cubicBezTo>
                    <a:cubicBezTo>
                      <a:pt x="1" y="120"/>
                      <a:pt x="1" y="120"/>
                      <a:pt x="1" y="120"/>
                    </a:cubicBezTo>
                    <a:cubicBezTo>
                      <a:pt x="1" y="119"/>
                      <a:pt x="0" y="119"/>
                      <a:pt x="0" y="11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0"/>
                      <a:pt x="23" y="0"/>
                      <a:pt x="24" y="1"/>
                    </a:cubicBezTo>
                    <a:cubicBezTo>
                      <a:pt x="25" y="1"/>
                      <a:pt x="25" y="2"/>
                      <a:pt x="25" y="2"/>
                    </a:cubicBezTo>
                    <a:cubicBezTo>
                      <a:pt x="25" y="130"/>
                      <a:pt x="25" y="130"/>
                      <a:pt x="25" y="130"/>
                    </a:cubicBezTo>
                    <a:cubicBezTo>
                      <a:pt x="25" y="131"/>
                      <a:pt x="25" y="131"/>
                      <a:pt x="24" y="132"/>
                    </a:cubicBezTo>
                    <a:cubicBezTo>
                      <a:pt x="24" y="132"/>
                      <a:pt x="23" y="132"/>
                      <a:pt x="23" y="132"/>
                    </a:cubicBezTo>
                    <a:close/>
                    <a:moveTo>
                      <a:pt x="4" y="117"/>
                    </a:moveTo>
                    <a:cubicBezTo>
                      <a:pt x="21" y="126"/>
                      <a:pt x="21" y="126"/>
                      <a:pt x="21" y="12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4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990">
                <a:extLst>
                  <a:ext uri="{FF2B5EF4-FFF2-40B4-BE49-F238E27FC236}">
                    <a16:creationId xmlns:a16="http://schemas.microsoft.com/office/drawing/2014/main" id="{82E5A326-7B35-4768-9294-63EE269DE8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24" y="1595"/>
                <a:ext cx="73" cy="56"/>
              </a:xfrm>
              <a:custGeom>
                <a:avLst/>
                <a:gdLst>
                  <a:gd name="T0" fmla="*/ 19 w 31"/>
                  <a:gd name="T1" fmla="*/ 24 h 24"/>
                  <a:gd name="T2" fmla="*/ 18 w 31"/>
                  <a:gd name="T3" fmla="*/ 24 h 24"/>
                  <a:gd name="T4" fmla="*/ 1 w 31"/>
                  <a:gd name="T5" fmla="*/ 14 h 24"/>
                  <a:gd name="T6" fmla="*/ 0 w 31"/>
                  <a:gd name="T7" fmla="*/ 12 h 24"/>
                  <a:gd name="T8" fmla="*/ 1 w 31"/>
                  <a:gd name="T9" fmla="*/ 10 h 24"/>
                  <a:gd name="T10" fmla="*/ 3 w 31"/>
                  <a:gd name="T11" fmla="*/ 9 h 24"/>
                  <a:gd name="T12" fmla="*/ 3 w 31"/>
                  <a:gd name="T13" fmla="*/ 2 h 24"/>
                  <a:gd name="T14" fmla="*/ 4 w 31"/>
                  <a:gd name="T15" fmla="*/ 0 h 24"/>
                  <a:gd name="T16" fmla="*/ 6 w 31"/>
                  <a:gd name="T17" fmla="*/ 0 h 24"/>
                  <a:gd name="T18" fmla="*/ 30 w 31"/>
                  <a:gd name="T19" fmla="*/ 14 h 24"/>
                  <a:gd name="T20" fmla="*/ 31 w 31"/>
                  <a:gd name="T21" fmla="*/ 16 h 24"/>
                  <a:gd name="T22" fmla="*/ 30 w 31"/>
                  <a:gd name="T23" fmla="*/ 18 h 24"/>
                  <a:gd name="T24" fmla="*/ 20 w 31"/>
                  <a:gd name="T25" fmla="*/ 24 h 24"/>
                  <a:gd name="T26" fmla="*/ 19 w 31"/>
                  <a:gd name="T27" fmla="*/ 24 h 24"/>
                  <a:gd name="T28" fmla="*/ 6 w 31"/>
                  <a:gd name="T29" fmla="*/ 12 h 24"/>
                  <a:gd name="T30" fmla="*/ 19 w 31"/>
                  <a:gd name="T31" fmla="*/ 20 h 24"/>
                  <a:gd name="T32" fmla="*/ 25 w 31"/>
                  <a:gd name="T33" fmla="*/ 16 h 24"/>
                  <a:gd name="T34" fmla="*/ 7 w 31"/>
                  <a:gd name="T35" fmla="*/ 5 h 24"/>
                  <a:gd name="T36" fmla="*/ 7 w 31"/>
                  <a:gd name="T37" fmla="*/ 10 h 24"/>
                  <a:gd name="T38" fmla="*/ 6 w 31"/>
                  <a:gd name="T39" fmla="*/ 12 h 24"/>
                  <a:gd name="T40" fmla="*/ 5 w 31"/>
                  <a:gd name="T41" fmla="*/ 10 h 24"/>
                  <a:gd name="T42" fmla="*/ 5 w 31"/>
                  <a:gd name="T4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24">
                    <a:moveTo>
                      <a:pt x="19" y="24"/>
                    </a:moveTo>
                    <a:cubicBezTo>
                      <a:pt x="18" y="24"/>
                      <a:pt x="18" y="24"/>
                      <a:pt x="18" y="2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10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0"/>
                      <a:pt x="4" y="0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1" y="15"/>
                      <a:pt x="31" y="15"/>
                      <a:pt x="31" y="16"/>
                    </a:cubicBezTo>
                    <a:cubicBezTo>
                      <a:pt x="31" y="17"/>
                      <a:pt x="31" y="17"/>
                      <a:pt x="30" y="18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9" y="24"/>
                      <a:pt x="19" y="24"/>
                      <a:pt x="19" y="24"/>
                    </a:cubicBezTo>
                    <a:close/>
                    <a:moveTo>
                      <a:pt x="6" y="12"/>
                    </a:moveTo>
                    <a:cubicBezTo>
                      <a:pt x="19" y="20"/>
                      <a:pt x="19" y="20"/>
                      <a:pt x="19" y="20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6" y="12"/>
                      <a:pt x="6" y="12"/>
                    </a:cubicBezTo>
                    <a:close/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991">
                <a:extLst>
                  <a:ext uri="{FF2B5EF4-FFF2-40B4-BE49-F238E27FC236}">
                    <a16:creationId xmlns:a16="http://schemas.microsoft.com/office/drawing/2014/main" id="{DA3C78E8-1750-44FD-8BE7-209E37ABC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76" y="1564"/>
                <a:ext cx="59" cy="61"/>
              </a:xfrm>
              <a:custGeom>
                <a:avLst/>
                <a:gdLst>
                  <a:gd name="T0" fmla="*/ 20 w 25"/>
                  <a:gd name="T1" fmla="*/ 26 h 26"/>
                  <a:gd name="T2" fmla="*/ 19 w 25"/>
                  <a:gd name="T3" fmla="*/ 26 h 26"/>
                  <a:gd name="T4" fmla="*/ 1 w 25"/>
                  <a:gd name="T5" fmla="*/ 16 h 26"/>
                  <a:gd name="T6" fmla="*/ 0 w 25"/>
                  <a:gd name="T7" fmla="*/ 14 h 26"/>
                  <a:gd name="T8" fmla="*/ 0 w 25"/>
                  <a:gd name="T9" fmla="*/ 2 h 26"/>
                  <a:gd name="T10" fmla="*/ 1 w 25"/>
                  <a:gd name="T11" fmla="*/ 0 h 26"/>
                  <a:gd name="T12" fmla="*/ 3 w 25"/>
                  <a:gd name="T13" fmla="*/ 0 h 26"/>
                  <a:gd name="T14" fmla="*/ 24 w 25"/>
                  <a:gd name="T15" fmla="*/ 12 h 26"/>
                  <a:gd name="T16" fmla="*/ 25 w 25"/>
                  <a:gd name="T17" fmla="*/ 14 h 26"/>
                  <a:gd name="T18" fmla="*/ 25 w 25"/>
                  <a:gd name="T19" fmla="*/ 22 h 26"/>
                  <a:gd name="T20" fmla="*/ 24 w 25"/>
                  <a:gd name="T21" fmla="*/ 24 h 26"/>
                  <a:gd name="T22" fmla="*/ 21 w 25"/>
                  <a:gd name="T23" fmla="*/ 26 h 26"/>
                  <a:gd name="T24" fmla="*/ 20 w 25"/>
                  <a:gd name="T25" fmla="*/ 26 h 26"/>
                  <a:gd name="T26" fmla="*/ 4 w 25"/>
                  <a:gd name="T27" fmla="*/ 13 h 26"/>
                  <a:gd name="T28" fmla="*/ 20 w 25"/>
                  <a:gd name="T29" fmla="*/ 22 h 26"/>
                  <a:gd name="T30" fmla="*/ 21 w 25"/>
                  <a:gd name="T31" fmla="*/ 21 h 26"/>
                  <a:gd name="T32" fmla="*/ 21 w 25"/>
                  <a:gd name="T33" fmla="*/ 15 h 26"/>
                  <a:gd name="T34" fmla="*/ 4 w 25"/>
                  <a:gd name="T35" fmla="*/ 5 h 26"/>
                  <a:gd name="T36" fmla="*/ 4 w 25"/>
                  <a:gd name="T37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6">
                    <a:moveTo>
                      <a:pt x="20" y="26"/>
                    </a:moveTo>
                    <a:cubicBezTo>
                      <a:pt x="20" y="26"/>
                      <a:pt x="19" y="26"/>
                      <a:pt x="19" y="2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5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5" y="12"/>
                      <a:pt x="25" y="13"/>
                      <a:pt x="25" y="14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5" y="23"/>
                      <a:pt x="25" y="24"/>
                      <a:pt x="24" y="24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0" y="26"/>
                      <a:pt x="20" y="26"/>
                    </a:cubicBezTo>
                    <a:close/>
                    <a:moveTo>
                      <a:pt x="4" y="13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992">
                <a:extLst>
                  <a:ext uri="{FF2B5EF4-FFF2-40B4-BE49-F238E27FC236}">
                    <a16:creationId xmlns:a16="http://schemas.microsoft.com/office/drawing/2014/main" id="{B9B6FBD8-3F45-4917-9678-A88CB8304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31" y="1623"/>
                <a:ext cx="19" cy="19"/>
              </a:xfrm>
              <a:custGeom>
                <a:avLst/>
                <a:gdLst>
                  <a:gd name="T0" fmla="*/ 6 w 8"/>
                  <a:gd name="T1" fmla="*/ 8 h 8"/>
                  <a:gd name="T2" fmla="*/ 5 w 8"/>
                  <a:gd name="T3" fmla="*/ 8 h 8"/>
                  <a:gd name="T4" fmla="*/ 1 w 8"/>
                  <a:gd name="T5" fmla="*/ 6 h 8"/>
                  <a:gd name="T6" fmla="*/ 0 w 8"/>
                  <a:gd name="T7" fmla="*/ 4 h 8"/>
                  <a:gd name="T8" fmla="*/ 1 w 8"/>
                  <a:gd name="T9" fmla="*/ 2 h 8"/>
                  <a:gd name="T10" fmla="*/ 5 w 8"/>
                  <a:gd name="T11" fmla="*/ 0 h 8"/>
                  <a:gd name="T12" fmla="*/ 7 w 8"/>
                  <a:gd name="T13" fmla="*/ 0 h 8"/>
                  <a:gd name="T14" fmla="*/ 8 w 8"/>
                  <a:gd name="T15" fmla="*/ 2 h 8"/>
                  <a:gd name="T16" fmla="*/ 8 w 8"/>
                  <a:gd name="T17" fmla="*/ 6 h 8"/>
                  <a:gd name="T18" fmla="*/ 7 w 8"/>
                  <a:gd name="T19" fmla="*/ 8 h 8"/>
                  <a:gd name="T20" fmla="*/ 6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7" y="8"/>
                    </a:cubicBezTo>
                    <a:cubicBezTo>
                      <a:pt x="7" y="8"/>
                      <a:pt x="6" y="8"/>
                      <a:pt x="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993">
                <a:extLst>
                  <a:ext uri="{FF2B5EF4-FFF2-40B4-BE49-F238E27FC236}">
                    <a16:creationId xmlns:a16="http://schemas.microsoft.com/office/drawing/2014/main" id="{200F0C32-DC28-48B5-82D4-3E34C86128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90" y="1708"/>
                <a:ext cx="60" cy="71"/>
              </a:xfrm>
              <a:custGeom>
                <a:avLst/>
                <a:gdLst>
                  <a:gd name="T0" fmla="*/ 23 w 25"/>
                  <a:gd name="T1" fmla="*/ 30 h 30"/>
                  <a:gd name="T2" fmla="*/ 22 w 25"/>
                  <a:gd name="T3" fmla="*/ 30 h 30"/>
                  <a:gd name="T4" fmla="*/ 1 w 25"/>
                  <a:gd name="T5" fmla="*/ 18 h 30"/>
                  <a:gd name="T6" fmla="*/ 0 w 25"/>
                  <a:gd name="T7" fmla="*/ 16 h 30"/>
                  <a:gd name="T8" fmla="*/ 0 w 25"/>
                  <a:gd name="T9" fmla="*/ 15 h 30"/>
                  <a:gd name="T10" fmla="*/ 1 w 25"/>
                  <a:gd name="T11" fmla="*/ 13 h 30"/>
                  <a:gd name="T12" fmla="*/ 22 w 25"/>
                  <a:gd name="T13" fmla="*/ 1 h 30"/>
                  <a:gd name="T14" fmla="*/ 24 w 25"/>
                  <a:gd name="T15" fmla="*/ 1 h 30"/>
                  <a:gd name="T16" fmla="*/ 25 w 25"/>
                  <a:gd name="T17" fmla="*/ 3 h 30"/>
                  <a:gd name="T18" fmla="*/ 25 w 25"/>
                  <a:gd name="T19" fmla="*/ 28 h 30"/>
                  <a:gd name="T20" fmla="*/ 24 w 25"/>
                  <a:gd name="T21" fmla="*/ 30 h 30"/>
                  <a:gd name="T22" fmla="*/ 23 w 25"/>
                  <a:gd name="T23" fmla="*/ 30 h 30"/>
                  <a:gd name="T24" fmla="*/ 5 w 25"/>
                  <a:gd name="T25" fmla="*/ 15 h 30"/>
                  <a:gd name="T26" fmla="*/ 21 w 25"/>
                  <a:gd name="T27" fmla="*/ 25 h 30"/>
                  <a:gd name="T28" fmla="*/ 21 w 25"/>
                  <a:gd name="T29" fmla="*/ 6 h 30"/>
                  <a:gd name="T30" fmla="*/ 5 w 25"/>
                  <a:gd name="T31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30">
                    <a:moveTo>
                      <a:pt x="23" y="30"/>
                    </a:moveTo>
                    <a:cubicBezTo>
                      <a:pt x="22" y="30"/>
                      <a:pt x="22" y="30"/>
                      <a:pt x="22" y="3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7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3" y="0"/>
                      <a:pt x="24" y="1"/>
                    </a:cubicBezTo>
                    <a:cubicBezTo>
                      <a:pt x="24" y="1"/>
                      <a:pt x="25" y="2"/>
                      <a:pt x="25" y="3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4" y="29"/>
                      <a:pt x="24" y="30"/>
                    </a:cubicBezTo>
                    <a:cubicBezTo>
                      <a:pt x="24" y="30"/>
                      <a:pt x="23" y="30"/>
                      <a:pt x="23" y="30"/>
                    </a:cubicBezTo>
                    <a:close/>
                    <a:moveTo>
                      <a:pt x="5" y="15"/>
                    </a:moveTo>
                    <a:cubicBezTo>
                      <a:pt x="21" y="25"/>
                      <a:pt x="21" y="25"/>
                      <a:pt x="21" y="25"/>
                    </a:cubicBezTo>
                    <a:cubicBezTo>
                      <a:pt x="21" y="6"/>
                      <a:pt x="21" y="6"/>
                      <a:pt x="21" y="6"/>
                    </a:cubicBezTo>
                    <a:lnTo>
                      <a:pt x="5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994">
                <a:extLst>
                  <a:ext uri="{FF2B5EF4-FFF2-40B4-BE49-F238E27FC236}">
                    <a16:creationId xmlns:a16="http://schemas.microsoft.com/office/drawing/2014/main" id="{E0E84E16-1FE6-46BB-AC31-7582EBE3D1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25" y="1214"/>
                <a:ext cx="501" cy="607"/>
              </a:xfrm>
              <a:custGeom>
                <a:avLst/>
                <a:gdLst>
                  <a:gd name="T0" fmla="*/ 129 w 212"/>
                  <a:gd name="T1" fmla="*/ 257 h 257"/>
                  <a:gd name="T2" fmla="*/ 128 w 212"/>
                  <a:gd name="T3" fmla="*/ 201 h 257"/>
                  <a:gd name="T4" fmla="*/ 66 w 212"/>
                  <a:gd name="T5" fmla="*/ 236 h 257"/>
                  <a:gd name="T6" fmla="*/ 65 w 212"/>
                  <a:gd name="T7" fmla="*/ 224 h 257"/>
                  <a:gd name="T8" fmla="*/ 0 w 212"/>
                  <a:gd name="T9" fmla="*/ 185 h 257"/>
                  <a:gd name="T10" fmla="*/ 4 w 212"/>
                  <a:gd name="T11" fmla="*/ 182 h 257"/>
                  <a:gd name="T12" fmla="*/ 68 w 212"/>
                  <a:gd name="T13" fmla="*/ 218 h 257"/>
                  <a:gd name="T14" fmla="*/ 68 w 212"/>
                  <a:gd name="T15" fmla="*/ 144 h 257"/>
                  <a:gd name="T16" fmla="*/ 66 w 212"/>
                  <a:gd name="T17" fmla="*/ 144 h 257"/>
                  <a:gd name="T18" fmla="*/ 65 w 212"/>
                  <a:gd name="T19" fmla="*/ 2 h 257"/>
                  <a:gd name="T20" fmla="*/ 68 w 212"/>
                  <a:gd name="T21" fmla="*/ 0 h 257"/>
                  <a:gd name="T22" fmla="*/ 79 w 212"/>
                  <a:gd name="T23" fmla="*/ 8 h 257"/>
                  <a:gd name="T24" fmla="*/ 211 w 212"/>
                  <a:gd name="T25" fmla="*/ 214 h 257"/>
                  <a:gd name="T26" fmla="*/ 211 w 212"/>
                  <a:gd name="T27" fmla="*/ 217 h 257"/>
                  <a:gd name="T28" fmla="*/ 198 w 212"/>
                  <a:gd name="T29" fmla="*/ 226 h 257"/>
                  <a:gd name="T30" fmla="*/ 190 w 212"/>
                  <a:gd name="T31" fmla="*/ 222 h 257"/>
                  <a:gd name="T32" fmla="*/ 187 w 212"/>
                  <a:gd name="T33" fmla="*/ 223 h 257"/>
                  <a:gd name="T34" fmla="*/ 161 w 212"/>
                  <a:gd name="T35" fmla="*/ 238 h 257"/>
                  <a:gd name="T36" fmla="*/ 131 w 212"/>
                  <a:gd name="T37" fmla="*/ 257 h 257"/>
                  <a:gd name="T38" fmla="*/ 130 w 212"/>
                  <a:gd name="T39" fmla="*/ 196 h 257"/>
                  <a:gd name="T40" fmla="*/ 132 w 212"/>
                  <a:gd name="T41" fmla="*/ 198 h 257"/>
                  <a:gd name="T42" fmla="*/ 157 w 212"/>
                  <a:gd name="T43" fmla="*/ 237 h 257"/>
                  <a:gd name="T44" fmla="*/ 158 w 212"/>
                  <a:gd name="T45" fmla="*/ 203 h 257"/>
                  <a:gd name="T46" fmla="*/ 188 w 212"/>
                  <a:gd name="T47" fmla="*/ 219 h 257"/>
                  <a:gd name="T48" fmla="*/ 191 w 212"/>
                  <a:gd name="T49" fmla="*/ 218 h 257"/>
                  <a:gd name="T50" fmla="*/ 206 w 212"/>
                  <a:gd name="T51" fmla="*/ 215 h 257"/>
                  <a:gd name="T52" fmla="*/ 75 w 212"/>
                  <a:gd name="T53" fmla="*/ 139 h 257"/>
                  <a:gd name="T54" fmla="*/ 69 w 212"/>
                  <a:gd name="T55" fmla="*/ 6 h 257"/>
                  <a:gd name="T56" fmla="*/ 69 w 212"/>
                  <a:gd name="T57" fmla="*/ 140 h 257"/>
                  <a:gd name="T58" fmla="*/ 139 w 212"/>
                  <a:gd name="T59" fmla="*/ 181 h 257"/>
                  <a:gd name="T60" fmla="*/ 69 w 212"/>
                  <a:gd name="T61" fmla="*/ 222 h 257"/>
                  <a:gd name="T62" fmla="*/ 69 w 212"/>
                  <a:gd name="T63" fmla="*/ 223 h 257"/>
                  <a:gd name="T64" fmla="*/ 129 w 212"/>
                  <a:gd name="T65" fmla="*/ 196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2" h="257">
                    <a:moveTo>
                      <a:pt x="130" y="257"/>
                    </a:moveTo>
                    <a:cubicBezTo>
                      <a:pt x="129" y="257"/>
                      <a:pt x="129" y="257"/>
                      <a:pt x="129" y="257"/>
                    </a:cubicBezTo>
                    <a:cubicBezTo>
                      <a:pt x="128" y="256"/>
                      <a:pt x="128" y="256"/>
                      <a:pt x="128" y="255"/>
                    </a:cubicBezTo>
                    <a:cubicBezTo>
                      <a:pt x="128" y="201"/>
                      <a:pt x="128" y="201"/>
                      <a:pt x="128" y="201"/>
                    </a:cubicBezTo>
                    <a:cubicBezTo>
                      <a:pt x="68" y="236"/>
                      <a:pt x="68" y="236"/>
                      <a:pt x="68" y="236"/>
                    </a:cubicBezTo>
                    <a:cubicBezTo>
                      <a:pt x="68" y="236"/>
                      <a:pt x="67" y="236"/>
                      <a:pt x="66" y="236"/>
                    </a:cubicBezTo>
                    <a:cubicBezTo>
                      <a:pt x="66" y="235"/>
                      <a:pt x="65" y="235"/>
                      <a:pt x="65" y="234"/>
                    </a:cubicBezTo>
                    <a:cubicBezTo>
                      <a:pt x="65" y="224"/>
                      <a:pt x="65" y="224"/>
                      <a:pt x="65" y="224"/>
                    </a:cubicBezTo>
                    <a:cubicBezTo>
                      <a:pt x="1" y="187"/>
                      <a:pt x="1" y="187"/>
                      <a:pt x="1" y="187"/>
                    </a:cubicBezTo>
                    <a:cubicBezTo>
                      <a:pt x="1" y="187"/>
                      <a:pt x="0" y="186"/>
                      <a:pt x="0" y="185"/>
                    </a:cubicBezTo>
                    <a:cubicBezTo>
                      <a:pt x="0" y="185"/>
                      <a:pt x="1" y="184"/>
                      <a:pt x="1" y="184"/>
                    </a:cubicBezTo>
                    <a:cubicBezTo>
                      <a:pt x="4" y="182"/>
                      <a:pt x="4" y="182"/>
                      <a:pt x="4" y="182"/>
                    </a:cubicBezTo>
                    <a:cubicBezTo>
                      <a:pt x="5" y="182"/>
                      <a:pt x="5" y="182"/>
                      <a:pt x="6" y="182"/>
                    </a:cubicBezTo>
                    <a:cubicBezTo>
                      <a:pt x="68" y="218"/>
                      <a:pt x="68" y="218"/>
                      <a:pt x="68" y="218"/>
                    </a:cubicBezTo>
                    <a:cubicBezTo>
                      <a:pt x="133" y="181"/>
                      <a:pt x="133" y="181"/>
                      <a:pt x="133" y="181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8" y="144"/>
                      <a:pt x="68" y="144"/>
                    </a:cubicBezTo>
                    <a:cubicBezTo>
                      <a:pt x="68" y="144"/>
                      <a:pt x="67" y="144"/>
                      <a:pt x="66" y="144"/>
                    </a:cubicBezTo>
                    <a:cubicBezTo>
                      <a:pt x="66" y="144"/>
                      <a:pt x="65" y="143"/>
                      <a:pt x="65" y="142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5" y="1"/>
                      <a:pt x="66" y="1"/>
                      <a:pt x="66" y="0"/>
                    </a:cubicBezTo>
                    <a:cubicBezTo>
                      <a:pt x="67" y="0"/>
                      <a:pt x="68" y="0"/>
                      <a:pt x="68" y="0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9" y="7"/>
                      <a:pt x="79" y="7"/>
                      <a:pt x="79" y="8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211" y="214"/>
                      <a:pt x="211" y="214"/>
                      <a:pt x="211" y="214"/>
                    </a:cubicBezTo>
                    <a:cubicBezTo>
                      <a:pt x="211" y="214"/>
                      <a:pt x="212" y="215"/>
                      <a:pt x="212" y="215"/>
                    </a:cubicBezTo>
                    <a:cubicBezTo>
                      <a:pt x="212" y="216"/>
                      <a:pt x="211" y="217"/>
                      <a:pt x="211" y="217"/>
                    </a:cubicBezTo>
                    <a:cubicBezTo>
                      <a:pt x="199" y="224"/>
                      <a:pt x="199" y="224"/>
                      <a:pt x="199" y="224"/>
                    </a:cubicBezTo>
                    <a:cubicBezTo>
                      <a:pt x="199" y="225"/>
                      <a:pt x="199" y="225"/>
                      <a:pt x="198" y="226"/>
                    </a:cubicBezTo>
                    <a:cubicBezTo>
                      <a:pt x="197" y="226"/>
                      <a:pt x="197" y="226"/>
                      <a:pt x="196" y="226"/>
                    </a:cubicBezTo>
                    <a:cubicBezTo>
                      <a:pt x="190" y="222"/>
                      <a:pt x="190" y="222"/>
                      <a:pt x="190" y="222"/>
                    </a:cubicBezTo>
                    <a:cubicBezTo>
                      <a:pt x="189" y="223"/>
                      <a:pt x="189" y="223"/>
                      <a:pt x="189" y="223"/>
                    </a:cubicBezTo>
                    <a:cubicBezTo>
                      <a:pt x="188" y="223"/>
                      <a:pt x="188" y="223"/>
                      <a:pt x="187" y="223"/>
                    </a:cubicBezTo>
                    <a:cubicBezTo>
                      <a:pt x="161" y="208"/>
                      <a:pt x="161" y="208"/>
                      <a:pt x="161" y="208"/>
                    </a:cubicBezTo>
                    <a:cubicBezTo>
                      <a:pt x="161" y="238"/>
                      <a:pt x="161" y="238"/>
                      <a:pt x="161" y="238"/>
                    </a:cubicBezTo>
                    <a:cubicBezTo>
                      <a:pt x="161" y="238"/>
                      <a:pt x="161" y="239"/>
                      <a:pt x="160" y="239"/>
                    </a:cubicBezTo>
                    <a:cubicBezTo>
                      <a:pt x="131" y="257"/>
                      <a:pt x="131" y="257"/>
                      <a:pt x="131" y="257"/>
                    </a:cubicBezTo>
                    <a:cubicBezTo>
                      <a:pt x="130" y="257"/>
                      <a:pt x="130" y="257"/>
                      <a:pt x="130" y="257"/>
                    </a:cubicBezTo>
                    <a:close/>
                    <a:moveTo>
                      <a:pt x="130" y="196"/>
                    </a:moveTo>
                    <a:cubicBezTo>
                      <a:pt x="130" y="196"/>
                      <a:pt x="130" y="196"/>
                      <a:pt x="131" y="196"/>
                    </a:cubicBezTo>
                    <a:cubicBezTo>
                      <a:pt x="131" y="196"/>
                      <a:pt x="132" y="197"/>
                      <a:pt x="132" y="198"/>
                    </a:cubicBezTo>
                    <a:cubicBezTo>
                      <a:pt x="132" y="251"/>
                      <a:pt x="132" y="251"/>
                      <a:pt x="132" y="251"/>
                    </a:cubicBezTo>
                    <a:cubicBezTo>
                      <a:pt x="157" y="237"/>
                      <a:pt x="157" y="237"/>
                      <a:pt x="157" y="237"/>
                    </a:cubicBezTo>
                    <a:cubicBezTo>
                      <a:pt x="157" y="205"/>
                      <a:pt x="157" y="205"/>
                      <a:pt x="157" y="205"/>
                    </a:cubicBezTo>
                    <a:cubicBezTo>
                      <a:pt x="157" y="204"/>
                      <a:pt x="158" y="203"/>
                      <a:pt x="158" y="203"/>
                    </a:cubicBezTo>
                    <a:cubicBezTo>
                      <a:pt x="159" y="202"/>
                      <a:pt x="160" y="202"/>
                      <a:pt x="160" y="203"/>
                    </a:cubicBezTo>
                    <a:cubicBezTo>
                      <a:pt x="188" y="219"/>
                      <a:pt x="188" y="219"/>
                      <a:pt x="188" y="219"/>
                    </a:cubicBezTo>
                    <a:cubicBezTo>
                      <a:pt x="189" y="218"/>
                      <a:pt x="189" y="218"/>
                      <a:pt x="189" y="218"/>
                    </a:cubicBezTo>
                    <a:cubicBezTo>
                      <a:pt x="190" y="218"/>
                      <a:pt x="190" y="218"/>
                      <a:pt x="191" y="218"/>
                    </a:cubicBezTo>
                    <a:cubicBezTo>
                      <a:pt x="196" y="221"/>
                      <a:pt x="196" y="221"/>
                      <a:pt x="196" y="221"/>
                    </a:cubicBezTo>
                    <a:cubicBezTo>
                      <a:pt x="206" y="215"/>
                      <a:pt x="206" y="215"/>
                      <a:pt x="206" y="215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76" y="140"/>
                      <a:pt x="75" y="140"/>
                      <a:pt x="75" y="13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138" y="179"/>
                      <a:pt x="138" y="179"/>
                      <a:pt x="138" y="179"/>
                    </a:cubicBezTo>
                    <a:cubicBezTo>
                      <a:pt x="139" y="180"/>
                      <a:pt x="139" y="180"/>
                      <a:pt x="139" y="181"/>
                    </a:cubicBezTo>
                    <a:cubicBezTo>
                      <a:pt x="139" y="182"/>
                      <a:pt x="139" y="182"/>
                      <a:pt x="138" y="183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23"/>
                      <a:pt x="69" y="223"/>
                      <a:pt x="69" y="223"/>
                    </a:cubicBezTo>
                    <a:cubicBezTo>
                      <a:pt x="69" y="230"/>
                      <a:pt x="69" y="230"/>
                      <a:pt x="69" y="230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196"/>
                      <a:pt x="129" y="196"/>
                      <a:pt x="130" y="1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995">
                <a:extLst>
                  <a:ext uri="{FF2B5EF4-FFF2-40B4-BE49-F238E27FC236}">
                    <a16:creationId xmlns:a16="http://schemas.microsoft.com/office/drawing/2014/main" id="{E5B65C2D-96B9-47F3-97B5-281CDBA758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710"/>
                <a:ext cx="263" cy="473"/>
              </a:xfrm>
              <a:custGeom>
                <a:avLst/>
                <a:gdLst>
                  <a:gd name="T0" fmla="*/ 44 w 111"/>
                  <a:gd name="T1" fmla="*/ 200 h 200"/>
                  <a:gd name="T2" fmla="*/ 43 w 111"/>
                  <a:gd name="T3" fmla="*/ 200 h 200"/>
                  <a:gd name="T4" fmla="*/ 37 w 111"/>
                  <a:gd name="T5" fmla="*/ 196 h 200"/>
                  <a:gd name="T6" fmla="*/ 36 w 111"/>
                  <a:gd name="T7" fmla="*/ 194 h 200"/>
                  <a:gd name="T8" fmla="*/ 36 w 111"/>
                  <a:gd name="T9" fmla="*/ 137 h 200"/>
                  <a:gd name="T10" fmla="*/ 1 w 111"/>
                  <a:gd name="T11" fmla="*/ 117 h 200"/>
                  <a:gd name="T12" fmla="*/ 0 w 111"/>
                  <a:gd name="T13" fmla="*/ 115 h 200"/>
                  <a:gd name="T14" fmla="*/ 0 w 111"/>
                  <a:gd name="T15" fmla="*/ 76 h 200"/>
                  <a:gd name="T16" fmla="*/ 1 w 111"/>
                  <a:gd name="T17" fmla="*/ 75 h 200"/>
                  <a:gd name="T18" fmla="*/ 43 w 111"/>
                  <a:gd name="T19" fmla="*/ 51 h 200"/>
                  <a:gd name="T20" fmla="*/ 43 w 111"/>
                  <a:gd name="T21" fmla="*/ 7 h 200"/>
                  <a:gd name="T22" fmla="*/ 44 w 111"/>
                  <a:gd name="T23" fmla="*/ 5 h 200"/>
                  <a:gd name="T24" fmla="*/ 53 w 111"/>
                  <a:gd name="T25" fmla="*/ 0 h 200"/>
                  <a:gd name="T26" fmla="*/ 55 w 111"/>
                  <a:gd name="T27" fmla="*/ 0 h 200"/>
                  <a:gd name="T28" fmla="*/ 57 w 111"/>
                  <a:gd name="T29" fmla="*/ 1 h 200"/>
                  <a:gd name="T30" fmla="*/ 58 w 111"/>
                  <a:gd name="T31" fmla="*/ 3 h 200"/>
                  <a:gd name="T32" fmla="*/ 58 w 111"/>
                  <a:gd name="T33" fmla="*/ 42 h 200"/>
                  <a:gd name="T34" fmla="*/ 110 w 111"/>
                  <a:gd name="T35" fmla="*/ 72 h 200"/>
                  <a:gd name="T36" fmla="*/ 111 w 111"/>
                  <a:gd name="T37" fmla="*/ 74 h 200"/>
                  <a:gd name="T38" fmla="*/ 111 w 111"/>
                  <a:gd name="T39" fmla="*/ 89 h 200"/>
                  <a:gd name="T40" fmla="*/ 110 w 111"/>
                  <a:gd name="T41" fmla="*/ 90 h 200"/>
                  <a:gd name="T42" fmla="*/ 46 w 111"/>
                  <a:gd name="T43" fmla="*/ 128 h 200"/>
                  <a:gd name="T44" fmla="*/ 46 w 111"/>
                  <a:gd name="T45" fmla="*/ 198 h 200"/>
                  <a:gd name="T46" fmla="*/ 45 w 111"/>
                  <a:gd name="T47" fmla="*/ 200 h 200"/>
                  <a:gd name="T48" fmla="*/ 44 w 111"/>
                  <a:gd name="T49" fmla="*/ 200 h 200"/>
                  <a:gd name="T50" fmla="*/ 40 w 111"/>
                  <a:gd name="T51" fmla="*/ 193 h 200"/>
                  <a:gd name="T52" fmla="*/ 42 w 111"/>
                  <a:gd name="T53" fmla="*/ 194 h 200"/>
                  <a:gd name="T54" fmla="*/ 42 w 111"/>
                  <a:gd name="T55" fmla="*/ 127 h 200"/>
                  <a:gd name="T56" fmla="*/ 43 w 111"/>
                  <a:gd name="T57" fmla="*/ 125 h 200"/>
                  <a:gd name="T58" fmla="*/ 107 w 111"/>
                  <a:gd name="T59" fmla="*/ 88 h 200"/>
                  <a:gd name="T60" fmla="*/ 107 w 111"/>
                  <a:gd name="T61" fmla="*/ 75 h 200"/>
                  <a:gd name="T62" fmla="*/ 55 w 111"/>
                  <a:gd name="T63" fmla="*/ 45 h 200"/>
                  <a:gd name="T64" fmla="*/ 54 w 111"/>
                  <a:gd name="T65" fmla="*/ 43 h 200"/>
                  <a:gd name="T66" fmla="*/ 54 w 111"/>
                  <a:gd name="T67" fmla="*/ 4 h 200"/>
                  <a:gd name="T68" fmla="*/ 54 w 111"/>
                  <a:gd name="T69" fmla="*/ 4 h 200"/>
                  <a:gd name="T70" fmla="*/ 47 w 111"/>
                  <a:gd name="T71" fmla="*/ 8 h 200"/>
                  <a:gd name="T72" fmla="*/ 47 w 111"/>
                  <a:gd name="T73" fmla="*/ 52 h 200"/>
                  <a:gd name="T74" fmla="*/ 46 w 111"/>
                  <a:gd name="T75" fmla="*/ 53 h 200"/>
                  <a:gd name="T76" fmla="*/ 4 w 111"/>
                  <a:gd name="T77" fmla="*/ 78 h 200"/>
                  <a:gd name="T78" fmla="*/ 4 w 111"/>
                  <a:gd name="T79" fmla="*/ 114 h 200"/>
                  <a:gd name="T80" fmla="*/ 39 w 111"/>
                  <a:gd name="T81" fmla="*/ 134 h 200"/>
                  <a:gd name="T82" fmla="*/ 40 w 111"/>
                  <a:gd name="T83" fmla="*/ 135 h 200"/>
                  <a:gd name="T84" fmla="*/ 40 w 111"/>
                  <a:gd name="T85" fmla="*/ 19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1" h="200">
                    <a:moveTo>
                      <a:pt x="44" y="200"/>
                    </a:moveTo>
                    <a:cubicBezTo>
                      <a:pt x="43" y="200"/>
                      <a:pt x="43" y="200"/>
                      <a:pt x="43" y="200"/>
                    </a:cubicBezTo>
                    <a:cubicBezTo>
                      <a:pt x="37" y="196"/>
                      <a:pt x="37" y="196"/>
                      <a:pt x="37" y="196"/>
                    </a:cubicBezTo>
                    <a:cubicBezTo>
                      <a:pt x="36" y="196"/>
                      <a:pt x="36" y="195"/>
                      <a:pt x="36" y="194"/>
                    </a:cubicBezTo>
                    <a:cubicBezTo>
                      <a:pt x="36" y="137"/>
                      <a:pt x="36" y="137"/>
                      <a:pt x="36" y="137"/>
                    </a:cubicBezTo>
                    <a:cubicBezTo>
                      <a:pt x="1" y="117"/>
                      <a:pt x="1" y="117"/>
                      <a:pt x="1" y="117"/>
                    </a:cubicBezTo>
                    <a:cubicBezTo>
                      <a:pt x="1" y="116"/>
                      <a:pt x="0" y="116"/>
                      <a:pt x="0" y="115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0" y="76"/>
                      <a:pt x="1" y="75"/>
                      <a:pt x="1" y="75"/>
                    </a:cubicBezTo>
                    <a:cubicBezTo>
                      <a:pt x="43" y="51"/>
                      <a:pt x="43" y="51"/>
                      <a:pt x="43" y="51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43" y="6"/>
                      <a:pt x="44" y="5"/>
                      <a:pt x="44" y="5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54" y="0"/>
                      <a:pt x="55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8" y="2"/>
                      <a:pt x="58" y="2"/>
                      <a:pt x="58" y="3"/>
                    </a:cubicBezTo>
                    <a:cubicBezTo>
                      <a:pt x="58" y="42"/>
                      <a:pt x="58" y="42"/>
                      <a:pt x="58" y="42"/>
                    </a:cubicBezTo>
                    <a:cubicBezTo>
                      <a:pt x="110" y="72"/>
                      <a:pt x="110" y="72"/>
                      <a:pt x="110" y="72"/>
                    </a:cubicBezTo>
                    <a:cubicBezTo>
                      <a:pt x="111" y="73"/>
                      <a:pt x="111" y="73"/>
                      <a:pt x="111" y="74"/>
                    </a:cubicBezTo>
                    <a:cubicBezTo>
                      <a:pt x="111" y="89"/>
                      <a:pt x="111" y="89"/>
                      <a:pt x="111" y="89"/>
                    </a:cubicBezTo>
                    <a:cubicBezTo>
                      <a:pt x="111" y="89"/>
                      <a:pt x="111" y="90"/>
                      <a:pt x="110" y="90"/>
                    </a:cubicBezTo>
                    <a:cubicBezTo>
                      <a:pt x="46" y="128"/>
                      <a:pt x="46" y="128"/>
                      <a:pt x="46" y="128"/>
                    </a:cubicBezTo>
                    <a:cubicBezTo>
                      <a:pt x="46" y="198"/>
                      <a:pt x="46" y="198"/>
                      <a:pt x="46" y="198"/>
                    </a:cubicBezTo>
                    <a:cubicBezTo>
                      <a:pt x="46" y="199"/>
                      <a:pt x="45" y="199"/>
                      <a:pt x="45" y="200"/>
                    </a:cubicBezTo>
                    <a:cubicBezTo>
                      <a:pt x="44" y="200"/>
                      <a:pt x="44" y="200"/>
                      <a:pt x="44" y="200"/>
                    </a:cubicBezTo>
                    <a:close/>
                    <a:moveTo>
                      <a:pt x="40" y="193"/>
                    </a:moveTo>
                    <a:cubicBezTo>
                      <a:pt x="42" y="194"/>
                      <a:pt x="42" y="194"/>
                      <a:pt x="42" y="194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42" y="126"/>
                      <a:pt x="42" y="125"/>
                      <a:pt x="43" y="125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4" y="45"/>
                      <a:pt x="54" y="44"/>
                      <a:pt x="54" y="43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52"/>
                      <a:pt x="47" y="52"/>
                      <a:pt x="47" y="52"/>
                    </a:cubicBezTo>
                    <a:cubicBezTo>
                      <a:pt x="47" y="52"/>
                      <a:pt x="47" y="53"/>
                      <a:pt x="46" y="53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114"/>
                      <a:pt x="4" y="114"/>
                      <a:pt x="4" y="114"/>
                    </a:cubicBezTo>
                    <a:cubicBezTo>
                      <a:pt x="39" y="134"/>
                      <a:pt x="39" y="134"/>
                      <a:pt x="39" y="134"/>
                    </a:cubicBezTo>
                    <a:cubicBezTo>
                      <a:pt x="39" y="134"/>
                      <a:pt x="40" y="135"/>
                      <a:pt x="40" y="135"/>
                    </a:cubicBezTo>
                    <a:lnTo>
                      <a:pt x="40" y="1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 996">
                <a:extLst>
                  <a:ext uri="{FF2B5EF4-FFF2-40B4-BE49-F238E27FC236}">
                    <a16:creationId xmlns:a16="http://schemas.microsoft.com/office/drawing/2014/main" id="{12D3094B-BCAA-4364-A979-7ED86A7AE1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38" y="1982"/>
                <a:ext cx="94" cy="189"/>
              </a:xfrm>
              <a:custGeom>
                <a:avLst/>
                <a:gdLst>
                  <a:gd name="T0" fmla="*/ 38 w 40"/>
                  <a:gd name="T1" fmla="*/ 80 h 80"/>
                  <a:gd name="T2" fmla="*/ 37 w 40"/>
                  <a:gd name="T3" fmla="*/ 80 h 80"/>
                  <a:gd name="T4" fmla="*/ 1 w 40"/>
                  <a:gd name="T5" fmla="*/ 59 h 80"/>
                  <a:gd name="T6" fmla="*/ 0 w 40"/>
                  <a:gd name="T7" fmla="*/ 58 h 80"/>
                  <a:gd name="T8" fmla="*/ 1 w 40"/>
                  <a:gd name="T9" fmla="*/ 56 h 80"/>
                  <a:gd name="T10" fmla="*/ 2 w 40"/>
                  <a:gd name="T11" fmla="*/ 55 h 80"/>
                  <a:gd name="T12" fmla="*/ 2 w 40"/>
                  <a:gd name="T13" fmla="*/ 2 h 80"/>
                  <a:gd name="T14" fmla="*/ 3 w 40"/>
                  <a:gd name="T15" fmla="*/ 0 h 80"/>
                  <a:gd name="T16" fmla="*/ 5 w 40"/>
                  <a:gd name="T17" fmla="*/ 0 h 80"/>
                  <a:gd name="T18" fmla="*/ 39 w 40"/>
                  <a:gd name="T19" fmla="*/ 20 h 80"/>
                  <a:gd name="T20" fmla="*/ 40 w 40"/>
                  <a:gd name="T21" fmla="*/ 21 h 80"/>
                  <a:gd name="T22" fmla="*/ 40 w 40"/>
                  <a:gd name="T23" fmla="*/ 78 h 80"/>
                  <a:gd name="T24" fmla="*/ 39 w 40"/>
                  <a:gd name="T25" fmla="*/ 80 h 80"/>
                  <a:gd name="T26" fmla="*/ 38 w 40"/>
                  <a:gd name="T27" fmla="*/ 80 h 80"/>
                  <a:gd name="T28" fmla="*/ 6 w 40"/>
                  <a:gd name="T29" fmla="*/ 58 h 80"/>
                  <a:gd name="T30" fmla="*/ 36 w 40"/>
                  <a:gd name="T31" fmla="*/ 75 h 80"/>
                  <a:gd name="T32" fmla="*/ 36 w 40"/>
                  <a:gd name="T33" fmla="*/ 23 h 80"/>
                  <a:gd name="T34" fmla="*/ 6 w 40"/>
                  <a:gd name="T35" fmla="*/ 5 h 80"/>
                  <a:gd name="T36" fmla="*/ 6 w 40"/>
                  <a:gd name="T37" fmla="*/ 56 h 80"/>
                  <a:gd name="T38" fmla="*/ 6 w 40"/>
                  <a:gd name="T39" fmla="*/ 58 h 80"/>
                  <a:gd name="T40" fmla="*/ 4 w 40"/>
                  <a:gd name="T41" fmla="*/ 56 h 80"/>
                  <a:gd name="T42" fmla="*/ 4 w 40"/>
                  <a:gd name="T43" fmla="*/ 5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80">
                    <a:moveTo>
                      <a:pt x="38" y="80"/>
                    </a:moveTo>
                    <a:cubicBezTo>
                      <a:pt x="38" y="80"/>
                      <a:pt x="37" y="80"/>
                      <a:pt x="37" y="80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59"/>
                      <a:pt x="0" y="58"/>
                      <a:pt x="0" y="58"/>
                    </a:cubicBezTo>
                    <a:cubicBezTo>
                      <a:pt x="0" y="57"/>
                      <a:pt x="1" y="56"/>
                      <a:pt x="1" y="56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3" y="1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40" y="20"/>
                      <a:pt x="40" y="21"/>
                      <a:pt x="40" y="21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40" y="79"/>
                      <a:pt x="40" y="80"/>
                      <a:pt x="39" y="80"/>
                    </a:cubicBezTo>
                    <a:cubicBezTo>
                      <a:pt x="39" y="80"/>
                      <a:pt x="38" y="80"/>
                      <a:pt x="38" y="80"/>
                    </a:cubicBezTo>
                    <a:close/>
                    <a:moveTo>
                      <a:pt x="6" y="58"/>
                    </a:moveTo>
                    <a:cubicBezTo>
                      <a:pt x="36" y="75"/>
                      <a:pt x="36" y="75"/>
                      <a:pt x="36" y="75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7"/>
                      <a:pt x="6" y="57"/>
                      <a:pt x="6" y="58"/>
                    </a:cubicBezTo>
                    <a:close/>
                    <a:moveTo>
                      <a:pt x="4" y="56"/>
                    </a:moveTo>
                    <a:cubicBezTo>
                      <a:pt x="4" y="56"/>
                      <a:pt x="4" y="56"/>
                      <a:pt x="4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 997">
                <a:extLst>
                  <a:ext uri="{FF2B5EF4-FFF2-40B4-BE49-F238E27FC236}">
                    <a16:creationId xmlns:a16="http://schemas.microsoft.com/office/drawing/2014/main" id="{9506856E-2AC4-4AD7-AB98-B00450A786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725"/>
                <a:ext cx="109" cy="167"/>
              </a:xfrm>
              <a:custGeom>
                <a:avLst/>
                <a:gdLst>
                  <a:gd name="T0" fmla="*/ 2 w 46"/>
                  <a:gd name="T1" fmla="*/ 71 h 71"/>
                  <a:gd name="T2" fmla="*/ 1 w 46"/>
                  <a:gd name="T3" fmla="*/ 70 h 71"/>
                  <a:gd name="T4" fmla="*/ 0 w 46"/>
                  <a:gd name="T5" fmla="*/ 69 h 71"/>
                  <a:gd name="T6" fmla="*/ 0 w 46"/>
                  <a:gd name="T7" fmla="*/ 62 h 71"/>
                  <a:gd name="T8" fmla="*/ 1 w 46"/>
                  <a:gd name="T9" fmla="*/ 60 h 71"/>
                  <a:gd name="T10" fmla="*/ 33 w 46"/>
                  <a:gd name="T11" fmla="*/ 42 h 71"/>
                  <a:gd name="T12" fmla="*/ 4 w 46"/>
                  <a:gd name="T13" fmla="*/ 25 h 71"/>
                  <a:gd name="T14" fmla="*/ 3 w 46"/>
                  <a:gd name="T15" fmla="*/ 24 h 71"/>
                  <a:gd name="T16" fmla="*/ 4 w 46"/>
                  <a:gd name="T17" fmla="*/ 22 h 71"/>
                  <a:gd name="T18" fmla="*/ 43 w 46"/>
                  <a:gd name="T19" fmla="*/ 0 h 71"/>
                  <a:gd name="T20" fmla="*/ 45 w 46"/>
                  <a:gd name="T21" fmla="*/ 0 h 71"/>
                  <a:gd name="T22" fmla="*/ 46 w 46"/>
                  <a:gd name="T23" fmla="*/ 2 h 71"/>
                  <a:gd name="T24" fmla="*/ 46 w 46"/>
                  <a:gd name="T25" fmla="*/ 45 h 71"/>
                  <a:gd name="T26" fmla="*/ 45 w 46"/>
                  <a:gd name="T27" fmla="*/ 47 h 71"/>
                  <a:gd name="T28" fmla="*/ 3 w 46"/>
                  <a:gd name="T29" fmla="*/ 70 h 71"/>
                  <a:gd name="T30" fmla="*/ 2 w 46"/>
                  <a:gd name="T31" fmla="*/ 71 h 71"/>
                  <a:gd name="T32" fmla="*/ 4 w 46"/>
                  <a:gd name="T33" fmla="*/ 63 h 71"/>
                  <a:gd name="T34" fmla="*/ 4 w 46"/>
                  <a:gd name="T35" fmla="*/ 65 h 71"/>
                  <a:gd name="T36" fmla="*/ 42 w 46"/>
                  <a:gd name="T37" fmla="*/ 44 h 71"/>
                  <a:gd name="T38" fmla="*/ 42 w 46"/>
                  <a:gd name="T39" fmla="*/ 5 h 71"/>
                  <a:gd name="T40" fmla="*/ 9 w 46"/>
                  <a:gd name="T41" fmla="*/ 24 h 71"/>
                  <a:gd name="T42" fmla="*/ 38 w 46"/>
                  <a:gd name="T43" fmla="*/ 40 h 71"/>
                  <a:gd name="T44" fmla="*/ 39 w 46"/>
                  <a:gd name="T45" fmla="*/ 42 h 71"/>
                  <a:gd name="T46" fmla="*/ 38 w 46"/>
                  <a:gd name="T47" fmla="*/ 44 h 71"/>
                  <a:gd name="T48" fmla="*/ 4 w 46"/>
                  <a:gd name="T49" fmla="*/ 6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71">
                    <a:moveTo>
                      <a:pt x="2" y="71"/>
                    </a:moveTo>
                    <a:cubicBezTo>
                      <a:pt x="2" y="71"/>
                      <a:pt x="2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1"/>
                      <a:pt x="1" y="61"/>
                      <a:pt x="1" y="60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5"/>
                      <a:pt x="3" y="24"/>
                      <a:pt x="3" y="24"/>
                    </a:cubicBezTo>
                    <a:cubicBezTo>
                      <a:pt x="3" y="23"/>
                      <a:pt x="4" y="22"/>
                      <a:pt x="4" y="2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0"/>
                      <a:pt x="46" y="1"/>
                      <a:pt x="46" y="2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46" y="45"/>
                      <a:pt x="45" y="46"/>
                      <a:pt x="45" y="47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3" y="71"/>
                      <a:pt x="2" y="71"/>
                    </a:cubicBezTo>
                    <a:close/>
                    <a:moveTo>
                      <a:pt x="4" y="63"/>
                    </a:moveTo>
                    <a:cubicBezTo>
                      <a:pt x="4" y="65"/>
                      <a:pt x="4" y="65"/>
                      <a:pt x="4" y="65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38" y="40"/>
                      <a:pt x="38" y="40"/>
                      <a:pt x="38" y="40"/>
                    </a:cubicBezTo>
                    <a:cubicBezTo>
                      <a:pt x="39" y="41"/>
                      <a:pt x="39" y="41"/>
                      <a:pt x="39" y="42"/>
                    </a:cubicBezTo>
                    <a:cubicBezTo>
                      <a:pt x="39" y="43"/>
                      <a:pt x="39" y="43"/>
                      <a:pt x="38" y="44"/>
                    </a:cubicBezTo>
                    <a:lnTo>
                      <a:pt x="4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 998">
                <a:extLst>
                  <a:ext uri="{FF2B5EF4-FFF2-40B4-BE49-F238E27FC236}">
                    <a16:creationId xmlns:a16="http://schemas.microsoft.com/office/drawing/2014/main" id="{05CECA76-B9C3-43DC-B585-76D15B7C4B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779"/>
                <a:ext cx="85" cy="92"/>
              </a:xfrm>
              <a:custGeom>
                <a:avLst/>
                <a:gdLst>
                  <a:gd name="T0" fmla="*/ 2 w 36"/>
                  <a:gd name="T1" fmla="*/ 39 h 39"/>
                  <a:gd name="T2" fmla="*/ 1 w 36"/>
                  <a:gd name="T3" fmla="*/ 39 h 39"/>
                  <a:gd name="T4" fmla="*/ 0 w 36"/>
                  <a:gd name="T5" fmla="*/ 37 h 39"/>
                  <a:gd name="T6" fmla="*/ 0 w 36"/>
                  <a:gd name="T7" fmla="*/ 2 h 39"/>
                  <a:gd name="T8" fmla="*/ 1 w 36"/>
                  <a:gd name="T9" fmla="*/ 1 h 39"/>
                  <a:gd name="T10" fmla="*/ 3 w 36"/>
                  <a:gd name="T11" fmla="*/ 0 h 39"/>
                  <a:gd name="T12" fmla="*/ 5 w 36"/>
                  <a:gd name="T13" fmla="*/ 0 h 39"/>
                  <a:gd name="T14" fmla="*/ 35 w 36"/>
                  <a:gd name="T15" fmla="*/ 17 h 39"/>
                  <a:gd name="T16" fmla="*/ 36 w 36"/>
                  <a:gd name="T17" fmla="*/ 19 h 39"/>
                  <a:gd name="T18" fmla="*/ 35 w 36"/>
                  <a:gd name="T19" fmla="*/ 21 h 39"/>
                  <a:gd name="T20" fmla="*/ 3 w 36"/>
                  <a:gd name="T21" fmla="*/ 39 h 39"/>
                  <a:gd name="T22" fmla="*/ 2 w 36"/>
                  <a:gd name="T23" fmla="*/ 39 h 39"/>
                  <a:gd name="T24" fmla="*/ 4 w 36"/>
                  <a:gd name="T25" fmla="*/ 4 h 39"/>
                  <a:gd name="T26" fmla="*/ 4 w 36"/>
                  <a:gd name="T27" fmla="*/ 34 h 39"/>
                  <a:gd name="T28" fmla="*/ 30 w 36"/>
                  <a:gd name="T29" fmla="*/ 19 h 39"/>
                  <a:gd name="T30" fmla="*/ 4 w 36"/>
                  <a:gd name="T31" fmla="*/ 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9">
                    <a:moveTo>
                      <a:pt x="2" y="39"/>
                    </a:moveTo>
                    <a:cubicBezTo>
                      <a:pt x="2" y="39"/>
                      <a:pt x="2" y="39"/>
                      <a:pt x="1" y="39"/>
                    </a:cubicBezTo>
                    <a:cubicBezTo>
                      <a:pt x="1" y="39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8"/>
                      <a:pt x="36" y="18"/>
                      <a:pt x="36" y="19"/>
                    </a:cubicBezTo>
                    <a:cubicBezTo>
                      <a:pt x="36" y="20"/>
                      <a:pt x="35" y="20"/>
                      <a:pt x="35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39"/>
                    </a:cubicBezTo>
                    <a:close/>
                    <a:moveTo>
                      <a:pt x="4" y="4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30" y="19"/>
                      <a:pt x="30" y="19"/>
                      <a:pt x="30" y="19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 999">
                <a:extLst>
                  <a:ext uri="{FF2B5EF4-FFF2-40B4-BE49-F238E27FC236}">
                    <a16:creationId xmlns:a16="http://schemas.microsoft.com/office/drawing/2014/main" id="{A3C04ACE-EA2E-4AD1-AF8B-EABED80141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61" y="638"/>
                <a:ext cx="389" cy="191"/>
              </a:xfrm>
              <a:custGeom>
                <a:avLst/>
                <a:gdLst>
                  <a:gd name="T0" fmla="*/ 84 w 165"/>
                  <a:gd name="T1" fmla="*/ 81 h 81"/>
                  <a:gd name="T2" fmla="*/ 83 w 165"/>
                  <a:gd name="T3" fmla="*/ 80 h 81"/>
                  <a:gd name="T4" fmla="*/ 82 w 165"/>
                  <a:gd name="T5" fmla="*/ 79 h 81"/>
                  <a:gd name="T6" fmla="*/ 1 w 165"/>
                  <a:gd name="T7" fmla="*/ 32 h 81"/>
                  <a:gd name="T8" fmla="*/ 0 w 165"/>
                  <a:gd name="T9" fmla="*/ 30 h 81"/>
                  <a:gd name="T10" fmla="*/ 1 w 165"/>
                  <a:gd name="T11" fmla="*/ 29 h 81"/>
                  <a:gd name="T12" fmla="*/ 48 w 165"/>
                  <a:gd name="T13" fmla="*/ 1 h 81"/>
                  <a:gd name="T14" fmla="*/ 50 w 165"/>
                  <a:gd name="T15" fmla="*/ 1 h 81"/>
                  <a:gd name="T16" fmla="*/ 78 w 165"/>
                  <a:gd name="T17" fmla="*/ 18 h 81"/>
                  <a:gd name="T18" fmla="*/ 109 w 165"/>
                  <a:gd name="T19" fmla="*/ 0 h 81"/>
                  <a:gd name="T20" fmla="*/ 111 w 165"/>
                  <a:gd name="T21" fmla="*/ 0 h 81"/>
                  <a:gd name="T22" fmla="*/ 164 w 165"/>
                  <a:gd name="T23" fmla="*/ 31 h 81"/>
                  <a:gd name="T24" fmla="*/ 165 w 165"/>
                  <a:gd name="T25" fmla="*/ 33 h 81"/>
                  <a:gd name="T26" fmla="*/ 164 w 165"/>
                  <a:gd name="T27" fmla="*/ 34 h 81"/>
                  <a:gd name="T28" fmla="*/ 85 w 165"/>
                  <a:gd name="T29" fmla="*/ 80 h 81"/>
                  <a:gd name="T30" fmla="*/ 84 w 165"/>
                  <a:gd name="T31" fmla="*/ 81 h 81"/>
                  <a:gd name="T32" fmla="*/ 6 w 165"/>
                  <a:gd name="T33" fmla="*/ 30 h 81"/>
                  <a:gd name="T34" fmla="*/ 84 w 165"/>
                  <a:gd name="T35" fmla="*/ 76 h 81"/>
                  <a:gd name="T36" fmla="*/ 159 w 165"/>
                  <a:gd name="T37" fmla="*/ 33 h 81"/>
                  <a:gd name="T38" fmla="*/ 110 w 165"/>
                  <a:gd name="T39" fmla="*/ 4 h 81"/>
                  <a:gd name="T40" fmla="*/ 79 w 165"/>
                  <a:gd name="T41" fmla="*/ 22 h 81"/>
                  <a:gd name="T42" fmla="*/ 77 w 165"/>
                  <a:gd name="T43" fmla="*/ 22 h 81"/>
                  <a:gd name="T44" fmla="*/ 49 w 165"/>
                  <a:gd name="T45" fmla="*/ 5 h 81"/>
                  <a:gd name="T46" fmla="*/ 6 w 165"/>
                  <a:gd name="T47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5" h="81">
                    <a:moveTo>
                      <a:pt x="84" y="81"/>
                    </a:moveTo>
                    <a:cubicBezTo>
                      <a:pt x="83" y="81"/>
                      <a:pt x="83" y="81"/>
                      <a:pt x="83" y="80"/>
                    </a:cubicBezTo>
                    <a:cubicBezTo>
                      <a:pt x="82" y="80"/>
                      <a:pt x="82" y="79"/>
                      <a:pt x="82" y="79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9" y="1"/>
                      <a:pt x="49" y="1"/>
                      <a:pt x="50" y="1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110" y="0"/>
                      <a:pt x="111" y="0"/>
                    </a:cubicBezTo>
                    <a:cubicBezTo>
                      <a:pt x="164" y="31"/>
                      <a:pt x="164" y="31"/>
                      <a:pt x="164" y="31"/>
                    </a:cubicBezTo>
                    <a:cubicBezTo>
                      <a:pt x="165" y="31"/>
                      <a:pt x="165" y="32"/>
                      <a:pt x="165" y="33"/>
                    </a:cubicBezTo>
                    <a:cubicBezTo>
                      <a:pt x="165" y="33"/>
                      <a:pt x="165" y="34"/>
                      <a:pt x="164" y="34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81"/>
                      <a:pt x="84" y="81"/>
                      <a:pt x="84" y="81"/>
                    </a:cubicBezTo>
                    <a:close/>
                    <a:moveTo>
                      <a:pt x="6" y="30"/>
                    </a:moveTo>
                    <a:cubicBezTo>
                      <a:pt x="84" y="76"/>
                      <a:pt x="84" y="76"/>
                      <a:pt x="84" y="76"/>
                    </a:cubicBezTo>
                    <a:cubicBezTo>
                      <a:pt x="159" y="33"/>
                      <a:pt x="159" y="33"/>
                      <a:pt x="159" y="33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78" y="22"/>
                      <a:pt x="78" y="22"/>
                      <a:pt x="77" y="22"/>
                    </a:cubicBezTo>
                    <a:cubicBezTo>
                      <a:pt x="49" y="5"/>
                      <a:pt x="49" y="5"/>
                      <a:pt x="49" y="5"/>
                    </a:cubicBezTo>
                    <a:lnTo>
                      <a:pt x="6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 1000">
                <a:extLst>
                  <a:ext uri="{FF2B5EF4-FFF2-40B4-BE49-F238E27FC236}">
                    <a16:creationId xmlns:a16="http://schemas.microsoft.com/office/drawing/2014/main" id="{50CB92C4-DDE5-47CB-96AE-1BC7992515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16" y="775"/>
                <a:ext cx="178" cy="319"/>
              </a:xfrm>
              <a:custGeom>
                <a:avLst/>
                <a:gdLst>
                  <a:gd name="T0" fmla="*/ 72 w 75"/>
                  <a:gd name="T1" fmla="*/ 135 h 135"/>
                  <a:gd name="T2" fmla="*/ 71 w 75"/>
                  <a:gd name="T3" fmla="*/ 135 h 135"/>
                  <a:gd name="T4" fmla="*/ 7 w 75"/>
                  <a:gd name="T5" fmla="*/ 98 h 135"/>
                  <a:gd name="T6" fmla="*/ 3 w 75"/>
                  <a:gd name="T7" fmla="*/ 101 h 135"/>
                  <a:gd name="T8" fmla="*/ 1 w 75"/>
                  <a:gd name="T9" fmla="*/ 101 h 135"/>
                  <a:gd name="T10" fmla="*/ 0 w 75"/>
                  <a:gd name="T11" fmla="*/ 99 h 135"/>
                  <a:gd name="T12" fmla="*/ 0 w 75"/>
                  <a:gd name="T13" fmla="*/ 24 h 135"/>
                  <a:gd name="T14" fmla="*/ 1 w 75"/>
                  <a:gd name="T15" fmla="*/ 22 h 135"/>
                  <a:gd name="T16" fmla="*/ 5 w 75"/>
                  <a:gd name="T17" fmla="*/ 20 h 135"/>
                  <a:gd name="T18" fmla="*/ 1 w 75"/>
                  <a:gd name="T19" fmla="*/ 18 h 135"/>
                  <a:gd name="T20" fmla="*/ 0 w 75"/>
                  <a:gd name="T21" fmla="*/ 16 h 135"/>
                  <a:gd name="T22" fmla="*/ 0 w 75"/>
                  <a:gd name="T23" fmla="*/ 7 h 135"/>
                  <a:gd name="T24" fmla="*/ 1 w 75"/>
                  <a:gd name="T25" fmla="*/ 6 h 135"/>
                  <a:gd name="T26" fmla="*/ 10 w 75"/>
                  <a:gd name="T27" fmla="*/ 0 h 135"/>
                  <a:gd name="T28" fmla="*/ 12 w 75"/>
                  <a:gd name="T29" fmla="*/ 0 h 135"/>
                  <a:gd name="T30" fmla="*/ 13 w 75"/>
                  <a:gd name="T31" fmla="*/ 2 h 135"/>
                  <a:gd name="T32" fmla="*/ 13 w 75"/>
                  <a:gd name="T33" fmla="*/ 95 h 135"/>
                  <a:gd name="T34" fmla="*/ 74 w 75"/>
                  <a:gd name="T35" fmla="*/ 131 h 135"/>
                  <a:gd name="T36" fmla="*/ 75 w 75"/>
                  <a:gd name="T37" fmla="*/ 132 h 135"/>
                  <a:gd name="T38" fmla="*/ 74 w 75"/>
                  <a:gd name="T39" fmla="*/ 134 h 135"/>
                  <a:gd name="T40" fmla="*/ 73 w 75"/>
                  <a:gd name="T41" fmla="*/ 135 h 135"/>
                  <a:gd name="T42" fmla="*/ 72 w 75"/>
                  <a:gd name="T43" fmla="*/ 135 h 135"/>
                  <a:gd name="T44" fmla="*/ 4 w 75"/>
                  <a:gd name="T45" fmla="*/ 25 h 135"/>
                  <a:gd name="T46" fmla="*/ 4 w 75"/>
                  <a:gd name="T47" fmla="*/ 96 h 135"/>
                  <a:gd name="T48" fmla="*/ 6 w 75"/>
                  <a:gd name="T49" fmla="*/ 94 h 135"/>
                  <a:gd name="T50" fmla="*/ 8 w 75"/>
                  <a:gd name="T51" fmla="*/ 94 h 135"/>
                  <a:gd name="T52" fmla="*/ 9 w 75"/>
                  <a:gd name="T53" fmla="*/ 95 h 135"/>
                  <a:gd name="T54" fmla="*/ 9 w 75"/>
                  <a:gd name="T55" fmla="*/ 22 h 135"/>
                  <a:gd name="T56" fmla="*/ 4 w 75"/>
                  <a:gd name="T57" fmla="*/ 25 h 135"/>
                  <a:gd name="T58" fmla="*/ 4 w 75"/>
                  <a:gd name="T59" fmla="*/ 15 h 135"/>
                  <a:gd name="T60" fmla="*/ 9 w 75"/>
                  <a:gd name="T61" fmla="*/ 18 h 135"/>
                  <a:gd name="T62" fmla="*/ 9 w 75"/>
                  <a:gd name="T63" fmla="*/ 6 h 135"/>
                  <a:gd name="T64" fmla="*/ 4 w 75"/>
                  <a:gd name="T65" fmla="*/ 9 h 135"/>
                  <a:gd name="T66" fmla="*/ 4 w 75"/>
                  <a:gd name="T67" fmla="*/ 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35">
                    <a:moveTo>
                      <a:pt x="72" y="135"/>
                    </a:moveTo>
                    <a:cubicBezTo>
                      <a:pt x="71" y="135"/>
                      <a:pt x="71" y="135"/>
                      <a:pt x="71" y="13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3" y="101"/>
                      <a:pt x="3" y="101"/>
                      <a:pt x="3" y="101"/>
                    </a:cubicBezTo>
                    <a:cubicBezTo>
                      <a:pt x="2" y="101"/>
                      <a:pt x="2" y="101"/>
                      <a:pt x="1" y="101"/>
                    </a:cubicBezTo>
                    <a:cubicBezTo>
                      <a:pt x="0" y="100"/>
                      <a:pt x="0" y="100"/>
                      <a:pt x="0" y="9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3" y="1"/>
                      <a:pt x="13" y="1"/>
                      <a:pt x="13" y="2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74" y="131"/>
                      <a:pt x="74" y="131"/>
                      <a:pt x="74" y="131"/>
                    </a:cubicBezTo>
                    <a:cubicBezTo>
                      <a:pt x="75" y="131"/>
                      <a:pt x="75" y="132"/>
                      <a:pt x="75" y="132"/>
                    </a:cubicBezTo>
                    <a:cubicBezTo>
                      <a:pt x="75" y="133"/>
                      <a:pt x="75" y="134"/>
                      <a:pt x="74" y="134"/>
                    </a:cubicBezTo>
                    <a:cubicBezTo>
                      <a:pt x="73" y="135"/>
                      <a:pt x="73" y="135"/>
                      <a:pt x="73" y="135"/>
                    </a:cubicBezTo>
                    <a:cubicBezTo>
                      <a:pt x="72" y="135"/>
                      <a:pt x="72" y="135"/>
                      <a:pt x="72" y="135"/>
                    </a:cubicBezTo>
                    <a:close/>
                    <a:moveTo>
                      <a:pt x="4" y="25"/>
                    </a:moveTo>
                    <a:cubicBezTo>
                      <a:pt x="4" y="96"/>
                      <a:pt x="4" y="96"/>
                      <a:pt x="4" y="96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7" y="94"/>
                      <a:pt x="8" y="94"/>
                      <a:pt x="8" y="94"/>
                    </a:cubicBezTo>
                    <a:cubicBezTo>
                      <a:pt x="9" y="95"/>
                      <a:pt x="9" y="95"/>
                      <a:pt x="9" y="95"/>
                    </a:cubicBezTo>
                    <a:cubicBezTo>
                      <a:pt x="9" y="22"/>
                      <a:pt x="9" y="22"/>
                      <a:pt x="9" y="22"/>
                    </a:cubicBezTo>
                    <a:lnTo>
                      <a:pt x="4" y="25"/>
                    </a:lnTo>
                    <a:close/>
                    <a:moveTo>
                      <a:pt x="4" y="15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 1001">
                <a:extLst>
                  <a:ext uri="{FF2B5EF4-FFF2-40B4-BE49-F238E27FC236}">
                    <a16:creationId xmlns:a16="http://schemas.microsoft.com/office/drawing/2014/main" id="{36E66430-1783-4EFB-A8AF-15D8F814E2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16" y="494"/>
                <a:ext cx="260" cy="300"/>
              </a:xfrm>
              <a:custGeom>
                <a:avLst/>
                <a:gdLst>
                  <a:gd name="T0" fmla="*/ 2 w 110"/>
                  <a:gd name="T1" fmla="*/ 127 h 127"/>
                  <a:gd name="T2" fmla="*/ 1 w 110"/>
                  <a:gd name="T3" fmla="*/ 126 h 127"/>
                  <a:gd name="T4" fmla="*/ 0 w 110"/>
                  <a:gd name="T5" fmla="*/ 125 h 127"/>
                  <a:gd name="T6" fmla="*/ 0 w 110"/>
                  <a:gd name="T7" fmla="*/ 2 h 127"/>
                  <a:gd name="T8" fmla="*/ 1 w 110"/>
                  <a:gd name="T9" fmla="*/ 0 h 127"/>
                  <a:gd name="T10" fmla="*/ 3 w 110"/>
                  <a:gd name="T11" fmla="*/ 0 h 127"/>
                  <a:gd name="T12" fmla="*/ 109 w 110"/>
                  <a:gd name="T13" fmla="*/ 61 h 127"/>
                  <a:gd name="T14" fmla="*/ 110 w 110"/>
                  <a:gd name="T15" fmla="*/ 63 h 127"/>
                  <a:gd name="T16" fmla="*/ 109 w 110"/>
                  <a:gd name="T17" fmla="*/ 65 h 127"/>
                  <a:gd name="T18" fmla="*/ 62 w 110"/>
                  <a:gd name="T19" fmla="*/ 92 h 127"/>
                  <a:gd name="T20" fmla="*/ 60 w 110"/>
                  <a:gd name="T21" fmla="*/ 92 h 127"/>
                  <a:gd name="T22" fmla="*/ 13 w 110"/>
                  <a:gd name="T23" fmla="*/ 65 h 127"/>
                  <a:gd name="T24" fmla="*/ 13 w 110"/>
                  <a:gd name="T25" fmla="*/ 119 h 127"/>
                  <a:gd name="T26" fmla="*/ 12 w 110"/>
                  <a:gd name="T27" fmla="*/ 121 h 127"/>
                  <a:gd name="T28" fmla="*/ 3 w 110"/>
                  <a:gd name="T29" fmla="*/ 126 h 127"/>
                  <a:gd name="T30" fmla="*/ 2 w 110"/>
                  <a:gd name="T31" fmla="*/ 127 h 127"/>
                  <a:gd name="T32" fmla="*/ 4 w 110"/>
                  <a:gd name="T33" fmla="*/ 5 h 127"/>
                  <a:gd name="T34" fmla="*/ 4 w 110"/>
                  <a:gd name="T35" fmla="*/ 121 h 127"/>
                  <a:gd name="T36" fmla="*/ 9 w 110"/>
                  <a:gd name="T37" fmla="*/ 118 h 127"/>
                  <a:gd name="T38" fmla="*/ 9 w 110"/>
                  <a:gd name="T39" fmla="*/ 61 h 127"/>
                  <a:gd name="T40" fmla="*/ 10 w 110"/>
                  <a:gd name="T41" fmla="*/ 60 h 127"/>
                  <a:gd name="T42" fmla="*/ 12 w 110"/>
                  <a:gd name="T43" fmla="*/ 60 h 127"/>
                  <a:gd name="T44" fmla="*/ 61 w 110"/>
                  <a:gd name="T45" fmla="*/ 88 h 127"/>
                  <a:gd name="T46" fmla="*/ 104 w 110"/>
                  <a:gd name="T47" fmla="*/ 63 h 127"/>
                  <a:gd name="T48" fmla="*/ 4 w 110"/>
                  <a:gd name="T49" fmla="*/ 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0" h="127">
                    <a:moveTo>
                      <a:pt x="2" y="127"/>
                    </a:moveTo>
                    <a:cubicBezTo>
                      <a:pt x="2" y="127"/>
                      <a:pt x="1" y="126"/>
                      <a:pt x="1" y="126"/>
                    </a:cubicBezTo>
                    <a:cubicBezTo>
                      <a:pt x="0" y="126"/>
                      <a:pt x="0" y="125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09" y="61"/>
                      <a:pt x="109" y="61"/>
                      <a:pt x="109" y="61"/>
                    </a:cubicBezTo>
                    <a:cubicBezTo>
                      <a:pt x="110" y="62"/>
                      <a:pt x="110" y="62"/>
                      <a:pt x="110" y="63"/>
                    </a:cubicBezTo>
                    <a:cubicBezTo>
                      <a:pt x="110" y="64"/>
                      <a:pt x="110" y="65"/>
                      <a:pt x="109" y="65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61" y="92"/>
                      <a:pt x="61" y="92"/>
                      <a:pt x="60" y="92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119"/>
                      <a:pt x="13" y="119"/>
                      <a:pt x="13" y="119"/>
                    </a:cubicBezTo>
                    <a:cubicBezTo>
                      <a:pt x="13" y="120"/>
                      <a:pt x="13" y="121"/>
                      <a:pt x="12" y="121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3" y="126"/>
                      <a:pt x="2" y="127"/>
                      <a:pt x="2" y="127"/>
                    </a:cubicBezTo>
                    <a:close/>
                    <a:moveTo>
                      <a:pt x="4" y="5"/>
                    </a:moveTo>
                    <a:cubicBezTo>
                      <a:pt x="4" y="121"/>
                      <a:pt x="4" y="121"/>
                      <a:pt x="4" y="121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1"/>
                      <a:pt x="9" y="60"/>
                      <a:pt x="10" y="60"/>
                    </a:cubicBezTo>
                    <a:cubicBezTo>
                      <a:pt x="11" y="59"/>
                      <a:pt x="11" y="59"/>
                      <a:pt x="12" y="60"/>
                    </a:cubicBezTo>
                    <a:cubicBezTo>
                      <a:pt x="61" y="88"/>
                      <a:pt x="61" y="88"/>
                      <a:pt x="61" y="88"/>
                    </a:cubicBezTo>
                    <a:cubicBezTo>
                      <a:pt x="104" y="63"/>
                      <a:pt x="104" y="63"/>
                      <a:pt x="104" y="63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eform 1002">
                <a:extLst>
                  <a:ext uri="{FF2B5EF4-FFF2-40B4-BE49-F238E27FC236}">
                    <a16:creationId xmlns:a16="http://schemas.microsoft.com/office/drawing/2014/main" id="{1CA82765-6E76-4DAA-AE80-F65DC29E23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50" y="697"/>
                <a:ext cx="33" cy="35"/>
              </a:xfrm>
              <a:custGeom>
                <a:avLst/>
                <a:gdLst>
                  <a:gd name="T0" fmla="*/ 12 w 14"/>
                  <a:gd name="T1" fmla="*/ 15 h 15"/>
                  <a:gd name="T2" fmla="*/ 11 w 14"/>
                  <a:gd name="T3" fmla="*/ 15 h 15"/>
                  <a:gd name="T4" fmla="*/ 1 w 14"/>
                  <a:gd name="T5" fmla="*/ 9 h 15"/>
                  <a:gd name="T6" fmla="*/ 0 w 14"/>
                  <a:gd name="T7" fmla="*/ 8 h 15"/>
                  <a:gd name="T8" fmla="*/ 1 w 14"/>
                  <a:gd name="T9" fmla="*/ 6 h 15"/>
                  <a:gd name="T10" fmla="*/ 11 w 14"/>
                  <a:gd name="T11" fmla="*/ 0 h 15"/>
                  <a:gd name="T12" fmla="*/ 13 w 14"/>
                  <a:gd name="T13" fmla="*/ 0 h 15"/>
                  <a:gd name="T14" fmla="*/ 14 w 14"/>
                  <a:gd name="T15" fmla="*/ 2 h 15"/>
                  <a:gd name="T16" fmla="*/ 14 w 14"/>
                  <a:gd name="T17" fmla="*/ 13 h 15"/>
                  <a:gd name="T18" fmla="*/ 13 w 14"/>
                  <a:gd name="T19" fmla="*/ 15 h 15"/>
                  <a:gd name="T20" fmla="*/ 12 w 14"/>
                  <a:gd name="T21" fmla="*/ 15 h 15"/>
                  <a:gd name="T22" fmla="*/ 6 w 14"/>
                  <a:gd name="T23" fmla="*/ 8 h 15"/>
                  <a:gd name="T24" fmla="*/ 10 w 14"/>
                  <a:gd name="T25" fmla="*/ 10 h 15"/>
                  <a:gd name="T26" fmla="*/ 10 w 14"/>
                  <a:gd name="T27" fmla="*/ 5 h 15"/>
                  <a:gd name="T28" fmla="*/ 6 w 14"/>
                  <a:gd name="T2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12" y="15"/>
                    </a:moveTo>
                    <a:cubicBezTo>
                      <a:pt x="11" y="15"/>
                      <a:pt x="11" y="15"/>
                      <a:pt x="11" y="15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9"/>
                      <a:pt x="0" y="8"/>
                      <a:pt x="0" y="8"/>
                    </a:cubicBezTo>
                    <a:cubicBezTo>
                      <a:pt x="0" y="7"/>
                      <a:pt x="0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4"/>
                      <a:pt x="13" y="15"/>
                      <a:pt x="13" y="15"/>
                    </a:cubicBezTo>
                    <a:cubicBezTo>
                      <a:pt x="12" y="15"/>
                      <a:pt x="12" y="15"/>
                      <a:pt x="12" y="15"/>
                    </a:cubicBezTo>
                    <a:close/>
                    <a:moveTo>
                      <a:pt x="6" y="8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5"/>
                      <a:pt x="10" y="5"/>
                      <a:pt x="10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eform 1003">
                <a:extLst>
                  <a:ext uri="{FF2B5EF4-FFF2-40B4-BE49-F238E27FC236}">
                    <a16:creationId xmlns:a16="http://schemas.microsoft.com/office/drawing/2014/main" id="{54C2E06E-9E41-4570-925D-B3C8B088F7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76" y="572"/>
                <a:ext cx="144" cy="113"/>
              </a:xfrm>
              <a:custGeom>
                <a:avLst/>
                <a:gdLst>
                  <a:gd name="T0" fmla="*/ 29 w 61"/>
                  <a:gd name="T1" fmla="*/ 48 h 48"/>
                  <a:gd name="T2" fmla="*/ 28 w 61"/>
                  <a:gd name="T3" fmla="*/ 48 h 48"/>
                  <a:gd name="T4" fmla="*/ 1 w 61"/>
                  <a:gd name="T5" fmla="*/ 32 h 48"/>
                  <a:gd name="T6" fmla="*/ 0 w 61"/>
                  <a:gd name="T7" fmla="*/ 30 h 48"/>
                  <a:gd name="T8" fmla="*/ 1 w 61"/>
                  <a:gd name="T9" fmla="*/ 28 h 48"/>
                  <a:gd name="T10" fmla="*/ 11 w 61"/>
                  <a:gd name="T11" fmla="*/ 22 h 48"/>
                  <a:gd name="T12" fmla="*/ 11 w 61"/>
                  <a:gd name="T13" fmla="*/ 2 h 48"/>
                  <a:gd name="T14" fmla="*/ 12 w 61"/>
                  <a:gd name="T15" fmla="*/ 0 h 48"/>
                  <a:gd name="T16" fmla="*/ 14 w 61"/>
                  <a:gd name="T17" fmla="*/ 0 h 48"/>
                  <a:gd name="T18" fmla="*/ 60 w 61"/>
                  <a:gd name="T19" fmla="*/ 27 h 48"/>
                  <a:gd name="T20" fmla="*/ 61 w 61"/>
                  <a:gd name="T21" fmla="*/ 29 h 48"/>
                  <a:gd name="T22" fmla="*/ 60 w 61"/>
                  <a:gd name="T23" fmla="*/ 30 h 48"/>
                  <a:gd name="T24" fmla="*/ 30 w 61"/>
                  <a:gd name="T25" fmla="*/ 48 h 48"/>
                  <a:gd name="T26" fmla="*/ 29 w 61"/>
                  <a:gd name="T27" fmla="*/ 48 h 48"/>
                  <a:gd name="T28" fmla="*/ 6 w 61"/>
                  <a:gd name="T29" fmla="*/ 30 h 48"/>
                  <a:gd name="T30" fmla="*/ 29 w 61"/>
                  <a:gd name="T31" fmla="*/ 44 h 48"/>
                  <a:gd name="T32" fmla="*/ 55 w 61"/>
                  <a:gd name="T33" fmla="*/ 29 h 48"/>
                  <a:gd name="T34" fmla="*/ 15 w 61"/>
                  <a:gd name="T35" fmla="*/ 6 h 48"/>
                  <a:gd name="T36" fmla="*/ 15 w 61"/>
                  <a:gd name="T37" fmla="*/ 23 h 48"/>
                  <a:gd name="T38" fmla="*/ 14 w 61"/>
                  <a:gd name="T39" fmla="*/ 25 h 48"/>
                  <a:gd name="T40" fmla="*/ 6 w 61"/>
                  <a:gd name="T41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8">
                    <a:moveTo>
                      <a:pt x="29" y="48"/>
                    </a:moveTo>
                    <a:cubicBezTo>
                      <a:pt x="29" y="48"/>
                      <a:pt x="28" y="48"/>
                      <a:pt x="28" y="48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0"/>
                    </a:cubicBezTo>
                    <a:cubicBezTo>
                      <a:pt x="0" y="29"/>
                      <a:pt x="0" y="29"/>
                      <a:pt x="1" y="28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1"/>
                      <a:pt x="12" y="1"/>
                      <a:pt x="12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1" y="27"/>
                      <a:pt x="61" y="28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29" y="48"/>
                      <a:pt x="29" y="48"/>
                    </a:cubicBezTo>
                    <a:close/>
                    <a:moveTo>
                      <a:pt x="6" y="30"/>
                    </a:moveTo>
                    <a:cubicBezTo>
                      <a:pt x="29" y="44"/>
                      <a:pt x="29" y="44"/>
                      <a:pt x="29" y="44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4"/>
                      <a:pt x="15" y="25"/>
                      <a:pt x="14" y="25"/>
                    </a:cubicBezTo>
                    <a:lnTo>
                      <a:pt x="6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eform 1004">
                <a:extLst>
                  <a:ext uri="{FF2B5EF4-FFF2-40B4-BE49-F238E27FC236}">
                    <a16:creationId xmlns:a16="http://schemas.microsoft.com/office/drawing/2014/main" id="{EBB3B91D-3316-4CCC-92C4-58E7CAEC31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18" y="546"/>
                <a:ext cx="165" cy="172"/>
              </a:xfrm>
              <a:custGeom>
                <a:avLst/>
                <a:gdLst>
                  <a:gd name="T0" fmla="*/ 56 w 70"/>
                  <a:gd name="T1" fmla="*/ 73 h 73"/>
                  <a:gd name="T2" fmla="*/ 55 w 70"/>
                  <a:gd name="T3" fmla="*/ 72 h 73"/>
                  <a:gd name="T4" fmla="*/ 1 w 70"/>
                  <a:gd name="T5" fmla="*/ 41 h 73"/>
                  <a:gd name="T6" fmla="*/ 0 w 70"/>
                  <a:gd name="T7" fmla="*/ 40 h 73"/>
                  <a:gd name="T8" fmla="*/ 1 w 70"/>
                  <a:gd name="T9" fmla="*/ 38 h 73"/>
                  <a:gd name="T10" fmla="*/ 67 w 70"/>
                  <a:gd name="T11" fmla="*/ 0 h 73"/>
                  <a:gd name="T12" fmla="*/ 69 w 70"/>
                  <a:gd name="T13" fmla="*/ 0 h 73"/>
                  <a:gd name="T14" fmla="*/ 70 w 70"/>
                  <a:gd name="T15" fmla="*/ 2 h 73"/>
                  <a:gd name="T16" fmla="*/ 70 w 70"/>
                  <a:gd name="T17" fmla="*/ 64 h 73"/>
                  <a:gd name="T18" fmla="*/ 69 w 70"/>
                  <a:gd name="T19" fmla="*/ 66 h 73"/>
                  <a:gd name="T20" fmla="*/ 57 w 70"/>
                  <a:gd name="T21" fmla="*/ 72 h 73"/>
                  <a:gd name="T22" fmla="*/ 56 w 70"/>
                  <a:gd name="T23" fmla="*/ 73 h 73"/>
                  <a:gd name="T24" fmla="*/ 6 w 70"/>
                  <a:gd name="T25" fmla="*/ 40 h 73"/>
                  <a:gd name="T26" fmla="*/ 56 w 70"/>
                  <a:gd name="T27" fmla="*/ 68 h 73"/>
                  <a:gd name="T28" fmla="*/ 66 w 70"/>
                  <a:gd name="T29" fmla="*/ 63 h 73"/>
                  <a:gd name="T30" fmla="*/ 66 w 70"/>
                  <a:gd name="T31" fmla="*/ 5 h 73"/>
                  <a:gd name="T32" fmla="*/ 6 w 70"/>
                  <a:gd name="T33" fmla="*/ 4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" h="73">
                    <a:moveTo>
                      <a:pt x="56" y="73"/>
                    </a:moveTo>
                    <a:cubicBezTo>
                      <a:pt x="56" y="73"/>
                      <a:pt x="55" y="72"/>
                      <a:pt x="55" y="7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40"/>
                    </a:cubicBezTo>
                    <a:cubicBezTo>
                      <a:pt x="0" y="39"/>
                      <a:pt x="1" y="38"/>
                      <a:pt x="1" y="38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68" y="0"/>
                      <a:pt x="69" y="0"/>
                    </a:cubicBezTo>
                    <a:cubicBezTo>
                      <a:pt x="69" y="1"/>
                      <a:pt x="70" y="1"/>
                      <a:pt x="70" y="2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5"/>
                      <a:pt x="69" y="65"/>
                      <a:pt x="69" y="6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7" y="72"/>
                      <a:pt x="56" y="73"/>
                      <a:pt x="56" y="73"/>
                    </a:cubicBezTo>
                    <a:close/>
                    <a:moveTo>
                      <a:pt x="6" y="40"/>
                    </a:moveTo>
                    <a:cubicBezTo>
                      <a:pt x="56" y="68"/>
                      <a:pt x="56" y="68"/>
                      <a:pt x="56" y="68"/>
                    </a:cubicBez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5"/>
                      <a:pt x="66" y="5"/>
                      <a:pt x="66" y="5"/>
                    </a:cubicBezTo>
                    <a:lnTo>
                      <a:pt x="6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eform 1005">
                <a:extLst>
                  <a:ext uri="{FF2B5EF4-FFF2-40B4-BE49-F238E27FC236}">
                    <a16:creationId xmlns:a16="http://schemas.microsoft.com/office/drawing/2014/main" id="{297C09A6-E109-4847-A9BE-9744916A0E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943"/>
                <a:ext cx="229" cy="243"/>
              </a:xfrm>
              <a:custGeom>
                <a:avLst/>
                <a:gdLst>
                  <a:gd name="T0" fmla="*/ 2 w 97"/>
                  <a:gd name="T1" fmla="*/ 103 h 103"/>
                  <a:gd name="T2" fmla="*/ 1 w 97"/>
                  <a:gd name="T3" fmla="*/ 103 h 103"/>
                  <a:gd name="T4" fmla="*/ 0 w 97"/>
                  <a:gd name="T5" fmla="*/ 101 h 103"/>
                  <a:gd name="T6" fmla="*/ 0 w 97"/>
                  <a:gd name="T7" fmla="*/ 22 h 103"/>
                  <a:gd name="T8" fmla="*/ 1 w 97"/>
                  <a:gd name="T9" fmla="*/ 20 h 103"/>
                  <a:gd name="T10" fmla="*/ 35 w 97"/>
                  <a:gd name="T11" fmla="*/ 0 h 103"/>
                  <a:gd name="T12" fmla="*/ 37 w 97"/>
                  <a:gd name="T13" fmla="*/ 0 h 103"/>
                  <a:gd name="T14" fmla="*/ 96 w 97"/>
                  <a:gd name="T15" fmla="*/ 34 h 103"/>
                  <a:gd name="T16" fmla="*/ 97 w 97"/>
                  <a:gd name="T17" fmla="*/ 36 h 103"/>
                  <a:gd name="T18" fmla="*/ 97 w 97"/>
                  <a:gd name="T19" fmla="*/ 48 h 103"/>
                  <a:gd name="T20" fmla="*/ 96 w 97"/>
                  <a:gd name="T21" fmla="*/ 49 h 103"/>
                  <a:gd name="T22" fmla="*/ 3 w 97"/>
                  <a:gd name="T23" fmla="*/ 103 h 103"/>
                  <a:gd name="T24" fmla="*/ 2 w 97"/>
                  <a:gd name="T25" fmla="*/ 103 h 103"/>
                  <a:gd name="T26" fmla="*/ 4 w 97"/>
                  <a:gd name="T27" fmla="*/ 23 h 103"/>
                  <a:gd name="T28" fmla="*/ 4 w 97"/>
                  <a:gd name="T29" fmla="*/ 98 h 103"/>
                  <a:gd name="T30" fmla="*/ 93 w 97"/>
                  <a:gd name="T31" fmla="*/ 46 h 103"/>
                  <a:gd name="T32" fmla="*/ 93 w 97"/>
                  <a:gd name="T33" fmla="*/ 37 h 103"/>
                  <a:gd name="T34" fmla="*/ 36 w 97"/>
                  <a:gd name="T35" fmla="*/ 4 h 103"/>
                  <a:gd name="T36" fmla="*/ 4 w 97"/>
                  <a:gd name="T37" fmla="*/ 2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103">
                    <a:moveTo>
                      <a:pt x="2" y="103"/>
                    </a:moveTo>
                    <a:cubicBezTo>
                      <a:pt x="1" y="103"/>
                      <a:pt x="1" y="103"/>
                      <a:pt x="1" y="103"/>
                    </a:cubicBezTo>
                    <a:cubicBezTo>
                      <a:pt x="0" y="103"/>
                      <a:pt x="0" y="102"/>
                      <a:pt x="0" y="10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1"/>
                      <a:pt x="0" y="21"/>
                      <a:pt x="1" y="2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0"/>
                      <a:pt x="37" y="0"/>
                      <a:pt x="37" y="0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6" y="35"/>
                      <a:pt x="97" y="35"/>
                      <a:pt x="97" y="36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97" y="48"/>
                      <a:pt x="96" y="49"/>
                      <a:pt x="96" y="49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2" y="103"/>
                      <a:pt x="2" y="103"/>
                      <a:pt x="2" y="103"/>
                    </a:cubicBezTo>
                    <a:close/>
                    <a:moveTo>
                      <a:pt x="4" y="23"/>
                    </a:moveTo>
                    <a:cubicBezTo>
                      <a:pt x="4" y="98"/>
                      <a:pt x="4" y="98"/>
                      <a:pt x="4" y="98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93" y="37"/>
                      <a:pt x="93" y="37"/>
                      <a:pt x="93" y="37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4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Freeform 1006">
                <a:extLst>
                  <a:ext uri="{FF2B5EF4-FFF2-40B4-BE49-F238E27FC236}">
                    <a16:creationId xmlns:a16="http://schemas.microsoft.com/office/drawing/2014/main" id="{5AEDF162-7AA7-4AC3-9496-CE76D30CF2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711"/>
                <a:ext cx="229" cy="317"/>
              </a:xfrm>
              <a:custGeom>
                <a:avLst/>
                <a:gdLst>
                  <a:gd name="T0" fmla="*/ 95 w 97"/>
                  <a:gd name="T1" fmla="*/ 134 h 134"/>
                  <a:gd name="T2" fmla="*/ 94 w 97"/>
                  <a:gd name="T3" fmla="*/ 134 h 134"/>
                  <a:gd name="T4" fmla="*/ 36 w 97"/>
                  <a:gd name="T5" fmla="*/ 100 h 134"/>
                  <a:gd name="T6" fmla="*/ 3 w 97"/>
                  <a:gd name="T7" fmla="*/ 120 h 134"/>
                  <a:gd name="T8" fmla="*/ 1 w 97"/>
                  <a:gd name="T9" fmla="*/ 120 h 134"/>
                  <a:gd name="T10" fmla="*/ 0 w 97"/>
                  <a:gd name="T11" fmla="*/ 118 h 134"/>
                  <a:gd name="T12" fmla="*/ 0 w 97"/>
                  <a:gd name="T13" fmla="*/ 50 h 134"/>
                  <a:gd name="T14" fmla="*/ 1 w 97"/>
                  <a:gd name="T15" fmla="*/ 48 h 134"/>
                  <a:gd name="T16" fmla="*/ 82 w 97"/>
                  <a:gd name="T17" fmla="*/ 1 h 134"/>
                  <a:gd name="T18" fmla="*/ 84 w 97"/>
                  <a:gd name="T19" fmla="*/ 1 h 134"/>
                  <a:gd name="T20" fmla="*/ 96 w 97"/>
                  <a:gd name="T21" fmla="*/ 8 h 134"/>
                  <a:gd name="T22" fmla="*/ 97 w 97"/>
                  <a:gd name="T23" fmla="*/ 9 h 134"/>
                  <a:gd name="T24" fmla="*/ 97 w 97"/>
                  <a:gd name="T25" fmla="*/ 132 h 134"/>
                  <a:gd name="T26" fmla="*/ 96 w 97"/>
                  <a:gd name="T27" fmla="*/ 134 h 134"/>
                  <a:gd name="T28" fmla="*/ 95 w 97"/>
                  <a:gd name="T29" fmla="*/ 134 h 134"/>
                  <a:gd name="T30" fmla="*/ 36 w 97"/>
                  <a:gd name="T31" fmla="*/ 96 h 134"/>
                  <a:gd name="T32" fmla="*/ 37 w 97"/>
                  <a:gd name="T33" fmla="*/ 96 h 134"/>
                  <a:gd name="T34" fmla="*/ 93 w 97"/>
                  <a:gd name="T35" fmla="*/ 129 h 134"/>
                  <a:gd name="T36" fmla="*/ 93 w 97"/>
                  <a:gd name="T37" fmla="*/ 10 h 134"/>
                  <a:gd name="T38" fmla="*/ 83 w 97"/>
                  <a:gd name="T39" fmla="*/ 5 h 134"/>
                  <a:gd name="T40" fmla="*/ 4 w 97"/>
                  <a:gd name="T41" fmla="*/ 51 h 134"/>
                  <a:gd name="T42" fmla="*/ 4 w 97"/>
                  <a:gd name="T43" fmla="*/ 115 h 134"/>
                  <a:gd name="T44" fmla="*/ 35 w 97"/>
                  <a:gd name="T45" fmla="*/ 96 h 134"/>
                  <a:gd name="T46" fmla="*/ 36 w 97"/>
                  <a:gd name="T47" fmla="*/ 9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7" h="134">
                    <a:moveTo>
                      <a:pt x="95" y="134"/>
                    </a:moveTo>
                    <a:cubicBezTo>
                      <a:pt x="94" y="134"/>
                      <a:pt x="94" y="134"/>
                      <a:pt x="94" y="134"/>
                    </a:cubicBezTo>
                    <a:cubicBezTo>
                      <a:pt x="36" y="100"/>
                      <a:pt x="36" y="100"/>
                      <a:pt x="36" y="10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2" y="120"/>
                      <a:pt x="1" y="120"/>
                      <a:pt x="1" y="120"/>
                    </a:cubicBezTo>
                    <a:cubicBezTo>
                      <a:pt x="0" y="119"/>
                      <a:pt x="0" y="119"/>
                      <a:pt x="0" y="118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49"/>
                      <a:pt x="0" y="48"/>
                      <a:pt x="1" y="48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3" y="0"/>
                      <a:pt x="83" y="0"/>
                      <a:pt x="84" y="1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97" y="9"/>
                      <a:pt x="97" y="9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7" y="133"/>
                      <a:pt x="96" y="133"/>
                      <a:pt x="96" y="134"/>
                    </a:cubicBezTo>
                    <a:cubicBezTo>
                      <a:pt x="95" y="134"/>
                      <a:pt x="95" y="134"/>
                      <a:pt x="95" y="134"/>
                    </a:cubicBezTo>
                    <a:close/>
                    <a:moveTo>
                      <a:pt x="36" y="96"/>
                    </a:moveTo>
                    <a:cubicBezTo>
                      <a:pt x="36" y="96"/>
                      <a:pt x="37" y="96"/>
                      <a:pt x="37" y="96"/>
                    </a:cubicBezTo>
                    <a:cubicBezTo>
                      <a:pt x="93" y="129"/>
                      <a:pt x="93" y="129"/>
                      <a:pt x="93" y="12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35" y="96"/>
                      <a:pt x="36" y="96"/>
                      <a:pt x="3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1007">
                <a:extLst>
                  <a:ext uri="{FF2B5EF4-FFF2-40B4-BE49-F238E27FC236}">
                    <a16:creationId xmlns:a16="http://schemas.microsoft.com/office/drawing/2014/main" id="{4ABE3822-A4D9-43DC-AF53-72789646C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" y="813"/>
                <a:ext cx="19" cy="19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2 h 8"/>
                  <a:gd name="T8" fmla="*/ 1 w 8"/>
                  <a:gd name="T9" fmla="*/ 0 h 8"/>
                  <a:gd name="T10" fmla="*/ 3 w 8"/>
                  <a:gd name="T11" fmla="*/ 0 h 8"/>
                  <a:gd name="T12" fmla="*/ 7 w 8"/>
                  <a:gd name="T13" fmla="*/ 2 h 8"/>
                  <a:gd name="T14" fmla="*/ 8 w 8"/>
                  <a:gd name="T15" fmla="*/ 4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5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1008">
                <a:extLst>
                  <a:ext uri="{FF2B5EF4-FFF2-40B4-BE49-F238E27FC236}">
                    <a16:creationId xmlns:a16="http://schemas.microsoft.com/office/drawing/2014/main" id="{09DC017F-1913-4682-A88F-6AEC54758B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31" y="1280"/>
                <a:ext cx="252" cy="400"/>
              </a:xfrm>
              <a:custGeom>
                <a:avLst/>
                <a:gdLst>
                  <a:gd name="T0" fmla="*/ 36 w 107"/>
                  <a:gd name="T1" fmla="*/ 169 h 169"/>
                  <a:gd name="T2" fmla="*/ 35 w 107"/>
                  <a:gd name="T3" fmla="*/ 169 h 169"/>
                  <a:gd name="T4" fmla="*/ 16 w 107"/>
                  <a:gd name="T5" fmla="*/ 158 h 169"/>
                  <a:gd name="T6" fmla="*/ 15 w 107"/>
                  <a:gd name="T7" fmla="*/ 156 h 169"/>
                  <a:gd name="T8" fmla="*/ 16 w 107"/>
                  <a:gd name="T9" fmla="*/ 154 h 169"/>
                  <a:gd name="T10" fmla="*/ 26 w 107"/>
                  <a:gd name="T11" fmla="*/ 149 h 169"/>
                  <a:gd name="T12" fmla="*/ 1 w 107"/>
                  <a:gd name="T13" fmla="*/ 135 h 169"/>
                  <a:gd name="T14" fmla="*/ 0 w 107"/>
                  <a:gd name="T15" fmla="*/ 133 h 169"/>
                  <a:gd name="T16" fmla="*/ 0 w 107"/>
                  <a:gd name="T17" fmla="*/ 2 h 169"/>
                  <a:gd name="T18" fmla="*/ 1 w 107"/>
                  <a:gd name="T19" fmla="*/ 0 h 169"/>
                  <a:gd name="T20" fmla="*/ 3 w 107"/>
                  <a:gd name="T21" fmla="*/ 0 h 169"/>
                  <a:gd name="T22" fmla="*/ 106 w 107"/>
                  <a:gd name="T23" fmla="*/ 60 h 169"/>
                  <a:gd name="T24" fmla="*/ 107 w 107"/>
                  <a:gd name="T25" fmla="*/ 62 h 169"/>
                  <a:gd name="T26" fmla="*/ 107 w 107"/>
                  <a:gd name="T27" fmla="*/ 119 h 169"/>
                  <a:gd name="T28" fmla="*/ 106 w 107"/>
                  <a:gd name="T29" fmla="*/ 120 h 169"/>
                  <a:gd name="T30" fmla="*/ 45 w 107"/>
                  <a:gd name="T31" fmla="*/ 156 h 169"/>
                  <a:gd name="T32" fmla="*/ 49 w 107"/>
                  <a:gd name="T33" fmla="*/ 158 h 169"/>
                  <a:gd name="T34" fmla="*/ 50 w 107"/>
                  <a:gd name="T35" fmla="*/ 160 h 169"/>
                  <a:gd name="T36" fmla="*/ 49 w 107"/>
                  <a:gd name="T37" fmla="*/ 162 h 169"/>
                  <a:gd name="T38" fmla="*/ 37 w 107"/>
                  <a:gd name="T39" fmla="*/ 169 h 169"/>
                  <a:gd name="T40" fmla="*/ 36 w 107"/>
                  <a:gd name="T41" fmla="*/ 169 h 169"/>
                  <a:gd name="T42" fmla="*/ 21 w 107"/>
                  <a:gd name="T43" fmla="*/ 156 h 169"/>
                  <a:gd name="T44" fmla="*/ 36 w 107"/>
                  <a:gd name="T45" fmla="*/ 164 h 169"/>
                  <a:gd name="T46" fmla="*/ 44 w 107"/>
                  <a:gd name="T47" fmla="*/ 160 h 169"/>
                  <a:gd name="T48" fmla="*/ 40 w 107"/>
                  <a:gd name="T49" fmla="*/ 157 h 169"/>
                  <a:gd name="T50" fmla="*/ 39 w 107"/>
                  <a:gd name="T51" fmla="*/ 156 h 169"/>
                  <a:gd name="T52" fmla="*/ 40 w 107"/>
                  <a:gd name="T53" fmla="*/ 154 h 169"/>
                  <a:gd name="T54" fmla="*/ 103 w 107"/>
                  <a:gd name="T55" fmla="*/ 118 h 169"/>
                  <a:gd name="T56" fmla="*/ 103 w 107"/>
                  <a:gd name="T57" fmla="*/ 63 h 169"/>
                  <a:gd name="T58" fmla="*/ 4 w 107"/>
                  <a:gd name="T59" fmla="*/ 6 h 169"/>
                  <a:gd name="T60" fmla="*/ 4 w 107"/>
                  <a:gd name="T61" fmla="*/ 132 h 169"/>
                  <a:gd name="T62" fmla="*/ 31 w 107"/>
                  <a:gd name="T63" fmla="*/ 147 h 169"/>
                  <a:gd name="T64" fmla="*/ 32 w 107"/>
                  <a:gd name="T65" fmla="*/ 149 h 169"/>
                  <a:gd name="T66" fmla="*/ 31 w 107"/>
                  <a:gd name="T67" fmla="*/ 151 h 169"/>
                  <a:gd name="T68" fmla="*/ 21 w 107"/>
                  <a:gd name="T69" fmla="*/ 156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169">
                    <a:moveTo>
                      <a:pt x="36" y="169"/>
                    </a:moveTo>
                    <a:cubicBezTo>
                      <a:pt x="36" y="169"/>
                      <a:pt x="35" y="169"/>
                      <a:pt x="35" y="16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16" y="157"/>
                      <a:pt x="15" y="157"/>
                      <a:pt x="15" y="156"/>
                    </a:cubicBezTo>
                    <a:cubicBezTo>
                      <a:pt x="15" y="155"/>
                      <a:pt x="16" y="155"/>
                      <a:pt x="16" y="154"/>
                    </a:cubicBezTo>
                    <a:cubicBezTo>
                      <a:pt x="26" y="149"/>
                      <a:pt x="26" y="149"/>
                      <a:pt x="26" y="149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4"/>
                      <a:pt x="0" y="133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06" y="60"/>
                      <a:pt x="106" y="60"/>
                      <a:pt x="106" y="60"/>
                    </a:cubicBezTo>
                    <a:cubicBezTo>
                      <a:pt x="106" y="60"/>
                      <a:pt x="107" y="61"/>
                      <a:pt x="107" y="62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19"/>
                      <a:pt x="106" y="120"/>
                      <a:pt x="106" y="120"/>
                    </a:cubicBezTo>
                    <a:cubicBezTo>
                      <a:pt x="45" y="156"/>
                      <a:pt x="45" y="156"/>
                      <a:pt x="45" y="156"/>
                    </a:cubicBezTo>
                    <a:cubicBezTo>
                      <a:pt x="49" y="158"/>
                      <a:pt x="49" y="158"/>
                      <a:pt x="49" y="158"/>
                    </a:cubicBezTo>
                    <a:cubicBezTo>
                      <a:pt x="50" y="158"/>
                      <a:pt x="50" y="159"/>
                      <a:pt x="50" y="160"/>
                    </a:cubicBezTo>
                    <a:cubicBezTo>
                      <a:pt x="50" y="161"/>
                      <a:pt x="50" y="161"/>
                      <a:pt x="49" y="162"/>
                    </a:cubicBezTo>
                    <a:cubicBezTo>
                      <a:pt x="37" y="169"/>
                      <a:pt x="37" y="169"/>
                      <a:pt x="37" y="169"/>
                    </a:cubicBezTo>
                    <a:cubicBezTo>
                      <a:pt x="37" y="169"/>
                      <a:pt x="36" y="169"/>
                      <a:pt x="36" y="169"/>
                    </a:cubicBezTo>
                    <a:close/>
                    <a:moveTo>
                      <a:pt x="21" y="156"/>
                    </a:moveTo>
                    <a:cubicBezTo>
                      <a:pt x="36" y="164"/>
                      <a:pt x="36" y="164"/>
                      <a:pt x="36" y="164"/>
                    </a:cubicBezTo>
                    <a:cubicBezTo>
                      <a:pt x="44" y="160"/>
                      <a:pt x="44" y="160"/>
                      <a:pt x="44" y="160"/>
                    </a:cubicBezTo>
                    <a:cubicBezTo>
                      <a:pt x="40" y="157"/>
                      <a:pt x="40" y="157"/>
                      <a:pt x="40" y="157"/>
                    </a:cubicBezTo>
                    <a:cubicBezTo>
                      <a:pt x="39" y="157"/>
                      <a:pt x="39" y="156"/>
                      <a:pt x="39" y="156"/>
                    </a:cubicBezTo>
                    <a:cubicBezTo>
                      <a:pt x="39" y="155"/>
                      <a:pt x="39" y="154"/>
                      <a:pt x="40" y="154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3" y="63"/>
                      <a:pt x="103" y="63"/>
                      <a:pt x="103" y="6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31" y="147"/>
                      <a:pt x="31" y="147"/>
                      <a:pt x="31" y="147"/>
                    </a:cubicBezTo>
                    <a:cubicBezTo>
                      <a:pt x="31" y="148"/>
                      <a:pt x="32" y="148"/>
                      <a:pt x="32" y="149"/>
                    </a:cubicBezTo>
                    <a:cubicBezTo>
                      <a:pt x="32" y="150"/>
                      <a:pt x="31" y="150"/>
                      <a:pt x="31" y="151"/>
                    </a:cubicBezTo>
                    <a:lnTo>
                      <a:pt x="21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 1009">
                <a:extLst>
                  <a:ext uri="{FF2B5EF4-FFF2-40B4-BE49-F238E27FC236}">
                    <a16:creationId xmlns:a16="http://schemas.microsoft.com/office/drawing/2014/main" id="{100937E5-F54E-4374-9CCC-1ABDB52EB8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76" y="1540"/>
                <a:ext cx="71" cy="232"/>
              </a:xfrm>
              <a:custGeom>
                <a:avLst/>
                <a:gdLst>
                  <a:gd name="T0" fmla="*/ 28 w 30"/>
                  <a:gd name="T1" fmla="*/ 98 h 98"/>
                  <a:gd name="T2" fmla="*/ 27 w 30"/>
                  <a:gd name="T3" fmla="*/ 98 h 98"/>
                  <a:gd name="T4" fmla="*/ 1 w 30"/>
                  <a:gd name="T5" fmla="*/ 83 h 98"/>
                  <a:gd name="T6" fmla="*/ 0 w 30"/>
                  <a:gd name="T7" fmla="*/ 82 h 98"/>
                  <a:gd name="T8" fmla="*/ 0 w 30"/>
                  <a:gd name="T9" fmla="*/ 10 h 98"/>
                  <a:gd name="T10" fmla="*/ 1 w 30"/>
                  <a:gd name="T11" fmla="*/ 8 h 98"/>
                  <a:gd name="T12" fmla="*/ 14 w 30"/>
                  <a:gd name="T13" fmla="*/ 1 h 98"/>
                  <a:gd name="T14" fmla="*/ 16 w 30"/>
                  <a:gd name="T15" fmla="*/ 1 h 98"/>
                  <a:gd name="T16" fmla="*/ 17 w 30"/>
                  <a:gd name="T17" fmla="*/ 3 h 98"/>
                  <a:gd name="T18" fmla="*/ 17 w 30"/>
                  <a:gd name="T19" fmla="*/ 83 h 98"/>
                  <a:gd name="T20" fmla="*/ 27 w 30"/>
                  <a:gd name="T21" fmla="*/ 77 h 98"/>
                  <a:gd name="T22" fmla="*/ 29 w 30"/>
                  <a:gd name="T23" fmla="*/ 77 h 98"/>
                  <a:gd name="T24" fmla="*/ 30 w 30"/>
                  <a:gd name="T25" fmla="*/ 79 h 98"/>
                  <a:gd name="T26" fmla="*/ 30 w 30"/>
                  <a:gd name="T27" fmla="*/ 96 h 98"/>
                  <a:gd name="T28" fmla="*/ 29 w 30"/>
                  <a:gd name="T29" fmla="*/ 98 h 98"/>
                  <a:gd name="T30" fmla="*/ 28 w 30"/>
                  <a:gd name="T31" fmla="*/ 98 h 98"/>
                  <a:gd name="T32" fmla="*/ 17 w 30"/>
                  <a:gd name="T33" fmla="*/ 88 h 98"/>
                  <a:gd name="T34" fmla="*/ 26 w 30"/>
                  <a:gd name="T35" fmla="*/ 93 h 98"/>
                  <a:gd name="T36" fmla="*/ 26 w 30"/>
                  <a:gd name="T37" fmla="*/ 83 h 98"/>
                  <a:gd name="T38" fmla="*/ 17 w 30"/>
                  <a:gd name="T39" fmla="*/ 88 h 98"/>
                  <a:gd name="T40" fmla="*/ 17 w 30"/>
                  <a:gd name="T41" fmla="*/ 88 h 98"/>
                  <a:gd name="T42" fmla="*/ 4 w 30"/>
                  <a:gd name="T43" fmla="*/ 80 h 98"/>
                  <a:gd name="T44" fmla="*/ 13 w 30"/>
                  <a:gd name="T45" fmla="*/ 85 h 98"/>
                  <a:gd name="T46" fmla="*/ 13 w 30"/>
                  <a:gd name="T47" fmla="*/ 6 h 98"/>
                  <a:gd name="T48" fmla="*/ 4 w 30"/>
                  <a:gd name="T49" fmla="*/ 11 h 98"/>
                  <a:gd name="T50" fmla="*/ 4 w 30"/>
                  <a:gd name="T51" fmla="*/ 8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98">
                    <a:moveTo>
                      <a:pt x="28" y="98"/>
                    </a:moveTo>
                    <a:cubicBezTo>
                      <a:pt x="28" y="98"/>
                      <a:pt x="27" y="98"/>
                      <a:pt x="27" y="98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2"/>
                      <a:pt x="0" y="8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7" y="3"/>
                    </a:cubicBezTo>
                    <a:cubicBezTo>
                      <a:pt x="17" y="83"/>
                      <a:pt x="17" y="83"/>
                      <a:pt x="17" y="83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8" y="77"/>
                      <a:pt x="28" y="77"/>
                      <a:pt x="29" y="77"/>
                    </a:cubicBezTo>
                    <a:cubicBezTo>
                      <a:pt x="30" y="78"/>
                      <a:pt x="30" y="78"/>
                      <a:pt x="30" y="79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7"/>
                      <a:pt x="30" y="98"/>
                      <a:pt x="29" y="98"/>
                    </a:cubicBezTo>
                    <a:cubicBezTo>
                      <a:pt x="29" y="98"/>
                      <a:pt x="28" y="98"/>
                      <a:pt x="28" y="98"/>
                    </a:cubicBezTo>
                    <a:close/>
                    <a:moveTo>
                      <a:pt x="17" y="88"/>
                    </a:moveTo>
                    <a:cubicBezTo>
                      <a:pt x="26" y="93"/>
                      <a:pt x="26" y="93"/>
                      <a:pt x="26" y="93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17" y="88"/>
                      <a:pt x="17" y="88"/>
                      <a:pt x="17" y="88"/>
                    </a:cubicBezTo>
                    <a:cubicBezTo>
                      <a:pt x="17" y="88"/>
                      <a:pt x="17" y="88"/>
                      <a:pt x="17" y="88"/>
                    </a:cubicBezTo>
                    <a:close/>
                    <a:moveTo>
                      <a:pt x="4" y="80"/>
                    </a:move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 1010">
                <a:extLst>
                  <a:ext uri="{FF2B5EF4-FFF2-40B4-BE49-F238E27FC236}">
                    <a16:creationId xmlns:a16="http://schemas.microsoft.com/office/drawing/2014/main" id="{0167D616-10C0-42D9-902D-A801AA9E06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72" y="1710"/>
                <a:ext cx="149" cy="199"/>
              </a:xfrm>
              <a:custGeom>
                <a:avLst/>
                <a:gdLst>
                  <a:gd name="T0" fmla="*/ 61 w 63"/>
                  <a:gd name="T1" fmla="*/ 84 h 84"/>
                  <a:gd name="T2" fmla="*/ 60 w 63"/>
                  <a:gd name="T3" fmla="*/ 83 h 84"/>
                  <a:gd name="T4" fmla="*/ 1 w 63"/>
                  <a:gd name="T5" fmla="*/ 49 h 84"/>
                  <a:gd name="T6" fmla="*/ 0 w 63"/>
                  <a:gd name="T7" fmla="*/ 48 h 84"/>
                  <a:gd name="T8" fmla="*/ 0 w 63"/>
                  <a:gd name="T9" fmla="*/ 2 h 84"/>
                  <a:gd name="T10" fmla="*/ 1 w 63"/>
                  <a:gd name="T11" fmla="*/ 0 h 84"/>
                  <a:gd name="T12" fmla="*/ 3 w 63"/>
                  <a:gd name="T13" fmla="*/ 0 h 84"/>
                  <a:gd name="T14" fmla="*/ 44 w 63"/>
                  <a:gd name="T15" fmla="*/ 24 h 84"/>
                  <a:gd name="T16" fmla="*/ 44 w 63"/>
                  <a:gd name="T17" fmla="*/ 23 h 84"/>
                  <a:gd name="T18" fmla="*/ 45 w 63"/>
                  <a:gd name="T19" fmla="*/ 21 h 84"/>
                  <a:gd name="T20" fmla="*/ 47 w 63"/>
                  <a:gd name="T21" fmla="*/ 21 h 84"/>
                  <a:gd name="T22" fmla="*/ 62 w 63"/>
                  <a:gd name="T23" fmla="*/ 30 h 84"/>
                  <a:gd name="T24" fmla="*/ 63 w 63"/>
                  <a:gd name="T25" fmla="*/ 31 h 84"/>
                  <a:gd name="T26" fmla="*/ 63 w 63"/>
                  <a:gd name="T27" fmla="*/ 82 h 84"/>
                  <a:gd name="T28" fmla="*/ 62 w 63"/>
                  <a:gd name="T29" fmla="*/ 83 h 84"/>
                  <a:gd name="T30" fmla="*/ 61 w 63"/>
                  <a:gd name="T31" fmla="*/ 84 h 84"/>
                  <a:gd name="T32" fmla="*/ 4 w 63"/>
                  <a:gd name="T33" fmla="*/ 46 h 84"/>
                  <a:gd name="T34" fmla="*/ 59 w 63"/>
                  <a:gd name="T35" fmla="*/ 78 h 84"/>
                  <a:gd name="T36" fmla="*/ 59 w 63"/>
                  <a:gd name="T37" fmla="*/ 33 h 84"/>
                  <a:gd name="T38" fmla="*/ 48 w 63"/>
                  <a:gd name="T39" fmla="*/ 26 h 84"/>
                  <a:gd name="T40" fmla="*/ 48 w 63"/>
                  <a:gd name="T41" fmla="*/ 27 h 84"/>
                  <a:gd name="T42" fmla="*/ 47 w 63"/>
                  <a:gd name="T43" fmla="*/ 29 h 84"/>
                  <a:gd name="T44" fmla="*/ 45 w 63"/>
                  <a:gd name="T45" fmla="*/ 29 h 84"/>
                  <a:gd name="T46" fmla="*/ 4 w 63"/>
                  <a:gd name="T47" fmla="*/ 5 h 84"/>
                  <a:gd name="T48" fmla="*/ 4 w 63"/>
                  <a:gd name="T49" fmla="*/ 4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3" h="84">
                    <a:moveTo>
                      <a:pt x="61" y="84"/>
                    </a:moveTo>
                    <a:cubicBezTo>
                      <a:pt x="61" y="84"/>
                      <a:pt x="61" y="84"/>
                      <a:pt x="60" y="83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49"/>
                      <a:pt x="0" y="48"/>
                      <a:pt x="0" y="4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22"/>
                      <a:pt x="45" y="21"/>
                      <a:pt x="45" y="21"/>
                    </a:cubicBezTo>
                    <a:cubicBezTo>
                      <a:pt x="46" y="21"/>
                      <a:pt x="47" y="21"/>
                      <a:pt x="47" y="21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3" y="31"/>
                      <a:pt x="63" y="31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63" y="82"/>
                      <a:pt x="63" y="83"/>
                      <a:pt x="62" y="83"/>
                    </a:cubicBezTo>
                    <a:cubicBezTo>
                      <a:pt x="62" y="84"/>
                      <a:pt x="62" y="84"/>
                      <a:pt x="61" y="84"/>
                    </a:cubicBezTo>
                    <a:close/>
                    <a:moveTo>
                      <a:pt x="4" y="46"/>
                    </a:moveTo>
                    <a:cubicBezTo>
                      <a:pt x="59" y="78"/>
                      <a:pt x="59" y="78"/>
                      <a:pt x="59" y="78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8" y="28"/>
                      <a:pt x="48" y="29"/>
                      <a:pt x="47" y="29"/>
                    </a:cubicBezTo>
                    <a:cubicBezTo>
                      <a:pt x="47" y="29"/>
                      <a:pt x="46" y="29"/>
                      <a:pt x="45" y="29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 1011">
                <a:extLst>
                  <a:ext uri="{FF2B5EF4-FFF2-40B4-BE49-F238E27FC236}">
                    <a16:creationId xmlns:a16="http://schemas.microsoft.com/office/drawing/2014/main" id="{68808A5A-B6E3-4C74-84A5-428F71B0E4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16" y="1732"/>
                <a:ext cx="593" cy="571"/>
              </a:xfrm>
              <a:custGeom>
                <a:avLst/>
                <a:gdLst>
                  <a:gd name="T0" fmla="*/ 213 w 251"/>
                  <a:gd name="T1" fmla="*/ 242 h 242"/>
                  <a:gd name="T2" fmla="*/ 13 w 251"/>
                  <a:gd name="T3" fmla="*/ 239 h 242"/>
                  <a:gd name="T4" fmla="*/ 1 w 251"/>
                  <a:gd name="T5" fmla="*/ 234 h 242"/>
                  <a:gd name="T6" fmla="*/ 1 w 251"/>
                  <a:gd name="T7" fmla="*/ 230 h 242"/>
                  <a:gd name="T8" fmla="*/ 68 w 251"/>
                  <a:gd name="T9" fmla="*/ 193 h 242"/>
                  <a:gd name="T10" fmla="*/ 69 w 251"/>
                  <a:gd name="T11" fmla="*/ 195 h 242"/>
                  <a:gd name="T12" fmla="*/ 127 w 251"/>
                  <a:gd name="T13" fmla="*/ 82 h 242"/>
                  <a:gd name="T14" fmla="*/ 132 w 251"/>
                  <a:gd name="T15" fmla="*/ 78 h 242"/>
                  <a:gd name="T16" fmla="*/ 127 w 251"/>
                  <a:gd name="T17" fmla="*/ 74 h 242"/>
                  <a:gd name="T18" fmla="*/ 111 w 251"/>
                  <a:gd name="T19" fmla="*/ 14 h 242"/>
                  <a:gd name="T20" fmla="*/ 110 w 251"/>
                  <a:gd name="T21" fmla="*/ 3 h 242"/>
                  <a:gd name="T22" fmla="*/ 113 w 251"/>
                  <a:gd name="T23" fmla="*/ 1 h 242"/>
                  <a:gd name="T24" fmla="*/ 140 w 251"/>
                  <a:gd name="T25" fmla="*/ 17 h 242"/>
                  <a:gd name="T26" fmla="*/ 250 w 251"/>
                  <a:gd name="T27" fmla="*/ 211 h 242"/>
                  <a:gd name="T28" fmla="*/ 251 w 251"/>
                  <a:gd name="T29" fmla="*/ 228 h 242"/>
                  <a:gd name="T30" fmla="*/ 248 w 251"/>
                  <a:gd name="T31" fmla="*/ 230 h 242"/>
                  <a:gd name="T32" fmla="*/ 215 w 251"/>
                  <a:gd name="T33" fmla="*/ 242 h 242"/>
                  <a:gd name="T34" fmla="*/ 111 w 251"/>
                  <a:gd name="T35" fmla="*/ 178 h 242"/>
                  <a:gd name="T36" fmla="*/ 214 w 251"/>
                  <a:gd name="T37" fmla="*/ 238 h 242"/>
                  <a:gd name="T38" fmla="*/ 243 w 251"/>
                  <a:gd name="T39" fmla="*/ 222 h 242"/>
                  <a:gd name="T40" fmla="*/ 247 w 251"/>
                  <a:gd name="T41" fmla="*/ 214 h 242"/>
                  <a:gd name="T42" fmla="*/ 136 w 251"/>
                  <a:gd name="T43" fmla="*/ 149 h 242"/>
                  <a:gd name="T44" fmla="*/ 131 w 251"/>
                  <a:gd name="T45" fmla="*/ 83 h 242"/>
                  <a:gd name="T46" fmla="*/ 130 w 251"/>
                  <a:gd name="T47" fmla="*/ 164 h 242"/>
                  <a:gd name="T48" fmla="*/ 66 w 251"/>
                  <a:gd name="T49" fmla="*/ 200 h 242"/>
                  <a:gd name="T50" fmla="*/ 65 w 251"/>
                  <a:gd name="T51" fmla="*/ 198 h 242"/>
                  <a:gd name="T52" fmla="*/ 12 w 251"/>
                  <a:gd name="T53" fmla="*/ 235 h 242"/>
                  <a:gd name="T54" fmla="*/ 111 w 251"/>
                  <a:gd name="T55" fmla="*/ 178 h 242"/>
                  <a:gd name="T56" fmla="*/ 136 w 251"/>
                  <a:gd name="T57" fmla="*/ 75 h 242"/>
                  <a:gd name="T58" fmla="*/ 114 w 251"/>
                  <a:gd name="T59" fmla="*/ 6 h 242"/>
                  <a:gd name="T60" fmla="*/ 130 w 251"/>
                  <a:gd name="T61" fmla="*/ 20 h 242"/>
                  <a:gd name="T62" fmla="*/ 131 w 251"/>
                  <a:gd name="T63" fmla="*/ 7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1" h="242">
                    <a:moveTo>
                      <a:pt x="214" y="242"/>
                    </a:moveTo>
                    <a:cubicBezTo>
                      <a:pt x="214" y="242"/>
                      <a:pt x="214" y="242"/>
                      <a:pt x="213" y="242"/>
                    </a:cubicBezTo>
                    <a:cubicBezTo>
                      <a:pt x="111" y="183"/>
                      <a:pt x="111" y="183"/>
                      <a:pt x="111" y="183"/>
                    </a:cubicBezTo>
                    <a:cubicBezTo>
                      <a:pt x="13" y="239"/>
                      <a:pt x="13" y="239"/>
                      <a:pt x="13" y="239"/>
                    </a:cubicBezTo>
                    <a:cubicBezTo>
                      <a:pt x="13" y="240"/>
                      <a:pt x="12" y="240"/>
                      <a:pt x="11" y="239"/>
                    </a:cubicBezTo>
                    <a:cubicBezTo>
                      <a:pt x="1" y="234"/>
                      <a:pt x="1" y="234"/>
                      <a:pt x="1" y="234"/>
                    </a:cubicBezTo>
                    <a:cubicBezTo>
                      <a:pt x="1" y="233"/>
                      <a:pt x="0" y="233"/>
                      <a:pt x="0" y="232"/>
                    </a:cubicBezTo>
                    <a:cubicBezTo>
                      <a:pt x="0" y="231"/>
                      <a:pt x="1" y="231"/>
                      <a:pt x="1" y="230"/>
                    </a:cubicBezTo>
                    <a:cubicBezTo>
                      <a:pt x="66" y="193"/>
                      <a:pt x="66" y="193"/>
                      <a:pt x="66" y="193"/>
                    </a:cubicBezTo>
                    <a:cubicBezTo>
                      <a:pt x="66" y="193"/>
                      <a:pt x="67" y="193"/>
                      <a:pt x="68" y="193"/>
                    </a:cubicBezTo>
                    <a:cubicBezTo>
                      <a:pt x="68" y="193"/>
                      <a:pt x="69" y="194"/>
                      <a:pt x="69" y="195"/>
                    </a:cubicBezTo>
                    <a:cubicBezTo>
                      <a:pt x="69" y="195"/>
                      <a:pt x="69" y="195"/>
                      <a:pt x="69" y="195"/>
                    </a:cubicBezTo>
                    <a:cubicBezTo>
                      <a:pt x="127" y="161"/>
                      <a:pt x="127" y="161"/>
                      <a:pt x="127" y="161"/>
                    </a:cubicBezTo>
                    <a:cubicBezTo>
                      <a:pt x="127" y="82"/>
                      <a:pt x="127" y="82"/>
                      <a:pt x="127" y="82"/>
                    </a:cubicBezTo>
                    <a:cubicBezTo>
                      <a:pt x="127" y="81"/>
                      <a:pt x="127" y="80"/>
                      <a:pt x="128" y="80"/>
                    </a:cubicBezTo>
                    <a:cubicBezTo>
                      <a:pt x="132" y="78"/>
                      <a:pt x="132" y="78"/>
                      <a:pt x="132" y="78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7" y="75"/>
                      <a:pt x="127" y="74"/>
                      <a:pt x="127" y="74"/>
                    </a:cubicBezTo>
                    <a:cubicBezTo>
                      <a:pt x="127" y="23"/>
                      <a:pt x="127" y="23"/>
                      <a:pt x="127" y="23"/>
                    </a:cubicBezTo>
                    <a:cubicBezTo>
                      <a:pt x="111" y="14"/>
                      <a:pt x="111" y="14"/>
                      <a:pt x="111" y="14"/>
                    </a:cubicBezTo>
                    <a:cubicBezTo>
                      <a:pt x="111" y="13"/>
                      <a:pt x="110" y="13"/>
                      <a:pt x="110" y="12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10" y="2"/>
                      <a:pt x="111" y="1"/>
                      <a:pt x="111" y="1"/>
                    </a:cubicBezTo>
                    <a:cubicBezTo>
                      <a:pt x="112" y="0"/>
                      <a:pt x="113" y="0"/>
                      <a:pt x="113" y="1"/>
                    </a:cubicBezTo>
                    <a:cubicBezTo>
                      <a:pt x="139" y="16"/>
                      <a:pt x="139" y="16"/>
                      <a:pt x="139" y="16"/>
                    </a:cubicBezTo>
                    <a:cubicBezTo>
                      <a:pt x="140" y="16"/>
                      <a:pt x="140" y="17"/>
                      <a:pt x="140" y="17"/>
                    </a:cubicBezTo>
                    <a:cubicBezTo>
                      <a:pt x="140" y="147"/>
                      <a:pt x="140" y="147"/>
                      <a:pt x="140" y="147"/>
                    </a:cubicBezTo>
                    <a:cubicBezTo>
                      <a:pt x="250" y="211"/>
                      <a:pt x="250" y="211"/>
                      <a:pt x="250" y="211"/>
                    </a:cubicBezTo>
                    <a:cubicBezTo>
                      <a:pt x="250" y="211"/>
                      <a:pt x="251" y="212"/>
                      <a:pt x="251" y="212"/>
                    </a:cubicBezTo>
                    <a:cubicBezTo>
                      <a:pt x="251" y="228"/>
                      <a:pt x="251" y="228"/>
                      <a:pt x="251" y="228"/>
                    </a:cubicBezTo>
                    <a:cubicBezTo>
                      <a:pt x="251" y="229"/>
                      <a:pt x="250" y="229"/>
                      <a:pt x="250" y="230"/>
                    </a:cubicBezTo>
                    <a:cubicBezTo>
                      <a:pt x="249" y="230"/>
                      <a:pt x="248" y="230"/>
                      <a:pt x="248" y="230"/>
                    </a:cubicBezTo>
                    <a:cubicBezTo>
                      <a:pt x="242" y="226"/>
                      <a:pt x="242" y="226"/>
                      <a:pt x="242" y="226"/>
                    </a:cubicBezTo>
                    <a:cubicBezTo>
                      <a:pt x="215" y="242"/>
                      <a:pt x="215" y="242"/>
                      <a:pt x="215" y="242"/>
                    </a:cubicBezTo>
                    <a:cubicBezTo>
                      <a:pt x="215" y="242"/>
                      <a:pt x="215" y="242"/>
                      <a:pt x="214" y="242"/>
                    </a:cubicBezTo>
                    <a:close/>
                    <a:moveTo>
                      <a:pt x="111" y="178"/>
                    </a:moveTo>
                    <a:cubicBezTo>
                      <a:pt x="112" y="178"/>
                      <a:pt x="112" y="178"/>
                      <a:pt x="112" y="179"/>
                    </a:cubicBezTo>
                    <a:cubicBezTo>
                      <a:pt x="214" y="238"/>
                      <a:pt x="214" y="238"/>
                      <a:pt x="214" y="238"/>
                    </a:cubicBezTo>
                    <a:cubicBezTo>
                      <a:pt x="241" y="222"/>
                      <a:pt x="241" y="222"/>
                      <a:pt x="241" y="222"/>
                    </a:cubicBezTo>
                    <a:cubicBezTo>
                      <a:pt x="241" y="222"/>
                      <a:pt x="242" y="222"/>
                      <a:pt x="243" y="222"/>
                    </a:cubicBezTo>
                    <a:cubicBezTo>
                      <a:pt x="247" y="225"/>
                      <a:pt x="247" y="225"/>
                      <a:pt x="247" y="225"/>
                    </a:cubicBezTo>
                    <a:cubicBezTo>
                      <a:pt x="247" y="214"/>
                      <a:pt x="247" y="214"/>
                      <a:pt x="247" y="214"/>
                    </a:cubicBezTo>
                    <a:cubicBezTo>
                      <a:pt x="137" y="150"/>
                      <a:pt x="137" y="150"/>
                      <a:pt x="137" y="150"/>
                    </a:cubicBezTo>
                    <a:cubicBezTo>
                      <a:pt x="136" y="150"/>
                      <a:pt x="136" y="149"/>
                      <a:pt x="136" y="149"/>
                    </a:cubicBezTo>
                    <a:cubicBezTo>
                      <a:pt x="136" y="80"/>
                      <a:pt x="136" y="80"/>
                      <a:pt x="136" y="80"/>
                    </a:cubicBezTo>
                    <a:cubicBezTo>
                      <a:pt x="131" y="83"/>
                      <a:pt x="131" y="83"/>
                      <a:pt x="131" y="83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131" y="163"/>
                      <a:pt x="131" y="164"/>
                      <a:pt x="130" y="164"/>
                    </a:cubicBezTo>
                    <a:cubicBezTo>
                      <a:pt x="68" y="200"/>
                      <a:pt x="68" y="200"/>
                      <a:pt x="68" y="200"/>
                    </a:cubicBezTo>
                    <a:cubicBezTo>
                      <a:pt x="67" y="200"/>
                      <a:pt x="66" y="200"/>
                      <a:pt x="66" y="200"/>
                    </a:cubicBezTo>
                    <a:cubicBezTo>
                      <a:pt x="65" y="200"/>
                      <a:pt x="65" y="199"/>
                      <a:pt x="65" y="198"/>
                    </a:cubicBezTo>
                    <a:cubicBezTo>
                      <a:pt x="65" y="198"/>
                      <a:pt x="65" y="198"/>
                      <a:pt x="65" y="198"/>
                    </a:cubicBezTo>
                    <a:cubicBezTo>
                      <a:pt x="6" y="232"/>
                      <a:pt x="6" y="232"/>
                      <a:pt x="6" y="232"/>
                    </a:cubicBezTo>
                    <a:cubicBezTo>
                      <a:pt x="12" y="235"/>
                      <a:pt x="12" y="235"/>
                      <a:pt x="12" y="235"/>
                    </a:cubicBezTo>
                    <a:cubicBezTo>
                      <a:pt x="110" y="179"/>
                      <a:pt x="110" y="179"/>
                      <a:pt x="110" y="179"/>
                    </a:cubicBezTo>
                    <a:cubicBezTo>
                      <a:pt x="111" y="178"/>
                      <a:pt x="111" y="178"/>
                      <a:pt x="111" y="178"/>
                    </a:cubicBezTo>
                    <a:close/>
                    <a:moveTo>
                      <a:pt x="131" y="72"/>
                    </a:moveTo>
                    <a:cubicBezTo>
                      <a:pt x="136" y="75"/>
                      <a:pt x="136" y="75"/>
                      <a:pt x="136" y="75"/>
                    </a:cubicBezTo>
                    <a:cubicBezTo>
                      <a:pt x="136" y="18"/>
                      <a:pt x="136" y="18"/>
                      <a:pt x="136" y="18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1" y="20"/>
                      <a:pt x="131" y="21"/>
                      <a:pt x="131" y="21"/>
                    </a:cubicBezTo>
                    <a:lnTo>
                      <a:pt x="131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 1012">
                <a:extLst>
                  <a:ext uri="{FF2B5EF4-FFF2-40B4-BE49-F238E27FC236}">
                    <a16:creationId xmlns:a16="http://schemas.microsoft.com/office/drawing/2014/main" id="{E94E3EE7-CD89-40F6-BD96-B680E2CCE1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09" y="1469"/>
                <a:ext cx="300" cy="274"/>
              </a:xfrm>
              <a:custGeom>
                <a:avLst/>
                <a:gdLst>
                  <a:gd name="T0" fmla="*/ 2 w 127"/>
                  <a:gd name="T1" fmla="*/ 116 h 116"/>
                  <a:gd name="T2" fmla="*/ 1 w 127"/>
                  <a:gd name="T3" fmla="*/ 116 h 116"/>
                  <a:gd name="T4" fmla="*/ 0 w 127"/>
                  <a:gd name="T5" fmla="*/ 114 h 116"/>
                  <a:gd name="T6" fmla="*/ 0 w 127"/>
                  <a:gd name="T7" fmla="*/ 32 h 116"/>
                  <a:gd name="T8" fmla="*/ 1 w 127"/>
                  <a:gd name="T9" fmla="*/ 30 h 116"/>
                  <a:gd name="T10" fmla="*/ 52 w 127"/>
                  <a:gd name="T11" fmla="*/ 0 h 116"/>
                  <a:gd name="T12" fmla="*/ 54 w 127"/>
                  <a:gd name="T13" fmla="*/ 0 h 116"/>
                  <a:gd name="T14" fmla="*/ 126 w 127"/>
                  <a:gd name="T15" fmla="*/ 42 h 116"/>
                  <a:gd name="T16" fmla="*/ 127 w 127"/>
                  <a:gd name="T17" fmla="*/ 43 h 116"/>
                  <a:gd name="T18" fmla="*/ 126 w 127"/>
                  <a:gd name="T19" fmla="*/ 45 h 116"/>
                  <a:gd name="T20" fmla="*/ 17 w 127"/>
                  <a:gd name="T21" fmla="*/ 108 h 116"/>
                  <a:gd name="T22" fmla="*/ 16 w 127"/>
                  <a:gd name="T23" fmla="*/ 108 h 116"/>
                  <a:gd name="T24" fmla="*/ 15 w 127"/>
                  <a:gd name="T25" fmla="*/ 109 h 116"/>
                  <a:gd name="T26" fmla="*/ 3 w 127"/>
                  <a:gd name="T27" fmla="*/ 116 h 116"/>
                  <a:gd name="T28" fmla="*/ 2 w 127"/>
                  <a:gd name="T29" fmla="*/ 116 h 116"/>
                  <a:gd name="T30" fmla="*/ 4 w 127"/>
                  <a:gd name="T31" fmla="*/ 33 h 116"/>
                  <a:gd name="T32" fmla="*/ 4 w 127"/>
                  <a:gd name="T33" fmla="*/ 110 h 116"/>
                  <a:gd name="T34" fmla="*/ 12 w 127"/>
                  <a:gd name="T35" fmla="*/ 106 h 116"/>
                  <a:gd name="T36" fmla="*/ 12 w 127"/>
                  <a:gd name="T37" fmla="*/ 105 h 116"/>
                  <a:gd name="T38" fmla="*/ 13 w 127"/>
                  <a:gd name="T39" fmla="*/ 104 h 116"/>
                  <a:gd name="T40" fmla="*/ 15 w 127"/>
                  <a:gd name="T41" fmla="*/ 104 h 116"/>
                  <a:gd name="T42" fmla="*/ 16 w 127"/>
                  <a:gd name="T43" fmla="*/ 104 h 116"/>
                  <a:gd name="T44" fmla="*/ 121 w 127"/>
                  <a:gd name="T45" fmla="*/ 43 h 116"/>
                  <a:gd name="T46" fmla="*/ 53 w 127"/>
                  <a:gd name="T47" fmla="*/ 5 h 116"/>
                  <a:gd name="T48" fmla="*/ 4 w 127"/>
                  <a:gd name="T49" fmla="*/ 3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7" h="116">
                    <a:moveTo>
                      <a:pt x="2" y="116"/>
                    </a:moveTo>
                    <a:cubicBezTo>
                      <a:pt x="2" y="116"/>
                      <a:pt x="2" y="116"/>
                      <a:pt x="1" y="116"/>
                    </a:cubicBezTo>
                    <a:cubicBezTo>
                      <a:pt x="1" y="115"/>
                      <a:pt x="0" y="115"/>
                      <a:pt x="0" y="11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3" y="0"/>
                      <a:pt x="54" y="0"/>
                      <a:pt x="54" y="0"/>
                    </a:cubicBezTo>
                    <a:cubicBezTo>
                      <a:pt x="126" y="42"/>
                      <a:pt x="126" y="42"/>
                      <a:pt x="126" y="42"/>
                    </a:cubicBezTo>
                    <a:cubicBezTo>
                      <a:pt x="126" y="42"/>
                      <a:pt x="127" y="43"/>
                      <a:pt x="127" y="43"/>
                    </a:cubicBezTo>
                    <a:cubicBezTo>
                      <a:pt x="127" y="44"/>
                      <a:pt x="126" y="45"/>
                      <a:pt x="126" y="45"/>
                    </a:cubicBezTo>
                    <a:cubicBezTo>
                      <a:pt x="17" y="108"/>
                      <a:pt x="17" y="108"/>
                      <a:pt x="17" y="108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3" y="116"/>
                      <a:pt x="3" y="116"/>
                      <a:pt x="3" y="116"/>
                    </a:cubicBezTo>
                    <a:cubicBezTo>
                      <a:pt x="3" y="116"/>
                      <a:pt x="3" y="116"/>
                      <a:pt x="2" y="116"/>
                    </a:cubicBezTo>
                    <a:close/>
                    <a:moveTo>
                      <a:pt x="4" y="33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12" y="106"/>
                      <a:pt x="12" y="106"/>
                      <a:pt x="12" y="106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2" y="105"/>
                      <a:pt x="12" y="104"/>
                      <a:pt x="13" y="104"/>
                    </a:cubicBezTo>
                    <a:cubicBezTo>
                      <a:pt x="14" y="103"/>
                      <a:pt x="14" y="103"/>
                      <a:pt x="15" y="104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21" y="43"/>
                      <a:pt x="121" y="43"/>
                      <a:pt x="121" y="43"/>
                    </a:cubicBezTo>
                    <a:cubicBezTo>
                      <a:pt x="53" y="5"/>
                      <a:pt x="53" y="5"/>
                      <a:pt x="53" y="5"/>
                    </a:cubicBezTo>
                    <a:lnTo>
                      <a:pt x="4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Freeform 1013">
                <a:extLst>
                  <a:ext uri="{FF2B5EF4-FFF2-40B4-BE49-F238E27FC236}">
                    <a16:creationId xmlns:a16="http://schemas.microsoft.com/office/drawing/2014/main" id="{F5B659A3-20F9-42C6-BA51-909584D771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35" y="1089"/>
                <a:ext cx="191" cy="130"/>
              </a:xfrm>
              <a:custGeom>
                <a:avLst/>
                <a:gdLst>
                  <a:gd name="T0" fmla="*/ 69 w 81"/>
                  <a:gd name="T1" fmla="*/ 55 h 55"/>
                  <a:gd name="T2" fmla="*/ 68 w 81"/>
                  <a:gd name="T3" fmla="*/ 54 h 55"/>
                  <a:gd name="T4" fmla="*/ 1 w 81"/>
                  <a:gd name="T5" fmla="*/ 15 h 55"/>
                  <a:gd name="T6" fmla="*/ 0 w 81"/>
                  <a:gd name="T7" fmla="*/ 13 h 55"/>
                  <a:gd name="T8" fmla="*/ 1 w 81"/>
                  <a:gd name="T9" fmla="*/ 12 h 55"/>
                  <a:gd name="T10" fmla="*/ 21 w 81"/>
                  <a:gd name="T11" fmla="*/ 0 h 55"/>
                  <a:gd name="T12" fmla="*/ 23 w 81"/>
                  <a:gd name="T13" fmla="*/ 0 h 55"/>
                  <a:gd name="T14" fmla="*/ 80 w 81"/>
                  <a:gd name="T15" fmla="*/ 34 h 55"/>
                  <a:gd name="T16" fmla="*/ 81 w 81"/>
                  <a:gd name="T17" fmla="*/ 35 h 55"/>
                  <a:gd name="T18" fmla="*/ 81 w 81"/>
                  <a:gd name="T19" fmla="*/ 47 h 55"/>
                  <a:gd name="T20" fmla="*/ 80 w 81"/>
                  <a:gd name="T21" fmla="*/ 49 h 55"/>
                  <a:gd name="T22" fmla="*/ 70 w 81"/>
                  <a:gd name="T23" fmla="*/ 54 h 55"/>
                  <a:gd name="T24" fmla="*/ 69 w 81"/>
                  <a:gd name="T25" fmla="*/ 55 h 55"/>
                  <a:gd name="T26" fmla="*/ 6 w 81"/>
                  <a:gd name="T27" fmla="*/ 13 h 55"/>
                  <a:gd name="T28" fmla="*/ 69 w 81"/>
                  <a:gd name="T29" fmla="*/ 50 h 55"/>
                  <a:gd name="T30" fmla="*/ 77 w 81"/>
                  <a:gd name="T31" fmla="*/ 46 h 55"/>
                  <a:gd name="T32" fmla="*/ 77 w 81"/>
                  <a:gd name="T33" fmla="*/ 36 h 55"/>
                  <a:gd name="T34" fmla="*/ 22 w 81"/>
                  <a:gd name="T35" fmla="*/ 4 h 55"/>
                  <a:gd name="T36" fmla="*/ 6 w 81"/>
                  <a:gd name="T3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1" h="55">
                    <a:moveTo>
                      <a:pt x="69" y="55"/>
                    </a:moveTo>
                    <a:cubicBezTo>
                      <a:pt x="69" y="55"/>
                      <a:pt x="69" y="54"/>
                      <a:pt x="68" y="5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80" y="34"/>
                      <a:pt x="80" y="34"/>
                      <a:pt x="80" y="34"/>
                    </a:cubicBezTo>
                    <a:cubicBezTo>
                      <a:pt x="81" y="34"/>
                      <a:pt x="81" y="35"/>
                      <a:pt x="81" y="35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48"/>
                      <a:pt x="81" y="48"/>
                      <a:pt x="80" y="49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70" y="54"/>
                      <a:pt x="70" y="55"/>
                      <a:pt x="69" y="55"/>
                    </a:cubicBezTo>
                    <a:close/>
                    <a:moveTo>
                      <a:pt x="6" y="13"/>
                    </a:moveTo>
                    <a:cubicBezTo>
                      <a:pt x="69" y="50"/>
                      <a:pt x="69" y="50"/>
                      <a:pt x="69" y="50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22" y="4"/>
                      <a:pt x="22" y="4"/>
                      <a:pt x="22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 1014">
                <a:extLst>
                  <a:ext uri="{FF2B5EF4-FFF2-40B4-BE49-F238E27FC236}">
                    <a16:creationId xmlns:a16="http://schemas.microsoft.com/office/drawing/2014/main" id="{A028D86E-4AE0-45A8-B85E-803D366E29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09" y="1214"/>
                <a:ext cx="317" cy="357"/>
              </a:xfrm>
              <a:custGeom>
                <a:avLst/>
                <a:gdLst>
                  <a:gd name="T0" fmla="*/ 125 w 134"/>
                  <a:gd name="T1" fmla="*/ 151 h 151"/>
                  <a:gd name="T2" fmla="*/ 124 w 134"/>
                  <a:gd name="T3" fmla="*/ 151 h 151"/>
                  <a:gd name="T4" fmla="*/ 53 w 134"/>
                  <a:gd name="T5" fmla="*/ 111 h 151"/>
                  <a:gd name="T6" fmla="*/ 3 w 134"/>
                  <a:gd name="T7" fmla="*/ 139 h 151"/>
                  <a:gd name="T8" fmla="*/ 1 w 134"/>
                  <a:gd name="T9" fmla="*/ 139 h 151"/>
                  <a:gd name="T10" fmla="*/ 0 w 134"/>
                  <a:gd name="T11" fmla="*/ 138 h 151"/>
                  <a:gd name="T12" fmla="*/ 0 w 134"/>
                  <a:gd name="T13" fmla="*/ 72 h 151"/>
                  <a:gd name="T14" fmla="*/ 1 w 134"/>
                  <a:gd name="T15" fmla="*/ 70 h 151"/>
                  <a:gd name="T16" fmla="*/ 123 w 134"/>
                  <a:gd name="T17" fmla="*/ 0 h 151"/>
                  <a:gd name="T18" fmla="*/ 125 w 134"/>
                  <a:gd name="T19" fmla="*/ 0 h 151"/>
                  <a:gd name="T20" fmla="*/ 133 w 134"/>
                  <a:gd name="T21" fmla="*/ 5 h 151"/>
                  <a:gd name="T22" fmla="*/ 134 w 134"/>
                  <a:gd name="T23" fmla="*/ 7 h 151"/>
                  <a:gd name="T24" fmla="*/ 134 w 134"/>
                  <a:gd name="T25" fmla="*/ 34 h 151"/>
                  <a:gd name="T26" fmla="*/ 133 w 134"/>
                  <a:gd name="T27" fmla="*/ 36 h 151"/>
                  <a:gd name="T28" fmla="*/ 131 w 134"/>
                  <a:gd name="T29" fmla="*/ 36 h 151"/>
                  <a:gd name="T30" fmla="*/ 127 w 134"/>
                  <a:gd name="T31" fmla="*/ 33 h 151"/>
                  <a:gd name="T32" fmla="*/ 127 w 134"/>
                  <a:gd name="T33" fmla="*/ 149 h 151"/>
                  <a:gd name="T34" fmla="*/ 126 w 134"/>
                  <a:gd name="T35" fmla="*/ 151 h 151"/>
                  <a:gd name="T36" fmla="*/ 125 w 134"/>
                  <a:gd name="T37" fmla="*/ 151 h 151"/>
                  <a:gd name="T38" fmla="*/ 53 w 134"/>
                  <a:gd name="T39" fmla="*/ 106 h 151"/>
                  <a:gd name="T40" fmla="*/ 54 w 134"/>
                  <a:gd name="T41" fmla="*/ 107 h 151"/>
                  <a:gd name="T42" fmla="*/ 123 w 134"/>
                  <a:gd name="T43" fmla="*/ 146 h 151"/>
                  <a:gd name="T44" fmla="*/ 123 w 134"/>
                  <a:gd name="T45" fmla="*/ 30 h 151"/>
                  <a:gd name="T46" fmla="*/ 124 w 134"/>
                  <a:gd name="T47" fmla="*/ 28 h 151"/>
                  <a:gd name="T48" fmla="*/ 126 w 134"/>
                  <a:gd name="T49" fmla="*/ 28 h 151"/>
                  <a:gd name="T50" fmla="*/ 130 w 134"/>
                  <a:gd name="T51" fmla="*/ 30 h 151"/>
                  <a:gd name="T52" fmla="*/ 130 w 134"/>
                  <a:gd name="T53" fmla="*/ 8 h 151"/>
                  <a:gd name="T54" fmla="*/ 124 w 134"/>
                  <a:gd name="T55" fmla="*/ 4 h 151"/>
                  <a:gd name="T56" fmla="*/ 4 w 134"/>
                  <a:gd name="T57" fmla="*/ 73 h 151"/>
                  <a:gd name="T58" fmla="*/ 4 w 134"/>
                  <a:gd name="T59" fmla="*/ 134 h 151"/>
                  <a:gd name="T60" fmla="*/ 52 w 134"/>
                  <a:gd name="T61" fmla="*/ 107 h 151"/>
                  <a:gd name="T62" fmla="*/ 53 w 134"/>
                  <a:gd name="T63" fmla="*/ 106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4" h="151">
                    <a:moveTo>
                      <a:pt x="125" y="151"/>
                    </a:moveTo>
                    <a:cubicBezTo>
                      <a:pt x="124" y="151"/>
                      <a:pt x="124" y="151"/>
                      <a:pt x="124" y="151"/>
                    </a:cubicBezTo>
                    <a:cubicBezTo>
                      <a:pt x="53" y="111"/>
                      <a:pt x="53" y="111"/>
                      <a:pt x="53" y="111"/>
                    </a:cubicBezTo>
                    <a:cubicBezTo>
                      <a:pt x="3" y="139"/>
                      <a:pt x="3" y="139"/>
                      <a:pt x="3" y="139"/>
                    </a:cubicBezTo>
                    <a:cubicBezTo>
                      <a:pt x="3" y="140"/>
                      <a:pt x="2" y="140"/>
                      <a:pt x="1" y="139"/>
                    </a:cubicBezTo>
                    <a:cubicBezTo>
                      <a:pt x="1" y="139"/>
                      <a:pt x="0" y="138"/>
                      <a:pt x="0" y="138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1"/>
                      <a:pt x="1" y="71"/>
                      <a:pt x="1" y="7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24" y="0"/>
                      <a:pt x="125" y="0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134" y="6"/>
                      <a:pt x="134" y="6"/>
                      <a:pt x="134" y="7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4" y="35"/>
                      <a:pt x="134" y="35"/>
                      <a:pt x="133" y="36"/>
                    </a:cubicBezTo>
                    <a:cubicBezTo>
                      <a:pt x="133" y="36"/>
                      <a:pt x="132" y="36"/>
                      <a:pt x="131" y="36"/>
                    </a:cubicBezTo>
                    <a:cubicBezTo>
                      <a:pt x="127" y="33"/>
                      <a:pt x="127" y="33"/>
                      <a:pt x="127" y="33"/>
                    </a:cubicBezTo>
                    <a:cubicBezTo>
                      <a:pt x="127" y="149"/>
                      <a:pt x="127" y="149"/>
                      <a:pt x="127" y="149"/>
                    </a:cubicBezTo>
                    <a:cubicBezTo>
                      <a:pt x="127" y="150"/>
                      <a:pt x="126" y="151"/>
                      <a:pt x="126" y="151"/>
                    </a:cubicBezTo>
                    <a:cubicBezTo>
                      <a:pt x="125" y="151"/>
                      <a:pt x="125" y="151"/>
                      <a:pt x="125" y="151"/>
                    </a:cubicBezTo>
                    <a:close/>
                    <a:moveTo>
                      <a:pt x="53" y="106"/>
                    </a:moveTo>
                    <a:cubicBezTo>
                      <a:pt x="54" y="106"/>
                      <a:pt x="54" y="106"/>
                      <a:pt x="54" y="107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23" y="30"/>
                      <a:pt x="123" y="30"/>
                      <a:pt x="123" y="30"/>
                    </a:cubicBezTo>
                    <a:cubicBezTo>
                      <a:pt x="123" y="29"/>
                      <a:pt x="123" y="28"/>
                      <a:pt x="124" y="28"/>
                    </a:cubicBezTo>
                    <a:cubicBezTo>
                      <a:pt x="124" y="27"/>
                      <a:pt x="125" y="27"/>
                      <a:pt x="126" y="28"/>
                    </a:cubicBezTo>
                    <a:cubicBezTo>
                      <a:pt x="130" y="30"/>
                      <a:pt x="130" y="30"/>
                      <a:pt x="130" y="30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24" y="4"/>
                      <a:pt x="124" y="4"/>
                      <a:pt x="124" y="4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52" y="107"/>
                      <a:pt x="52" y="107"/>
                      <a:pt x="52" y="107"/>
                    </a:cubicBezTo>
                    <a:cubicBezTo>
                      <a:pt x="53" y="106"/>
                      <a:pt x="53" y="106"/>
                      <a:pt x="53" y="1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 1015">
                <a:extLst>
                  <a:ext uri="{FF2B5EF4-FFF2-40B4-BE49-F238E27FC236}">
                    <a16:creationId xmlns:a16="http://schemas.microsoft.com/office/drawing/2014/main" id="{442E6B80-9E9A-4E37-816F-86FC345944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15" y="3187"/>
                <a:ext cx="149" cy="184"/>
              </a:xfrm>
              <a:custGeom>
                <a:avLst/>
                <a:gdLst>
                  <a:gd name="T0" fmla="*/ 61 w 63"/>
                  <a:gd name="T1" fmla="*/ 78 h 78"/>
                  <a:gd name="T2" fmla="*/ 60 w 63"/>
                  <a:gd name="T3" fmla="*/ 78 h 78"/>
                  <a:gd name="T4" fmla="*/ 41 w 63"/>
                  <a:gd name="T5" fmla="*/ 67 h 78"/>
                  <a:gd name="T6" fmla="*/ 40 w 63"/>
                  <a:gd name="T7" fmla="*/ 69 h 78"/>
                  <a:gd name="T8" fmla="*/ 38 w 63"/>
                  <a:gd name="T9" fmla="*/ 69 h 78"/>
                  <a:gd name="T10" fmla="*/ 1 w 63"/>
                  <a:gd name="T11" fmla="*/ 47 h 78"/>
                  <a:gd name="T12" fmla="*/ 0 w 63"/>
                  <a:gd name="T13" fmla="*/ 45 h 78"/>
                  <a:gd name="T14" fmla="*/ 0 w 63"/>
                  <a:gd name="T15" fmla="*/ 2 h 78"/>
                  <a:gd name="T16" fmla="*/ 1 w 63"/>
                  <a:gd name="T17" fmla="*/ 1 h 78"/>
                  <a:gd name="T18" fmla="*/ 3 w 63"/>
                  <a:gd name="T19" fmla="*/ 1 h 78"/>
                  <a:gd name="T20" fmla="*/ 62 w 63"/>
                  <a:gd name="T21" fmla="*/ 35 h 78"/>
                  <a:gd name="T22" fmla="*/ 63 w 63"/>
                  <a:gd name="T23" fmla="*/ 36 h 78"/>
                  <a:gd name="T24" fmla="*/ 63 w 63"/>
                  <a:gd name="T25" fmla="*/ 76 h 78"/>
                  <a:gd name="T26" fmla="*/ 62 w 63"/>
                  <a:gd name="T27" fmla="*/ 78 h 78"/>
                  <a:gd name="T28" fmla="*/ 61 w 63"/>
                  <a:gd name="T29" fmla="*/ 78 h 78"/>
                  <a:gd name="T30" fmla="*/ 39 w 63"/>
                  <a:gd name="T31" fmla="*/ 62 h 78"/>
                  <a:gd name="T32" fmla="*/ 40 w 63"/>
                  <a:gd name="T33" fmla="*/ 62 h 78"/>
                  <a:gd name="T34" fmla="*/ 59 w 63"/>
                  <a:gd name="T35" fmla="*/ 73 h 78"/>
                  <a:gd name="T36" fmla="*/ 59 w 63"/>
                  <a:gd name="T37" fmla="*/ 38 h 78"/>
                  <a:gd name="T38" fmla="*/ 4 w 63"/>
                  <a:gd name="T39" fmla="*/ 6 h 78"/>
                  <a:gd name="T40" fmla="*/ 4 w 63"/>
                  <a:gd name="T41" fmla="*/ 44 h 78"/>
                  <a:gd name="T42" fmla="*/ 37 w 63"/>
                  <a:gd name="T43" fmla="*/ 64 h 78"/>
                  <a:gd name="T44" fmla="*/ 38 w 63"/>
                  <a:gd name="T45" fmla="*/ 62 h 78"/>
                  <a:gd name="T46" fmla="*/ 39 w 63"/>
                  <a:gd name="T47" fmla="*/ 6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61" y="78"/>
                    </a:moveTo>
                    <a:cubicBezTo>
                      <a:pt x="60" y="78"/>
                      <a:pt x="60" y="78"/>
                      <a:pt x="60" y="78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68"/>
                      <a:pt x="41" y="68"/>
                      <a:pt x="40" y="69"/>
                    </a:cubicBezTo>
                    <a:cubicBezTo>
                      <a:pt x="40" y="69"/>
                      <a:pt x="39" y="69"/>
                      <a:pt x="38" y="69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7"/>
                      <a:pt x="0" y="46"/>
                      <a:pt x="0" y="4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62" y="35"/>
                      <a:pt x="62" y="35"/>
                      <a:pt x="62" y="35"/>
                    </a:cubicBezTo>
                    <a:cubicBezTo>
                      <a:pt x="62" y="35"/>
                      <a:pt x="63" y="36"/>
                      <a:pt x="63" y="3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63" y="77"/>
                      <a:pt x="62" y="77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lose/>
                    <a:moveTo>
                      <a:pt x="39" y="62"/>
                    </a:moveTo>
                    <a:cubicBezTo>
                      <a:pt x="40" y="62"/>
                      <a:pt x="40" y="62"/>
                      <a:pt x="40" y="62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37" y="64"/>
                      <a:pt x="37" y="64"/>
                      <a:pt x="37" y="64"/>
                    </a:cubicBezTo>
                    <a:cubicBezTo>
                      <a:pt x="37" y="63"/>
                      <a:pt x="38" y="62"/>
                      <a:pt x="38" y="62"/>
                    </a:cubicBezTo>
                    <a:cubicBezTo>
                      <a:pt x="39" y="62"/>
                      <a:pt x="39" y="62"/>
                      <a:pt x="3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1016">
                <a:extLst>
                  <a:ext uri="{FF2B5EF4-FFF2-40B4-BE49-F238E27FC236}">
                    <a16:creationId xmlns:a16="http://schemas.microsoft.com/office/drawing/2014/main" id="{9899528B-5A1B-4FAC-BE73-924FB0A30C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781"/>
                <a:ext cx="43" cy="45"/>
              </a:xfrm>
              <a:custGeom>
                <a:avLst/>
                <a:gdLst>
                  <a:gd name="T0" fmla="*/ 4 w 18"/>
                  <a:gd name="T1" fmla="*/ 19 h 19"/>
                  <a:gd name="T2" fmla="*/ 3 w 18"/>
                  <a:gd name="T3" fmla="*/ 19 h 19"/>
                  <a:gd name="T4" fmla="*/ 1 w 18"/>
                  <a:gd name="T5" fmla="*/ 17 h 19"/>
                  <a:gd name="T6" fmla="*/ 0 w 18"/>
                  <a:gd name="T7" fmla="*/ 16 h 19"/>
                  <a:gd name="T8" fmla="*/ 0 w 18"/>
                  <a:gd name="T9" fmla="*/ 2 h 19"/>
                  <a:gd name="T10" fmla="*/ 1 w 18"/>
                  <a:gd name="T11" fmla="*/ 1 h 19"/>
                  <a:gd name="T12" fmla="*/ 3 w 18"/>
                  <a:gd name="T13" fmla="*/ 1 h 19"/>
                  <a:gd name="T14" fmla="*/ 17 w 18"/>
                  <a:gd name="T15" fmla="*/ 9 h 19"/>
                  <a:gd name="T16" fmla="*/ 18 w 18"/>
                  <a:gd name="T17" fmla="*/ 10 h 19"/>
                  <a:gd name="T18" fmla="*/ 17 w 18"/>
                  <a:gd name="T19" fmla="*/ 12 h 19"/>
                  <a:gd name="T20" fmla="*/ 5 w 18"/>
                  <a:gd name="T21" fmla="*/ 19 h 19"/>
                  <a:gd name="T22" fmla="*/ 4 w 18"/>
                  <a:gd name="T23" fmla="*/ 19 h 19"/>
                  <a:gd name="T24" fmla="*/ 4 w 18"/>
                  <a:gd name="T25" fmla="*/ 14 h 19"/>
                  <a:gd name="T26" fmla="*/ 4 w 18"/>
                  <a:gd name="T27" fmla="*/ 15 h 19"/>
                  <a:gd name="T28" fmla="*/ 12 w 18"/>
                  <a:gd name="T29" fmla="*/ 10 h 19"/>
                  <a:gd name="T30" fmla="*/ 4 w 18"/>
                  <a:gd name="T31" fmla="*/ 6 h 19"/>
                  <a:gd name="T32" fmla="*/ 4 w 18"/>
                  <a:gd name="T3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9">
                    <a:moveTo>
                      <a:pt x="4" y="19"/>
                    </a:moveTo>
                    <a:cubicBezTo>
                      <a:pt x="4" y="19"/>
                      <a:pt x="3" y="19"/>
                      <a:pt x="3" y="19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9"/>
                      <a:pt x="18" y="10"/>
                      <a:pt x="18" y="10"/>
                    </a:cubicBezTo>
                    <a:cubicBezTo>
                      <a:pt x="18" y="11"/>
                      <a:pt x="17" y="12"/>
                      <a:pt x="17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9"/>
                      <a:pt x="4" y="19"/>
                    </a:cubicBezTo>
                    <a:close/>
                    <a:moveTo>
                      <a:pt x="4" y="14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1017">
                <a:extLst>
                  <a:ext uri="{FF2B5EF4-FFF2-40B4-BE49-F238E27FC236}">
                    <a16:creationId xmlns:a16="http://schemas.microsoft.com/office/drawing/2014/main" id="{DB3CB0E2-F898-4ECA-B234-17E0AF83EA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09" y="2145"/>
                <a:ext cx="156" cy="121"/>
              </a:xfrm>
              <a:custGeom>
                <a:avLst/>
                <a:gdLst>
                  <a:gd name="T0" fmla="*/ 64 w 66"/>
                  <a:gd name="T1" fmla="*/ 51 h 51"/>
                  <a:gd name="T2" fmla="*/ 63 w 66"/>
                  <a:gd name="T3" fmla="*/ 50 h 51"/>
                  <a:gd name="T4" fmla="*/ 1 w 66"/>
                  <a:gd name="T5" fmla="*/ 15 h 51"/>
                  <a:gd name="T6" fmla="*/ 0 w 66"/>
                  <a:gd name="T7" fmla="*/ 13 h 51"/>
                  <a:gd name="T8" fmla="*/ 1 w 66"/>
                  <a:gd name="T9" fmla="*/ 11 h 51"/>
                  <a:gd name="T10" fmla="*/ 20 w 66"/>
                  <a:gd name="T11" fmla="*/ 0 h 51"/>
                  <a:gd name="T12" fmla="*/ 22 w 66"/>
                  <a:gd name="T13" fmla="*/ 0 h 51"/>
                  <a:gd name="T14" fmla="*/ 65 w 66"/>
                  <a:gd name="T15" fmla="*/ 25 h 51"/>
                  <a:gd name="T16" fmla="*/ 66 w 66"/>
                  <a:gd name="T17" fmla="*/ 27 h 51"/>
                  <a:gd name="T18" fmla="*/ 66 w 66"/>
                  <a:gd name="T19" fmla="*/ 49 h 51"/>
                  <a:gd name="T20" fmla="*/ 65 w 66"/>
                  <a:gd name="T21" fmla="*/ 50 h 51"/>
                  <a:gd name="T22" fmla="*/ 64 w 66"/>
                  <a:gd name="T23" fmla="*/ 51 h 51"/>
                  <a:gd name="T24" fmla="*/ 6 w 66"/>
                  <a:gd name="T25" fmla="*/ 13 h 51"/>
                  <a:gd name="T26" fmla="*/ 62 w 66"/>
                  <a:gd name="T27" fmla="*/ 45 h 51"/>
                  <a:gd name="T28" fmla="*/ 62 w 66"/>
                  <a:gd name="T29" fmla="*/ 28 h 51"/>
                  <a:gd name="T30" fmla="*/ 21 w 66"/>
                  <a:gd name="T31" fmla="*/ 4 h 51"/>
                  <a:gd name="T32" fmla="*/ 6 w 66"/>
                  <a:gd name="T33" fmla="*/ 1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" h="51">
                    <a:moveTo>
                      <a:pt x="64" y="51"/>
                    </a:moveTo>
                    <a:cubicBezTo>
                      <a:pt x="63" y="51"/>
                      <a:pt x="63" y="51"/>
                      <a:pt x="63" y="5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4"/>
                      <a:pt x="0" y="14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1" y="0"/>
                      <a:pt x="22" y="0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5" y="25"/>
                      <a:pt x="66" y="26"/>
                      <a:pt x="66" y="27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6" y="49"/>
                      <a:pt x="65" y="50"/>
                      <a:pt x="65" y="50"/>
                    </a:cubicBezTo>
                    <a:cubicBezTo>
                      <a:pt x="64" y="51"/>
                      <a:pt x="64" y="51"/>
                      <a:pt x="64" y="51"/>
                    </a:cubicBezTo>
                    <a:close/>
                    <a:moveTo>
                      <a:pt x="6" y="13"/>
                    </a:move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28"/>
                      <a:pt x="62" y="28"/>
                      <a:pt x="62" y="28"/>
                    </a:cubicBezTo>
                    <a:cubicBezTo>
                      <a:pt x="21" y="4"/>
                      <a:pt x="21" y="4"/>
                      <a:pt x="21" y="4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1018">
                <a:extLst>
                  <a:ext uri="{FF2B5EF4-FFF2-40B4-BE49-F238E27FC236}">
                    <a16:creationId xmlns:a16="http://schemas.microsoft.com/office/drawing/2014/main" id="{99C45A62-3F8C-4B92-B2B0-53793D476A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803"/>
                <a:ext cx="201" cy="347"/>
              </a:xfrm>
              <a:custGeom>
                <a:avLst/>
                <a:gdLst>
                  <a:gd name="T0" fmla="*/ 25 w 85"/>
                  <a:gd name="T1" fmla="*/ 147 h 147"/>
                  <a:gd name="T2" fmla="*/ 24 w 85"/>
                  <a:gd name="T3" fmla="*/ 147 h 147"/>
                  <a:gd name="T4" fmla="*/ 1 w 85"/>
                  <a:gd name="T5" fmla="*/ 133 h 147"/>
                  <a:gd name="T6" fmla="*/ 0 w 85"/>
                  <a:gd name="T7" fmla="*/ 131 h 147"/>
                  <a:gd name="T8" fmla="*/ 0 w 85"/>
                  <a:gd name="T9" fmla="*/ 9 h 147"/>
                  <a:gd name="T10" fmla="*/ 1 w 85"/>
                  <a:gd name="T11" fmla="*/ 7 h 147"/>
                  <a:gd name="T12" fmla="*/ 3 w 85"/>
                  <a:gd name="T13" fmla="*/ 7 h 147"/>
                  <a:gd name="T14" fmla="*/ 4 w 85"/>
                  <a:gd name="T15" fmla="*/ 8 h 147"/>
                  <a:gd name="T16" fmla="*/ 16 w 85"/>
                  <a:gd name="T17" fmla="*/ 1 h 147"/>
                  <a:gd name="T18" fmla="*/ 18 w 85"/>
                  <a:gd name="T19" fmla="*/ 1 h 147"/>
                  <a:gd name="T20" fmla="*/ 84 w 85"/>
                  <a:gd name="T21" fmla="*/ 39 h 147"/>
                  <a:gd name="T22" fmla="*/ 85 w 85"/>
                  <a:gd name="T23" fmla="*/ 41 h 147"/>
                  <a:gd name="T24" fmla="*/ 84 w 85"/>
                  <a:gd name="T25" fmla="*/ 42 h 147"/>
                  <a:gd name="T26" fmla="*/ 70 w 85"/>
                  <a:gd name="T27" fmla="*/ 51 h 147"/>
                  <a:gd name="T28" fmla="*/ 70 w 85"/>
                  <a:gd name="T29" fmla="*/ 120 h 147"/>
                  <a:gd name="T30" fmla="*/ 69 w 85"/>
                  <a:gd name="T31" fmla="*/ 122 h 147"/>
                  <a:gd name="T32" fmla="*/ 26 w 85"/>
                  <a:gd name="T33" fmla="*/ 147 h 147"/>
                  <a:gd name="T34" fmla="*/ 25 w 85"/>
                  <a:gd name="T35" fmla="*/ 147 h 147"/>
                  <a:gd name="T36" fmla="*/ 4 w 85"/>
                  <a:gd name="T37" fmla="*/ 130 h 147"/>
                  <a:gd name="T38" fmla="*/ 25 w 85"/>
                  <a:gd name="T39" fmla="*/ 143 h 147"/>
                  <a:gd name="T40" fmla="*/ 66 w 85"/>
                  <a:gd name="T41" fmla="*/ 119 h 147"/>
                  <a:gd name="T42" fmla="*/ 66 w 85"/>
                  <a:gd name="T43" fmla="*/ 50 h 147"/>
                  <a:gd name="T44" fmla="*/ 67 w 85"/>
                  <a:gd name="T45" fmla="*/ 48 h 147"/>
                  <a:gd name="T46" fmla="*/ 79 w 85"/>
                  <a:gd name="T47" fmla="*/ 41 h 147"/>
                  <a:gd name="T48" fmla="*/ 17 w 85"/>
                  <a:gd name="T49" fmla="*/ 5 h 147"/>
                  <a:gd name="T50" fmla="*/ 5 w 85"/>
                  <a:gd name="T51" fmla="*/ 12 h 147"/>
                  <a:gd name="T52" fmla="*/ 4 w 85"/>
                  <a:gd name="T53" fmla="*/ 12 h 147"/>
                  <a:gd name="T54" fmla="*/ 4 w 85"/>
                  <a:gd name="T55" fmla="*/ 13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147">
                    <a:moveTo>
                      <a:pt x="25" y="147"/>
                    </a:moveTo>
                    <a:cubicBezTo>
                      <a:pt x="25" y="147"/>
                      <a:pt x="24" y="147"/>
                      <a:pt x="24" y="147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" y="6"/>
                      <a:pt x="2" y="6"/>
                      <a:pt x="3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0"/>
                      <a:pt x="18" y="0"/>
                      <a:pt x="18" y="1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85" y="39"/>
                      <a:pt x="85" y="40"/>
                      <a:pt x="85" y="41"/>
                    </a:cubicBezTo>
                    <a:cubicBezTo>
                      <a:pt x="85" y="41"/>
                      <a:pt x="85" y="42"/>
                      <a:pt x="84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70" y="121"/>
                      <a:pt x="69" y="122"/>
                      <a:pt x="69" y="122"/>
                    </a:cubicBezTo>
                    <a:cubicBezTo>
                      <a:pt x="26" y="147"/>
                      <a:pt x="26" y="147"/>
                      <a:pt x="26" y="147"/>
                    </a:cubicBezTo>
                    <a:cubicBezTo>
                      <a:pt x="26" y="147"/>
                      <a:pt x="25" y="147"/>
                      <a:pt x="25" y="147"/>
                    </a:cubicBezTo>
                    <a:close/>
                    <a:moveTo>
                      <a:pt x="4" y="130"/>
                    </a:moveTo>
                    <a:cubicBezTo>
                      <a:pt x="25" y="143"/>
                      <a:pt x="25" y="143"/>
                      <a:pt x="25" y="143"/>
                    </a:cubicBezTo>
                    <a:cubicBezTo>
                      <a:pt x="66" y="119"/>
                      <a:pt x="66" y="119"/>
                      <a:pt x="66" y="119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6" y="49"/>
                      <a:pt x="66" y="48"/>
                      <a:pt x="67" y="48"/>
                    </a:cubicBezTo>
                    <a:cubicBezTo>
                      <a:pt x="79" y="41"/>
                      <a:pt x="79" y="41"/>
                      <a:pt x="79" y="41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4" y="12"/>
                      <a:pt x="4" y="12"/>
                    </a:cubicBezTo>
                    <a:lnTo>
                      <a:pt x="4" y="1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1019">
                <a:extLst>
                  <a:ext uri="{FF2B5EF4-FFF2-40B4-BE49-F238E27FC236}">
                    <a16:creationId xmlns:a16="http://schemas.microsoft.com/office/drawing/2014/main" id="{2FE7C8EF-6F1F-44F7-A3B2-E46DB9E82E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349"/>
                <a:ext cx="182" cy="224"/>
              </a:xfrm>
              <a:custGeom>
                <a:avLst/>
                <a:gdLst>
                  <a:gd name="T0" fmla="*/ 75 w 77"/>
                  <a:gd name="T1" fmla="*/ 95 h 95"/>
                  <a:gd name="T2" fmla="*/ 74 w 77"/>
                  <a:gd name="T3" fmla="*/ 94 h 95"/>
                  <a:gd name="T4" fmla="*/ 4 w 77"/>
                  <a:gd name="T5" fmla="*/ 54 h 95"/>
                  <a:gd name="T6" fmla="*/ 3 w 77"/>
                  <a:gd name="T7" fmla="*/ 55 h 95"/>
                  <a:gd name="T8" fmla="*/ 1 w 77"/>
                  <a:gd name="T9" fmla="*/ 55 h 95"/>
                  <a:gd name="T10" fmla="*/ 0 w 77"/>
                  <a:gd name="T11" fmla="*/ 53 h 95"/>
                  <a:gd name="T12" fmla="*/ 0 w 77"/>
                  <a:gd name="T13" fmla="*/ 44 h 95"/>
                  <a:gd name="T14" fmla="*/ 1 w 77"/>
                  <a:gd name="T15" fmla="*/ 43 h 95"/>
                  <a:gd name="T16" fmla="*/ 74 w 77"/>
                  <a:gd name="T17" fmla="*/ 0 h 95"/>
                  <a:gd name="T18" fmla="*/ 76 w 77"/>
                  <a:gd name="T19" fmla="*/ 0 h 95"/>
                  <a:gd name="T20" fmla="*/ 77 w 77"/>
                  <a:gd name="T21" fmla="*/ 2 h 95"/>
                  <a:gd name="T22" fmla="*/ 77 w 77"/>
                  <a:gd name="T23" fmla="*/ 93 h 95"/>
                  <a:gd name="T24" fmla="*/ 76 w 77"/>
                  <a:gd name="T25" fmla="*/ 94 h 95"/>
                  <a:gd name="T26" fmla="*/ 75 w 77"/>
                  <a:gd name="T27" fmla="*/ 95 h 95"/>
                  <a:gd name="T28" fmla="*/ 4 w 77"/>
                  <a:gd name="T29" fmla="*/ 49 h 95"/>
                  <a:gd name="T30" fmla="*/ 5 w 77"/>
                  <a:gd name="T31" fmla="*/ 50 h 95"/>
                  <a:gd name="T32" fmla="*/ 73 w 77"/>
                  <a:gd name="T33" fmla="*/ 89 h 95"/>
                  <a:gd name="T34" fmla="*/ 73 w 77"/>
                  <a:gd name="T35" fmla="*/ 5 h 95"/>
                  <a:gd name="T36" fmla="*/ 4 w 77"/>
                  <a:gd name="T37" fmla="*/ 46 h 95"/>
                  <a:gd name="T38" fmla="*/ 4 w 77"/>
                  <a:gd name="T39" fmla="*/ 49 h 95"/>
                  <a:gd name="T40" fmla="*/ 4 w 77"/>
                  <a:gd name="T41" fmla="*/ 4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7" h="95">
                    <a:moveTo>
                      <a:pt x="75" y="95"/>
                    </a:moveTo>
                    <a:cubicBezTo>
                      <a:pt x="75" y="95"/>
                      <a:pt x="75" y="94"/>
                      <a:pt x="74" y="9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2" y="55"/>
                      <a:pt x="1" y="55"/>
                      <a:pt x="1" y="55"/>
                    </a:cubicBezTo>
                    <a:cubicBezTo>
                      <a:pt x="0" y="54"/>
                      <a:pt x="0" y="54"/>
                      <a:pt x="0" y="5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77" y="93"/>
                      <a:pt x="77" y="94"/>
                      <a:pt x="76" y="94"/>
                    </a:cubicBezTo>
                    <a:cubicBezTo>
                      <a:pt x="76" y="94"/>
                      <a:pt x="76" y="95"/>
                      <a:pt x="75" y="95"/>
                    </a:cubicBezTo>
                    <a:close/>
                    <a:moveTo>
                      <a:pt x="4" y="49"/>
                    </a:moveTo>
                    <a:cubicBezTo>
                      <a:pt x="4" y="49"/>
                      <a:pt x="5" y="49"/>
                      <a:pt x="5" y="50"/>
                    </a:cubicBezTo>
                    <a:cubicBezTo>
                      <a:pt x="73" y="89"/>
                      <a:pt x="73" y="89"/>
                      <a:pt x="73" y="89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Freeform 1020">
                <a:extLst>
                  <a:ext uri="{FF2B5EF4-FFF2-40B4-BE49-F238E27FC236}">
                    <a16:creationId xmlns:a16="http://schemas.microsoft.com/office/drawing/2014/main" id="{1F7ABC05-1245-4A16-87A6-696041B8C8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09" y="1108"/>
                <a:ext cx="148" cy="90"/>
              </a:xfrm>
              <a:custGeom>
                <a:avLst/>
                <a:gdLst>
                  <a:gd name="T0" fmla="*/ 55 w 63"/>
                  <a:gd name="T1" fmla="*/ 38 h 38"/>
                  <a:gd name="T2" fmla="*/ 54 w 63"/>
                  <a:gd name="T3" fmla="*/ 38 h 38"/>
                  <a:gd name="T4" fmla="*/ 1 w 63"/>
                  <a:gd name="T5" fmla="*/ 7 h 38"/>
                  <a:gd name="T6" fmla="*/ 0 w 63"/>
                  <a:gd name="T7" fmla="*/ 5 h 38"/>
                  <a:gd name="T8" fmla="*/ 1 w 63"/>
                  <a:gd name="T9" fmla="*/ 4 h 38"/>
                  <a:gd name="T10" fmla="*/ 6 w 63"/>
                  <a:gd name="T11" fmla="*/ 1 h 38"/>
                  <a:gd name="T12" fmla="*/ 8 w 63"/>
                  <a:gd name="T13" fmla="*/ 1 h 38"/>
                  <a:gd name="T14" fmla="*/ 62 w 63"/>
                  <a:gd name="T15" fmla="*/ 31 h 38"/>
                  <a:gd name="T16" fmla="*/ 63 w 63"/>
                  <a:gd name="T17" fmla="*/ 33 h 38"/>
                  <a:gd name="T18" fmla="*/ 62 w 63"/>
                  <a:gd name="T19" fmla="*/ 35 h 38"/>
                  <a:gd name="T20" fmla="*/ 56 w 63"/>
                  <a:gd name="T21" fmla="*/ 38 h 38"/>
                  <a:gd name="T22" fmla="*/ 55 w 63"/>
                  <a:gd name="T23" fmla="*/ 38 h 38"/>
                  <a:gd name="T24" fmla="*/ 6 w 63"/>
                  <a:gd name="T25" fmla="*/ 5 h 38"/>
                  <a:gd name="T26" fmla="*/ 55 w 63"/>
                  <a:gd name="T27" fmla="*/ 34 h 38"/>
                  <a:gd name="T28" fmla="*/ 57 w 63"/>
                  <a:gd name="T29" fmla="*/ 33 h 38"/>
                  <a:gd name="T30" fmla="*/ 7 w 63"/>
                  <a:gd name="T31" fmla="*/ 5 h 38"/>
                  <a:gd name="T32" fmla="*/ 6 w 63"/>
                  <a:gd name="T33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38">
                    <a:moveTo>
                      <a:pt x="55" y="38"/>
                    </a:moveTo>
                    <a:cubicBezTo>
                      <a:pt x="55" y="38"/>
                      <a:pt x="54" y="38"/>
                      <a:pt x="54" y="3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62" y="32"/>
                      <a:pt x="63" y="32"/>
                      <a:pt x="63" y="33"/>
                    </a:cubicBezTo>
                    <a:cubicBezTo>
                      <a:pt x="63" y="34"/>
                      <a:pt x="62" y="34"/>
                      <a:pt x="62" y="35"/>
                    </a:cubicBezTo>
                    <a:cubicBezTo>
                      <a:pt x="56" y="38"/>
                      <a:pt x="56" y="38"/>
                      <a:pt x="56" y="38"/>
                    </a:cubicBezTo>
                    <a:cubicBezTo>
                      <a:pt x="56" y="38"/>
                      <a:pt x="55" y="38"/>
                      <a:pt x="55" y="38"/>
                    </a:cubicBezTo>
                    <a:close/>
                    <a:moveTo>
                      <a:pt x="6" y="5"/>
                    </a:moveTo>
                    <a:cubicBezTo>
                      <a:pt x="55" y="34"/>
                      <a:pt x="55" y="34"/>
                      <a:pt x="55" y="34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Freeform 1021">
                <a:extLst>
                  <a:ext uri="{FF2B5EF4-FFF2-40B4-BE49-F238E27FC236}">
                    <a16:creationId xmlns:a16="http://schemas.microsoft.com/office/drawing/2014/main" id="{79687C5C-4B16-493C-AE0F-33894CEC8E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10" y="1193"/>
                <a:ext cx="71" cy="59"/>
              </a:xfrm>
              <a:custGeom>
                <a:avLst/>
                <a:gdLst>
                  <a:gd name="T0" fmla="*/ 28 w 30"/>
                  <a:gd name="T1" fmla="*/ 25 h 25"/>
                  <a:gd name="T2" fmla="*/ 27 w 30"/>
                  <a:gd name="T3" fmla="*/ 25 h 25"/>
                  <a:gd name="T4" fmla="*/ 1 w 30"/>
                  <a:gd name="T5" fmla="*/ 10 h 25"/>
                  <a:gd name="T6" fmla="*/ 0 w 30"/>
                  <a:gd name="T7" fmla="*/ 8 h 25"/>
                  <a:gd name="T8" fmla="*/ 1 w 30"/>
                  <a:gd name="T9" fmla="*/ 6 h 25"/>
                  <a:gd name="T10" fmla="*/ 11 w 30"/>
                  <a:gd name="T11" fmla="*/ 0 h 25"/>
                  <a:gd name="T12" fmla="*/ 13 w 30"/>
                  <a:gd name="T13" fmla="*/ 0 h 25"/>
                  <a:gd name="T14" fmla="*/ 29 w 30"/>
                  <a:gd name="T15" fmla="*/ 10 h 25"/>
                  <a:gd name="T16" fmla="*/ 30 w 30"/>
                  <a:gd name="T17" fmla="*/ 12 h 25"/>
                  <a:gd name="T18" fmla="*/ 30 w 30"/>
                  <a:gd name="T19" fmla="*/ 23 h 25"/>
                  <a:gd name="T20" fmla="*/ 29 w 30"/>
                  <a:gd name="T21" fmla="*/ 25 h 25"/>
                  <a:gd name="T22" fmla="*/ 28 w 30"/>
                  <a:gd name="T23" fmla="*/ 25 h 25"/>
                  <a:gd name="T24" fmla="*/ 6 w 30"/>
                  <a:gd name="T25" fmla="*/ 8 h 25"/>
                  <a:gd name="T26" fmla="*/ 26 w 30"/>
                  <a:gd name="T27" fmla="*/ 20 h 25"/>
                  <a:gd name="T28" fmla="*/ 26 w 30"/>
                  <a:gd name="T29" fmla="*/ 13 h 25"/>
                  <a:gd name="T30" fmla="*/ 12 w 30"/>
                  <a:gd name="T31" fmla="*/ 5 h 25"/>
                  <a:gd name="T32" fmla="*/ 6 w 30"/>
                  <a:gd name="T3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5">
                    <a:moveTo>
                      <a:pt x="28" y="25"/>
                    </a:moveTo>
                    <a:cubicBezTo>
                      <a:pt x="28" y="25"/>
                      <a:pt x="28" y="25"/>
                      <a:pt x="27" y="25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9"/>
                      <a:pt x="0" y="9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0"/>
                      <a:pt x="30" y="11"/>
                      <a:pt x="30" y="12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30" y="24"/>
                      <a:pt x="30" y="25"/>
                      <a:pt x="29" y="25"/>
                    </a:cubicBezTo>
                    <a:cubicBezTo>
                      <a:pt x="29" y="25"/>
                      <a:pt x="29" y="25"/>
                      <a:pt x="28" y="25"/>
                    </a:cubicBezTo>
                    <a:close/>
                    <a:moveTo>
                      <a:pt x="6" y="8"/>
                    </a:move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2" y="5"/>
                      <a:pt x="12" y="5"/>
                      <a:pt x="12" y="5"/>
                    </a:cubicBezTo>
                    <a:lnTo>
                      <a:pt x="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1022">
                <a:extLst>
                  <a:ext uri="{FF2B5EF4-FFF2-40B4-BE49-F238E27FC236}">
                    <a16:creationId xmlns:a16="http://schemas.microsoft.com/office/drawing/2014/main" id="{21665FAB-7FA5-4498-86AC-18C2CE690F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25" y="1021"/>
                <a:ext cx="156" cy="200"/>
              </a:xfrm>
              <a:custGeom>
                <a:avLst/>
                <a:gdLst>
                  <a:gd name="T0" fmla="*/ 64 w 66"/>
                  <a:gd name="T1" fmla="*/ 85 h 85"/>
                  <a:gd name="T2" fmla="*/ 63 w 66"/>
                  <a:gd name="T3" fmla="*/ 84 h 85"/>
                  <a:gd name="T4" fmla="*/ 49 w 66"/>
                  <a:gd name="T5" fmla="*/ 76 h 85"/>
                  <a:gd name="T6" fmla="*/ 48 w 66"/>
                  <a:gd name="T7" fmla="*/ 74 h 85"/>
                  <a:gd name="T8" fmla="*/ 49 w 66"/>
                  <a:gd name="T9" fmla="*/ 73 h 85"/>
                  <a:gd name="T10" fmla="*/ 53 w 66"/>
                  <a:gd name="T11" fmla="*/ 70 h 85"/>
                  <a:gd name="T12" fmla="*/ 1 w 66"/>
                  <a:gd name="T13" fmla="*/ 40 h 85"/>
                  <a:gd name="T14" fmla="*/ 0 w 66"/>
                  <a:gd name="T15" fmla="*/ 38 h 85"/>
                  <a:gd name="T16" fmla="*/ 1 w 66"/>
                  <a:gd name="T17" fmla="*/ 37 h 85"/>
                  <a:gd name="T18" fmla="*/ 63 w 66"/>
                  <a:gd name="T19" fmla="*/ 0 h 85"/>
                  <a:gd name="T20" fmla="*/ 65 w 66"/>
                  <a:gd name="T21" fmla="*/ 0 h 85"/>
                  <a:gd name="T22" fmla="*/ 66 w 66"/>
                  <a:gd name="T23" fmla="*/ 2 h 85"/>
                  <a:gd name="T24" fmla="*/ 66 w 66"/>
                  <a:gd name="T25" fmla="*/ 83 h 85"/>
                  <a:gd name="T26" fmla="*/ 65 w 66"/>
                  <a:gd name="T27" fmla="*/ 84 h 85"/>
                  <a:gd name="T28" fmla="*/ 64 w 66"/>
                  <a:gd name="T29" fmla="*/ 85 h 85"/>
                  <a:gd name="T30" fmla="*/ 54 w 66"/>
                  <a:gd name="T31" fmla="*/ 74 h 85"/>
                  <a:gd name="T32" fmla="*/ 62 w 66"/>
                  <a:gd name="T33" fmla="*/ 79 h 85"/>
                  <a:gd name="T34" fmla="*/ 62 w 66"/>
                  <a:gd name="T35" fmla="*/ 6 h 85"/>
                  <a:gd name="T36" fmla="*/ 6 w 66"/>
                  <a:gd name="T37" fmla="*/ 38 h 85"/>
                  <a:gd name="T38" fmla="*/ 58 w 66"/>
                  <a:gd name="T39" fmla="*/ 68 h 85"/>
                  <a:gd name="T40" fmla="*/ 59 w 66"/>
                  <a:gd name="T41" fmla="*/ 70 h 85"/>
                  <a:gd name="T42" fmla="*/ 58 w 66"/>
                  <a:gd name="T43" fmla="*/ 72 h 85"/>
                  <a:gd name="T44" fmla="*/ 54 w 66"/>
                  <a:gd name="T45" fmla="*/ 7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" h="85">
                    <a:moveTo>
                      <a:pt x="64" y="85"/>
                    </a:moveTo>
                    <a:cubicBezTo>
                      <a:pt x="64" y="85"/>
                      <a:pt x="64" y="85"/>
                      <a:pt x="63" y="84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48" y="76"/>
                      <a:pt x="48" y="75"/>
                      <a:pt x="48" y="74"/>
                    </a:cubicBezTo>
                    <a:cubicBezTo>
                      <a:pt x="48" y="74"/>
                      <a:pt x="48" y="73"/>
                      <a:pt x="49" y="73"/>
                    </a:cubicBezTo>
                    <a:cubicBezTo>
                      <a:pt x="53" y="70"/>
                      <a:pt x="53" y="70"/>
                      <a:pt x="53" y="7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38"/>
                      <a:pt x="0" y="37"/>
                      <a:pt x="1" y="37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4" y="0"/>
                      <a:pt x="65" y="0"/>
                      <a:pt x="65" y="0"/>
                    </a:cubicBezTo>
                    <a:cubicBezTo>
                      <a:pt x="66" y="1"/>
                      <a:pt x="66" y="1"/>
                      <a:pt x="66" y="2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83"/>
                      <a:pt x="66" y="84"/>
                      <a:pt x="65" y="84"/>
                    </a:cubicBezTo>
                    <a:cubicBezTo>
                      <a:pt x="65" y="85"/>
                      <a:pt x="65" y="85"/>
                      <a:pt x="64" y="85"/>
                    </a:cubicBezTo>
                    <a:close/>
                    <a:moveTo>
                      <a:pt x="54" y="74"/>
                    </a:moveTo>
                    <a:cubicBezTo>
                      <a:pt x="62" y="79"/>
                      <a:pt x="62" y="79"/>
                      <a:pt x="62" y="7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9" y="69"/>
                      <a:pt x="59" y="69"/>
                      <a:pt x="59" y="70"/>
                    </a:cubicBezTo>
                    <a:cubicBezTo>
                      <a:pt x="59" y="71"/>
                      <a:pt x="59" y="71"/>
                      <a:pt x="58" y="72"/>
                    </a:cubicBezTo>
                    <a:lnTo>
                      <a:pt x="54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1023">
                <a:extLst>
                  <a:ext uri="{FF2B5EF4-FFF2-40B4-BE49-F238E27FC236}">
                    <a16:creationId xmlns:a16="http://schemas.microsoft.com/office/drawing/2014/main" id="{881A7179-E8B3-4A66-9C18-46F8758586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2341"/>
                <a:ext cx="210" cy="437"/>
              </a:xfrm>
              <a:custGeom>
                <a:avLst/>
                <a:gdLst>
                  <a:gd name="T0" fmla="*/ 2 w 89"/>
                  <a:gd name="T1" fmla="*/ 185 h 185"/>
                  <a:gd name="T2" fmla="*/ 1 w 89"/>
                  <a:gd name="T3" fmla="*/ 184 h 185"/>
                  <a:gd name="T4" fmla="*/ 0 w 89"/>
                  <a:gd name="T5" fmla="*/ 183 h 185"/>
                  <a:gd name="T6" fmla="*/ 0 w 89"/>
                  <a:gd name="T7" fmla="*/ 44 h 185"/>
                  <a:gd name="T8" fmla="*/ 1 w 89"/>
                  <a:gd name="T9" fmla="*/ 43 h 185"/>
                  <a:gd name="T10" fmla="*/ 74 w 89"/>
                  <a:gd name="T11" fmla="*/ 0 h 185"/>
                  <a:gd name="T12" fmla="*/ 76 w 89"/>
                  <a:gd name="T13" fmla="*/ 0 h 185"/>
                  <a:gd name="T14" fmla="*/ 77 w 89"/>
                  <a:gd name="T15" fmla="*/ 2 h 185"/>
                  <a:gd name="T16" fmla="*/ 77 w 89"/>
                  <a:gd name="T17" fmla="*/ 125 h 185"/>
                  <a:gd name="T18" fmla="*/ 88 w 89"/>
                  <a:gd name="T19" fmla="*/ 131 h 185"/>
                  <a:gd name="T20" fmla="*/ 89 w 89"/>
                  <a:gd name="T21" fmla="*/ 133 h 185"/>
                  <a:gd name="T22" fmla="*/ 88 w 89"/>
                  <a:gd name="T23" fmla="*/ 135 h 185"/>
                  <a:gd name="T24" fmla="*/ 3 w 89"/>
                  <a:gd name="T25" fmla="*/ 184 h 185"/>
                  <a:gd name="T26" fmla="*/ 2 w 89"/>
                  <a:gd name="T27" fmla="*/ 185 h 185"/>
                  <a:gd name="T28" fmla="*/ 4 w 89"/>
                  <a:gd name="T29" fmla="*/ 46 h 185"/>
                  <a:gd name="T30" fmla="*/ 4 w 89"/>
                  <a:gd name="T31" fmla="*/ 179 h 185"/>
                  <a:gd name="T32" fmla="*/ 83 w 89"/>
                  <a:gd name="T33" fmla="*/ 133 h 185"/>
                  <a:gd name="T34" fmla="*/ 74 w 89"/>
                  <a:gd name="T35" fmla="*/ 128 h 185"/>
                  <a:gd name="T36" fmla="*/ 73 w 89"/>
                  <a:gd name="T37" fmla="*/ 126 h 185"/>
                  <a:gd name="T38" fmla="*/ 73 w 89"/>
                  <a:gd name="T39" fmla="*/ 5 h 185"/>
                  <a:gd name="T40" fmla="*/ 4 w 89"/>
                  <a:gd name="T41" fmla="*/ 46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9" h="185">
                    <a:moveTo>
                      <a:pt x="2" y="185"/>
                    </a:moveTo>
                    <a:cubicBezTo>
                      <a:pt x="1" y="185"/>
                      <a:pt x="1" y="184"/>
                      <a:pt x="1" y="184"/>
                    </a:cubicBezTo>
                    <a:cubicBezTo>
                      <a:pt x="0" y="184"/>
                      <a:pt x="0" y="183"/>
                      <a:pt x="0" y="18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5" y="0"/>
                      <a:pt x="76" y="0"/>
                      <a:pt x="76" y="0"/>
                    </a:cubicBezTo>
                    <a:cubicBezTo>
                      <a:pt x="77" y="0"/>
                      <a:pt x="77" y="1"/>
                      <a:pt x="77" y="2"/>
                    </a:cubicBezTo>
                    <a:cubicBezTo>
                      <a:pt x="77" y="125"/>
                      <a:pt x="77" y="125"/>
                      <a:pt x="77" y="125"/>
                    </a:cubicBezTo>
                    <a:cubicBezTo>
                      <a:pt x="88" y="131"/>
                      <a:pt x="88" y="131"/>
                      <a:pt x="88" y="131"/>
                    </a:cubicBezTo>
                    <a:cubicBezTo>
                      <a:pt x="89" y="132"/>
                      <a:pt x="89" y="132"/>
                      <a:pt x="89" y="133"/>
                    </a:cubicBezTo>
                    <a:cubicBezTo>
                      <a:pt x="89" y="134"/>
                      <a:pt x="89" y="134"/>
                      <a:pt x="88" y="135"/>
                    </a:cubicBezTo>
                    <a:cubicBezTo>
                      <a:pt x="3" y="184"/>
                      <a:pt x="3" y="184"/>
                      <a:pt x="3" y="184"/>
                    </a:cubicBezTo>
                    <a:cubicBezTo>
                      <a:pt x="2" y="184"/>
                      <a:pt x="2" y="185"/>
                      <a:pt x="2" y="185"/>
                    </a:cubicBezTo>
                    <a:close/>
                    <a:moveTo>
                      <a:pt x="4" y="46"/>
                    </a:moveTo>
                    <a:cubicBezTo>
                      <a:pt x="4" y="179"/>
                      <a:pt x="4" y="179"/>
                      <a:pt x="4" y="179"/>
                    </a:cubicBezTo>
                    <a:cubicBezTo>
                      <a:pt x="83" y="133"/>
                      <a:pt x="83" y="133"/>
                      <a:pt x="83" y="133"/>
                    </a:cubicBezTo>
                    <a:cubicBezTo>
                      <a:pt x="74" y="128"/>
                      <a:pt x="74" y="128"/>
                      <a:pt x="74" y="128"/>
                    </a:cubicBezTo>
                    <a:cubicBezTo>
                      <a:pt x="74" y="128"/>
                      <a:pt x="73" y="127"/>
                      <a:pt x="73" y="126"/>
                    </a:cubicBezTo>
                    <a:cubicBezTo>
                      <a:pt x="73" y="5"/>
                      <a:pt x="73" y="5"/>
                      <a:pt x="73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1024">
                <a:extLst>
                  <a:ext uri="{FF2B5EF4-FFF2-40B4-BE49-F238E27FC236}">
                    <a16:creationId xmlns:a16="http://schemas.microsoft.com/office/drawing/2014/main" id="{C6F9B28A-5562-4210-9781-E2885CC278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1" y="2306"/>
                <a:ext cx="69" cy="49"/>
              </a:xfrm>
              <a:custGeom>
                <a:avLst/>
                <a:gdLst>
                  <a:gd name="T0" fmla="*/ 27 w 29"/>
                  <a:gd name="T1" fmla="*/ 21 h 21"/>
                  <a:gd name="T2" fmla="*/ 26 w 29"/>
                  <a:gd name="T3" fmla="*/ 21 h 21"/>
                  <a:gd name="T4" fmla="*/ 1 w 29"/>
                  <a:gd name="T5" fmla="*/ 6 h 21"/>
                  <a:gd name="T6" fmla="*/ 0 w 29"/>
                  <a:gd name="T7" fmla="*/ 5 h 21"/>
                  <a:gd name="T8" fmla="*/ 1 w 29"/>
                  <a:gd name="T9" fmla="*/ 3 h 21"/>
                  <a:gd name="T10" fmla="*/ 6 w 29"/>
                  <a:gd name="T11" fmla="*/ 0 h 21"/>
                  <a:gd name="T12" fmla="*/ 8 w 29"/>
                  <a:gd name="T13" fmla="*/ 0 h 21"/>
                  <a:gd name="T14" fmla="*/ 28 w 29"/>
                  <a:gd name="T15" fmla="*/ 12 h 21"/>
                  <a:gd name="T16" fmla="*/ 29 w 29"/>
                  <a:gd name="T17" fmla="*/ 13 h 21"/>
                  <a:gd name="T18" fmla="*/ 29 w 29"/>
                  <a:gd name="T19" fmla="*/ 19 h 21"/>
                  <a:gd name="T20" fmla="*/ 28 w 29"/>
                  <a:gd name="T21" fmla="*/ 21 h 21"/>
                  <a:gd name="T22" fmla="*/ 27 w 29"/>
                  <a:gd name="T23" fmla="*/ 21 h 21"/>
                  <a:gd name="T24" fmla="*/ 6 w 29"/>
                  <a:gd name="T25" fmla="*/ 5 h 21"/>
                  <a:gd name="T26" fmla="*/ 25 w 29"/>
                  <a:gd name="T27" fmla="*/ 15 h 21"/>
                  <a:gd name="T28" fmla="*/ 25 w 29"/>
                  <a:gd name="T29" fmla="*/ 15 h 21"/>
                  <a:gd name="T30" fmla="*/ 7 w 29"/>
                  <a:gd name="T31" fmla="*/ 4 h 21"/>
                  <a:gd name="T32" fmla="*/ 6 w 29"/>
                  <a:gd name="T33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21">
                    <a:moveTo>
                      <a:pt x="27" y="21"/>
                    </a:moveTo>
                    <a:cubicBezTo>
                      <a:pt x="27" y="21"/>
                      <a:pt x="26" y="21"/>
                      <a:pt x="26" y="21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9" y="12"/>
                      <a:pt x="29" y="13"/>
                      <a:pt x="29" y="13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20"/>
                      <a:pt x="29" y="20"/>
                      <a:pt x="28" y="21"/>
                    </a:cubicBezTo>
                    <a:cubicBezTo>
                      <a:pt x="28" y="21"/>
                      <a:pt x="27" y="21"/>
                      <a:pt x="27" y="21"/>
                    </a:cubicBezTo>
                    <a:close/>
                    <a:moveTo>
                      <a:pt x="6" y="5"/>
                    </a:moveTo>
                    <a:cubicBezTo>
                      <a:pt x="25" y="15"/>
                      <a:pt x="25" y="15"/>
                      <a:pt x="25" y="1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7" y="4"/>
                      <a:pt x="7" y="4"/>
                      <a:pt x="7" y="4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1025">
                <a:extLst>
                  <a:ext uri="{FF2B5EF4-FFF2-40B4-BE49-F238E27FC236}">
                    <a16:creationId xmlns:a16="http://schemas.microsoft.com/office/drawing/2014/main" id="{B2952E21-4A37-4C06-B528-432802DD20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2313"/>
                <a:ext cx="114" cy="345"/>
              </a:xfrm>
              <a:custGeom>
                <a:avLst/>
                <a:gdLst>
                  <a:gd name="T0" fmla="*/ 14 w 48"/>
                  <a:gd name="T1" fmla="*/ 146 h 146"/>
                  <a:gd name="T2" fmla="*/ 13 w 48"/>
                  <a:gd name="T3" fmla="*/ 146 h 146"/>
                  <a:gd name="T4" fmla="*/ 1 w 48"/>
                  <a:gd name="T5" fmla="*/ 139 h 146"/>
                  <a:gd name="T6" fmla="*/ 0 w 48"/>
                  <a:gd name="T7" fmla="*/ 137 h 146"/>
                  <a:gd name="T8" fmla="*/ 0 w 48"/>
                  <a:gd name="T9" fmla="*/ 13 h 146"/>
                  <a:gd name="T10" fmla="*/ 1 w 48"/>
                  <a:gd name="T11" fmla="*/ 11 h 146"/>
                  <a:gd name="T12" fmla="*/ 19 w 48"/>
                  <a:gd name="T13" fmla="*/ 1 h 146"/>
                  <a:gd name="T14" fmla="*/ 21 w 48"/>
                  <a:gd name="T15" fmla="*/ 1 h 146"/>
                  <a:gd name="T16" fmla="*/ 47 w 48"/>
                  <a:gd name="T17" fmla="*/ 16 h 146"/>
                  <a:gd name="T18" fmla="*/ 48 w 48"/>
                  <a:gd name="T19" fmla="*/ 18 h 146"/>
                  <a:gd name="T20" fmla="*/ 48 w 48"/>
                  <a:gd name="T21" fmla="*/ 125 h 146"/>
                  <a:gd name="T22" fmla="*/ 47 w 48"/>
                  <a:gd name="T23" fmla="*/ 127 h 146"/>
                  <a:gd name="T24" fmla="*/ 15 w 48"/>
                  <a:gd name="T25" fmla="*/ 146 h 146"/>
                  <a:gd name="T26" fmla="*/ 14 w 48"/>
                  <a:gd name="T27" fmla="*/ 146 h 146"/>
                  <a:gd name="T28" fmla="*/ 4 w 48"/>
                  <a:gd name="T29" fmla="*/ 136 h 146"/>
                  <a:gd name="T30" fmla="*/ 14 w 48"/>
                  <a:gd name="T31" fmla="*/ 142 h 146"/>
                  <a:gd name="T32" fmla="*/ 44 w 48"/>
                  <a:gd name="T33" fmla="*/ 124 h 146"/>
                  <a:gd name="T34" fmla="*/ 44 w 48"/>
                  <a:gd name="T35" fmla="*/ 19 h 146"/>
                  <a:gd name="T36" fmla="*/ 20 w 48"/>
                  <a:gd name="T37" fmla="*/ 5 h 146"/>
                  <a:gd name="T38" fmla="*/ 4 w 48"/>
                  <a:gd name="T39" fmla="*/ 14 h 146"/>
                  <a:gd name="T40" fmla="*/ 4 w 48"/>
                  <a:gd name="T41" fmla="*/ 13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146">
                    <a:moveTo>
                      <a:pt x="14" y="146"/>
                    </a:moveTo>
                    <a:cubicBezTo>
                      <a:pt x="14" y="146"/>
                      <a:pt x="13" y="146"/>
                      <a:pt x="13" y="146"/>
                    </a:cubicBezTo>
                    <a:cubicBezTo>
                      <a:pt x="1" y="139"/>
                      <a:pt x="1" y="139"/>
                      <a:pt x="1" y="139"/>
                    </a:cubicBezTo>
                    <a:cubicBezTo>
                      <a:pt x="0" y="139"/>
                      <a:pt x="0" y="138"/>
                      <a:pt x="0" y="137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0"/>
                      <a:pt x="20" y="0"/>
                      <a:pt x="21" y="1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8" y="16"/>
                      <a:pt x="48" y="17"/>
                      <a:pt x="48" y="18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8" y="126"/>
                      <a:pt x="48" y="127"/>
                      <a:pt x="47" y="127"/>
                    </a:cubicBezTo>
                    <a:cubicBezTo>
                      <a:pt x="15" y="146"/>
                      <a:pt x="15" y="146"/>
                      <a:pt x="15" y="146"/>
                    </a:cubicBezTo>
                    <a:cubicBezTo>
                      <a:pt x="15" y="146"/>
                      <a:pt x="14" y="146"/>
                      <a:pt x="14" y="146"/>
                    </a:cubicBezTo>
                    <a:close/>
                    <a:moveTo>
                      <a:pt x="4" y="136"/>
                    </a:moveTo>
                    <a:cubicBezTo>
                      <a:pt x="14" y="142"/>
                      <a:pt x="14" y="142"/>
                      <a:pt x="14" y="142"/>
                    </a:cubicBezTo>
                    <a:cubicBezTo>
                      <a:pt x="44" y="124"/>
                      <a:pt x="44" y="124"/>
                      <a:pt x="44" y="124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4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 1026">
                <a:extLst>
                  <a:ext uri="{FF2B5EF4-FFF2-40B4-BE49-F238E27FC236}">
                    <a16:creationId xmlns:a16="http://schemas.microsoft.com/office/drawing/2014/main" id="{3EEAA9B8-B389-4109-8668-51CD9C6092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2289"/>
                <a:ext cx="48" cy="55"/>
              </a:xfrm>
              <a:custGeom>
                <a:avLst/>
                <a:gdLst>
                  <a:gd name="T0" fmla="*/ 2 w 20"/>
                  <a:gd name="T1" fmla="*/ 23 h 23"/>
                  <a:gd name="T2" fmla="*/ 1 w 20"/>
                  <a:gd name="T3" fmla="*/ 23 h 23"/>
                  <a:gd name="T4" fmla="*/ 0 w 20"/>
                  <a:gd name="T5" fmla="*/ 21 h 23"/>
                  <a:gd name="T6" fmla="*/ 0 w 20"/>
                  <a:gd name="T7" fmla="*/ 2 h 23"/>
                  <a:gd name="T8" fmla="*/ 1 w 20"/>
                  <a:gd name="T9" fmla="*/ 1 h 23"/>
                  <a:gd name="T10" fmla="*/ 3 w 20"/>
                  <a:gd name="T11" fmla="*/ 1 h 23"/>
                  <a:gd name="T12" fmla="*/ 19 w 20"/>
                  <a:gd name="T13" fmla="*/ 10 h 23"/>
                  <a:gd name="T14" fmla="*/ 20 w 20"/>
                  <a:gd name="T15" fmla="*/ 12 h 23"/>
                  <a:gd name="T16" fmla="*/ 19 w 20"/>
                  <a:gd name="T17" fmla="*/ 13 h 23"/>
                  <a:gd name="T18" fmla="*/ 3 w 20"/>
                  <a:gd name="T19" fmla="*/ 23 h 23"/>
                  <a:gd name="T20" fmla="*/ 2 w 20"/>
                  <a:gd name="T21" fmla="*/ 23 h 23"/>
                  <a:gd name="T22" fmla="*/ 4 w 20"/>
                  <a:gd name="T23" fmla="*/ 6 h 23"/>
                  <a:gd name="T24" fmla="*/ 4 w 20"/>
                  <a:gd name="T25" fmla="*/ 17 h 23"/>
                  <a:gd name="T26" fmla="*/ 14 w 20"/>
                  <a:gd name="T27" fmla="*/ 12 h 23"/>
                  <a:gd name="T28" fmla="*/ 4 w 20"/>
                  <a:gd name="T29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23">
                    <a:moveTo>
                      <a:pt x="2" y="23"/>
                    </a:moveTo>
                    <a:cubicBezTo>
                      <a:pt x="2" y="23"/>
                      <a:pt x="1" y="23"/>
                      <a:pt x="1" y="23"/>
                    </a:cubicBezTo>
                    <a:cubicBezTo>
                      <a:pt x="0" y="22"/>
                      <a:pt x="0" y="22"/>
                      <a:pt x="0" y="2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20" y="10"/>
                      <a:pt x="20" y="11"/>
                      <a:pt x="20" y="12"/>
                    </a:cubicBezTo>
                    <a:cubicBezTo>
                      <a:pt x="20" y="12"/>
                      <a:pt x="20" y="13"/>
                      <a:pt x="19" y="1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  <a:moveTo>
                      <a:pt x="4" y="6"/>
                    </a:moveTo>
                    <a:cubicBezTo>
                      <a:pt x="4" y="17"/>
                      <a:pt x="4" y="17"/>
                      <a:pt x="4" y="17"/>
                    </a:cubicBezTo>
                    <a:cubicBezTo>
                      <a:pt x="14" y="12"/>
                      <a:pt x="14" y="12"/>
                      <a:pt x="14" y="12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Freeform 1027">
                <a:extLst>
                  <a:ext uri="{FF2B5EF4-FFF2-40B4-BE49-F238E27FC236}">
                    <a16:creationId xmlns:a16="http://schemas.microsoft.com/office/drawing/2014/main" id="{9AA6DE1D-1EB6-42FC-AF2B-F7BE50277E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24" y="1002"/>
                <a:ext cx="589" cy="368"/>
              </a:xfrm>
              <a:custGeom>
                <a:avLst/>
                <a:gdLst>
                  <a:gd name="T0" fmla="*/ 134 w 249"/>
                  <a:gd name="T1" fmla="*/ 156 h 156"/>
                  <a:gd name="T2" fmla="*/ 133 w 249"/>
                  <a:gd name="T3" fmla="*/ 156 h 156"/>
                  <a:gd name="T4" fmla="*/ 1 w 249"/>
                  <a:gd name="T5" fmla="*/ 80 h 156"/>
                  <a:gd name="T6" fmla="*/ 0 w 249"/>
                  <a:gd name="T7" fmla="*/ 78 h 156"/>
                  <a:gd name="T8" fmla="*/ 1 w 249"/>
                  <a:gd name="T9" fmla="*/ 76 h 156"/>
                  <a:gd name="T10" fmla="*/ 133 w 249"/>
                  <a:gd name="T11" fmla="*/ 0 h 156"/>
                  <a:gd name="T12" fmla="*/ 135 w 249"/>
                  <a:gd name="T13" fmla="*/ 0 h 156"/>
                  <a:gd name="T14" fmla="*/ 150 w 249"/>
                  <a:gd name="T15" fmla="*/ 9 h 156"/>
                  <a:gd name="T16" fmla="*/ 151 w 249"/>
                  <a:gd name="T17" fmla="*/ 11 h 156"/>
                  <a:gd name="T18" fmla="*/ 151 w 249"/>
                  <a:gd name="T19" fmla="*/ 32 h 156"/>
                  <a:gd name="T20" fmla="*/ 248 w 249"/>
                  <a:gd name="T21" fmla="*/ 87 h 156"/>
                  <a:gd name="T22" fmla="*/ 249 w 249"/>
                  <a:gd name="T23" fmla="*/ 89 h 156"/>
                  <a:gd name="T24" fmla="*/ 248 w 249"/>
                  <a:gd name="T25" fmla="*/ 91 h 156"/>
                  <a:gd name="T26" fmla="*/ 135 w 249"/>
                  <a:gd name="T27" fmla="*/ 156 h 156"/>
                  <a:gd name="T28" fmla="*/ 134 w 249"/>
                  <a:gd name="T29" fmla="*/ 156 h 156"/>
                  <a:gd name="T30" fmla="*/ 6 w 249"/>
                  <a:gd name="T31" fmla="*/ 78 h 156"/>
                  <a:gd name="T32" fmla="*/ 134 w 249"/>
                  <a:gd name="T33" fmla="*/ 152 h 156"/>
                  <a:gd name="T34" fmla="*/ 243 w 249"/>
                  <a:gd name="T35" fmla="*/ 89 h 156"/>
                  <a:gd name="T36" fmla="*/ 148 w 249"/>
                  <a:gd name="T37" fmla="*/ 35 h 156"/>
                  <a:gd name="T38" fmla="*/ 147 w 249"/>
                  <a:gd name="T39" fmla="*/ 33 h 156"/>
                  <a:gd name="T40" fmla="*/ 147 w 249"/>
                  <a:gd name="T41" fmla="*/ 12 h 156"/>
                  <a:gd name="T42" fmla="*/ 134 w 249"/>
                  <a:gd name="T43" fmla="*/ 4 h 156"/>
                  <a:gd name="T44" fmla="*/ 6 w 249"/>
                  <a:gd name="T45" fmla="*/ 7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9" h="156">
                    <a:moveTo>
                      <a:pt x="134" y="156"/>
                    </a:moveTo>
                    <a:cubicBezTo>
                      <a:pt x="133" y="156"/>
                      <a:pt x="133" y="156"/>
                      <a:pt x="133" y="15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79"/>
                      <a:pt x="0" y="79"/>
                      <a:pt x="0" y="78"/>
                    </a:cubicBezTo>
                    <a:cubicBezTo>
                      <a:pt x="0" y="77"/>
                      <a:pt x="0" y="77"/>
                      <a:pt x="1" y="76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0"/>
                      <a:pt x="134" y="0"/>
                      <a:pt x="135" y="0"/>
                    </a:cubicBezTo>
                    <a:cubicBezTo>
                      <a:pt x="150" y="9"/>
                      <a:pt x="150" y="9"/>
                      <a:pt x="150" y="9"/>
                    </a:cubicBezTo>
                    <a:cubicBezTo>
                      <a:pt x="151" y="10"/>
                      <a:pt x="151" y="10"/>
                      <a:pt x="151" y="11"/>
                    </a:cubicBezTo>
                    <a:cubicBezTo>
                      <a:pt x="151" y="32"/>
                      <a:pt x="151" y="32"/>
                      <a:pt x="151" y="32"/>
                    </a:cubicBezTo>
                    <a:cubicBezTo>
                      <a:pt x="248" y="87"/>
                      <a:pt x="248" y="87"/>
                      <a:pt x="248" y="87"/>
                    </a:cubicBezTo>
                    <a:cubicBezTo>
                      <a:pt x="248" y="88"/>
                      <a:pt x="249" y="88"/>
                      <a:pt x="249" y="89"/>
                    </a:cubicBezTo>
                    <a:cubicBezTo>
                      <a:pt x="249" y="90"/>
                      <a:pt x="248" y="90"/>
                      <a:pt x="248" y="91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4" y="156"/>
                      <a:pt x="134" y="156"/>
                      <a:pt x="134" y="156"/>
                    </a:cubicBezTo>
                    <a:close/>
                    <a:moveTo>
                      <a:pt x="6" y="78"/>
                    </a:moveTo>
                    <a:cubicBezTo>
                      <a:pt x="134" y="152"/>
                      <a:pt x="134" y="152"/>
                      <a:pt x="134" y="152"/>
                    </a:cubicBezTo>
                    <a:cubicBezTo>
                      <a:pt x="243" y="89"/>
                      <a:pt x="243" y="89"/>
                      <a:pt x="243" y="89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8" y="34"/>
                      <a:pt x="147" y="34"/>
                      <a:pt x="147" y="33"/>
                    </a:cubicBezTo>
                    <a:cubicBezTo>
                      <a:pt x="147" y="12"/>
                      <a:pt x="147" y="12"/>
                      <a:pt x="147" y="12"/>
                    </a:cubicBezTo>
                    <a:cubicBezTo>
                      <a:pt x="134" y="4"/>
                      <a:pt x="134" y="4"/>
                      <a:pt x="134" y="4"/>
                    </a:cubicBezTo>
                    <a:lnTo>
                      <a:pt x="6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Freeform 1028">
                <a:extLst>
                  <a:ext uri="{FF2B5EF4-FFF2-40B4-BE49-F238E27FC236}">
                    <a16:creationId xmlns:a16="http://schemas.microsoft.com/office/drawing/2014/main" id="{F3C11360-ECA0-49F5-9856-E118651E40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56" y="2086"/>
                <a:ext cx="109" cy="123"/>
              </a:xfrm>
              <a:custGeom>
                <a:avLst/>
                <a:gdLst>
                  <a:gd name="T0" fmla="*/ 44 w 46"/>
                  <a:gd name="T1" fmla="*/ 52 h 52"/>
                  <a:gd name="T2" fmla="*/ 43 w 46"/>
                  <a:gd name="T3" fmla="*/ 51 h 52"/>
                  <a:gd name="T4" fmla="*/ 1 w 46"/>
                  <a:gd name="T5" fmla="*/ 28 h 52"/>
                  <a:gd name="T6" fmla="*/ 0 w 46"/>
                  <a:gd name="T7" fmla="*/ 26 h 52"/>
                  <a:gd name="T8" fmla="*/ 1 w 46"/>
                  <a:gd name="T9" fmla="*/ 24 h 52"/>
                  <a:gd name="T10" fmla="*/ 43 w 46"/>
                  <a:gd name="T11" fmla="*/ 0 h 52"/>
                  <a:gd name="T12" fmla="*/ 45 w 46"/>
                  <a:gd name="T13" fmla="*/ 0 h 52"/>
                  <a:gd name="T14" fmla="*/ 46 w 46"/>
                  <a:gd name="T15" fmla="*/ 2 h 52"/>
                  <a:gd name="T16" fmla="*/ 46 w 46"/>
                  <a:gd name="T17" fmla="*/ 50 h 52"/>
                  <a:gd name="T18" fmla="*/ 45 w 46"/>
                  <a:gd name="T19" fmla="*/ 51 h 52"/>
                  <a:gd name="T20" fmla="*/ 44 w 46"/>
                  <a:gd name="T21" fmla="*/ 52 h 52"/>
                  <a:gd name="T22" fmla="*/ 6 w 46"/>
                  <a:gd name="T23" fmla="*/ 26 h 52"/>
                  <a:gd name="T24" fmla="*/ 42 w 46"/>
                  <a:gd name="T25" fmla="*/ 46 h 52"/>
                  <a:gd name="T26" fmla="*/ 42 w 46"/>
                  <a:gd name="T27" fmla="*/ 6 h 52"/>
                  <a:gd name="T28" fmla="*/ 6 w 46"/>
                  <a:gd name="T29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2">
                    <a:moveTo>
                      <a:pt x="44" y="52"/>
                    </a:moveTo>
                    <a:cubicBezTo>
                      <a:pt x="43" y="52"/>
                      <a:pt x="43" y="52"/>
                      <a:pt x="43" y="51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7"/>
                      <a:pt x="0" y="27"/>
                      <a:pt x="0" y="26"/>
                    </a:cubicBezTo>
                    <a:cubicBezTo>
                      <a:pt x="0" y="25"/>
                      <a:pt x="1" y="24"/>
                      <a:pt x="1" y="24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5" y="1"/>
                      <a:pt x="46" y="1"/>
                      <a:pt x="46" y="2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6" y="50"/>
                      <a:pt x="45" y="51"/>
                      <a:pt x="45" y="51"/>
                    </a:cubicBezTo>
                    <a:cubicBezTo>
                      <a:pt x="44" y="52"/>
                      <a:pt x="44" y="52"/>
                      <a:pt x="44" y="52"/>
                    </a:cubicBezTo>
                    <a:close/>
                    <a:moveTo>
                      <a:pt x="6" y="26"/>
                    </a:move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6"/>
                      <a:pt x="42" y="6"/>
                      <a:pt x="42" y="6"/>
                    </a:cubicBezTo>
                    <a:lnTo>
                      <a:pt x="6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eform 1029">
                <a:extLst>
                  <a:ext uri="{FF2B5EF4-FFF2-40B4-BE49-F238E27FC236}">
                    <a16:creationId xmlns:a16="http://schemas.microsoft.com/office/drawing/2014/main" id="{5135C8DF-D9C2-4C34-926E-12BDCDDCD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7" y="2261"/>
                <a:ext cx="19" cy="19"/>
              </a:xfrm>
              <a:custGeom>
                <a:avLst/>
                <a:gdLst>
                  <a:gd name="T0" fmla="*/ 2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3 h 8"/>
                  <a:gd name="T8" fmla="*/ 1 w 8"/>
                  <a:gd name="T9" fmla="*/ 1 h 8"/>
                  <a:gd name="T10" fmla="*/ 3 w 8"/>
                  <a:gd name="T11" fmla="*/ 1 h 8"/>
                  <a:gd name="T12" fmla="*/ 7 w 8"/>
                  <a:gd name="T13" fmla="*/ 3 h 8"/>
                  <a:gd name="T14" fmla="*/ 8 w 8"/>
                  <a:gd name="T15" fmla="*/ 5 h 8"/>
                  <a:gd name="T16" fmla="*/ 7 w 8"/>
                  <a:gd name="T17" fmla="*/ 6 h 8"/>
                  <a:gd name="T18" fmla="*/ 3 w 8"/>
                  <a:gd name="T19" fmla="*/ 8 h 8"/>
                  <a:gd name="T20" fmla="*/ 2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2" y="8"/>
                      <a:pt x="2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8" y="4"/>
                      <a:pt x="8" y="5"/>
                    </a:cubicBezTo>
                    <a:cubicBezTo>
                      <a:pt x="8" y="5"/>
                      <a:pt x="7" y="6"/>
                      <a:pt x="7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eform 1030">
                <a:extLst>
                  <a:ext uri="{FF2B5EF4-FFF2-40B4-BE49-F238E27FC236}">
                    <a16:creationId xmlns:a16="http://schemas.microsoft.com/office/drawing/2014/main" id="{F7E66EDF-7D59-460E-BE98-59ED9899FB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7" y="2204"/>
                <a:ext cx="69" cy="71"/>
              </a:xfrm>
              <a:custGeom>
                <a:avLst/>
                <a:gdLst>
                  <a:gd name="T0" fmla="*/ 7 w 29"/>
                  <a:gd name="T1" fmla="*/ 30 h 30"/>
                  <a:gd name="T2" fmla="*/ 6 w 29"/>
                  <a:gd name="T3" fmla="*/ 29 h 30"/>
                  <a:gd name="T4" fmla="*/ 1 w 29"/>
                  <a:gd name="T5" fmla="*/ 26 h 30"/>
                  <a:gd name="T6" fmla="*/ 0 w 29"/>
                  <a:gd name="T7" fmla="*/ 25 h 30"/>
                  <a:gd name="T8" fmla="*/ 0 w 29"/>
                  <a:gd name="T9" fmla="*/ 2 h 30"/>
                  <a:gd name="T10" fmla="*/ 1 w 29"/>
                  <a:gd name="T11" fmla="*/ 1 h 30"/>
                  <a:gd name="T12" fmla="*/ 3 w 29"/>
                  <a:gd name="T13" fmla="*/ 1 h 30"/>
                  <a:gd name="T14" fmla="*/ 28 w 29"/>
                  <a:gd name="T15" fmla="*/ 15 h 30"/>
                  <a:gd name="T16" fmla="*/ 29 w 29"/>
                  <a:gd name="T17" fmla="*/ 16 h 30"/>
                  <a:gd name="T18" fmla="*/ 28 w 29"/>
                  <a:gd name="T19" fmla="*/ 18 h 30"/>
                  <a:gd name="T20" fmla="*/ 8 w 29"/>
                  <a:gd name="T21" fmla="*/ 29 h 30"/>
                  <a:gd name="T22" fmla="*/ 7 w 29"/>
                  <a:gd name="T23" fmla="*/ 30 h 30"/>
                  <a:gd name="T24" fmla="*/ 4 w 29"/>
                  <a:gd name="T25" fmla="*/ 23 h 30"/>
                  <a:gd name="T26" fmla="*/ 7 w 29"/>
                  <a:gd name="T27" fmla="*/ 25 h 30"/>
                  <a:gd name="T28" fmla="*/ 23 w 29"/>
                  <a:gd name="T29" fmla="*/ 16 h 30"/>
                  <a:gd name="T30" fmla="*/ 4 w 29"/>
                  <a:gd name="T31" fmla="*/ 6 h 30"/>
                  <a:gd name="T32" fmla="*/ 4 w 29"/>
                  <a:gd name="T33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30">
                    <a:moveTo>
                      <a:pt x="7" y="30"/>
                    </a:moveTo>
                    <a:cubicBezTo>
                      <a:pt x="7" y="30"/>
                      <a:pt x="7" y="29"/>
                      <a:pt x="6" y="29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0" y="25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8" y="15"/>
                      <a:pt x="29" y="16"/>
                      <a:pt x="29" y="16"/>
                    </a:cubicBezTo>
                    <a:cubicBezTo>
                      <a:pt x="29" y="17"/>
                      <a:pt x="28" y="18"/>
                      <a:pt x="28" y="18"/>
                    </a:cubicBezTo>
                    <a:cubicBezTo>
                      <a:pt x="8" y="29"/>
                      <a:pt x="8" y="29"/>
                      <a:pt x="8" y="29"/>
                    </a:cubicBezTo>
                    <a:cubicBezTo>
                      <a:pt x="8" y="29"/>
                      <a:pt x="8" y="30"/>
                      <a:pt x="7" y="30"/>
                    </a:cubicBezTo>
                    <a:close/>
                    <a:moveTo>
                      <a:pt x="4" y="23"/>
                    </a:moveTo>
                    <a:cubicBezTo>
                      <a:pt x="7" y="25"/>
                      <a:pt x="7" y="25"/>
                      <a:pt x="7" y="2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1031">
                <a:extLst>
                  <a:ext uri="{FF2B5EF4-FFF2-40B4-BE49-F238E27FC236}">
                    <a16:creationId xmlns:a16="http://schemas.microsoft.com/office/drawing/2014/main" id="{EA49A7F0-94E3-4D3E-872C-87E1782DCD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4" y="2240"/>
                <a:ext cx="113" cy="70"/>
              </a:xfrm>
              <a:custGeom>
                <a:avLst/>
                <a:gdLst>
                  <a:gd name="T0" fmla="*/ 27 w 48"/>
                  <a:gd name="T1" fmla="*/ 30 h 30"/>
                  <a:gd name="T2" fmla="*/ 26 w 48"/>
                  <a:gd name="T3" fmla="*/ 30 h 30"/>
                  <a:gd name="T4" fmla="*/ 1 w 48"/>
                  <a:gd name="T5" fmla="*/ 15 h 30"/>
                  <a:gd name="T6" fmla="*/ 0 w 48"/>
                  <a:gd name="T7" fmla="*/ 13 h 30"/>
                  <a:gd name="T8" fmla="*/ 1 w 48"/>
                  <a:gd name="T9" fmla="*/ 12 h 30"/>
                  <a:gd name="T10" fmla="*/ 20 w 48"/>
                  <a:gd name="T11" fmla="*/ 1 h 30"/>
                  <a:gd name="T12" fmla="*/ 22 w 48"/>
                  <a:gd name="T13" fmla="*/ 1 h 30"/>
                  <a:gd name="T14" fmla="*/ 47 w 48"/>
                  <a:gd name="T15" fmla="*/ 15 h 30"/>
                  <a:gd name="T16" fmla="*/ 48 w 48"/>
                  <a:gd name="T17" fmla="*/ 17 h 30"/>
                  <a:gd name="T18" fmla="*/ 47 w 48"/>
                  <a:gd name="T19" fmla="*/ 19 h 30"/>
                  <a:gd name="T20" fmla="*/ 28 w 48"/>
                  <a:gd name="T21" fmla="*/ 30 h 30"/>
                  <a:gd name="T22" fmla="*/ 27 w 48"/>
                  <a:gd name="T23" fmla="*/ 30 h 30"/>
                  <a:gd name="T24" fmla="*/ 6 w 48"/>
                  <a:gd name="T25" fmla="*/ 13 h 30"/>
                  <a:gd name="T26" fmla="*/ 27 w 48"/>
                  <a:gd name="T27" fmla="*/ 26 h 30"/>
                  <a:gd name="T28" fmla="*/ 42 w 48"/>
                  <a:gd name="T29" fmla="*/ 17 h 30"/>
                  <a:gd name="T30" fmla="*/ 21 w 48"/>
                  <a:gd name="T31" fmla="*/ 5 h 30"/>
                  <a:gd name="T32" fmla="*/ 6 w 48"/>
                  <a:gd name="T3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0">
                    <a:moveTo>
                      <a:pt x="27" y="30"/>
                    </a:moveTo>
                    <a:cubicBezTo>
                      <a:pt x="27" y="30"/>
                      <a:pt x="26" y="30"/>
                      <a:pt x="26" y="30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1" y="0"/>
                      <a:pt x="22" y="0"/>
                      <a:pt x="22" y="1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8" y="16"/>
                      <a:pt x="48" y="16"/>
                      <a:pt x="48" y="17"/>
                    </a:cubicBezTo>
                    <a:cubicBezTo>
                      <a:pt x="48" y="18"/>
                      <a:pt x="48" y="18"/>
                      <a:pt x="47" y="19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30"/>
                      <a:pt x="27" y="30"/>
                      <a:pt x="27" y="30"/>
                    </a:cubicBezTo>
                    <a:close/>
                    <a:moveTo>
                      <a:pt x="6" y="13"/>
                    </a:moveTo>
                    <a:cubicBezTo>
                      <a:pt x="27" y="26"/>
                      <a:pt x="27" y="26"/>
                      <a:pt x="27" y="26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21" y="5"/>
                      <a:pt x="21" y="5"/>
                      <a:pt x="21" y="5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" name="Freeform 1032">
                <a:extLst>
                  <a:ext uri="{FF2B5EF4-FFF2-40B4-BE49-F238E27FC236}">
                    <a16:creationId xmlns:a16="http://schemas.microsoft.com/office/drawing/2014/main" id="{FD1F055F-6406-48B5-A892-CD183AE9C2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57" y="498"/>
                <a:ext cx="245" cy="208"/>
              </a:xfrm>
              <a:custGeom>
                <a:avLst/>
                <a:gdLst>
                  <a:gd name="T0" fmla="*/ 58 w 104"/>
                  <a:gd name="T1" fmla="*/ 88 h 88"/>
                  <a:gd name="T2" fmla="*/ 57 w 104"/>
                  <a:gd name="T3" fmla="*/ 87 h 88"/>
                  <a:gd name="T4" fmla="*/ 1 w 104"/>
                  <a:gd name="T5" fmla="*/ 55 h 88"/>
                  <a:gd name="T6" fmla="*/ 0 w 104"/>
                  <a:gd name="T7" fmla="*/ 53 h 88"/>
                  <a:gd name="T8" fmla="*/ 0 w 104"/>
                  <a:gd name="T9" fmla="*/ 2 h 88"/>
                  <a:gd name="T10" fmla="*/ 1 w 104"/>
                  <a:gd name="T11" fmla="*/ 0 h 88"/>
                  <a:gd name="T12" fmla="*/ 3 w 104"/>
                  <a:gd name="T13" fmla="*/ 0 h 88"/>
                  <a:gd name="T14" fmla="*/ 103 w 104"/>
                  <a:gd name="T15" fmla="*/ 58 h 88"/>
                  <a:gd name="T16" fmla="*/ 104 w 104"/>
                  <a:gd name="T17" fmla="*/ 60 h 88"/>
                  <a:gd name="T18" fmla="*/ 103 w 104"/>
                  <a:gd name="T19" fmla="*/ 61 h 88"/>
                  <a:gd name="T20" fmla="*/ 59 w 104"/>
                  <a:gd name="T21" fmla="*/ 87 h 88"/>
                  <a:gd name="T22" fmla="*/ 58 w 104"/>
                  <a:gd name="T23" fmla="*/ 88 h 88"/>
                  <a:gd name="T24" fmla="*/ 4 w 104"/>
                  <a:gd name="T25" fmla="*/ 52 h 88"/>
                  <a:gd name="T26" fmla="*/ 58 w 104"/>
                  <a:gd name="T27" fmla="*/ 83 h 88"/>
                  <a:gd name="T28" fmla="*/ 98 w 104"/>
                  <a:gd name="T29" fmla="*/ 60 h 88"/>
                  <a:gd name="T30" fmla="*/ 4 w 104"/>
                  <a:gd name="T31" fmla="*/ 5 h 88"/>
                  <a:gd name="T32" fmla="*/ 4 w 104"/>
                  <a:gd name="T33" fmla="*/ 5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88">
                    <a:moveTo>
                      <a:pt x="58" y="88"/>
                    </a:moveTo>
                    <a:cubicBezTo>
                      <a:pt x="57" y="88"/>
                      <a:pt x="57" y="87"/>
                      <a:pt x="57" y="87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03" y="58"/>
                      <a:pt x="103" y="58"/>
                      <a:pt x="103" y="58"/>
                    </a:cubicBezTo>
                    <a:cubicBezTo>
                      <a:pt x="104" y="58"/>
                      <a:pt x="104" y="59"/>
                      <a:pt x="104" y="60"/>
                    </a:cubicBezTo>
                    <a:cubicBezTo>
                      <a:pt x="104" y="60"/>
                      <a:pt x="104" y="61"/>
                      <a:pt x="103" y="61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58" y="87"/>
                      <a:pt x="58" y="88"/>
                      <a:pt x="58" y="88"/>
                    </a:cubicBezTo>
                    <a:close/>
                    <a:moveTo>
                      <a:pt x="4" y="52"/>
                    </a:moveTo>
                    <a:cubicBezTo>
                      <a:pt x="58" y="83"/>
                      <a:pt x="58" y="83"/>
                      <a:pt x="58" y="83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" name="Freeform 1033">
                <a:extLst>
                  <a:ext uri="{FF2B5EF4-FFF2-40B4-BE49-F238E27FC236}">
                    <a16:creationId xmlns:a16="http://schemas.microsoft.com/office/drawing/2014/main" id="{D7A5B466-C983-44F5-9945-54FE3751B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2" y="454"/>
                <a:ext cx="522" cy="363"/>
              </a:xfrm>
              <a:custGeom>
                <a:avLst/>
                <a:gdLst>
                  <a:gd name="T0" fmla="*/ 138 w 221"/>
                  <a:gd name="T1" fmla="*/ 154 h 154"/>
                  <a:gd name="T2" fmla="*/ 137 w 221"/>
                  <a:gd name="T3" fmla="*/ 154 h 154"/>
                  <a:gd name="T4" fmla="*/ 12 w 221"/>
                  <a:gd name="T5" fmla="*/ 82 h 154"/>
                  <a:gd name="T6" fmla="*/ 12 w 221"/>
                  <a:gd name="T7" fmla="*/ 84 h 154"/>
                  <a:gd name="T8" fmla="*/ 11 w 221"/>
                  <a:gd name="T9" fmla="*/ 86 h 154"/>
                  <a:gd name="T10" fmla="*/ 9 w 221"/>
                  <a:gd name="T11" fmla="*/ 86 h 154"/>
                  <a:gd name="T12" fmla="*/ 1 w 221"/>
                  <a:gd name="T13" fmla="*/ 80 h 154"/>
                  <a:gd name="T14" fmla="*/ 0 w 221"/>
                  <a:gd name="T15" fmla="*/ 79 h 154"/>
                  <a:gd name="T16" fmla="*/ 1 w 221"/>
                  <a:gd name="T17" fmla="*/ 77 h 154"/>
                  <a:gd name="T18" fmla="*/ 132 w 221"/>
                  <a:gd name="T19" fmla="*/ 1 h 154"/>
                  <a:gd name="T20" fmla="*/ 134 w 221"/>
                  <a:gd name="T21" fmla="*/ 1 h 154"/>
                  <a:gd name="T22" fmla="*/ 165 w 221"/>
                  <a:gd name="T23" fmla="*/ 18 h 154"/>
                  <a:gd name="T24" fmla="*/ 166 w 221"/>
                  <a:gd name="T25" fmla="*/ 20 h 154"/>
                  <a:gd name="T26" fmla="*/ 166 w 221"/>
                  <a:gd name="T27" fmla="*/ 72 h 154"/>
                  <a:gd name="T28" fmla="*/ 220 w 221"/>
                  <a:gd name="T29" fmla="*/ 104 h 154"/>
                  <a:gd name="T30" fmla="*/ 221 w 221"/>
                  <a:gd name="T31" fmla="*/ 105 h 154"/>
                  <a:gd name="T32" fmla="*/ 220 w 221"/>
                  <a:gd name="T33" fmla="*/ 107 h 154"/>
                  <a:gd name="T34" fmla="*/ 139 w 221"/>
                  <a:gd name="T35" fmla="*/ 154 h 154"/>
                  <a:gd name="T36" fmla="*/ 138 w 221"/>
                  <a:gd name="T37" fmla="*/ 154 h 154"/>
                  <a:gd name="T38" fmla="*/ 10 w 221"/>
                  <a:gd name="T39" fmla="*/ 76 h 154"/>
                  <a:gd name="T40" fmla="*/ 11 w 221"/>
                  <a:gd name="T41" fmla="*/ 77 h 154"/>
                  <a:gd name="T42" fmla="*/ 138 w 221"/>
                  <a:gd name="T43" fmla="*/ 150 h 154"/>
                  <a:gd name="T44" fmla="*/ 215 w 221"/>
                  <a:gd name="T45" fmla="*/ 105 h 154"/>
                  <a:gd name="T46" fmla="*/ 163 w 221"/>
                  <a:gd name="T47" fmla="*/ 75 h 154"/>
                  <a:gd name="T48" fmla="*/ 162 w 221"/>
                  <a:gd name="T49" fmla="*/ 73 h 154"/>
                  <a:gd name="T50" fmla="*/ 162 w 221"/>
                  <a:gd name="T51" fmla="*/ 21 h 154"/>
                  <a:gd name="T52" fmla="*/ 133 w 221"/>
                  <a:gd name="T53" fmla="*/ 5 h 154"/>
                  <a:gd name="T54" fmla="*/ 6 w 221"/>
                  <a:gd name="T55" fmla="*/ 79 h 154"/>
                  <a:gd name="T56" fmla="*/ 8 w 221"/>
                  <a:gd name="T57" fmla="*/ 80 h 154"/>
                  <a:gd name="T58" fmla="*/ 8 w 221"/>
                  <a:gd name="T59" fmla="*/ 78 h 154"/>
                  <a:gd name="T60" fmla="*/ 9 w 221"/>
                  <a:gd name="T61" fmla="*/ 77 h 154"/>
                  <a:gd name="T62" fmla="*/ 10 w 221"/>
                  <a:gd name="T63" fmla="*/ 7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54">
                    <a:moveTo>
                      <a:pt x="138" y="154"/>
                    </a:moveTo>
                    <a:cubicBezTo>
                      <a:pt x="138" y="154"/>
                      <a:pt x="137" y="154"/>
                      <a:pt x="137" y="154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5"/>
                      <a:pt x="12" y="85"/>
                      <a:pt x="11" y="86"/>
                    </a:cubicBezTo>
                    <a:cubicBezTo>
                      <a:pt x="11" y="86"/>
                      <a:pt x="10" y="86"/>
                      <a:pt x="9" y="86"/>
                    </a:cubicBezTo>
                    <a:cubicBezTo>
                      <a:pt x="1" y="80"/>
                      <a:pt x="1" y="80"/>
                      <a:pt x="1" y="80"/>
                    </a:cubicBezTo>
                    <a:cubicBezTo>
                      <a:pt x="0" y="80"/>
                      <a:pt x="0" y="79"/>
                      <a:pt x="0" y="79"/>
                    </a:cubicBezTo>
                    <a:cubicBezTo>
                      <a:pt x="0" y="78"/>
                      <a:pt x="0" y="77"/>
                      <a:pt x="1" y="77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3" y="0"/>
                      <a:pt x="134" y="0"/>
                      <a:pt x="134" y="1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5" y="19"/>
                      <a:pt x="166" y="19"/>
                      <a:pt x="166" y="20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21" y="104"/>
                      <a:pt x="221" y="105"/>
                      <a:pt x="221" y="105"/>
                    </a:cubicBezTo>
                    <a:cubicBezTo>
                      <a:pt x="221" y="106"/>
                      <a:pt x="221" y="107"/>
                      <a:pt x="220" y="107"/>
                    </a:cubicBezTo>
                    <a:cubicBezTo>
                      <a:pt x="139" y="154"/>
                      <a:pt x="139" y="154"/>
                      <a:pt x="139" y="154"/>
                    </a:cubicBezTo>
                    <a:cubicBezTo>
                      <a:pt x="139" y="154"/>
                      <a:pt x="139" y="154"/>
                      <a:pt x="138" y="154"/>
                    </a:cubicBezTo>
                    <a:close/>
                    <a:moveTo>
                      <a:pt x="10" y="76"/>
                    </a:moveTo>
                    <a:cubicBezTo>
                      <a:pt x="11" y="76"/>
                      <a:pt x="11" y="76"/>
                      <a:pt x="11" y="77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215" y="105"/>
                      <a:pt x="215" y="105"/>
                      <a:pt x="215" y="105"/>
                    </a:cubicBezTo>
                    <a:cubicBezTo>
                      <a:pt x="163" y="75"/>
                      <a:pt x="163" y="75"/>
                      <a:pt x="163" y="75"/>
                    </a:cubicBezTo>
                    <a:cubicBezTo>
                      <a:pt x="162" y="75"/>
                      <a:pt x="162" y="74"/>
                      <a:pt x="162" y="73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9" y="77"/>
                      <a:pt x="9" y="77"/>
                    </a:cubicBezTo>
                    <a:cubicBezTo>
                      <a:pt x="10" y="76"/>
                      <a:pt x="10" y="76"/>
                      <a:pt x="10" y="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6" name="Freeform 1034">
                <a:extLst>
                  <a:ext uri="{FF2B5EF4-FFF2-40B4-BE49-F238E27FC236}">
                    <a16:creationId xmlns:a16="http://schemas.microsoft.com/office/drawing/2014/main" id="{3284A6E9-B276-4FB5-AF44-410ECDB97E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09" y="834"/>
                <a:ext cx="267" cy="262"/>
              </a:xfrm>
              <a:custGeom>
                <a:avLst/>
                <a:gdLst>
                  <a:gd name="T0" fmla="*/ 111 w 113"/>
                  <a:gd name="T1" fmla="*/ 111 h 111"/>
                  <a:gd name="T2" fmla="*/ 110 w 113"/>
                  <a:gd name="T3" fmla="*/ 111 h 111"/>
                  <a:gd name="T4" fmla="*/ 1 w 113"/>
                  <a:gd name="T5" fmla="*/ 48 h 111"/>
                  <a:gd name="T6" fmla="*/ 0 w 113"/>
                  <a:gd name="T7" fmla="*/ 46 h 111"/>
                  <a:gd name="T8" fmla="*/ 1 w 113"/>
                  <a:gd name="T9" fmla="*/ 45 h 111"/>
                  <a:gd name="T10" fmla="*/ 78 w 113"/>
                  <a:gd name="T11" fmla="*/ 0 h 111"/>
                  <a:gd name="T12" fmla="*/ 80 w 113"/>
                  <a:gd name="T13" fmla="*/ 0 h 111"/>
                  <a:gd name="T14" fmla="*/ 81 w 113"/>
                  <a:gd name="T15" fmla="*/ 2 h 111"/>
                  <a:gd name="T16" fmla="*/ 81 w 113"/>
                  <a:gd name="T17" fmla="*/ 70 h 111"/>
                  <a:gd name="T18" fmla="*/ 112 w 113"/>
                  <a:gd name="T19" fmla="*/ 88 h 111"/>
                  <a:gd name="T20" fmla="*/ 113 w 113"/>
                  <a:gd name="T21" fmla="*/ 90 h 111"/>
                  <a:gd name="T22" fmla="*/ 113 w 113"/>
                  <a:gd name="T23" fmla="*/ 109 h 111"/>
                  <a:gd name="T24" fmla="*/ 112 w 113"/>
                  <a:gd name="T25" fmla="*/ 111 h 111"/>
                  <a:gd name="T26" fmla="*/ 111 w 113"/>
                  <a:gd name="T27" fmla="*/ 111 h 111"/>
                  <a:gd name="T28" fmla="*/ 6 w 113"/>
                  <a:gd name="T29" fmla="*/ 46 h 111"/>
                  <a:gd name="T30" fmla="*/ 109 w 113"/>
                  <a:gd name="T31" fmla="*/ 106 h 111"/>
                  <a:gd name="T32" fmla="*/ 109 w 113"/>
                  <a:gd name="T33" fmla="*/ 91 h 111"/>
                  <a:gd name="T34" fmla="*/ 78 w 113"/>
                  <a:gd name="T35" fmla="*/ 73 h 111"/>
                  <a:gd name="T36" fmla="*/ 77 w 113"/>
                  <a:gd name="T37" fmla="*/ 72 h 111"/>
                  <a:gd name="T38" fmla="*/ 77 w 113"/>
                  <a:gd name="T39" fmla="*/ 5 h 111"/>
                  <a:gd name="T40" fmla="*/ 6 w 113"/>
                  <a:gd name="T41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1">
                    <a:moveTo>
                      <a:pt x="111" y="111"/>
                    </a:moveTo>
                    <a:cubicBezTo>
                      <a:pt x="111" y="111"/>
                      <a:pt x="111" y="111"/>
                      <a:pt x="110" y="11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0" y="47"/>
                      <a:pt x="0" y="46"/>
                    </a:cubicBezTo>
                    <a:cubicBezTo>
                      <a:pt x="0" y="46"/>
                      <a:pt x="1" y="45"/>
                      <a:pt x="1" y="45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ubicBezTo>
                      <a:pt x="81" y="0"/>
                      <a:pt x="81" y="1"/>
                      <a:pt x="81" y="2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3" y="89"/>
                      <a:pt x="113" y="89"/>
                      <a:pt x="113" y="90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113" y="110"/>
                      <a:pt x="113" y="111"/>
                      <a:pt x="112" y="111"/>
                    </a:cubicBezTo>
                    <a:cubicBezTo>
                      <a:pt x="112" y="111"/>
                      <a:pt x="112" y="111"/>
                      <a:pt x="111" y="111"/>
                    </a:cubicBezTo>
                    <a:close/>
                    <a:moveTo>
                      <a:pt x="6" y="46"/>
                    </a:moveTo>
                    <a:cubicBezTo>
                      <a:pt x="109" y="106"/>
                      <a:pt x="109" y="106"/>
                      <a:pt x="109" y="106"/>
                    </a:cubicBezTo>
                    <a:cubicBezTo>
                      <a:pt x="109" y="91"/>
                      <a:pt x="109" y="91"/>
                      <a:pt x="109" y="9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78" y="73"/>
                      <a:pt x="77" y="72"/>
                      <a:pt x="77" y="72"/>
                    </a:cubicBezTo>
                    <a:cubicBezTo>
                      <a:pt x="77" y="5"/>
                      <a:pt x="77" y="5"/>
                      <a:pt x="77" y="5"/>
                    </a:cubicBezTo>
                    <a:lnTo>
                      <a:pt x="6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7" name="Freeform 1035">
                <a:extLst>
                  <a:ext uri="{FF2B5EF4-FFF2-40B4-BE49-F238E27FC236}">
                    <a16:creationId xmlns:a16="http://schemas.microsoft.com/office/drawing/2014/main" id="{F4457D69-19D8-4CAF-BE93-FCAC90725D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57" y="293"/>
                <a:ext cx="293" cy="425"/>
              </a:xfrm>
              <a:custGeom>
                <a:avLst/>
                <a:gdLst>
                  <a:gd name="T0" fmla="*/ 67 w 124"/>
                  <a:gd name="T1" fmla="*/ 180 h 180"/>
                  <a:gd name="T2" fmla="*/ 66 w 124"/>
                  <a:gd name="T3" fmla="*/ 180 h 180"/>
                  <a:gd name="T4" fmla="*/ 58 w 124"/>
                  <a:gd name="T5" fmla="*/ 175 h 180"/>
                  <a:gd name="T6" fmla="*/ 57 w 124"/>
                  <a:gd name="T7" fmla="*/ 173 h 180"/>
                  <a:gd name="T8" fmla="*/ 58 w 124"/>
                  <a:gd name="T9" fmla="*/ 172 h 180"/>
                  <a:gd name="T10" fmla="*/ 102 w 124"/>
                  <a:gd name="T11" fmla="*/ 147 h 180"/>
                  <a:gd name="T12" fmla="*/ 1 w 124"/>
                  <a:gd name="T13" fmla="*/ 89 h 180"/>
                  <a:gd name="T14" fmla="*/ 0 w 124"/>
                  <a:gd name="T15" fmla="*/ 87 h 180"/>
                  <a:gd name="T16" fmla="*/ 0 w 124"/>
                  <a:gd name="T17" fmla="*/ 2 h 180"/>
                  <a:gd name="T18" fmla="*/ 1 w 124"/>
                  <a:gd name="T19" fmla="*/ 1 h 180"/>
                  <a:gd name="T20" fmla="*/ 3 w 124"/>
                  <a:gd name="T21" fmla="*/ 1 h 180"/>
                  <a:gd name="T22" fmla="*/ 123 w 124"/>
                  <a:gd name="T23" fmla="*/ 70 h 180"/>
                  <a:gd name="T24" fmla="*/ 124 w 124"/>
                  <a:gd name="T25" fmla="*/ 71 h 180"/>
                  <a:gd name="T26" fmla="*/ 124 w 124"/>
                  <a:gd name="T27" fmla="*/ 144 h 180"/>
                  <a:gd name="T28" fmla="*/ 123 w 124"/>
                  <a:gd name="T29" fmla="*/ 146 h 180"/>
                  <a:gd name="T30" fmla="*/ 101 w 124"/>
                  <a:gd name="T31" fmla="*/ 159 h 180"/>
                  <a:gd name="T32" fmla="*/ 101 w 124"/>
                  <a:gd name="T33" fmla="*/ 167 h 180"/>
                  <a:gd name="T34" fmla="*/ 100 w 124"/>
                  <a:gd name="T35" fmla="*/ 169 h 180"/>
                  <a:gd name="T36" fmla="*/ 98 w 124"/>
                  <a:gd name="T37" fmla="*/ 169 h 180"/>
                  <a:gd name="T38" fmla="*/ 92 w 124"/>
                  <a:gd name="T39" fmla="*/ 166 h 180"/>
                  <a:gd name="T40" fmla="*/ 68 w 124"/>
                  <a:gd name="T41" fmla="*/ 180 h 180"/>
                  <a:gd name="T42" fmla="*/ 67 w 124"/>
                  <a:gd name="T43" fmla="*/ 180 h 180"/>
                  <a:gd name="T44" fmla="*/ 63 w 124"/>
                  <a:gd name="T45" fmla="*/ 173 h 180"/>
                  <a:gd name="T46" fmla="*/ 67 w 124"/>
                  <a:gd name="T47" fmla="*/ 176 h 180"/>
                  <a:gd name="T48" fmla="*/ 91 w 124"/>
                  <a:gd name="T49" fmla="*/ 162 h 180"/>
                  <a:gd name="T50" fmla="*/ 93 w 124"/>
                  <a:gd name="T51" fmla="*/ 162 h 180"/>
                  <a:gd name="T52" fmla="*/ 97 w 124"/>
                  <a:gd name="T53" fmla="*/ 164 h 180"/>
                  <a:gd name="T54" fmla="*/ 97 w 124"/>
                  <a:gd name="T55" fmla="*/ 158 h 180"/>
                  <a:gd name="T56" fmla="*/ 98 w 124"/>
                  <a:gd name="T57" fmla="*/ 156 h 180"/>
                  <a:gd name="T58" fmla="*/ 120 w 124"/>
                  <a:gd name="T59" fmla="*/ 143 h 180"/>
                  <a:gd name="T60" fmla="*/ 120 w 124"/>
                  <a:gd name="T61" fmla="*/ 73 h 180"/>
                  <a:gd name="T62" fmla="*/ 4 w 124"/>
                  <a:gd name="T63" fmla="*/ 6 h 180"/>
                  <a:gd name="T64" fmla="*/ 4 w 124"/>
                  <a:gd name="T65" fmla="*/ 86 h 180"/>
                  <a:gd name="T66" fmla="*/ 107 w 124"/>
                  <a:gd name="T67" fmla="*/ 145 h 180"/>
                  <a:gd name="T68" fmla="*/ 108 w 124"/>
                  <a:gd name="T69" fmla="*/ 147 h 180"/>
                  <a:gd name="T70" fmla="*/ 107 w 124"/>
                  <a:gd name="T71" fmla="*/ 148 h 180"/>
                  <a:gd name="T72" fmla="*/ 63 w 124"/>
                  <a:gd name="T73" fmla="*/ 17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180">
                    <a:moveTo>
                      <a:pt x="67" y="180"/>
                    </a:moveTo>
                    <a:cubicBezTo>
                      <a:pt x="67" y="180"/>
                      <a:pt x="66" y="180"/>
                      <a:pt x="66" y="180"/>
                    </a:cubicBezTo>
                    <a:cubicBezTo>
                      <a:pt x="58" y="175"/>
                      <a:pt x="58" y="175"/>
                      <a:pt x="58" y="175"/>
                    </a:cubicBezTo>
                    <a:cubicBezTo>
                      <a:pt x="58" y="175"/>
                      <a:pt x="57" y="174"/>
                      <a:pt x="57" y="173"/>
                    </a:cubicBezTo>
                    <a:cubicBezTo>
                      <a:pt x="57" y="173"/>
                      <a:pt x="58" y="172"/>
                      <a:pt x="58" y="17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1" y="88"/>
                      <a:pt x="0" y="88"/>
                      <a:pt x="0" y="8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23" y="70"/>
                      <a:pt x="123" y="70"/>
                      <a:pt x="123" y="70"/>
                    </a:cubicBezTo>
                    <a:cubicBezTo>
                      <a:pt x="123" y="70"/>
                      <a:pt x="124" y="71"/>
                      <a:pt x="124" y="71"/>
                    </a:cubicBezTo>
                    <a:cubicBezTo>
                      <a:pt x="124" y="144"/>
                      <a:pt x="124" y="144"/>
                      <a:pt x="124" y="144"/>
                    </a:cubicBezTo>
                    <a:cubicBezTo>
                      <a:pt x="124" y="145"/>
                      <a:pt x="123" y="146"/>
                      <a:pt x="123" y="146"/>
                    </a:cubicBezTo>
                    <a:cubicBezTo>
                      <a:pt x="101" y="159"/>
                      <a:pt x="101" y="159"/>
                      <a:pt x="101" y="159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1" y="168"/>
                      <a:pt x="101" y="169"/>
                      <a:pt x="100" y="169"/>
                    </a:cubicBezTo>
                    <a:cubicBezTo>
                      <a:pt x="99" y="170"/>
                      <a:pt x="99" y="170"/>
                      <a:pt x="98" y="169"/>
                    </a:cubicBezTo>
                    <a:cubicBezTo>
                      <a:pt x="92" y="166"/>
                      <a:pt x="92" y="166"/>
                      <a:pt x="92" y="166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7" y="180"/>
                      <a:pt x="67" y="180"/>
                    </a:cubicBezTo>
                    <a:close/>
                    <a:moveTo>
                      <a:pt x="63" y="173"/>
                    </a:moveTo>
                    <a:cubicBezTo>
                      <a:pt x="67" y="176"/>
                      <a:pt x="67" y="176"/>
                      <a:pt x="67" y="176"/>
                    </a:cubicBezTo>
                    <a:cubicBezTo>
                      <a:pt x="91" y="162"/>
                      <a:pt x="91" y="162"/>
                      <a:pt x="91" y="162"/>
                    </a:cubicBezTo>
                    <a:cubicBezTo>
                      <a:pt x="92" y="161"/>
                      <a:pt x="92" y="161"/>
                      <a:pt x="93" y="162"/>
                    </a:cubicBezTo>
                    <a:cubicBezTo>
                      <a:pt x="97" y="164"/>
                      <a:pt x="97" y="164"/>
                      <a:pt x="97" y="164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57"/>
                      <a:pt x="97" y="156"/>
                      <a:pt x="98" y="156"/>
                    </a:cubicBezTo>
                    <a:cubicBezTo>
                      <a:pt x="120" y="143"/>
                      <a:pt x="120" y="143"/>
                      <a:pt x="120" y="143"/>
                    </a:cubicBezTo>
                    <a:cubicBezTo>
                      <a:pt x="120" y="73"/>
                      <a:pt x="120" y="73"/>
                      <a:pt x="120" y="7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107" y="145"/>
                      <a:pt x="107" y="145"/>
                      <a:pt x="107" y="145"/>
                    </a:cubicBezTo>
                    <a:cubicBezTo>
                      <a:pt x="107" y="145"/>
                      <a:pt x="108" y="146"/>
                      <a:pt x="108" y="147"/>
                    </a:cubicBezTo>
                    <a:cubicBezTo>
                      <a:pt x="108" y="147"/>
                      <a:pt x="107" y="148"/>
                      <a:pt x="107" y="148"/>
                    </a:cubicBezTo>
                    <a:lnTo>
                      <a:pt x="63" y="1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8" name="Freeform 1036">
                <a:extLst>
                  <a:ext uri="{FF2B5EF4-FFF2-40B4-BE49-F238E27FC236}">
                    <a16:creationId xmlns:a16="http://schemas.microsoft.com/office/drawing/2014/main" id="{5FE6529A-013E-47F3-B6A6-C3EBBD1221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943"/>
                <a:ext cx="90" cy="182"/>
              </a:xfrm>
              <a:custGeom>
                <a:avLst/>
                <a:gdLst>
                  <a:gd name="T0" fmla="*/ 36 w 38"/>
                  <a:gd name="T1" fmla="*/ 77 h 77"/>
                  <a:gd name="T2" fmla="*/ 35 w 38"/>
                  <a:gd name="T3" fmla="*/ 77 h 77"/>
                  <a:gd name="T4" fmla="*/ 1 w 38"/>
                  <a:gd name="T5" fmla="*/ 57 h 77"/>
                  <a:gd name="T6" fmla="*/ 0 w 38"/>
                  <a:gd name="T7" fmla="*/ 55 h 77"/>
                  <a:gd name="T8" fmla="*/ 0 w 38"/>
                  <a:gd name="T9" fmla="*/ 2 h 77"/>
                  <a:gd name="T10" fmla="*/ 1 w 38"/>
                  <a:gd name="T11" fmla="*/ 0 h 77"/>
                  <a:gd name="T12" fmla="*/ 3 w 38"/>
                  <a:gd name="T13" fmla="*/ 0 h 77"/>
                  <a:gd name="T14" fmla="*/ 37 w 38"/>
                  <a:gd name="T15" fmla="*/ 20 h 77"/>
                  <a:gd name="T16" fmla="*/ 38 w 38"/>
                  <a:gd name="T17" fmla="*/ 21 h 77"/>
                  <a:gd name="T18" fmla="*/ 38 w 38"/>
                  <a:gd name="T19" fmla="*/ 75 h 77"/>
                  <a:gd name="T20" fmla="*/ 37 w 38"/>
                  <a:gd name="T21" fmla="*/ 77 h 77"/>
                  <a:gd name="T22" fmla="*/ 36 w 38"/>
                  <a:gd name="T23" fmla="*/ 77 h 77"/>
                  <a:gd name="T24" fmla="*/ 4 w 38"/>
                  <a:gd name="T25" fmla="*/ 54 h 77"/>
                  <a:gd name="T26" fmla="*/ 34 w 38"/>
                  <a:gd name="T27" fmla="*/ 71 h 77"/>
                  <a:gd name="T28" fmla="*/ 34 w 38"/>
                  <a:gd name="T29" fmla="*/ 22 h 77"/>
                  <a:gd name="T30" fmla="*/ 4 w 38"/>
                  <a:gd name="T31" fmla="*/ 5 h 77"/>
                  <a:gd name="T32" fmla="*/ 4 w 38"/>
                  <a:gd name="T33" fmla="*/ 5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77">
                    <a:moveTo>
                      <a:pt x="36" y="77"/>
                    </a:moveTo>
                    <a:cubicBezTo>
                      <a:pt x="36" y="77"/>
                      <a:pt x="35" y="77"/>
                      <a:pt x="35" y="77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1" y="57"/>
                      <a:pt x="0" y="56"/>
                      <a:pt x="0" y="5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8" y="20"/>
                      <a:pt x="38" y="21"/>
                      <a:pt x="38" y="21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8" y="76"/>
                      <a:pt x="38" y="76"/>
                      <a:pt x="37" y="77"/>
                    </a:cubicBezTo>
                    <a:cubicBezTo>
                      <a:pt x="37" y="77"/>
                      <a:pt x="36" y="77"/>
                      <a:pt x="36" y="77"/>
                    </a:cubicBezTo>
                    <a:close/>
                    <a:moveTo>
                      <a:pt x="4" y="54"/>
                    </a:move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1037">
                <a:extLst>
                  <a:ext uri="{FF2B5EF4-FFF2-40B4-BE49-F238E27FC236}">
                    <a16:creationId xmlns:a16="http://schemas.microsoft.com/office/drawing/2014/main" id="{A4F71C0A-9EB9-4069-9DC3-965DF7489A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25" y="1115"/>
                <a:ext cx="265" cy="158"/>
              </a:xfrm>
              <a:custGeom>
                <a:avLst/>
                <a:gdLst>
                  <a:gd name="T0" fmla="*/ 17 w 112"/>
                  <a:gd name="T1" fmla="*/ 67 h 67"/>
                  <a:gd name="T2" fmla="*/ 16 w 112"/>
                  <a:gd name="T3" fmla="*/ 67 h 67"/>
                  <a:gd name="T4" fmla="*/ 1 w 112"/>
                  <a:gd name="T5" fmla="*/ 58 h 67"/>
                  <a:gd name="T6" fmla="*/ 0 w 112"/>
                  <a:gd name="T7" fmla="*/ 57 h 67"/>
                  <a:gd name="T8" fmla="*/ 1 w 112"/>
                  <a:gd name="T9" fmla="*/ 55 h 67"/>
                  <a:gd name="T10" fmla="*/ 92 w 112"/>
                  <a:gd name="T11" fmla="*/ 2 h 67"/>
                  <a:gd name="T12" fmla="*/ 93 w 112"/>
                  <a:gd name="T13" fmla="*/ 0 h 67"/>
                  <a:gd name="T14" fmla="*/ 95 w 112"/>
                  <a:gd name="T15" fmla="*/ 0 h 67"/>
                  <a:gd name="T16" fmla="*/ 111 w 112"/>
                  <a:gd name="T17" fmla="*/ 10 h 67"/>
                  <a:gd name="T18" fmla="*/ 112 w 112"/>
                  <a:gd name="T19" fmla="*/ 11 h 67"/>
                  <a:gd name="T20" fmla="*/ 111 w 112"/>
                  <a:gd name="T21" fmla="*/ 13 h 67"/>
                  <a:gd name="T22" fmla="*/ 18 w 112"/>
                  <a:gd name="T23" fmla="*/ 67 h 67"/>
                  <a:gd name="T24" fmla="*/ 17 w 112"/>
                  <a:gd name="T25" fmla="*/ 67 h 67"/>
                  <a:gd name="T26" fmla="*/ 6 w 112"/>
                  <a:gd name="T27" fmla="*/ 57 h 67"/>
                  <a:gd name="T28" fmla="*/ 17 w 112"/>
                  <a:gd name="T29" fmla="*/ 63 h 67"/>
                  <a:gd name="T30" fmla="*/ 106 w 112"/>
                  <a:gd name="T31" fmla="*/ 11 h 67"/>
                  <a:gd name="T32" fmla="*/ 95 w 112"/>
                  <a:gd name="T33" fmla="*/ 5 h 67"/>
                  <a:gd name="T34" fmla="*/ 95 w 112"/>
                  <a:gd name="T35" fmla="*/ 5 h 67"/>
                  <a:gd name="T36" fmla="*/ 6 w 112"/>
                  <a:gd name="T37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" h="67">
                    <a:moveTo>
                      <a:pt x="17" y="67"/>
                    </a:moveTo>
                    <a:cubicBezTo>
                      <a:pt x="17" y="67"/>
                      <a:pt x="16" y="67"/>
                      <a:pt x="16" y="67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1" y="55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3" y="1"/>
                      <a:pt x="93" y="0"/>
                    </a:cubicBezTo>
                    <a:cubicBezTo>
                      <a:pt x="94" y="0"/>
                      <a:pt x="95" y="0"/>
                      <a:pt x="95" y="0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2" y="10"/>
                      <a:pt x="112" y="11"/>
                      <a:pt x="112" y="11"/>
                    </a:cubicBezTo>
                    <a:cubicBezTo>
                      <a:pt x="112" y="12"/>
                      <a:pt x="112" y="13"/>
                      <a:pt x="111" y="13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7"/>
                      <a:pt x="17" y="67"/>
                      <a:pt x="17" y="67"/>
                    </a:cubicBezTo>
                    <a:close/>
                    <a:moveTo>
                      <a:pt x="6" y="57"/>
                    </a:moveTo>
                    <a:cubicBezTo>
                      <a:pt x="17" y="63"/>
                      <a:pt x="17" y="63"/>
                      <a:pt x="17" y="63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5" y="5"/>
                      <a:pt x="95" y="5"/>
                      <a:pt x="95" y="5"/>
                    </a:cubicBezTo>
                    <a:lnTo>
                      <a:pt x="6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1038">
                <a:extLst>
                  <a:ext uri="{FF2B5EF4-FFF2-40B4-BE49-F238E27FC236}">
                    <a16:creationId xmlns:a16="http://schemas.microsoft.com/office/drawing/2014/main" id="{1BF95765-58E7-4A7A-903C-F72311E344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1073"/>
                <a:ext cx="85" cy="70"/>
              </a:xfrm>
              <a:custGeom>
                <a:avLst/>
                <a:gdLst>
                  <a:gd name="T0" fmla="*/ 20 w 36"/>
                  <a:gd name="T1" fmla="*/ 30 h 30"/>
                  <a:gd name="T2" fmla="*/ 19 w 36"/>
                  <a:gd name="T3" fmla="*/ 30 h 30"/>
                  <a:gd name="T4" fmla="*/ 1 w 36"/>
                  <a:gd name="T5" fmla="*/ 20 h 30"/>
                  <a:gd name="T6" fmla="*/ 0 w 36"/>
                  <a:gd name="T7" fmla="*/ 18 h 30"/>
                  <a:gd name="T8" fmla="*/ 0 w 36"/>
                  <a:gd name="T9" fmla="*/ 2 h 30"/>
                  <a:gd name="T10" fmla="*/ 1 w 36"/>
                  <a:gd name="T11" fmla="*/ 1 h 30"/>
                  <a:gd name="T12" fmla="*/ 3 w 36"/>
                  <a:gd name="T13" fmla="*/ 1 h 30"/>
                  <a:gd name="T14" fmla="*/ 35 w 36"/>
                  <a:gd name="T15" fmla="*/ 19 h 30"/>
                  <a:gd name="T16" fmla="*/ 36 w 36"/>
                  <a:gd name="T17" fmla="*/ 20 h 30"/>
                  <a:gd name="T18" fmla="*/ 35 w 36"/>
                  <a:gd name="T19" fmla="*/ 22 h 30"/>
                  <a:gd name="T20" fmla="*/ 21 w 36"/>
                  <a:gd name="T21" fmla="*/ 30 h 30"/>
                  <a:gd name="T22" fmla="*/ 20 w 36"/>
                  <a:gd name="T23" fmla="*/ 30 h 30"/>
                  <a:gd name="T24" fmla="*/ 4 w 36"/>
                  <a:gd name="T25" fmla="*/ 17 h 30"/>
                  <a:gd name="T26" fmla="*/ 20 w 36"/>
                  <a:gd name="T27" fmla="*/ 26 h 30"/>
                  <a:gd name="T28" fmla="*/ 30 w 36"/>
                  <a:gd name="T29" fmla="*/ 20 h 30"/>
                  <a:gd name="T30" fmla="*/ 4 w 36"/>
                  <a:gd name="T31" fmla="*/ 6 h 30"/>
                  <a:gd name="T32" fmla="*/ 4 w 36"/>
                  <a:gd name="T33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30">
                    <a:moveTo>
                      <a:pt x="20" y="30"/>
                    </a:moveTo>
                    <a:cubicBezTo>
                      <a:pt x="20" y="30"/>
                      <a:pt x="19" y="30"/>
                      <a:pt x="19" y="3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6" y="20"/>
                      <a:pt x="36" y="20"/>
                    </a:cubicBezTo>
                    <a:cubicBezTo>
                      <a:pt x="36" y="21"/>
                      <a:pt x="35" y="22"/>
                      <a:pt x="35" y="22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0" y="30"/>
                      <a:pt x="20" y="30"/>
                    </a:cubicBezTo>
                    <a:close/>
                    <a:moveTo>
                      <a:pt x="4" y="17"/>
                    </a:moveTo>
                    <a:cubicBezTo>
                      <a:pt x="20" y="26"/>
                      <a:pt x="20" y="26"/>
                      <a:pt x="20" y="26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039">
                <a:extLst>
                  <a:ext uri="{FF2B5EF4-FFF2-40B4-BE49-F238E27FC236}">
                    <a16:creationId xmlns:a16="http://schemas.microsoft.com/office/drawing/2014/main" id="{EB8CEF6B-12C6-4C47-A00A-A50ACBCB6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73" y="1314"/>
                <a:ext cx="201" cy="439"/>
              </a:xfrm>
              <a:custGeom>
                <a:avLst/>
                <a:gdLst>
                  <a:gd name="T0" fmla="*/ 71 w 85"/>
                  <a:gd name="T1" fmla="*/ 186 h 186"/>
                  <a:gd name="T2" fmla="*/ 70 w 85"/>
                  <a:gd name="T3" fmla="*/ 185 h 186"/>
                  <a:gd name="T4" fmla="*/ 8 w 85"/>
                  <a:gd name="T5" fmla="*/ 149 h 186"/>
                  <a:gd name="T6" fmla="*/ 7 w 85"/>
                  <a:gd name="T7" fmla="*/ 147 h 186"/>
                  <a:gd name="T8" fmla="*/ 8 w 85"/>
                  <a:gd name="T9" fmla="*/ 146 h 186"/>
                  <a:gd name="T10" fmla="*/ 15 w 85"/>
                  <a:gd name="T11" fmla="*/ 142 h 186"/>
                  <a:gd name="T12" fmla="*/ 1 w 85"/>
                  <a:gd name="T13" fmla="*/ 134 h 186"/>
                  <a:gd name="T14" fmla="*/ 0 w 85"/>
                  <a:gd name="T15" fmla="*/ 132 h 186"/>
                  <a:gd name="T16" fmla="*/ 1 w 85"/>
                  <a:gd name="T17" fmla="*/ 130 h 186"/>
                  <a:gd name="T18" fmla="*/ 5 w 85"/>
                  <a:gd name="T19" fmla="*/ 128 h 186"/>
                  <a:gd name="T20" fmla="*/ 5 w 85"/>
                  <a:gd name="T21" fmla="*/ 2 h 186"/>
                  <a:gd name="T22" fmla="*/ 6 w 85"/>
                  <a:gd name="T23" fmla="*/ 0 h 186"/>
                  <a:gd name="T24" fmla="*/ 8 w 85"/>
                  <a:gd name="T25" fmla="*/ 0 h 186"/>
                  <a:gd name="T26" fmla="*/ 84 w 85"/>
                  <a:gd name="T27" fmla="*/ 44 h 186"/>
                  <a:gd name="T28" fmla="*/ 85 w 85"/>
                  <a:gd name="T29" fmla="*/ 46 h 186"/>
                  <a:gd name="T30" fmla="*/ 85 w 85"/>
                  <a:gd name="T31" fmla="*/ 179 h 186"/>
                  <a:gd name="T32" fmla="*/ 84 w 85"/>
                  <a:gd name="T33" fmla="*/ 181 h 186"/>
                  <a:gd name="T34" fmla="*/ 82 w 85"/>
                  <a:gd name="T35" fmla="*/ 181 h 186"/>
                  <a:gd name="T36" fmla="*/ 81 w 85"/>
                  <a:gd name="T37" fmla="*/ 180 h 186"/>
                  <a:gd name="T38" fmla="*/ 72 w 85"/>
                  <a:gd name="T39" fmla="*/ 185 h 186"/>
                  <a:gd name="T40" fmla="*/ 71 w 85"/>
                  <a:gd name="T41" fmla="*/ 186 h 186"/>
                  <a:gd name="T42" fmla="*/ 13 w 85"/>
                  <a:gd name="T43" fmla="*/ 147 h 186"/>
                  <a:gd name="T44" fmla="*/ 71 w 85"/>
                  <a:gd name="T45" fmla="*/ 181 h 186"/>
                  <a:gd name="T46" fmla="*/ 80 w 85"/>
                  <a:gd name="T47" fmla="*/ 176 h 186"/>
                  <a:gd name="T48" fmla="*/ 81 w 85"/>
                  <a:gd name="T49" fmla="*/ 176 h 186"/>
                  <a:gd name="T50" fmla="*/ 81 w 85"/>
                  <a:gd name="T51" fmla="*/ 47 h 186"/>
                  <a:gd name="T52" fmla="*/ 9 w 85"/>
                  <a:gd name="T53" fmla="*/ 5 h 186"/>
                  <a:gd name="T54" fmla="*/ 9 w 85"/>
                  <a:gd name="T55" fmla="*/ 129 h 186"/>
                  <a:gd name="T56" fmla="*/ 8 w 85"/>
                  <a:gd name="T57" fmla="*/ 131 h 186"/>
                  <a:gd name="T58" fmla="*/ 6 w 85"/>
                  <a:gd name="T59" fmla="*/ 132 h 186"/>
                  <a:gd name="T60" fmla="*/ 20 w 85"/>
                  <a:gd name="T61" fmla="*/ 140 h 186"/>
                  <a:gd name="T62" fmla="*/ 21 w 85"/>
                  <a:gd name="T63" fmla="*/ 142 h 186"/>
                  <a:gd name="T64" fmla="*/ 20 w 85"/>
                  <a:gd name="T65" fmla="*/ 143 h 186"/>
                  <a:gd name="T66" fmla="*/ 13 w 85"/>
                  <a:gd name="T67" fmla="*/ 147 h 186"/>
                  <a:gd name="T68" fmla="*/ 7 w 85"/>
                  <a:gd name="T69" fmla="*/ 129 h 186"/>
                  <a:gd name="T70" fmla="*/ 7 w 85"/>
                  <a:gd name="T71" fmla="*/ 1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86">
                    <a:moveTo>
                      <a:pt x="71" y="186"/>
                    </a:moveTo>
                    <a:cubicBezTo>
                      <a:pt x="71" y="186"/>
                      <a:pt x="71" y="186"/>
                      <a:pt x="70" y="185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7" y="149"/>
                      <a:pt x="7" y="148"/>
                      <a:pt x="7" y="147"/>
                    </a:cubicBezTo>
                    <a:cubicBezTo>
                      <a:pt x="7" y="147"/>
                      <a:pt x="7" y="146"/>
                      <a:pt x="8" y="146"/>
                    </a:cubicBezTo>
                    <a:cubicBezTo>
                      <a:pt x="15" y="142"/>
                      <a:pt x="15" y="142"/>
                      <a:pt x="15" y="142"/>
                    </a:cubicBezTo>
                    <a:cubicBezTo>
                      <a:pt x="1" y="134"/>
                      <a:pt x="1" y="134"/>
                      <a:pt x="1" y="134"/>
                    </a:cubicBezTo>
                    <a:cubicBezTo>
                      <a:pt x="0" y="133"/>
                      <a:pt x="0" y="133"/>
                      <a:pt x="0" y="132"/>
                    </a:cubicBezTo>
                    <a:cubicBezTo>
                      <a:pt x="0" y="131"/>
                      <a:pt x="0" y="131"/>
                      <a:pt x="1" y="130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85" y="44"/>
                      <a:pt x="85" y="45"/>
                      <a:pt x="85" y="46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5" y="180"/>
                      <a:pt x="85" y="180"/>
                      <a:pt x="84" y="181"/>
                    </a:cubicBezTo>
                    <a:cubicBezTo>
                      <a:pt x="84" y="181"/>
                      <a:pt x="83" y="181"/>
                      <a:pt x="82" y="181"/>
                    </a:cubicBezTo>
                    <a:cubicBezTo>
                      <a:pt x="81" y="180"/>
                      <a:pt x="81" y="180"/>
                      <a:pt x="81" y="180"/>
                    </a:cubicBezTo>
                    <a:cubicBezTo>
                      <a:pt x="72" y="185"/>
                      <a:pt x="72" y="185"/>
                      <a:pt x="72" y="185"/>
                    </a:cubicBezTo>
                    <a:cubicBezTo>
                      <a:pt x="72" y="186"/>
                      <a:pt x="72" y="186"/>
                      <a:pt x="71" y="186"/>
                    </a:cubicBezTo>
                    <a:close/>
                    <a:moveTo>
                      <a:pt x="13" y="147"/>
                    </a:moveTo>
                    <a:cubicBezTo>
                      <a:pt x="71" y="181"/>
                      <a:pt x="71" y="181"/>
                      <a:pt x="71" y="181"/>
                    </a:cubicBezTo>
                    <a:cubicBezTo>
                      <a:pt x="80" y="176"/>
                      <a:pt x="80" y="176"/>
                      <a:pt x="80" y="176"/>
                    </a:cubicBezTo>
                    <a:cubicBezTo>
                      <a:pt x="81" y="176"/>
                      <a:pt x="81" y="176"/>
                      <a:pt x="81" y="176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129"/>
                      <a:pt x="9" y="129"/>
                      <a:pt x="9" y="129"/>
                    </a:cubicBezTo>
                    <a:cubicBezTo>
                      <a:pt x="9" y="130"/>
                      <a:pt x="8" y="131"/>
                      <a:pt x="8" y="131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20" y="140"/>
                      <a:pt x="20" y="140"/>
                      <a:pt x="20" y="140"/>
                    </a:cubicBezTo>
                    <a:cubicBezTo>
                      <a:pt x="20" y="140"/>
                      <a:pt x="21" y="141"/>
                      <a:pt x="21" y="142"/>
                    </a:cubicBezTo>
                    <a:cubicBezTo>
                      <a:pt x="21" y="142"/>
                      <a:pt x="20" y="143"/>
                      <a:pt x="20" y="143"/>
                    </a:cubicBezTo>
                    <a:lnTo>
                      <a:pt x="13" y="147"/>
                    </a:lnTo>
                    <a:close/>
                    <a:moveTo>
                      <a:pt x="7" y="129"/>
                    </a:moveTo>
                    <a:cubicBezTo>
                      <a:pt x="7" y="129"/>
                      <a:pt x="7" y="129"/>
                      <a:pt x="7" y="1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040">
                <a:extLst>
                  <a:ext uri="{FF2B5EF4-FFF2-40B4-BE49-F238E27FC236}">
                    <a16:creationId xmlns:a16="http://schemas.microsoft.com/office/drawing/2014/main" id="{7FA196FC-F6F9-46A6-9B00-92FBD603F7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5" y="943"/>
                <a:ext cx="291" cy="345"/>
              </a:xfrm>
              <a:custGeom>
                <a:avLst/>
                <a:gdLst>
                  <a:gd name="T0" fmla="*/ 3 w 123"/>
                  <a:gd name="T1" fmla="*/ 146 h 146"/>
                  <a:gd name="T2" fmla="*/ 2 w 123"/>
                  <a:gd name="T3" fmla="*/ 146 h 146"/>
                  <a:gd name="T4" fmla="*/ 1 w 123"/>
                  <a:gd name="T5" fmla="*/ 145 h 146"/>
                  <a:gd name="T6" fmla="*/ 0 w 123"/>
                  <a:gd name="T7" fmla="*/ 143 h 146"/>
                  <a:gd name="T8" fmla="*/ 0 w 123"/>
                  <a:gd name="T9" fmla="*/ 8 h 146"/>
                  <a:gd name="T10" fmla="*/ 1 w 123"/>
                  <a:gd name="T11" fmla="*/ 6 h 146"/>
                  <a:gd name="T12" fmla="*/ 11 w 123"/>
                  <a:gd name="T13" fmla="*/ 0 h 146"/>
                  <a:gd name="T14" fmla="*/ 13 w 123"/>
                  <a:gd name="T15" fmla="*/ 0 h 146"/>
                  <a:gd name="T16" fmla="*/ 122 w 123"/>
                  <a:gd name="T17" fmla="*/ 63 h 146"/>
                  <a:gd name="T18" fmla="*/ 123 w 123"/>
                  <a:gd name="T19" fmla="*/ 65 h 146"/>
                  <a:gd name="T20" fmla="*/ 123 w 123"/>
                  <a:gd name="T21" fmla="*/ 75 h 146"/>
                  <a:gd name="T22" fmla="*/ 122 w 123"/>
                  <a:gd name="T23" fmla="*/ 77 h 146"/>
                  <a:gd name="T24" fmla="*/ 4 w 123"/>
                  <a:gd name="T25" fmla="*/ 146 h 146"/>
                  <a:gd name="T26" fmla="*/ 3 w 123"/>
                  <a:gd name="T27" fmla="*/ 146 h 146"/>
                  <a:gd name="T28" fmla="*/ 4 w 123"/>
                  <a:gd name="T29" fmla="*/ 9 h 146"/>
                  <a:gd name="T30" fmla="*/ 4 w 123"/>
                  <a:gd name="T31" fmla="*/ 141 h 146"/>
                  <a:gd name="T32" fmla="*/ 119 w 123"/>
                  <a:gd name="T33" fmla="*/ 74 h 146"/>
                  <a:gd name="T34" fmla="*/ 119 w 123"/>
                  <a:gd name="T35" fmla="*/ 66 h 146"/>
                  <a:gd name="T36" fmla="*/ 12 w 123"/>
                  <a:gd name="T37" fmla="*/ 4 h 146"/>
                  <a:gd name="T38" fmla="*/ 4 w 123"/>
                  <a:gd name="T39" fmla="*/ 9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3" h="146">
                    <a:moveTo>
                      <a:pt x="3" y="146"/>
                    </a:moveTo>
                    <a:cubicBezTo>
                      <a:pt x="3" y="146"/>
                      <a:pt x="2" y="146"/>
                      <a:pt x="2" y="146"/>
                    </a:cubicBezTo>
                    <a:cubicBezTo>
                      <a:pt x="1" y="145"/>
                      <a:pt x="1" y="145"/>
                      <a:pt x="1" y="145"/>
                    </a:cubicBezTo>
                    <a:cubicBezTo>
                      <a:pt x="0" y="144"/>
                      <a:pt x="0" y="144"/>
                      <a:pt x="0" y="14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122" y="63"/>
                      <a:pt x="122" y="63"/>
                      <a:pt x="122" y="63"/>
                    </a:cubicBezTo>
                    <a:cubicBezTo>
                      <a:pt x="123" y="64"/>
                      <a:pt x="123" y="64"/>
                      <a:pt x="123" y="65"/>
                    </a:cubicBezTo>
                    <a:cubicBezTo>
                      <a:pt x="123" y="75"/>
                      <a:pt x="123" y="75"/>
                      <a:pt x="123" y="75"/>
                    </a:cubicBezTo>
                    <a:cubicBezTo>
                      <a:pt x="123" y="76"/>
                      <a:pt x="123" y="77"/>
                      <a:pt x="122" y="77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4" y="146"/>
                      <a:pt x="3" y="146"/>
                      <a:pt x="3" y="146"/>
                    </a:cubicBezTo>
                    <a:close/>
                    <a:moveTo>
                      <a:pt x="4" y="9"/>
                    </a:moveTo>
                    <a:cubicBezTo>
                      <a:pt x="4" y="141"/>
                      <a:pt x="4" y="141"/>
                      <a:pt x="4" y="141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2" y="4"/>
                      <a:pt x="12" y="4"/>
                      <a:pt x="12" y="4"/>
                    </a:cubicBezTo>
                    <a:lnTo>
                      <a:pt x="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Freeform 1041">
                <a:extLst>
                  <a:ext uri="{FF2B5EF4-FFF2-40B4-BE49-F238E27FC236}">
                    <a16:creationId xmlns:a16="http://schemas.microsoft.com/office/drawing/2014/main" id="{DBB3D679-EA97-49A6-8553-F8C9C0DAF9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1217"/>
                <a:ext cx="114" cy="87"/>
              </a:xfrm>
              <a:custGeom>
                <a:avLst/>
                <a:gdLst>
                  <a:gd name="T0" fmla="*/ 37 w 48"/>
                  <a:gd name="T1" fmla="*/ 37 h 37"/>
                  <a:gd name="T2" fmla="*/ 36 w 48"/>
                  <a:gd name="T3" fmla="*/ 36 h 37"/>
                  <a:gd name="T4" fmla="*/ 1 w 48"/>
                  <a:gd name="T5" fmla="*/ 16 h 37"/>
                  <a:gd name="T6" fmla="*/ 0 w 48"/>
                  <a:gd name="T7" fmla="*/ 14 h 37"/>
                  <a:gd name="T8" fmla="*/ 0 w 48"/>
                  <a:gd name="T9" fmla="*/ 3 h 37"/>
                  <a:gd name="T10" fmla="*/ 1 w 48"/>
                  <a:gd name="T11" fmla="*/ 1 h 37"/>
                  <a:gd name="T12" fmla="*/ 3 w 48"/>
                  <a:gd name="T13" fmla="*/ 1 h 37"/>
                  <a:gd name="T14" fmla="*/ 47 w 48"/>
                  <a:gd name="T15" fmla="*/ 26 h 37"/>
                  <a:gd name="T16" fmla="*/ 48 w 48"/>
                  <a:gd name="T17" fmla="*/ 28 h 37"/>
                  <a:gd name="T18" fmla="*/ 48 w 48"/>
                  <a:gd name="T19" fmla="*/ 29 h 37"/>
                  <a:gd name="T20" fmla="*/ 47 w 48"/>
                  <a:gd name="T21" fmla="*/ 31 h 37"/>
                  <a:gd name="T22" fmla="*/ 38 w 48"/>
                  <a:gd name="T23" fmla="*/ 36 h 37"/>
                  <a:gd name="T24" fmla="*/ 37 w 48"/>
                  <a:gd name="T25" fmla="*/ 37 h 37"/>
                  <a:gd name="T26" fmla="*/ 4 w 48"/>
                  <a:gd name="T27" fmla="*/ 13 h 37"/>
                  <a:gd name="T28" fmla="*/ 37 w 48"/>
                  <a:gd name="T29" fmla="*/ 32 h 37"/>
                  <a:gd name="T30" fmla="*/ 43 w 48"/>
                  <a:gd name="T31" fmla="*/ 29 h 37"/>
                  <a:gd name="T32" fmla="*/ 4 w 48"/>
                  <a:gd name="T33" fmla="*/ 6 h 37"/>
                  <a:gd name="T34" fmla="*/ 4 w 48"/>
                  <a:gd name="T35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37">
                    <a:moveTo>
                      <a:pt x="37" y="37"/>
                    </a:moveTo>
                    <a:cubicBezTo>
                      <a:pt x="37" y="37"/>
                      <a:pt x="36" y="37"/>
                      <a:pt x="36" y="3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7"/>
                      <a:pt x="48" y="27"/>
                      <a:pt x="48" y="28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30"/>
                      <a:pt x="48" y="31"/>
                      <a:pt x="47" y="31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7"/>
                      <a:pt x="37" y="37"/>
                      <a:pt x="37" y="37"/>
                    </a:cubicBezTo>
                    <a:close/>
                    <a:moveTo>
                      <a:pt x="4" y="13"/>
                    </a:moveTo>
                    <a:cubicBezTo>
                      <a:pt x="37" y="32"/>
                      <a:pt x="37" y="32"/>
                      <a:pt x="37" y="32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042">
                <a:extLst>
                  <a:ext uri="{FF2B5EF4-FFF2-40B4-BE49-F238E27FC236}">
                    <a16:creationId xmlns:a16="http://schemas.microsoft.com/office/drawing/2014/main" id="{5561CBF6-CA16-4323-BEEE-A1B757E086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76" y="730"/>
                <a:ext cx="305" cy="383"/>
              </a:xfrm>
              <a:custGeom>
                <a:avLst/>
                <a:gdLst>
                  <a:gd name="T0" fmla="*/ 63 w 129"/>
                  <a:gd name="T1" fmla="*/ 162 h 162"/>
                  <a:gd name="T2" fmla="*/ 62 w 129"/>
                  <a:gd name="T3" fmla="*/ 162 h 162"/>
                  <a:gd name="T4" fmla="*/ 1 w 129"/>
                  <a:gd name="T5" fmla="*/ 127 h 162"/>
                  <a:gd name="T6" fmla="*/ 0 w 129"/>
                  <a:gd name="T7" fmla="*/ 125 h 162"/>
                  <a:gd name="T8" fmla="*/ 0 w 129"/>
                  <a:gd name="T9" fmla="*/ 2 h 162"/>
                  <a:gd name="T10" fmla="*/ 1 w 129"/>
                  <a:gd name="T11" fmla="*/ 0 h 162"/>
                  <a:gd name="T12" fmla="*/ 3 w 129"/>
                  <a:gd name="T13" fmla="*/ 0 h 162"/>
                  <a:gd name="T14" fmla="*/ 128 w 129"/>
                  <a:gd name="T15" fmla="*/ 73 h 162"/>
                  <a:gd name="T16" fmla="*/ 129 w 129"/>
                  <a:gd name="T17" fmla="*/ 75 h 162"/>
                  <a:gd name="T18" fmla="*/ 129 w 129"/>
                  <a:gd name="T19" fmla="*/ 123 h 162"/>
                  <a:gd name="T20" fmla="*/ 128 w 129"/>
                  <a:gd name="T21" fmla="*/ 125 h 162"/>
                  <a:gd name="T22" fmla="*/ 64 w 129"/>
                  <a:gd name="T23" fmla="*/ 162 h 162"/>
                  <a:gd name="T24" fmla="*/ 63 w 129"/>
                  <a:gd name="T25" fmla="*/ 162 h 162"/>
                  <a:gd name="T26" fmla="*/ 4 w 129"/>
                  <a:gd name="T27" fmla="*/ 124 h 162"/>
                  <a:gd name="T28" fmla="*/ 63 w 129"/>
                  <a:gd name="T29" fmla="*/ 158 h 162"/>
                  <a:gd name="T30" fmla="*/ 125 w 129"/>
                  <a:gd name="T31" fmla="*/ 122 h 162"/>
                  <a:gd name="T32" fmla="*/ 125 w 129"/>
                  <a:gd name="T33" fmla="*/ 76 h 162"/>
                  <a:gd name="T34" fmla="*/ 4 w 129"/>
                  <a:gd name="T35" fmla="*/ 6 h 162"/>
                  <a:gd name="T36" fmla="*/ 4 w 129"/>
                  <a:gd name="T37" fmla="*/ 12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9" h="162">
                    <a:moveTo>
                      <a:pt x="63" y="162"/>
                    </a:moveTo>
                    <a:cubicBezTo>
                      <a:pt x="63" y="162"/>
                      <a:pt x="63" y="162"/>
                      <a:pt x="62" y="162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0" y="126"/>
                      <a:pt x="0" y="126"/>
                      <a:pt x="0" y="1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4"/>
                      <a:pt x="129" y="125"/>
                      <a:pt x="128" y="125"/>
                    </a:cubicBezTo>
                    <a:cubicBezTo>
                      <a:pt x="64" y="162"/>
                      <a:pt x="64" y="162"/>
                      <a:pt x="64" y="162"/>
                    </a:cubicBezTo>
                    <a:cubicBezTo>
                      <a:pt x="64" y="162"/>
                      <a:pt x="64" y="162"/>
                      <a:pt x="63" y="162"/>
                    </a:cubicBezTo>
                    <a:close/>
                    <a:moveTo>
                      <a:pt x="4" y="124"/>
                    </a:moveTo>
                    <a:cubicBezTo>
                      <a:pt x="63" y="158"/>
                      <a:pt x="63" y="158"/>
                      <a:pt x="63" y="158"/>
                    </a:cubicBezTo>
                    <a:cubicBezTo>
                      <a:pt x="125" y="122"/>
                      <a:pt x="125" y="122"/>
                      <a:pt x="125" y="122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5" name="Freeform 1043">
                <a:extLst>
                  <a:ext uri="{FF2B5EF4-FFF2-40B4-BE49-F238E27FC236}">
                    <a16:creationId xmlns:a16="http://schemas.microsoft.com/office/drawing/2014/main" id="{8B2A5110-2338-4182-86AF-9CDF99CE3B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9" y="1469"/>
                <a:ext cx="253" cy="317"/>
              </a:xfrm>
              <a:custGeom>
                <a:avLst/>
                <a:gdLst>
                  <a:gd name="T0" fmla="*/ 2 w 107"/>
                  <a:gd name="T1" fmla="*/ 134 h 134"/>
                  <a:gd name="T2" fmla="*/ 1 w 107"/>
                  <a:gd name="T3" fmla="*/ 133 h 134"/>
                  <a:gd name="T4" fmla="*/ 0 w 107"/>
                  <a:gd name="T5" fmla="*/ 132 h 134"/>
                  <a:gd name="T6" fmla="*/ 0 w 107"/>
                  <a:gd name="T7" fmla="*/ 4 h 134"/>
                  <a:gd name="T8" fmla="*/ 1 w 107"/>
                  <a:gd name="T9" fmla="*/ 2 h 134"/>
                  <a:gd name="T10" fmla="*/ 3 w 107"/>
                  <a:gd name="T11" fmla="*/ 0 h 134"/>
                  <a:gd name="T12" fmla="*/ 5 w 107"/>
                  <a:gd name="T13" fmla="*/ 0 h 134"/>
                  <a:gd name="T14" fmla="*/ 76 w 107"/>
                  <a:gd name="T15" fmla="*/ 42 h 134"/>
                  <a:gd name="T16" fmla="*/ 77 w 107"/>
                  <a:gd name="T17" fmla="*/ 43 h 134"/>
                  <a:gd name="T18" fmla="*/ 77 w 107"/>
                  <a:gd name="T19" fmla="*/ 54 h 134"/>
                  <a:gd name="T20" fmla="*/ 106 w 107"/>
                  <a:gd name="T21" fmla="*/ 70 h 134"/>
                  <a:gd name="T22" fmla="*/ 107 w 107"/>
                  <a:gd name="T23" fmla="*/ 72 h 134"/>
                  <a:gd name="T24" fmla="*/ 106 w 107"/>
                  <a:gd name="T25" fmla="*/ 74 h 134"/>
                  <a:gd name="T26" fmla="*/ 3 w 107"/>
                  <a:gd name="T27" fmla="*/ 133 h 134"/>
                  <a:gd name="T28" fmla="*/ 2 w 107"/>
                  <a:gd name="T29" fmla="*/ 134 h 134"/>
                  <a:gd name="T30" fmla="*/ 4 w 107"/>
                  <a:gd name="T31" fmla="*/ 5 h 134"/>
                  <a:gd name="T32" fmla="*/ 4 w 107"/>
                  <a:gd name="T33" fmla="*/ 128 h 134"/>
                  <a:gd name="T34" fmla="*/ 101 w 107"/>
                  <a:gd name="T35" fmla="*/ 72 h 134"/>
                  <a:gd name="T36" fmla="*/ 74 w 107"/>
                  <a:gd name="T37" fmla="*/ 57 h 134"/>
                  <a:gd name="T38" fmla="*/ 73 w 107"/>
                  <a:gd name="T39" fmla="*/ 55 h 134"/>
                  <a:gd name="T40" fmla="*/ 73 w 107"/>
                  <a:gd name="T41" fmla="*/ 45 h 134"/>
                  <a:gd name="T42" fmla="*/ 4 w 107"/>
                  <a:gd name="T43" fmla="*/ 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34">
                    <a:moveTo>
                      <a:pt x="2" y="134"/>
                    </a:moveTo>
                    <a:cubicBezTo>
                      <a:pt x="1" y="134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7" y="42"/>
                      <a:pt x="77" y="43"/>
                      <a:pt x="77" y="43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1"/>
                      <a:pt x="107" y="71"/>
                      <a:pt x="107" y="72"/>
                    </a:cubicBezTo>
                    <a:cubicBezTo>
                      <a:pt x="107" y="73"/>
                      <a:pt x="106" y="73"/>
                      <a:pt x="106" y="74"/>
                    </a:cubicBezTo>
                    <a:cubicBezTo>
                      <a:pt x="3" y="133"/>
                      <a:pt x="3" y="133"/>
                      <a:pt x="3" y="133"/>
                    </a:cubicBezTo>
                    <a:cubicBezTo>
                      <a:pt x="2" y="133"/>
                      <a:pt x="2" y="134"/>
                      <a:pt x="2" y="134"/>
                    </a:cubicBezTo>
                    <a:close/>
                    <a:moveTo>
                      <a:pt x="4" y="5"/>
                    </a:moveTo>
                    <a:cubicBezTo>
                      <a:pt x="4" y="128"/>
                      <a:pt x="4" y="128"/>
                      <a:pt x="4" y="128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74" y="57"/>
                      <a:pt x="74" y="57"/>
                      <a:pt x="74" y="57"/>
                    </a:cubicBezTo>
                    <a:cubicBezTo>
                      <a:pt x="74" y="56"/>
                      <a:pt x="73" y="56"/>
                      <a:pt x="73" y="55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6" name="Freeform 1044">
                <a:extLst>
                  <a:ext uri="{FF2B5EF4-FFF2-40B4-BE49-F238E27FC236}">
                    <a16:creationId xmlns:a16="http://schemas.microsoft.com/office/drawing/2014/main" id="{AF9A7066-C826-4E81-8C88-B5BFB5EC11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6" y="959"/>
                <a:ext cx="114" cy="324"/>
              </a:xfrm>
              <a:custGeom>
                <a:avLst/>
                <a:gdLst>
                  <a:gd name="T0" fmla="*/ 46 w 48"/>
                  <a:gd name="T1" fmla="*/ 137 h 137"/>
                  <a:gd name="T2" fmla="*/ 45 w 48"/>
                  <a:gd name="T3" fmla="*/ 137 h 137"/>
                  <a:gd name="T4" fmla="*/ 1 w 48"/>
                  <a:gd name="T5" fmla="*/ 111 h 137"/>
                  <a:gd name="T6" fmla="*/ 0 w 48"/>
                  <a:gd name="T7" fmla="*/ 110 h 137"/>
                  <a:gd name="T8" fmla="*/ 0 w 48"/>
                  <a:gd name="T9" fmla="*/ 27 h 137"/>
                  <a:gd name="T10" fmla="*/ 1 w 48"/>
                  <a:gd name="T11" fmla="*/ 26 h 137"/>
                  <a:gd name="T12" fmla="*/ 45 w 48"/>
                  <a:gd name="T13" fmla="*/ 0 h 137"/>
                  <a:gd name="T14" fmla="*/ 47 w 48"/>
                  <a:gd name="T15" fmla="*/ 0 h 137"/>
                  <a:gd name="T16" fmla="*/ 48 w 48"/>
                  <a:gd name="T17" fmla="*/ 2 h 137"/>
                  <a:gd name="T18" fmla="*/ 48 w 48"/>
                  <a:gd name="T19" fmla="*/ 135 h 137"/>
                  <a:gd name="T20" fmla="*/ 47 w 48"/>
                  <a:gd name="T21" fmla="*/ 137 h 137"/>
                  <a:gd name="T22" fmla="*/ 46 w 48"/>
                  <a:gd name="T23" fmla="*/ 137 h 137"/>
                  <a:gd name="T24" fmla="*/ 4 w 48"/>
                  <a:gd name="T25" fmla="*/ 109 h 137"/>
                  <a:gd name="T26" fmla="*/ 44 w 48"/>
                  <a:gd name="T27" fmla="*/ 132 h 137"/>
                  <a:gd name="T28" fmla="*/ 44 w 48"/>
                  <a:gd name="T29" fmla="*/ 5 h 137"/>
                  <a:gd name="T30" fmla="*/ 4 w 48"/>
                  <a:gd name="T31" fmla="*/ 28 h 137"/>
                  <a:gd name="T32" fmla="*/ 4 w 48"/>
                  <a:gd name="T33" fmla="*/ 10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137">
                    <a:moveTo>
                      <a:pt x="46" y="137"/>
                    </a:moveTo>
                    <a:cubicBezTo>
                      <a:pt x="46" y="137"/>
                      <a:pt x="45" y="137"/>
                      <a:pt x="45" y="137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6"/>
                      <a:pt x="1" y="2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6" y="0"/>
                      <a:pt x="46" y="0"/>
                      <a:pt x="47" y="0"/>
                    </a:cubicBezTo>
                    <a:cubicBezTo>
                      <a:pt x="48" y="0"/>
                      <a:pt x="48" y="1"/>
                      <a:pt x="48" y="2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6"/>
                      <a:pt x="48" y="136"/>
                      <a:pt x="47" y="137"/>
                    </a:cubicBezTo>
                    <a:cubicBezTo>
                      <a:pt x="47" y="137"/>
                      <a:pt x="46" y="137"/>
                      <a:pt x="46" y="137"/>
                    </a:cubicBezTo>
                    <a:close/>
                    <a:moveTo>
                      <a:pt x="4" y="109"/>
                    </a:moveTo>
                    <a:cubicBezTo>
                      <a:pt x="44" y="132"/>
                      <a:pt x="44" y="132"/>
                      <a:pt x="44" y="132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" y="28"/>
                      <a:pt x="4" y="28"/>
                      <a:pt x="4" y="28"/>
                    </a:cubicBezTo>
                    <a:lnTo>
                      <a:pt x="4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7" name="Freeform 1045">
                <a:extLst>
                  <a:ext uri="{FF2B5EF4-FFF2-40B4-BE49-F238E27FC236}">
                    <a16:creationId xmlns:a16="http://schemas.microsoft.com/office/drawing/2014/main" id="{8678A001-5BB6-4CCD-AE66-2AF276EB20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5" y="1117"/>
                <a:ext cx="487" cy="305"/>
              </a:xfrm>
              <a:custGeom>
                <a:avLst/>
                <a:gdLst>
                  <a:gd name="T0" fmla="*/ 78 w 206"/>
                  <a:gd name="T1" fmla="*/ 129 h 129"/>
                  <a:gd name="T2" fmla="*/ 77 w 206"/>
                  <a:gd name="T3" fmla="*/ 129 h 129"/>
                  <a:gd name="T4" fmla="*/ 1 w 206"/>
                  <a:gd name="T5" fmla="*/ 84 h 129"/>
                  <a:gd name="T6" fmla="*/ 0 w 206"/>
                  <a:gd name="T7" fmla="*/ 83 h 129"/>
                  <a:gd name="T8" fmla="*/ 0 w 206"/>
                  <a:gd name="T9" fmla="*/ 72 h 129"/>
                  <a:gd name="T10" fmla="*/ 1 w 206"/>
                  <a:gd name="T11" fmla="*/ 71 h 129"/>
                  <a:gd name="T12" fmla="*/ 2 w 206"/>
                  <a:gd name="T13" fmla="*/ 70 h 129"/>
                  <a:gd name="T14" fmla="*/ 4 w 206"/>
                  <a:gd name="T15" fmla="*/ 70 h 129"/>
                  <a:gd name="T16" fmla="*/ 12 w 206"/>
                  <a:gd name="T17" fmla="*/ 75 h 129"/>
                  <a:gd name="T18" fmla="*/ 140 w 206"/>
                  <a:gd name="T19" fmla="*/ 1 h 129"/>
                  <a:gd name="T20" fmla="*/ 142 w 206"/>
                  <a:gd name="T21" fmla="*/ 1 h 129"/>
                  <a:gd name="T22" fmla="*/ 205 w 206"/>
                  <a:gd name="T23" fmla="*/ 37 h 129"/>
                  <a:gd name="T24" fmla="*/ 206 w 206"/>
                  <a:gd name="T25" fmla="*/ 39 h 129"/>
                  <a:gd name="T26" fmla="*/ 205 w 206"/>
                  <a:gd name="T27" fmla="*/ 41 h 129"/>
                  <a:gd name="T28" fmla="*/ 80 w 206"/>
                  <a:gd name="T29" fmla="*/ 113 h 129"/>
                  <a:gd name="T30" fmla="*/ 80 w 206"/>
                  <a:gd name="T31" fmla="*/ 127 h 129"/>
                  <a:gd name="T32" fmla="*/ 79 w 206"/>
                  <a:gd name="T33" fmla="*/ 129 h 129"/>
                  <a:gd name="T34" fmla="*/ 78 w 206"/>
                  <a:gd name="T35" fmla="*/ 129 h 129"/>
                  <a:gd name="T36" fmla="*/ 4 w 206"/>
                  <a:gd name="T37" fmla="*/ 82 h 129"/>
                  <a:gd name="T38" fmla="*/ 76 w 206"/>
                  <a:gd name="T39" fmla="*/ 123 h 129"/>
                  <a:gd name="T40" fmla="*/ 76 w 206"/>
                  <a:gd name="T41" fmla="*/ 112 h 129"/>
                  <a:gd name="T42" fmla="*/ 77 w 206"/>
                  <a:gd name="T43" fmla="*/ 110 h 129"/>
                  <a:gd name="T44" fmla="*/ 200 w 206"/>
                  <a:gd name="T45" fmla="*/ 39 h 129"/>
                  <a:gd name="T46" fmla="*/ 141 w 206"/>
                  <a:gd name="T47" fmla="*/ 5 h 129"/>
                  <a:gd name="T48" fmla="*/ 13 w 206"/>
                  <a:gd name="T49" fmla="*/ 79 h 129"/>
                  <a:gd name="T50" fmla="*/ 11 w 206"/>
                  <a:gd name="T51" fmla="*/ 79 h 129"/>
                  <a:gd name="T52" fmla="*/ 4 w 206"/>
                  <a:gd name="T53" fmla="*/ 74 h 129"/>
                  <a:gd name="T54" fmla="*/ 4 w 206"/>
                  <a:gd name="T55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6" h="129">
                    <a:moveTo>
                      <a:pt x="78" y="129"/>
                    </a:moveTo>
                    <a:cubicBezTo>
                      <a:pt x="78" y="129"/>
                      <a:pt x="77" y="129"/>
                      <a:pt x="77" y="129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0" y="84"/>
                      <a:pt x="0" y="83"/>
                      <a:pt x="0" y="83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2" y="70"/>
                      <a:pt x="2" y="70"/>
                      <a:pt x="2" y="70"/>
                    </a:cubicBezTo>
                    <a:cubicBezTo>
                      <a:pt x="3" y="70"/>
                      <a:pt x="3" y="70"/>
                      <a:pt x="4" y="70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40" y="0"/>
                      <a:pt x="141" y="0"/>
                      <a:pt x="142" y="1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6" y="38"/>
                      <a:pt x="206" y="38"/>
                      <a:pt x="206" y="39"/>
                    </a:cubicBezTo>
                    <a:cubicBezTo>
                      <a:pt x="206" y="40"/>
                      <a:pt x="206" y="41"/>
                      <a:pt x="205" y="41"/>
                    </a:cubicBezTo>
                    <a:cubicBezTo>
                      <a:pt x="80" y="113"/>
                      <a:pt x="80" y="113"/>
                      <a:pt x="80" y="113"/>
                    </a:cubicBezTo>
                    <a:cubicBezTo>
                      <a:pt x="80" y="127"/>
                      <a:pt x="80" y="127"/>
                      <a:pt x="80" y="127"/>
                    </a:cubicBezTo>
                    <a:cubicBezTo>
                      <a:pt x="80" y="128"/>
                      <a:pt x="80" y="128"/>
                      <a:pt x="79" y="129"/>
                    </a:cubicBezTo>
                    <a:cubicBezTo>
                      <a:pt x="79" y="129"/>
                      <a:pt x="78" y="129"/>
                      <a:pt x="78" y="129"/>
                    </a:cubicBezTo>
                    <a:close/>
                    <a:moveTo>
                      <a:pt x="4" y="82"/>
                    </a:moveTo>
                    <a:cubicBezTo>
                      <a:pt x="76" y="123"/>
                      <a:pt x="76" y="123"/>
                      <a:pt x="76" y="123"/>
                    </a:cubicBezTo>
                    <a:cubicBezTo>
                      <a:pt x="76" y="112"/>
                      <a:pt x="76" y="112"/>
                      <a:pt x="76" y="112"/>
                    </a:cubicBezTo>
                    <a:cubicBezTo>
                      <a:pt x="76" y="111"/>
                      <a:pt x="77" y="111"/>
                      <a:pt x="77" y="110"/>
                    </a:cubicBezTo>
                    <a:cubicBezTo>
                      <a:pt x="200" y="39"/>
                      <a:pt x="200" y="39"/>
                      <a:pt x="200" y="39"/>
                    </a:cubicBezTo>
                    <a:cubicBezTo>
                      <a:pt x="141" y="5"/>
                      <a:pt x="141" y="5"/>
                      <a:pt x="141" y="5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12" y="79"/>
                      <a:pt x="12" y="79"/>
                      <a:pt x="11" y="79"/>
                    </a:cubicBezTo>
                    <a:cubicBezTo>
                      <a:pt x="4" y="74"/>
                      <a:pt x="4" y="74"/>
                      <a:pt x="4" y="74"/>
                    </a:cubicBezTo>
                    <a:lnTo>
                      <a:pt x="4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8" name="Freeform 1046">
                <a:extLst>
                  <a:ext uri="{FF2B5EF4-FFF2-40B4-BE49-F238E27FC236}">
                    <a16:creationId xmlns:a16="http://schemas.microsoft.com/office/drawing/2014/main" id="{4EB2187C-030F-4476-A5A8-FC9783893B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76" y="1025"/>
                <a:ext cx="263" cy="189"/>
              </a:xfrm>
              <a:custGeom>
                <a:avLst/>
                <a:gdLst>
                  <a:gd name="T0" fmla="*/ 99 w 111"/>
                  <a:gd name="T1" fmla="*/ 80 h 80"/>
                  <a:gd name="T2" fmla="*/ 98 w 111"/>
                  <a:gd name="T3" fmla="*/ 80 h 80"/>
                  <a:gd name="T4" fmla="*/ 1 w 111"/>
                  <a:gd name="T5" fmla="*/ 24 h 80"/>
                  <a:gd name="T6" fmla="*/ 0 w 111"/>
                  <a:gd name="T7" fmla="*/ 22 h 80"/>
                  <a:gd name="T8" fmla="*/ 0 w 111"/>
                  <a:gd name="T9" fmla="*/ 2 h 80"/>
                  <a:gd name="T10" fmla="*/ 1 w 111"/>
                  <a:gd name="T11" fmla="*/ 0 h 80"/>
                  <a:gd name="T12" fmla="*/ 3 w 111"/>
                  <a:gd name="T13" fmla="*/ 0 h 80"/>
                  <a:gd name="T14" fmla="*/ 63 w 111"/>
                  <a:gd name="T15" fmla="*/ 35 h 80"/>
                  <a:gd name="T16" fmla="*/ 64 w 111"/>
                  <a:gd name="T17" fmla="*/ 36 h 80"/>
                  <a:gd name="T18" fmla="*/ 63 w 111"/>
                  <a:gd name="T19" fmla="*/ 38 h 80"/>
                  <a:gd name="T20" fmla="*/ 58 w 111"/>
                  <a:gd name="T21" fmla="*/ 40 h 80"/>
                  <a:gd name="T22" fmla="*/ 110 w 111"/>
                  <a:gd name="T23" fmla="*/ 71 h 80"/>
                  <a:gd name="T24" fmla="*/ 111 w 111"/>
                  <a:gd name="T25" fmla="*/ 72 h 80"/>
                  <a:gd name="T26" fmla="*/ 110 w 111"/>
                  <a:gd name="T27" fmla="*/ 74 h 80"/>
                  <a:gd name="T28" fmla="*/ 100 w 111"/>
                  <a:gd name="T29" fmla="*/ 80 h 80"/>
                  <a:gd name="T30" fmla="*/ 99 w 111"/>
                  <a:gd name="T31" fmla="*/ 80 h 80"/>
                  <a:gd name="T32" fmla="*/ 4 w 111"/>
                  <a:gd name="T33" fmla="*/ 21 h 80"/>
                  <a:gd name="T34" fmla="*/ 99 w 111"/>
                  <a:gd name="T35" fmla="*/ 76 h 80"/>
                  <a:gd name="T36" fmla="*/ 105 w 111"/>
                  <a:gd name="T37" fmla="*/ 72 h 80"/>
                  <a:gd name="T38" fmla="*/ 53 w 111"/>
                  <a:gd name="T39" fmla="*/ 42 h 80"/>
                  <a:gd name="T40" fmla="*/ 52 w 111"/>
                  <a:gd name="T41" fmla="*/ 40 h 80"/>
                  <a:gd name="T42" fmla="*/ 53 w 111"/>
                  <a:gd name="T43" fmla="*/ 39 h 80"/>
                  <a:gd name="T44" fmla="*/ 58 w 111"/>
                  <a:gd name="T45" fmla="*/ 36 h 80"/>
                  <a:gd name="T46" fmla="*/ 4 w 111"/>
                  <a:gd name="T47" fmla="*/ 5 h 80"/>
                  <a:gd name="T48" fmla="*/ 4 w 111"/>
                  <a:gd name="T49" fmla="*/ 2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1" h="80">
                    <a:moveTo>
                      <a:pt x="99" y="80"/>
                    </a:moveTo>
                    <a:cubicBezTo>
                      <a:pt x="99" y="80"/>
                      <a:pt x="99" y="80"/>
                      <a:pt x="98" y="80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4" y="36"/>
                      <a:pt x="64" y="36"/>
                    </a:cubicBezTo>
                    <a:cubicBezTo>
                      <a:pt x="64" y="37"/>
                      <a:pt x="63" y="38"/>
                      <a:pt x="63" y="38"/>
                    </a:cubicBezTo>
                    <a:cubicBezTo>
                      <a:pt x="58" y="40"/>
                      <a:pt x="58" y="40"/>
                      <a:pt x="58" y="40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1" y="71"/>
                      <a:pt x="111" y="72"/>
                      <a:pt x="111" y="72"/>
                    </a:cubicBezTo>
                    <a:cubicBezTo>
                      <a:pt x="111" y="73"/>
                      <a:pt x="111" y="74"/>
                      <a:pt x="110" y="74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80"/>
                      <a:pt x="100" y="80"/>
                      <a:pt x="99" y="80"/>
                    </a:cubicBezTo>
                    <a:close/>
                    <a:moveTo>
                      <a:pt x="4" y="21"/>
                    </a:moveTo>
                    <a:cubicBezTo>
                      <a:pt x="99" y="76"/>
                      <a:pt x="99" y="76"/>
                      <a:pt x="99" y="76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53" y="42"/>
                      <a:pt x="52" y="41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Freeform 1047">
                <a:extLst>
                  <a:ext uri="{FF2B5EF4-FFF2-40B4-BE49-F238E27FC236}">
                    <a16:creationId xmlns:a16="http://schemas.microsoft.com/office/drawing/2014/main" id="{1D8B129C-5EE7-4F0D-B78E-3178DC001B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16" y="2622"/>
                <a:ext cx="400" cy="246"/>
              </a:xfrm>
              <a:custGeom>
                <a:avLst/>
                <a:gdLst>
                  <a:gd name="T0" fmla="*/ 59 w 169"/>
                  <a:gd name="T1" fmla="*/ 104 h 104"/>
                  <a:gd name="T2" fmla="*/ 58 w 169"/>
                  <a:gd name="T3" fmla="*/ 104 h 104"/>
                  <a:gd name="T4" fmla="*/ 13 w 169"/>
                  <a:gd name="T5" fmla="*/ 78 h 104"/>
                  <a:gd name="T6" fmla="*/ 13 w 169"/>
                  <a:gd name="T7" fmla="*/ 85 h 104"/>
                  <a:gd name="T8" fmla="*/ 12 w 169"/>
                  <a:gd name="T9" fmla="*/ 87 h 104"/>
                  <a:gd name="T10" fmla="*/ 10 w 169"/>
                  <a:gd name="T11" fmla="*/ 87 h 104"/>
                  <a:gd name="T12" fmla="*/ 1 w 169"/>
                  <a:gd name="T13" fmla="*/ 81 h 104"/>
                  <a:gd name="T14" fmla="*/ 0 w 169"/>
                  <a:gd name="T15" fmla="*/ 80 h 104"/>
                  <a:gd name="T16" fmla="*/ 0 w 169"/>
                  <a:gd name="T17" fmla="*/ 65 h 104"/>
                  <a:gd name="T18" fmla="*/ 1 w 169"/>
                  <a:gd name="T19" fmla="*/ 64 h 104"/>
                  <a:gd name="T20" fmla="*/ 110 w 169"/>
                  <a:gd name="T21" fmla="*/ 1 h 104"/>
                  <a:gd name="T22" fmla="*/ 112 w 169"/>
                  <a:gd name="T23" fmla="*/ 1 h 104"/>
                  <a:gd name="T24" fmla="*/ 113 w 169"/>
                  <a:gd name="T25" fmla="*/ 3 h 104"/>
                  <a:gd name="T26" fmla="*/ 113 w 169"/>
                  <a:gd name="T27" fmla="*/ 6 h 104"/>
                  <a:gd name="T28" fmla="*/ 168 w 169"/>
                  <a:gd name="T29" fmla="*/ 38 h 104"/>
                  <a:gd name="T30" fmla="*/ 169 w 169"/>
                  <a:gd name="T31" fmla="*/ 40 h 104"/>
                  <a:gd name="T32" fmla="*/ 168 w 169"/>
                  <a:gd name="T33" fmla="*/ 42 h 104"/>
                  <a:gd name="T34" fmla="*/ 60 w 169"/>
                  <a:gd name="T35" fmla="*/ 104 h 104"/>
                  <a:gd name="T36" fmla="*/ 59 w 169"/>
                  <a:gd name="T37" fmla="*/ 104 h 104"/>
                  <a:gd name="T38" fmla="*/ 11 w 169"/>
                  <a:gd name="T39" fmla="*/ 72 h 104"/>
                  <a:gd name="T40" fmla="*/ 12 w 169"/>
                  <a:gd name="T41" fmla="*/ 73 h 104"/>
                  <a:gd name="T42" fmla="*/ 59 w 169"/>
                  <a:gd name="T43" fmla="*/ 100 h 104"/>
                  <a:gd name="T44" fmla="*/ 163 w 169"/>
                  <a:gd name="T45" fmla="*/ 40 h 104"/>
                  <a:gd name="T46" fmla="*/ 110 w 169"/>
                  <a:gd name="T47" fmla="*/ 9 h 104"/>
                  <a:gd name="T48" fmla="*/ 109 w 169"/>
                  <a:gd name="T49" fmla="*/ 7 h 104"/>
                  <a:gd name="T50" fmla="*/ 109 w 169"/>
                  <a:gd name="T51" fmla="*/ 6 h 104"/>
                  <a:gd name="T52" fmla="*/ 4 w 169"/>
                  <a:gd name="T53" fmla="*/ 67 h 104"/>
                  <a:gd name="T54" fmla="*/ 4 w 169"/>
                  <a:gd name="T55" fmla="*/ 78 h 104"/>
                  <a:gd name="T56" fmla="*/ 9 w 169"/>
                  <a:gd name="T57" fmla="*/ 81 h 104"/>
                  <a:gd name="T58" fmla="*/ 9 w 169"/>
                  <a:gd name="T59" fmla="*/ 74 h 104"/>
                  <a:gd name="T60" fmla="*/ 10 w 169"/>
                  <a:gd name="T61" fmla="*/ 73 h 104"/>
                  <a:gd name="T62" fmla="*/ 11 w 169"/>
                  <a:gd name="T63" fmla="*/ 7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04">
                    <a:moveTo>
                      <a:pt x="59" y="104"/>
                    </a:moveTo>
                    <a:cubicBezTo>
                      <a:pt x="59" y="104"/>
                      <a:pt x="59" y="104"/>
                      <a:pt x="58" y="104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86"/>
                      <a:pt x="13" y="86"/>
                      <a:pt x="12" y="87"/>
                    </a:cubicBezTo>
                    <a:cubicBezTo>
                      <a:pt x="11" y="87"/>
                      <a:pt x="11" y="87"/>
                      <a:pt x="10" y="87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0" y="81"/>
                      <a:pt x="0" y="80"/>
                      <a:pt x="0" y="8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4"/>
                      <a:pt x="1" y="64"/>
                    </a:cubicBezTo>
                    <a:cubicBezTo>
                      <a:pt x="110" y="1"/>
                      <a:pt x="110" y="1"/>
                      <a:pt x="110" y="1"/>
                    </a:cubicBezTo>
                    <a:cubicBezTo>
                      <a:pt x="110" y="0"/>
                      <a:pt x="111" y="0"/>
                      <a:pt x="112" y="1"/>
                    </a:cubicBezTo>
                    <a:cubicBezTo>
                      <a:pt x="112" y="1"/>
                      <a:pt x="113" y="2"/>
                      <a:pt x="113" y="3"/>
                    </a:cubicBezTo>
                    <a:cubicBezTo>
                      <a:pt x="113" y="6"/>
                      <a:pt x="113" y="6"/>
                      <a:pt x="113" y="6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69" y="39"/>
                      <a:pt x="169" y="39"/>
                      <a:pt x="169" y="40"/>
                    </a:cubicBezTo>
                    <a:cubicBezTo>
                      <a:pt x="169" y="41"/>
                      <a:pt x="169" y="41"/>
                      <a:pt x="168" y="42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0" y="104"/>
                      <a:pt x="60" y="104"/>
                      <a:pt x="59" y="104"/>
                    </a:cubicBezTo>
                    <a:close/>
                    <a:moveTo>
                      <a:pt x="11" y="72"/>
                    </a:moveTo>
                    <a:cubicBezTo>
                      <a:pt x="11" y="72"/>
                      <a:pt x="12" y="72"/>
                      <a:pt x="12" y="73"/>
                    </a:cubicBezTo>
                    <a:cubicBezTo>
                      <a:pt x="59" y="100"/>
                      <a:pt x="59" y="100"/>
                      <a:pt x="59" y="100"/>
                    </a:cubicBezTo>
                    <a:cubicBezTo>
                      <a:pt x="163" y="40"/>
                      <a:pt x="163" y="40"/>
                      <a:pt x="163" y="40"/>
                    </a:cubicBezTo>
                    <a:cubicBezTo>
                      <a:pt x="110" y="9"/>
                      <a:pt x="110" y="9"/>
                      <a:pt x="110" y="9"/>
                    </a:cubicBezTo>
                    <a:cubicBezTo>
                      <a:pt x="109" y="9"/>
                      <a:pt x="109" y="8"/>
                      <a:pt x="109" y="7"/>
                    </a:cubicBezTo>
                    <a:cubicBezTo>
                      <a:pt x="109" y="6"/>
                      <a:pt x="109" y="6"/>
                      <a:pt x="109" y="6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9" y="74"/>
                      <a:pt x="9" y="73"/>
                      <a:pt x="10" y="73"/>
                    </a:cubicBezTo>
                    <a:cubicBezTo>
                      <a:pt x="10" y="72"/>
                      <a:pt x="11" y="72"/>
                      <a:pt x="11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Freeform 1048">
                <a:extLst>
                  <a:ext uri="{FF2B5EF4-FFF2-40B4-BE49-F238E27FC236}">
                    <a16:creationId xmlns:a16="http://schemas.microsoft.com/office/drawing/2014/main" id="{D97A6109-8244-4FF9-BD1F-A9FB04CB9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6" y="2707"/>
                <a:ext cx="16" cy="19"/>
              </a:xfrm>
              <a:custGeom>
                <a:avLst/>
                <a:gdLst>
                  <a:gd name="T0" fmla="*/ 5 w 7"/>
                  <a:gd name="T1" fmla="*/ 8 h 8"/>
                  <a:gd name="T2" fmla="*/ 4 w 7"/>
                  <a:gd name="T3" fmla="*/ 8 h 8"/>
                  <a:gd name="T4" fmla="*/ 1 w 7"/>
                  <a:gd name="T5" fmla="*/ 6 h 8"/>
                  <a:gd name="T6" fmla="*/ 0 w 7"/>
                  <a:gd name="T7" fmla="*/ 4 h 8"/>
                  <a:gd name="T8" fmla="*/ 1 w 7"/>
                  <a:gd name="T9" fmla="*/ 2 h 8"/>
                  <a:gd name="T10" fmla="*/ 4 w 7"/>
                  <a:gd name="T11" fmla="*/ 0 h 8"/>
                  <a:gd name="T12" fmla="*/ 6 w 7"/>
                  <a:gd name="T13" fmla="*/ 0 h 8"/>
                  <a:gd name="T14" fmla="*/ 7 w 7"/>
                  <a:gd name="T15" fmla="*/ 2 h 8"/>
                  <a:gd name="T16" fmla="*/ 7 w 7"/>
                  <a:gd name="T17" fmla="*/ 6 h 8"/>
                  <a:gd name="T18" fmla="*/ 6 w 7"/>
                  <a:gd name="T19" fmla="*/ 8 h 8"/>
                  <a:gd name="T20" fmla="*/ 5 w 7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8">
                    <a:moveTo>
                      <a:pt x="5" y="8"/>
                    </a:moveTo>
                    <a:cubicBezTo>
                      <a:pt x="5" y="8"/>
                      <a:pt x="5" y="8"/>
                      <a:pt x="4" y="8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0"/>
                    </a:cubicBezTo>
                    <a:cubicBezTo>
                      <a:pt x="7" y="0"/>
                      <a:pt x="7" y="1"/>
                      <a:pt x="7" y="2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7"/>
                      <a:pt x="7" y="7"/>
                      <a:pt x="6" y="8"/>
                    </a:cubicBezTo>
                    <a:cubicBezTo>
                      <a:pt x="6" y="8"/>
                      <a:pt x="6" y="8"/>
                      <a:pt x="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Freeform 1049">
                <a:extLst>
                  <a:ext uri="{FF2B5EF4-FFF2-40B4-BE49-F238E27FC236}">
                    <a16:creationId xmlns:a16="http://schemas.microsoft.com/office/drawing/2014/main" id="{5B5CB81A-AEC5-4245-A201-5CB3BB3EB1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76" y="2615"/>
                <a:ext cx="156" cy="104"/>
              </a:xfrm>
              <a:custGeom>
                <a:avLst/>
                <a:gdLst>
                  <a:gd name="T0" fmla="*/ 59 w 66"/>
                  <a:gd name="T1" fmla="*/ 44 h 44"/>
                  <a:gd name="T2" fmla="*/ 58 w 66"/>
                  <a:gd name="T3" fmla="*/ 44 h 44"/>
                  <a:gd name="T4" fmla="*/ 1 w 66"/>
                  <a:gd name="T5" fmla="*/ 11 h 44"/>
                  <a:gd name="T6" fmla="*/ 0 w 66"/>
                  <a:gd name="T7" fmla="*/ 9 h 44"/>
                  <a:gd name="T8" fmla="*/ 0 w 66"/>
                  <a:gd name="T9" fmla="*/ 5 h 44"/>
                  <a:gd name="T10" fmla="*/ 1 w 66"/>
                  <a:gd name="T11" fmla="*/ 3 h 44"/>
                  <a:gd name="T12" fmla="*/ 6 w 66"/>
                  <a:gd name="T13" fmla="*/ 0 h 44"/>
                  <a:gd name="T14" fmla="*/ 8 w 66"/>
                  <a:gd name="T15" fmla="*/ 0 h 44"/>
                  <a:gd name="T16" fmla="*/ 65 w 66"/>
                  <a:gd name="T17" fmla="*/ 33 h 44"/>
                  <a:gd name="T18" fmla="*/ 66 w 66"/>
                  <a:gd name="T19" fmla="*/ 35 h 44"/>
                  <a:gd name="T20" fmla="*/ 66 w 66"/>
                  <a:gd name="T21" fmla="*/ 39 h 44"/>
                  <a:gd name="T22" fmla="*/ 65 w 66"/>
                  <a:gd name="T23" fmla="*/ 41 h 44"/>
                  <a:gd name="T24" fmla="*/ 60 w 66"/>
                  <a:gd name="T25" fmla="*/ 44 h 44"/>
                  <a:gd name="T26" fmla="*/ 59 w 66"/>
                  <a:gd name="T27" fmla="*/ 44 h 44"/>
                  <a:gd name="T28" fmla="*/ 4 w 66"/>
                  <a:gd name="T29" fmla="*/ 8 h 44"/>
                  <a:gd name="T30" fmla="*/ 59 w 66"/>
                  <a:gd name="T31" fmla="*/ 40 h 44"/>
                  <a:gd name="T32" fmla="*/ 62 w 66"/>
                  <a:gd name="T33" fmla="*/ 38 h 44"/>
                  <a:gd name="T34" fmla="*/ 62 w 66"/>
                  <a:gd name="T35" fmla="*/ 36 h 44"/>
                  <a:gd name="T36" fmla="*/ 7 w 66"/>
                  <a:gd name="T37" fmla="*/ 4 h 44"/>
                  <a:gd name="T38" fmla="*/ 4 w 66"/>
                  <a:gd name="T39" fmla="*/ 6 h 44"/>
                  <a:gd name="T40" fmla="*/ 4 w 66"/>
                  <a:gd name="T41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6" h="44">
                    <a:moveTo>
                      <a:pt x="59" y="44"/>
                    </a:moveTo>
                    <a:cubicBezTo>
                      <a:pt x="59" y="44"/>
                      <a:pt x="58" y="44"/>
                      <a:pt x="58" y="44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65" y="33"/>
                      <a:pt x="65" y="33"/>
                      <a:pt x="65" y="33"/>
                    </a:cubicBezTo>
                    <a:cubicBezTo>
                      <a:pt x="66" y="34"/>
                      <a:pt x="66" y="35"/>
                      <a:pt x="66" y="35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66" y="40"/>
                      <a:pt x="66" y="40"/>
                      <a:pt x="65" y="41"/>
                    </a:cubicBezTo>
                    <a:cubicBezTo>
                      <a:pt x="60" y="44"/>
                      <a:pt x="60" y="44"/>
                      <a:pt x="60" y="44"/>
                    </a:cubicBezTo>
                    <a:cubicBezTo>
                      <a:pt x="60" y="44"/>
                      <a:pt x="59" y="44"/>
                      <a:pt x="59" y="44"/>
                    </a:cubicBezTo>
                    <a:close/>
                    <a:moveTo>
                      <a:pt x="4" y="8"/>
                    </a:moveTo>
                    <a:cubicBezTo>
                      <a:pt x="59" y="40"/>
                      <a:pt x="59" y="40"/>
                      <a:pt x="59" y="40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Freeform 1050">
                <a:extLst>
                  <a:ext uri="{FF2B5EF4-FFF2-40B4-BE49-F238E27FC236}">
                    <a16:creationId xmlns:a16="http://schemas.microsoft.com/office/drawing/2014/main" id="{4F59AA5D-F096-48FC-A18C-019A89D439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0" y="2478"/>
                <a:ext cx="142" cy="220"/>
              </a:xfrm>
              <a:custGeom>
                <a:avLst/>
                <a:gdLst>
                  <a:gd name="T0" fmla="*/ 58 w 60"/>
                  <a:gd name="T1" fmla="*/ 93 h 93"/>
                  <a:gd name="T2" fmla="*/ 57 w 60"/>
                  <a:gd name="T3" fmla="*/ 93 h 93"/>
                  <a:gd name="T4" fmla="*/ 1 w 60"/>
                  <a:gd name="T5" fmla="*/ 61 h 93"/>
                  <a:gd name="T6" fmla="*/ 0 w 60"/>
                  <a:gd name="T7" fmla="*/ 59 h 93"/>
                  <a:gd name="T8" fmla="*/ 1 w 60"/>
                  <a:gd name="T9" fmla="*/ 57 h 93"/>
                  <a:gd name="T10" fmla="*/ 5 w 60"/>
                  <a:gd name="T11" fmla="*/ 55 h 93"/>
                  <a:gd name="T12" fmla="*/ 5 w 60"/>
                  <a:gd name="T13" fmla="*/ 2 h 93"/>
                  <a:gd name="T14" fmla="*/ 6 w 60"/>
                  <a:gd name="T15" fmla="*/ 0 h 93"/>
                  <a:gd name="T16" fmla="*/ 8 w 60"/>
                  <a:gd name="T17" fmla="*/ 0 h 93"/>
                  <a:gd name="T18" fmla="*/ 59 w 60"/>
                  <a:gd name="T19" fmla="*/ 30 h 93"/>
                  <a:gd name="T20" fmla="*/ 60 w 60"/>
                  <a:gd name="T21" fmla="*/ 31 h 93"/>
                  <a:gd name="T22" fmla="*/ 60 w 60"/>
                  <a:gd name="T23" fmla="*/ 91 h 93"/>
                  <a:gd name="T24" fmla="*/ 59 w 60"/>
                  <a:gd name="T25" fmla="*/ 93 h 93"/>
                  <a:gd name="T26" fmla="*/ 58 w 60"/>
                  <a:gd name="T27" fmla="*/ 93 h 93"/>
                  <a:gd name="T28" fmla="*/ 6 w 60"/>
                  <a:gd name="T29" fmla="*/ 59 h 93"/>
                  <a:gd name="T30" fmla="*/ 56 w 60"/>
                  <a:gd name="T31" fmla="*/ 88 h 93"/>
                  <a:gd name="T32" fmla="*/ 56 w 60"/>
                  <a:gd name="T33" fmla="*/ 33 h 93"/>
                  <a:gd name="T34" fmla="*/ 9 w 60"/>
                  <a:gd name="T35" fmla="*/ 5 h 93"/>
                  <a:gd name="T36" fmla="*/ 9 w 60"/>
                  <a:gd name="T37" fmla="*/ 56 h 93"/>
                  <a:gd name="T38" fmla="*/ 8 w 60"/>
                  <a:gd name="T39" fmla="*/ 58 h 93"/>
                  <a:gd name="T40" fmla="*/ 6 w 60"/>
                  <a:gd name="T41" fmla="*/ 5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93">
                    <a:moveTo>
                      <a:pt x="58" y="93"/>
                    </a:moveTo>
                    <a:cubicBezTo>
                      <a:pt x="58" y="93"/>
                      <a:pt x="58" y="93"/>
                      <a:pt x="57" y="93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1" y="60"/>
                      <a:pt x="0" y="60"/>
                      <a:pt x="0" y="59"/>
                    </a:cubicBezTo>
                    <a:cubicBezTo>
                      <a:pt x="0" y="58"/>
                      <a:pt x="1" y="58"/>
                      <a:pt x="1" y="57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6" y="1"/>
                      <a:pt x="6" y="0"/>
                    </a:cubicBezTo>
                    <a:cubicBezTo>
                      <a:pt x="7" y="0"/>
                      <a:pt x="8" y="0"/>
                      <a:pt x="8" y="0"/>
                    </a:cubicBezTo>
                    <a:cubicBezTo>
                      <a:pt x="59" y="30"/>
                      <a:pt x="59" y="30"/>
                      <a:pt x="59" y="30"/>
                    </a:cubicBezTo>
                    <a:cubicBezTo>
                      <a:pt x="60" y="30"/>
                      <a:pt x="60" y="31"/>
                      <a:pt x="60" y="31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60" y="92"/>
                      <a:pt x="60" y="93"/>
                      <a:pt x="59" y="93"/>
                    </a:cubicBezTo>
                    <a:cubicBezTo>
                      <a:pt x="59" y="93"/>
                      <a:pt x="59" y="93"/>
                      <a:pt x="58" y="93"/>
                    </a:cubicBezTo>
                    <a:close/>
                    <a:moveTo>
                      <a:pt x="6" y="59"/>
                    </a:moveTo>
                    <a:cubicBezTo>
                      <a:pt x="56" y="88"/>
                      <a:pt x="56" y="88"/>
                      <a:pt x="56" y="8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9" y="57"/>
                      <a:pt x="9" y="58"/>
                      <a:pt x="8" y="58"/>
                    </a:cubicBezTo>
                    <a:lnTo>
                      <a:pt x="6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Freeform 1051">
                <a:extLst>
                  <a:ext uri="{FF2B5EF4-FFF2-40B4-BE49-F238E27FC236}">
                    <a16:creationId xmlns:a16="http://schemas.microsoft.com/office/drawing/2014/main" id="{EE8483C2-459B-4C84-A2ED-8B42BB10B0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1788"/>
                <a:ext cx="229" cy="463"/>
              </a:xfrm>
              <a:custGeom>
                <a:avLst/>
                <a:gdLst>
                  <a:gd name="T0" fmla="*/ 2 w 97"/>
                  <a:gd name="T1" fmla="*/ 196 h 196"/>
                  <a:gd name="T2" fmla="*/ 1 w 97"/>
                  <a:gd name="T3" fmla="*/ 196 h 196"/>
                  <a:gd name="T4" fmla="*/ 0 w 97"/>
                  <a:gd name="T5" fmla="*/ 194 h 196"/>
                  <a:gd name="T6" fmla="*/ 0 w 97"/>
                  <a:gd name="T7" fmla="*/ 56 h 196"/>
                  <a:gd name="T8" fmla="*/ 1 w 97"/>
                  <a:gd name="T9" fmla="*/ 54 h 196"/>
                  <a:gd name="T10" fmla="*/ 94 w 97"/>
                  <a:gd name="T11" fmla="*/ 0 h 196"/>
                  <a:gd name="T12" fmla="*/ 96 w 97"/>
                  <a:gd name="T13" fmla="*/ 0 h 196"/>
                  <a:gd name="T14" fmla="*/ 97 w 97"/>
                  <a:gd name="T15" fmla="*/ 2 h 196"/>
                  <a:gd name="T16" fmla="*/ 97 w 97"/>
                  <a:gd name="T17" fmla="*/ 140 h 196"/>
                  <a:gd name="T18" fmla="*/ 97 w 97"/>
                  <a:gd name="T19" fmla="*/ 140 h 196"/>
                  <a:gd name="T20" fmla="*/ 96 w 97"/>
                  <a:gd name="T21" fmla="*/ 142 h 196"/>
                  <a:gd name="T22" fmla="*/ 3 w 97"/>
                  <a:gd name="T23" fmla="*/ 196 h 196"/>
                  <a:gd name="T24" fmla="*/ 2 w 97"/>
                  <a:gd name="T25" fmla="*/ 196 h 196"/>
                  <a:gd name="T26" fmla="*/ 4 w 97"/>
                  <a:gd name="T27" fmla="*/ 57 h 196"/>
                  <a:gd name="T28" fmla="*/ 4 w 97"/>
                  <a:gd name="T29" fmla="*/ 191 h 196"/>
                  <a:gd name="T30" fmla="*/ 93 w 97"/>
                  <a:gd name="T31" fmla="*/ 139 h 196"/>
                  <a:gd name="T32" fmla="*/ 93 w 97"/>
                  <a:gd name="T33" fmla="*/ 6 h 196"/>
                  <a:gd name="T34" fmla="*/ 4 w 97"/>
                  <a:gd name="T35" fmla="*/ 57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196">
                    <a:moveTo>
                      <a:pt x="2" y="196"/>
                    </a:moveTo>
                    <a:cubicBezTo>
                      <a:pt x="1" y="196"/>
                      <a:pt x="1" y="196"/>
                      <a:pt x="1" y="196"/>
                    </a:cubicBezTo>
                    <a:cubicBezTo>
                      <a:pt x="0" y="196"/>
                      <a:pt x="0" y="195"/>
                      <a:pt x="0" y="19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5"/>
                      <a:pt x="0" y="55"/>
                      <a:pt x="1" y="54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95" y="0"/>
                      <a:pt x="96" y="0"/>
                    </a:cubicBezTo>
                    <a:cubicBezTo>
                      <a:pt x="96" y="1"/>
                      <a:pt x="97" y="2"/>
                      <a:pt x="97" y="2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7" y="141"/>
                      <a:pt x="97" y="142"/>
                      <a:pt x="96" y="142"/>
                    </a:cubicBezTo>
                    <a:cubicBezTo>
                      <a:pt x="3" y="196"/>
                      <a:pt x="3" y="196"/>
                      <a:pt x="3" y="196"/>
                    </a:cubicBezTo>
                    <a:cubicBezTo>
                      <a:pt x="2" y="196"/>
                      <a:pt x="2" y="196"/>
                      <a:pt x="2" y="196"/>
                    </a:cubicBezTo>
                    <a:close/>
                    <a:moveTo>
                      <a:pt x="4" y="57"/>
                    </a:moveTo>
                    <a:cubicBezTo>
                      <a:pt x="4" y="191"/>
                      <a:pt x="4" y="191"/>
                      <a:pt x="4" y="191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93" y="6"/>
                      <a:pt x="93" y="6"/>
                      <a:pt x="93" y="6"/>
                    </a:cubicBezTo>
                    <a:lnTo>
                      <a:pt x="4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Freeform 1052">
                <a:extLst>
                  <a:ext uri="{FF2B5EF4-FFF2-40B4-BE49-F238E27FC236}">
                    <a16:creationId xmlns:a16="http://schemas.microsoft.com/office/drawing/2014/main" id="{6D7CE5EC-B158-4008-92C0-78408692F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45" y="2157"/>
                <a:ext cx="479" cy="295"/>
              </a:xfrm>
              <a:custGeom>
                <a:avLst/>
                <a:gdLst>
                  <a:gd name="T0" fmla="*/ 113 w 203"/>
                  <a:gd name="T1" fmla="*/ 125 h 125"/>
                  <a:gd name="T2" fmla="*/ 112 w 203"/>
                  <a:gd name="T3" fmla="*/ 124 h 125"/>
                  <a:gd name="T4" fmla="*/ 1 w 203"/>
                  <a:gd name="T5" fmla="*/ 60 h 125"/>
                  <a:gd name="T6" fmla="*/ 0 w 203"/>
                  <a:gd name="T7" fmla="*/ 59 h 125"/>
                  <a:gd name="T8" fmla="*/ 1 w 203"/>
                  <a:gd name="T9" fmla="*/ 57 h 125"/>
                  <a:gd name="T10" fmla="*/ 98 w 203"/>
                  <a:gd name="T11" fmla="*/ 0 h 125"/>
                  <a:gd name="T12" fmla="*/ 100 w 203"/>
                  <a:gd name="T13" fmla="*/ 0 h 125"/>
                  <a:gd name="T14" fmla="*/ 202 w 203"/>
                  <a:gd name="T15" fmla="*/ 59 h 125"/>
                  <a:gd name="T16" fmla="*/ 203 w 203"/>
                  <a:gd name="T17" fmla="*/ 61 h 125"/>
                  <a:gd name="T18" fmla="*/ 202 w 203"/>
                  <a:gd name="T19" fmla="*/ 62 h 125"/>
                  <a:gd name="T20" fmla="*/ 168 w 203"/>
                  <a:gd name="T21" fmla="*/ 82 h 125"/>
                  <a:gd name="T22" fmla="*/ 174 w 203"/>
                  <a:gd name="T23" fmla="*/ 86 h 125"/>
                  <a:gd name="T24" fmla="*/ 175 w 203"/>
                  <a:gd name="T25" fmla="*/ 88 h 125"/>
                  <a:gd name="T26" fmla="*/ 174 w 203"/>
                  <a:gd name="T27" fmla="*/ 90 h 125"/>
                  <a:gd name="T28" fmla="*/ 117 w 203"/>
                  <a:gd name="T29" fmla="*/ 123 h 125"/>
                  <a:gd name="T30" fmla="*/ 117 w 203"/>
                  <a:gd name="T31" fmla="*/ 123 h 125"/>
                  <a:gd name="T32" fmla="*/ 114 w 203"/>
                  <a:gd name="T33" fmla="*/ 124 h 125"/>
                  <a:gd name="T34" fmla="*/ 113 w 203"/>
                  <a:gd name="T35" fmla="*/ 125 h 125"/>
                  <a:gd name="T36" fmla="*/ 116 w 203"/>
                  <a:gd name="T37" fmla="*/ 121 h 125"/>
                  <a:gd name="T38" fmla="*/ 116 w 203"/>
                  <a:gd name="T39" fmla="*/ 121 h 125"/>
                  <a:gd name="T40" fmla="*/ 6 w 203"/>
                  <a:gd name="T41" fmla="*/ 59 h 125"/>
                  <a:gd name="T42" fmla="*/ 113 w 203"/>
                  <a:gd name="T43" fmla="*/ 120 h 125"/>
                  <a:gd name="T44" fmla="*/ 169 w 203"/>
                  <a:gd name="T45" fmla="*/ 88 h 125"/>
                  <a:gd name="T46" fmla="*/ 163 w 203"/>
                  <a:gd name="T47" fmla="*/ 84 h 125"/>
                  <a:gd name="T48" fmla="*/ 162 w 203"/>
                  <a:gd name="T49" fmla="*/ 82 h 125"/>
                  <a:gd name="T50" fmla="*/ 163 w 203"/>
                  <a:gd name="T51" fmla="*/ 81 h 125"/>
                  <a:gd name="T52" fmla="*/ 197 w 203"/>
                  <a:gd name="T53" fmla="*/ 61 h 125"/>
                  <a:gd name="T54" fmla="*/ 99 w 203"/>
                  <a:gd name="T55" fmla="*/ 4 h 125"/>
                  <a:gd name="T56" fmla="*/ 6 w 203"/>
                  <a:gd name="T57" fmla="*/ 5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3" h="125">
                    <a:moveTo>
                      <a:pt x="113" y="125"/>
                    </a:moveTo>
                    <a:cubicBezTo>
                      <a:pt x="113" y="125"/>
                      <a:pt x="112" y="125"/>
                      <a:pt x="112" y="124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0"/>
                      <a:pt x="0" y="59"/>
                      <a:pt x="0" y="59"/>
                    </a:cubicBezTo>
                    <a:cubicBezTo>
                      <a:pt x="0" y="58"/>
                      <a:pt x="0" y="57"/>
                      <a:pt x="1" y="57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9" y="0"/>
                      <a:pt x="100" y="0"/>
                      <a:pt x="100" y="0"/>
                    </a:cubicBezTo>
                    <a:cubicBezTo>
                      <a:pt x="202" y="59"/>
                      <a:pt x="202" y="59"/>
                      <a:pt x="202" y="59"/>
                    </a:cubicBezTo>
                    <a:cubicBezTo>
                      <a:pt x="202" y="59"/>
                      <a:pt x="203" y="60"/>
                      <a:pt x="203" y="61"/>
                    </a:cubicBezTo>
                    <a:cubicBezTo>
                      <a:pt x="203" y="61"/>
                      <a:pt x="202" y="62"/>
                      <a:pt x="202" y="62"/>
                    </a:cubicBezTo>
                    <a:cubicBezTo>
                      <a:pt x="168" y="82"/>
                      <a:pt x="168" y="82"/>
                      <a:pt x="168" y="82"/>
                    </a:cubicBezTo>
                    <a:cubicBezTo>
                      <a:pt x="174" y="86"/>
                      <a:pt x="174" y="86"/>
                      <a:pt x="174" y="86"/>
                    </a:cubicBezTo>
                    <a:cubicBezTo>
                      <a:pt x="175" y="87"/>
                      <a:pt x="175" y="87"/>
                      <a:pt x="175" y="88"/>
                    </a:cubicBezTo>
                    <a:cubicBezTo>
                      <a:pt x="175" y="89"/>
                      <a:pt x="175" y="89"/>
                      <a:pt x="174" y="90"/>
                    </a:cubicBezTo>
                    <a:cubicBezTo>
                      <a:pt x="117" y="123"/>
                      <a:pt x="117" y="123"/>
                      <a:pt x="117" y="123"/>
                    </a:cubicBezTo>
                    <a:cubicBezTo>
                      <a:pt x="117" y="123"/>
                      <a:pt x="117" y="123"/>
                      <a:pt x="117" y="123"/>
                    </a:cubicBezTo>
                    <a:cubicBezTo>
                      <a:pt x="114" y="124"/>
                      <a:pt x="114" y="124"/>
                      <a:pt x="114" y="124"/>
                    </a:cubicBezTo>
                    <a:cubicBezTo>
                      <a:pt x="114" y="125"/>
                      <a:pt x="113" y="125"/>
                      <a:pt x="113" y="125"/>
                    </a:cubicBezTo>
                    <a:close/>
                    <a:moveTo>
                      <a:pt x="116" y="121"/>
                    </a:moveTo>
                    <a:cubicBezTo>
                      <a:pt x="116" y="121"/>
                      <a:pt x="116" y="121"/>
                      <a:pt x="116" y="121"/>
                    </a:cubicBezTo>
                    <a:close/>
                    <a:moveTo>
                      <a:pt x="6" y="59"/>
                    </a:move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63" y="84"/>
                      <a:pt x="163" y="84"/>
                      <a:pt x="163" y="84"/>
                    </a:cubicBezTo>
                    <a:cubicBezTo>
                      <a:pt x="162" y="84"/>
                      <a:pt x="162" y="83"/>
                      <a:pt x="162" y="82"/>
                    </a:cubicBezTo>
                    <a:cubicBezTo>
                      <a:pt x="162" y="82"/>
                      <a:pt x="162" y="81"/>
                      <a:pt x="163" y="81"/>
                    </a:cubicBezTo>
                    <a:cubicBezTo>
                      <a:pt x="197" y="61"/>
                      <a:pt x="197" y="61"/>
                      <a:pt x="197" y="61"/>
                    </a:cubicBezTo>
                    <a:cubicBezTo>
                      <a:pt x="99" y="4"/>
                      <a:pt x="99" y="4"/>
                      <a:pt x="99" y="4"/>
                    </a:cubicBezTo>
                    <a:lnTo>
                      <a:pt x="6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Freeform 1053">
                <a:extLst>
                  <a:ext uri="{FF2B5EF4-FFF2-40B4-BE49-F238E27FC236}">
                    <a16:creationId xmlns:a16="http://schemas.microsoft.com/office/drawing/2014/main" id="{5B9EAF51-EB72-41CA-A10B-A0A958544E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7" y="1297"/>
                <a:ext cx="288" cy="482"/>
              </a:xfrm>
              <a:custGeom>
                <a:avLst/>
                <a:gdLst>
                  <a:gd name="T0" fmla="*/ 120 w 122"/>
                  <a:gd name="T1" fmla="*/ 204 h 204"/>
                  <a:gd name="T2" fmla="*/ 119 w 122"/>
                  <a:gd name="T3" fmla="*/ 204 h 204"/>
                  <a:gd name="T4" fmla="*/ 116 w 122"/>
                  <a:gd name="T5" fmla="*/ 203 h 204"/>
                  <a:gd name="T6" fmla="*/ 116 w 122"/>
                  <a:gd name="T7" fmla="*/ 203 h 204"/>
                  <a:gd name="T8" fmla="*/ 114 w 122"/>
                  <a:gd name="T9" fmla="*/ 203 h 204"/>
                  <a:gd name="T10" fmla="*/ 39 w 122"/>
                  <a:gd name="T11" fmla="*/ 160 h 204"/>
                  <a:gd name="T12" fmla="*/ 38 w 122"/>
                  <a:gd name="T13" fmla="*/ 159 h 204"/>
                  <a:gd name="T14" fmla="*/ 39 w 122"/>
                  <a:gd name="T15" fmla="*/ 157 h 204"/>
                  <a:gd name="T16" fmla="*/ 54 w 122"/>
                  <a:gd name="T17" fmla="*/ 149 h 204"/>
                  <a:gd name="T18" fmla="*/ 1 w 122"/>
                  <a:gd name="T19" fmla="*/ 118 h 204"/>
                  <a:gd name="T20" fmla="*/ 0 w 122"/>
                  <a:gd name="T21" fmla="*/ 116 h 204"/>
                  <a:gd name="T22" fmla="*/ 1 w 122"/>
                  <a:gd name="T23" fmla="*/ 115 h 204"/>
                  <a:gd name="T24" fmla="*/ 6 w 122"/>
                  <a:gd name="T25" fmla="*/ 112 h 204"/>
                  <a:gd name="T26" fmla="*/ 6 w 122"/>
                  <a:gd name="T27" fmla="*/ 2 h 204"/>
                  <a:gd name="T28" fmla="*/ 7 w 122"/>
                  <a:gd name="T29" fmla="*/ 0 h 204"/>
                  <a:gd name="T30" fmla="*/ 9 w 122"/>
                  <a:gd name="T31" fmla="*/ 0 h 204"/>
                  <a:gd name="T32" fmla="*/ 121 w 122"/>
                  <a:gd name="T33" fmla="*/ 65 h 204"/>
                  <a:gd name="T34" fmla="*/ 122 w 122"/>
                  <a:gd name="T35" fmla="*/ 66 h 204"/>
                  <a:gd name="T36" fmla="*/ 122 w 122"/>
                  <a:gd name="T37" fmla="*/ 202 h 204"/>
                  <a:gd name="T38" fmla="*/ 121 w 122"/>
                  <a:gd name="T39" fmla="*/ 204 h 204"/>
                  <a:gd name="T40" fmla="*/ 120 w 122"/>
                  <a:gd name="T41" fmla="*/ 204 h 204"/>
                  <a:gd name="T42" fmla="*/ 115 w 122"/>
                  <a:gd name="T43" fmla="*/ 197 h 204"/>
                  <a:gd name="T44" fmla="*/ 116 w 122"/>
                  <a:gd name="T45" fmla="*/ 198 h 204"/>
                  <a:gd name="T46" fmla="*/ 118 w 122"/>
                  <a:gd name="T47" fmla="*/ 199 h 204"/>
                  <a:gd name="T48" fmla="*/ 118 w 122"/>
                  <a:gd name="T49" fmla="*/ 68 h 204"/>
                  <a:gd name="T50" fmla="*/ 10 w 122"/>
                  <a:gd name="T51" fmla="*/ 5 h 204"/>
                  <a:gd name="T52" fmla="*/ 10 w 122"/>
                  <a:gd name="T53" fmla="*/ 113 h 204"/>
                  <a:gd name="T54" fmla="*/ 9 w 122"/>
                  <a:gd name="T55" fmla="*/ 115 h 204"/>
                  <a:gd name="T56" fmla="*/ 6 w 122"/>
                  <a:gd name="T57" fmla="*/ 116 h 204"/>
                  <a:gd name="T58" fmla="*/ 59 w 122"/>
                  <a:gd name="T59" fmla="*/ 147 h 204"/>
                  <a:gd name="T60" fmla="*/ 60 w 122"/>
                  <a:gd name="T61" fmla="*/ 149 h 204"/>
                  <a:gd name="T62" fmla="*/ 59 w 122"/>
                  <a:gd name="T63" fmla="*/ 150 h 204"/>
                  <a:gd name="T64" fmla="*/ 44 w 122"/>
                  <a:gd name="T65" fmla="*/ 159 h 204"/>
                  <a:gd name="T66" fmla="*/ 113 w 122"/>
                  <a:gd name="T67" fmla="*/ 198 h 204"/>
                  <a:gd name="T68" fmla="*/ 114 w 122"/>
                  <a:gd name="T69" fmla="*/ 198 h 204"/>
                  <a:gd name="T70" fmla="*/ 115 w 122"/>
                  <a:gd name="T71" fmla="*/ 19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2" h="204">
                    <a:moveTo>
                      <a:pt x="120" y="204"/>
                    </a:moveTo>
                    <a:cubicBezTo>
                      <a:pt x="119" y="204"/>
                      <a:pt x="119" y="204"/>
                      <a:pt x="119" y="204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5" y="204"/>
                      <a:pt x="114" y="204"/>
                      <a:pt x="114" y="203"/>
                    </a:cubicBezTo>
                    <a:cubicBezTo>
                      <a:pt x="39" y="160"/>
                      <a:pt x="39" y="160"/>
                      <a:pt x="39" y="160"/>
                    </a:cubicBezTo>
                    <a:cubicBezTo>
                      <a:pt x="39" y="160"/>
                      <a:pt x="38" y="159"/>
                      <a:pt x="38" y="159"/>
                    </a:cubicBezTo>
                    <a:cubicBezTo>
                      <a:pt x="38" y="158"/>
                      <a:pt x="39" y="157"/>
                      <a:pt x="39" y="157"/>
                    </a:cubicBezTo>
                    <a:cubicBezTo>
                      <a:pt x="54" y="149"/>
                      <a:pt x="54" y="149"/>
                      <a:pt x="54" y="149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8"/>
                      <a:pt x="0" y="117"/>
                      <a:pt x="0" y="116"/>
                    </a:cubicBezTo>
                    <a:cubicBezTo>
                      <a:pt x="0" y="116"/>
                      <a:pt x="0" y="115"/>
                      <a:pt x="1" y="115"/>
                    </a:cubicBezTo>
                    <a:cubicBezTo>
                      <a:pt x="6" y="112"/>
                      <a:pt x="6" y="112"/>
                      <a:pt x="6" y="11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6" y="0"/>
                      <a:pt x="7" y="0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121" y="65"/>
                      <a:pt x="121" y="65"/>
                      <a:pt x="121" y="65"/>
                    </a:cubicBezTo>
                    <a:cubicBezTo>
                      <a:pt x="121" y="65"/>
                      <a:pt x="122" y="66"/>
                      <a:pt x="122" y="66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2" y="203"/>
                      <a:pt x="121" y="204"/>
                      <a:pt x="121" y="204"/>
                    </a:cubicBezTo>
                    <a:cubicBezTo>
                      <a:pt x="120" y="204"/>
                      <a:pt x="120" y="204"/>
                      <a:pt x="120" y="204"/>
                    </a:cubicBezTo>
                    <a:close/>
                    <a:moveTo>
                      <a:pt x="115" y="197"/>
                    </a:moveTo>
                    <a:cubicBezTo>
                      <a:pt x="115" y="197"/>
                      <a:pt x="115" y="198"/>
                      <a:pt x="116" y="198"/>
                    </a:cubicBezTo>
                    <a:cubicBezTo>
                      <a:pt x="118" y="199"/>
                      <a:pt x="118" y="199"/>
                      <a:pt x="118" y="199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10" y="114"/>
                      <a:pt x="9" y="114"/>
                      <a:pt x="9" y="11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59" y="147"/>
                      <a:pt x="60" y="148"/>
                      <a:pt x="60" y="149"/>
                    </a:cubicBezTo>
                    <a:cubicBezTo>
                      <a:pt x="60" y="149"/>
                      <a:pt x="59" y="150"/>
                      <a:pt x="59" y="150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113" y="198"/>
                      <a:pt x="113" y="198"/>
                      <a:pt x="113" y="198"/>
                    </a:cubicBezTo>
                    <a:cubicBezTo>
                      <a:pt x="113" y="198"/>
                      <a:pt x="114" y="198"/>
                      <a:pt x="114" y="198"/>
                    </a:cubicBezTo>
                    <a:cubicBezTo>
                      <a:pt x="114" y="198"/>
                      <a:pt x="114" y="197"/>
                      <a:pt x="115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Freeform 1054">
                <a:extLst>
                  <a:ext uri="{FF2B5EF4-FFF2-40B4-BE49-F238E27FC236}">
                    <a16:creationId xmlns:a16="http://schemas.microsoft.com/office/drawing/2014/main" id="{ED1F9215-02A3-4615-A292-ED27D1E90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2799"/>
                <a:ext cx="116" cy="83"/>
              </a:xfrm>
              <a:custGeom>
                <a:avLst/>
                <a:gdLst>
                  <a:gd name="T0" fmla="*/ 39 w 49"/>
                  <a:gd name="T1" fmla="*/ 35 h 35"/>
                  <a:gd name="T2" fmla="*/ 38 w 49"/>
                  <a:gd name="T3" fmla="*/ 34 h 35"/>
                  <a:gd name="T4" fmla="*/ 1 w 49"/>
                  <a:gd name="T5" fmla="*/ 13 h 35"/>
                  <a:gd name="T6" fmla="*/ 0 w 49"/>
                  <a:gd name="T7" fmla="*/ 11 h 35"/>
                  <a:gd name="T8" fmla="*/ 0 w 49"/>
                  <a:gd name="T9" fmla="*/ 2 h 35"/>
                  <a:gd name="T10" fmla="*/ 1 w 49"/>
                  <a:gd name="T11" fmla="*/ 0 h 35"/>
                  <a:gd name="T12" fmla="*/ 3 w 49"/>
                  <a:gd name="T13" fmla="*/ 0 h 35"/>
                  <a:gd name="T14" fmla="*/ 48 w 49"/>
                  <a:gd name="T15" fmla="*/ 26 h 35"/>
                  <a:gd name="T16" fmla="*/ 49 w 49"/>
                  <a:gd name="T17" fmla="*/ 28 h 35"/>
                  <a:gd name="T18" fmla="*/ 48 w 49"/>
                  <a:gd name="T19" fmla="*/ 30 h 35"/>
                  <a:gd name="T20" fmla="*/ 40 w 49"/>
                  <a:gd name="T21" fmla="*/ 34 h 35"/>
                  <a:gd name="T22" fmla="*/ 39 w 49"/>
                  <a:gd name="T23" fmla="*/ 35 h 35"/>
                  <a:gd name="T24" fmla="*/ 4 w 49"/>
                  <a:gd name="T25" fmla="*/ 10 h 35"/>
                  <a:gd name="T26" fmla="*/ 39 w 49"/>
                  <a:gd name="T27" fmla="*/ 30 h 35"/>
                  <a:gd name="T28" fmla="*/ 43 w 49"/>
                  <a:gd name="T29" fmla="*/ 28 h 35"/>
                  <a:gd name="T30" fmla="*/ 4 w 49"/>
                  <a:gd name="T31" fmla="*/ 6 h 35"/>
                  <a:gd name="T32" fmla="*/ 4 w 49"/>
                  <a:gd name="T33" fmla="*/ 1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35">
                    <a:moveTo>
                      <a:pt x="39" y="35"/>
                    </a:moveTo>
                    <a:cubicBezTo>
                      <a:pt x="39" y="35"/>
                      <a:pt x="39" y="34"/>
                      <a:pt x="38" y="34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7"/>
                      <a:pt x="49" y="27"/>
                      <a:pt x="49" y="28"/>
                    </a:cubicBezTo>
                    <a:cubicBezTo>
                      <a:pt x="49" y="29"/>
                      <a:pt x="48" y="30"/>
                      <a:pt x="48" y="30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0" y="34"/>
                      <a:pt x="40" y="35"/>
                      <a:pt x="39" y="35"/>
                    </a:cubicBezTo>
                    <a:close/>
                    <a:moveTo>
                      <a:pt x="4" y="10"/>
                    </a:moveTo>
                    <a:cubicBezTo>
                      <a:pt x="39" y="30"/>
                      <a:pt x="39" y="30"/>
                      <a:pt x="39" y="30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Freeform 1055">
                <a:extLst>
                  <a:ext uri="{FF2B5EF4-FFF2-40B4-BE49-F238E27FC236}">
                    <a16:creationId xmlns:a16="http://schemas.microsoft.com/office/drawing/2014/main" id="{83A94B30-B3EF-4B66-9E3B-1ABA2EF68F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2275"/>
                <a:ext cx="24" cy="85"/>
              </a:xfrm>
              <a:custGeom>
                <a:avLst/>
                <a:gdLst>
                  <a:gd name="T0" fmla="*/ 8 w 10"/>
                  <a:gd name="T1" fmla="*/ 36 h 36"/>
                  <a:gd name="T2" fmla="*/ 7 w 10"/>
                  <a:gd name="T3" fmla="*/ 36 h 36"/>
                  <a:gd name="T4" fmla="*/ 1 w 10"/>
                  <a:gd name="T5" fmla="*/ 32 h 36"/>
                  <a:gd name="T6" fmla="*/ 0 w 10"/>
                  <a:gd name="T7" fmla="*/ 30 h 36"/>
                  <a:gd name="T8" fmla="*/ 0 w 10"/>
                  <a:gd name="T9" fmla="*/ 2 h 36"/>
                  <a:gd name="T10" fmla="*/ 1 w 10"/>
                  <a:gd name="T11" fmla="*/ 1 h 36"/>
                  <a:gd name="T12" fmla="*/ 2 w 10"/>
                  <a:gd name="T13" fmla="*/ 0 h 36"/>
                  <a:gd name="T14" fmla="*/ 4 w 10"/>
                  <a:gd name="T15" fmla="*/ 0 h 36"/>
                  <a:gd name="T16" fmla="*/ 9 w 10"/>
                  <a:gd name="T17" fmla="*/ 3 h 36"/>
                  <a:gd name="T18" fmla="*/ 10 w 10"/>
                  <a:gd name="T19" fmla="*/ 4 h 36"/>
                  <a:gd name="T20" fmla="*/ 10 w 10"/>
                  <a:gd name="T21" fmla="*/ 34 h 36"/>
                  <a:gd name="T22" fmla="*/ 9 w 10"/>
                  <a:gd name="T23" fmla="*/ 36 h 36"/>
                  <a:gd name="T24" fmla="*/ 8 w 10"/>
                  <a:gd name="T25" fmla="*/ 36 h 36"/>
                  <a:gd name="T26" fmla="*/ 4 w 10"/>
                  <a:gd name="T27" fmla="*/ 29 h 36"/>
                  <a:gd name="T28" fmla="*/ 6 w 10"/>
                  <a:gd name="T29" fmla="*/ 30 h 36"/>
                  <a:gd name="T30" fmla="*/ 6 w 10"/>
                  <a:gd name="T31" fmla="*/ 6 h 36"/>
                  <a:gd name="T32" fmla="*/ 4 w 10"/>
                  <a:gd name="T33" fmla="*/ 4 h 36"/>
                  <a:gd name="T34" fmla="*/ 4 w 10"/>
                  <a:gd name="T35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36">
                    <a:moveTo>
                      <a:pt x="8" y="36"/>
                    </a:moveTo>
                    <a:cubicBezTo>
                      <a:pt x="8" y="36"/>
                      <a:pt x="7" y="36"/>
                      <a:pt x="7" y="36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3"/>
                      <a:pt x="10" y="4"/>
                      <a:pt x="10" y="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0" y="35"/>
                      <a:pt x="10" y="35"/>
                      <a:pt x="9" y="36"/>
                    </a:cubicBezTo>
                    <a:cubicBezTo>
                      <a:pt x="9" y="36"/>
                      <a:pt x="9" y="36"/>
                      <a:pt x="8" y="36"/>
                    </a:cubicBezTo>
                    <a:close/>
                    <a:moveTo>
                      <a:pt x="4" y="29"/>
                    </a:moveTo>
                    <a:cubicBezTo>
                      <a:pt x="6" y="30"/>
                      <a:pt x="6" y="30"/>
                      <a:pt x="6" y="3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Freeform 1056">
                <a:extLst>
                  <a:ext uri="{FF2B5EF4-FFF2-40B4-BE49-F238E27FC236}">
                    <a16:creationId xmlns:a16="http://schemas.microsoft.com/office/drawing/2014/main" id="{EF021E24-DFAF-4B8E-A5B8-46A8D9A97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2" y="2443"/>
                <a:ext cx="9" cy="12"/>
              </a:xfrm>
              <a:custGeom>
                <a:avLst/>
                <a:gdLst>
                  <a:gd name="T0" fmla="*/ 2 w 4"/>
                  <a:gd name="T1" fmla="*/ 5 h 5"/>
                  <a:gd name="T2" fmla="*/ 1 w 4"/>
                  <a:gd name="T3" fmla="*/ 5 h 5"/>
                  <a:gd name="T4" fmla="*/ 1 w 4"/>
                  <a:gd name="T5" fmla="*/ 4 h 5"/>
                  <a:gd name="T6" fmla="*/ 0 w 4"/>
                  <a:gd name="T7" fmla="*/ 3 h 5"/>
                  <a:gd name="T8" fmla="*/ 1 w 4"/>
                  <a:gd name="T9" fmla="*/ 1 h 5"/>
                  <a:gd name="T10" fmla="*/ 1 w 4"/>
                  <a:gd name="T11" fmla="*/ 1 h 5"/>
                  <a:gd name="T12" fmla="*/ 3 w 4"/>
                  <a:gd name="T13" fmla="*/ 1 h 5"/>
                  <a:gd name="T14" fmla="*/ 4 w 4"/>
                  <a:gd name="T15" fmla="*/ 2 h 5"/>
                  <a:gd name="T16" fmla="*/ 4 w 4"/>
                  <a:gd name="T17" fmla="*/ 3 h 5"/>
                  <a:gd name="T18" fmla="*/ 3 w 4"/>
                  <a:gd name="T19" fmla="*/ 5 h 5"/>
                  <a:gd name="T20" fmla="*/ 2 w 4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2" y="5"/>
                      <a:pt x="2" y="5"/>
                      <a:pt x="1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3" y="5"/>
                    </a:cubicBezTo>
                    <a:cubicBezTo>
                      <a:pt x="3" y="5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Freeform 1057">
                <a:extLst>
                  <a:ext uri="{FF2B5EF4-FFF2-40B4-BE49-F238E27FC236}">
                    <a16:creationId xmlns:a16="http://schemas.microsoft.com/office/drawing/2014/main" id="{A8DDF69C-E75D-4123-9923-2C5B7C647D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7" y="1670"/>
                <a:ext cx="406" cy="251"/>
              </a:xfrm>
              <a:custGeom>
                <a:avLst/>
                <a:gdLst>
                  <a:gd name="T0" fmla="*/ 77 w 172"/>
                  <a:gd name="T1" fmla="*/ 106 h 106"/>
                  <a:gd name="T2" fmla="*/ 76 w 172"/>
                  <a:gd name="T3" fmla="*/ 106 h 106"/>
                  <a:gd name="T4" fmla="*/ 75 w 172"/>
                  <a:gd name="T5" fmla="*/ 104 h 106"/>
                  <a:gd name="T6" fmla="*/ 75 w 172"/>
                  <a:gd name="T7" fmla="*/ 99 h 106"/>
                  <a:gd name="T8" fmla="*/ 1 w 172"/>
                  <a:gd name="T9" fmla="*/ 56 h 106"/>
                  <a:gd name="T10" fmla="*/ 0 w 172"/>
                  <a:gd name="T11" fmla="*/ 55 h 106"/>
                  <a:gd name="T12" fmla="*/ 1 w 172"/>
                  <a:gd name="T13" fmla="*/ 53 h 106"/>
                  <a:gd name="T14" fmla="*/ 93 w 172"/>
                  <a:gd name="T15" fmla="*/ 0 h 106"/>
                  <a:gd name="T16" fmla="*/ 95 w 172"/>
                  <a:gd name="T17" fmla="*/ 0 h 106"/>
                  <a:gd name="T18" fmla="*/ 171 w 172"/>
                  <a:gd name="T19" fmla="*/ 44 h 106"/>
                  <a:gd name="T20" fmla="*/ 172 w 172"/>
                  <a:gd name="T21" fmla="*/ 45 h 106"/>
                  <a:gd name="T22" fmla="*/ 172 w 172"/>
                  <a:gd name="T23" fmla="*/ 50 h 106"/>
                  <a:gd name="T24" fmla="*/ 171 w 172"/>
                  <a:gd name="T25" fmla="*/ 52 h 106"/>
                  <a:gd name="T26" fmla="*/ 78 w 172"/>
                  <a:gd name="T27" fmla="*/ 106 h 106"/>
                  <a:gd name="T28" fmla="*/ 77 w 172"/>
                  <a:gd name="T29" fmla="*/ 106 h 106"/>
                  <a:gd name="T30" fmla="*/ 6 w 172"/>
                  <a:gd name="T31" fmla="*/ 55 h 106"/>
                  <a:gd name="T32" fmla="*/ 78 w 172"/>
                  <a:gd name="T33" fmla="*/ 96 h 106"/>
                  <a:gd name="T34" fmla="*/ 79 w 172"/>
                  <a:gd name="T35" fmla="*/ 97 h 106"/>
                  <a:gd name="T36" fmla="*/ 79 w 172"/>
                  <a:gd name="T37" fmla="*/ 101 h 106"/>
                  <a:gd name="T38" fmla="*/ 168 w 172"/>
                  <a:gd name="T39" fmla="*/ 49 h 106"/>
                  <a:gd name="T40" fmla="*/ 168 w 172"/>
                  <a:gd name="T41" fmla="*/ 47 h 106"/>
                  <a:gd name="T42" fmla="*/ 94 w 172"/>
                  <a:gd name="T43" fmla="*/ 4 h 106"/>
                  <a:gd name="T44" fmla="*/ 6 w 172"/>
                  <a:gd name="T45" fmla="*/ 5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2" h="106">
                    <a:moveTo>
                      <a:pt x="77" y="106"/>
                    </a:moveTo>
                    <a:cubicBezTo>
                      <a:pt x="76" y="106"/>
                      <a:pt x="76" y="106"/>
                      <a:pt x="76" y="106"/>
                    </a:cubicBezTo>
                    <a:cubicBezTo>
                      <a:pt x="75" y="106"/>
                      <a:pt x="75" y="105"/>
                      <a:pt x="75" y="104"/>
                    </a:cubicBezTo>
                    <a:cubicBezTo>
                      <a:pt x="75" y="99"/>
                      <a:pt x="75" y="99"/>
                      <a:pt x="75" y="99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" y="56"/>
                      <a:pt x="0" y="55"/>
                      <a:pt x="0" y="55"/>
                    </a:cubicBezTo>
                    <a:cubicBezTo>
                      <a:pt x="0" y="54"/>
                      <a:pt x="1" y="53"/>
                      <a:pt x="1" y="53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0"/>
                      <a:pt x="94" y="0"/>
                      <a:pt x="95" y="0"/>
                    </a:cubicBezTo>
                    <a:cubicBezTo>
                      <a:pt x="171" y="44"/>
                      <a:pt x="171" y="44"/>
                      <a:pt x="171" y="44"/>
                    </a:cubicBezTo>
                    <a:cubicBezTo>
                      <a:pt x="171" y="44"/>
                      <a:pt x="172" y="45"/>
                      <a:pt x="172" y="45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1"/>
                      <a:pt x="171" y="52"/>
                      <a:pt x="171" y="52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7" y="106"/>
                      <a:pt x="77" y="106"/>
                      <a:pt x="77" y="106"/>
                    </a:cubicBezTo>
                    <a:close/>
                    <a:moveTo>
                      <a:pt x="6" y="55"/>
                    </a:moveTo>
                    <a:cubicBezTo>
                      <a:pt x="78" y="96"/>
                      <a:pt x="78" y="96"/>
                      <a:pt x="78" y="96"/>
                    </a:cubicBezTo>
                    <a:cubicBezTo>
                      <a:pt x="78" y="96"/>
                      <a:pt x="79" y="97"/>
                      <a:pt x="79" y="97"/>
                    </a:cubicBezTo>
                    <a:cubicBezTo>
                      <a:pt x="79" y="101"/>
                      <a:pt x="79" y="101"/>
                      <a:pt x="79" y="101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8" y="47"/>
                      <a:pt x="168" y="47"/>
                      <a:pt x="168" y="47"/>
                    </a:cubicBezTo>
                    <a:cubicBezTo>
                      <a:pt x="94" y="4"/>
                      <a:pt x="94" y="4"/>
                      <a:pt x="94" y="4"/>
                    </a:cubicBezTo>
                    <a:lnTo>
                      <a:pt x="6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Freeform 1058">
                <a:extLst>
                  <a:ext uri="{FF2B5EF4-FFF2-40B4-BE49-F238E27FC236}">
                    <a16:creationId xmlns:a16="http://schemas.microsoft.com/office/drawing/2014/main" id="{AF2C27D7-FC49-45D1-982B-2F503B31E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2381"/>
                <a:ext cx="24" cy="50"/>
              </a:xfrm>
              <a:custGeom>
                <a:avLst/>
                <a:gdLst>
                  <a:gd name="T0" fmla="*/ 2 w 10"/>
                  <a:gd name="T1" fmla="*/ 21 h 21"/>
                  <a:gd name="T2" fmla="*/ 1 w 10"/>
                  <a:gd name="T3" fmla="*/ 20 h 21"/>
                  <a:gd name="T4" fmla="*/ 0 w 10"/>
                  <a:gd name="T5" fmla="*/ 19 h 21"/>
                  <a:gd name="T6" fmla="*/ 0 w 10"/>
                  <a:gd name="T7" fmla="*/ 6 h 21"/>
                  <a:gd name="T8" fmla="*/ 1 w 10"/>
                  <a:gd name="T9" fmla="*/ 4 h 21"/>
                  <a:gd name="T10" fmla="*/ 7 w 10"/>
                  <a:gd name="T11" fmla="*/ 1 h 21"/>
                  <a:gd name="T12" fmla="*/ 9 w 10"/>
                  <a:gd name="T13" fmla="*/ 1 h 21"/>
                  <a:gd name="T14" fmla="*/ 10 w 10"/>
                  <a:gd name="T15" fmla="*/ 2 h 21"/>
                  <a:gd name="T16" fmla="*/ 10 w 10"/>
                  <a:gd name="T17" fmla="*/ 15 h 21"/>
                  <a:gd name="T18" fmla="*/ 9 w 10"/>
                  <a:gd name="T19" fmla="*/ 17 h 21"/>
                  <a:gd name="T20" fmla="*/ 3 w 10"/>
                  <a:gd name="T21" fmla="*/ 20 h 21"/>
                  <a:gd name="T22" fmla="*/ 2 w 10"/>
                  <a:gd name="T23" fmla="*/ 21 h 21"/>
                  <a:gd name="T24" fmla="*/ 4 w 10"/>
                  <a:gd name="T25" fmla="*/ 7 h 21"/>
                  <a:gd name="T26" fmla="*/ 4 w 10"/>
                  <a:gd name="T27" fmla="*/ 15 h 21"/>
                  <a:gd name="T28" fmla="*/ 6 w 10"/>
                  <a:gd name="T29" fmla="*/ 14 h 21"/>
                  <a:gd name="T30" fmla="*/ 6 w 10"/>
                  <a:gd name="T31" fmla="*/ 6 h 21"/>
                  <a:gd name="T32" fmla="*/ 4 w 10"/>
                  <a:gd name="T33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21">
                    <a:moveTo>
                      <a:pt x="2" y="21"/>
                    </a:moveTo>
                    <a:cubicBezTo>
                      <a:pt x="2" y="21"/>
                      <a:pt x="1" y="21"/>
                      <a:pt x="1" y="20"/>
                    </a:cubicBezTo>
                    <a:cubicBezTo>
                      <a:pt x="1" y="20"/>
                      <a:pt x="0" y="19"/>
                      <a:pt x="0" y="19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4"/>
                      <a:pt x="1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0"/>
                      <a:pt x="9" y="0"/>
                      <a:pt x="9" y="1"/>
                    </a:cubicBezTo>
                    <a:cubicBezTo>
                      <a:pt x="10" y="1"/>
                      <a:pt x="10" y="2"/>
                      <a:pt x="10" y="2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0" y="17"/>
                      <a:pt x="9" y="17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3" y="21"/>
                      <a:pt x="2" y="21"/>
                    </a:cubicBezTo>
                    <a:close/>
                    <a:moveTo>
                      <a:pt x="4" y="7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6"/>
                      <a:pt x="6" y="6"/>
                      <a:pt x="6" y="6"/>
                    </a:cubicBez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1059">
                <a:extLst>
                  <a:ext uri="{FF2B5EF4-FFF2-40B4-BE49-F238E27FC236}">
                    <a16:creationId xmlns:a16="http://schemas.microsoft.com/office/drawing/2014/main" id="{C92292E0-813A-4537-8FB3-10897A6BD1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2346"/>
                <a:ext cx="24" cy="50"/>
              </a:xfrm>
              <a:custGeom>
                <a:avLst/>
                <a:gdLst>
                  <a:gd name="T0" fmla="*/ 2 w 10"/>
                  <a:gd name="T1" fmla="*/ 21 h 21"/>
                  <a:gd name="T2" fmla="*/ 1 w 10"/>
                  <a:gd name="T3" fmla="*/ 21 h 21"/>
                  <a:gd name="T4" fmla="*/ 0 w 10"/>
                  <a:gd name="T5" fmla="*/ 19 h 21"/>
                  <a:gd name="T6" fmla="*/ 0 w 10"/>
                  <a:gd name="T7" fmla="*/ 2 h 21"/>
                  <a:gd name="T8" fmla="*/ 1 w 10"/>
                  <a:gd name="T9" fmla="*/ 1 h 21"/>
                  <a:gd name="T10" fmla="*/ 3 w 10"/>
                  <a:gd name="T11" fmla="*/ 1 h 21"/>
                  <a:gd name="T12" fmla="*/ 9 w 10"/>
                  <a:gd name="T13" fmla="*/ 4 h 21"/>
                  <a:gd name="T14" fmla="*/ 10 w 10"/>
                  <a:gd name="T15" fmla="*/ 6 h 21"/>
                  <a:gd name="T16" fmla="*/ 10 w 10"/>
                  <a:gd name="T17" fmla="*/ 15 h 21"/>
                  <a:gd name="T18" fmla="*/ 9 w 10"/>
                  <a:gd name="T19" fmla="*/ 17 h 21"/>
                  <a:gd name="T20" fmla="*/ 3 w 10"/>
                  <a:gd name="T21" fmla="*/ 21 h 21"/>
                  <a:gd name="T22" fmla="*/ 2 w 10"/>
                  <a:gd name="T23" fmla="*/ 21 h 21"/>
                  <a:gd name="T24" fmla="*/ 4 w 10"/>
                  <a:gd name="T25" fmla="*/ 6 h 21"/>
                  <a:gd name="T26" fmla="*/ 4 w 10"/>
                  <a:gd name="T27" fmla="*/ 15 h 21"/>
                  <a:gd name="T28" fmla="*/ 6 w 10"/>
                  <a:gd name="T29" fmla="*/ 14 h 21"/>
                  <a:gd name="T30" fmla="*/ 6 w 10"/>
                  <a:gd name="T31" fmla="*/ 7 h 21"/>
                  <a:gd name="T32" fmla="*/ 4 w 10"/>
                  <a:gd name="T33" fmla="*/ 6 h 21"/>
                  <a:gd name="T34" fmla="*/ 8 w 10"/>
                  <a:gd name="T35" fmla="*/ 15 h 21"/>
                  <a:gd name="T36" fmla="*/ 8 w 10"/>
                  <a:gd name="T37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21">
                    <a:moveTo>
                      <a:pt x="2" y="21"/>
                    </a:moveTo>
                    <a:cubicBezTo>
                      <a:pt x="2" y="21"/>
                      <a:pt x="1" y="21"/>
                      <a:pt x="1" y="21"/>
                    </a:cubicBezTo>
                    <a:cubicBezTo>
                      <a:pt x="1" y="20"/>
                      <a:pt x="0" y="20"/>
                      <a:pt x="0" y="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6"/>
                      <a:pt x="10" y="17"/>
                      <a:pt x="9" y="17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1"/>
                      <a:pt x="2" y="21"/>
                    </a:cubicBezTo>
                    <a:close/>
                    <a:moveTo>
                      <a:pt x="4" y="6"/>
                    </a:move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7"/>
                      <a:pt x="6" y="7"/>
                      <a:pt x="6" y="7"/>
                    </a:cubicBezTo>
                    <a:lnTo>
                      <a:pt x="4" y="6"/>
                    </a:lnTo>
                    <a:close/>
                    <a:moveTo>
                      <a:pt x="8" y="15"/>
                    </a:moveTo>
                    <a:cubicBezTo>
                      <a:pt x="8" y="15"/>
                      <a:pt x="8" y="15"/>
                      <a:pt x="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Freeform 1060">
                <a:extLst>
                  <a:ext uri="{FF2B5EF4-FFF2-40B4-BE49-F238E27FC236}">
                    <a16:creationId xmlns:a16="http://schemas.microsoft.com/office/drawing/2014/main" id="{B49993B7-02F0-402E-A8D9-5378B55032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09" y="2353"/>
                <a:ext cx="272" cy="461"/>
              </a:xfrm>
              <a:custGeom>
                <a:avLst/>
                <a:gdLst>
                  <a:gd name="T0" fmla="*/ 113 w 115"/>
                  <a:gd name="T1" fmla="*/ 195 h 195"/>
                  <a:gd name="T2" fmla="*/ 112 w 115"/>
                  <a:gd name="T3" fmla="*/ 194 h 195"/>
                  <a:gd name="T4" fmla="*/ 1 w 115"/>
                  <a:gd name="T5" fmla="*/ 130 h 195"/>
                  <a:gd name="T6" fmla="*/ 0 w 115"/>
                  <a:gd name="T7" fmla="*/ 128 h 195"/>
                  <a:gd name="T8" fmla="*/ 1 w 115"/>
                  <a:gd name="T9" fmla="*/ 126 h 195"/>
                  <a:gd name="T10" fmla="*/ 32 w 115"/>
                  <a:gd name="T11" fmla="*/ 108 h 195"/>
                  <a:gd name="T12" fmla="*/ 32 w 115"/>
                  <a:gd name="T13" fmla="*/ 2 h 195"/>
                  <a:gd name="T14" fmla="*/ 33 w 115"/>
                  <a:gd name="T15" fmla="*/ 0 h 195"/>
                  <a:gd name="T16" fmla="*/ 35 w 115"/>
                  <a:gd name="T17" fmla="*/ 0 h 195"/>
                  <a:gd name="T18" fmla="*/ 111 w 115"/>
                  <a:gd name="T19" fmla="*/ 44 h 195"/>
                  <a:gd name="T20" fmla="*/ 112 w 115"/>
                  <a:gd name="T21" fmla="*/ 45 h 195"/>
                  <a:gd name="T22" fmla="*/ 114 w 115"/>
                  <a:gd name="T23" fmla="*/ 47 h 195"/>
                  <a:gd name="T24" fmla="*/ 115 w 115"/>
                  <a:gd name="T25" fmla="*/ 48 h 195"/>
                  <a:gd name="T26" fmla="*/ 115 w 115"/>
                  <a:gd name="T27" fmla="*/ 193 h 195"/>
                  <a:gd name="T28" fmla="*/ 114 w 115"/>
                  <a:gd name="T29" fmla="*/ 194 h 195"/>
                  <a:gd name="T30" fmla="*/ 113 w 115"/>
                  <a:gd name="T31" fmla="*/ 195 h 195"/>
                  <a:gd name="T32" fmla="*/ 6 w 115"/>
                  <a:gd name="T33" fmla="*/ 128 h 195"/>
                  <a:gd name="T34" fmla="*/ 111 w 115"/>
                  <a:gd name="T35" fmla="*/ 189 h 195"/>
                  <a:gd name="T36" fmla="*/ 111 w 115"/>
                  <a:gd name="T37" fmla="*/ 50 h 195"/>
                  <a:gd name="T38" fmla="*/ 108 w 115"/>
                  <a:gd name="T39" fmla="*/ 48 h 195"/>
                  <a:gd name="T40" fmla="*/ 107 w 115"/>
                  <a:gd name="T41" fmla="*/ 47 h 195"/>
                  <a:gd name="T42" fmla="*/ 36 w 115"/>
                  <a:gd name="T43" fmla="*/ 5 h 195"/>
                  <a:gd name="T44" fmla="*/ 36 w 115"/>
                  <a:gd name="T45" fmla="*/ 109 h 195"/>
                  <a:gd name="T46" fmla="*/ 35 w 115"/>
                  <a:gd name="T47" fmla="*/ 111 h 195"/>
                  <a:gd name="T48" fmla="*/ 6 w 115"/>
                  <a:gd name="T49" fmla="*/ 12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5" h="195">
                    <a:moveTo>
                      <a:pt x="113" y="195"/>
                    </a:moveTo>
                    <a:cubicBezTo>
                      <a:pt x="113" y="195"/>
                      <a:pt x="113" y="195"/>
                      <a:pt x="112" y="194"/>
                    </a:cubicBezTo>
                    <a:cubicBezTo>
                      <a:pt x="1" y="130"/>
                      <a:pt x="1" y="130"/>
                      <a:pt x="1" y="130"/>
                    </a:cubicBezTo>
                    <a:cubicBezTo>
                      <a:pt x="0" y="129"/>
                      <a:pt x="0" y="129"/>
                      <a:pt x="0" y="128"/>
                    </a:cubicBezTo>
                    <a:cubicBezTo>
                      <a:pt x="0" y="127"/>
                      <a:pt x="0" y="127"/>
                      <a:pt x="1" y="126"/>
                    </a:cubicBezTo>
                    <a:cubicBezTo>
                      <a:pt x="32" y="108"/>
                      <a:pt x="32" y="108"/>
                      <a:pt x="32" y="108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32" y="1"/>
                      <a:pt x="32" y="0"/>
                      <a:pt x="33" y="0"/>
                    </a:cubicBezTo>
                    <a:cubicBezTo>
                      <a:pt x="33" y="0"/>
                      <a:pt x="34" y="0"/>
                      <a:pt x="35" y="0"/>
                    </a:cubicBezTo>
                    <a:cubicBezTo>
                      <a:pt x="111" y="44"/>
                      <a:pt x="111" y="44"/>
                      <a:pt x="111" y="44"/>
                    </a:cubicBezTo>
                    <a:cubicBezTo>
                      <a:pt x="111" y="44"/>
                      <a:pt x="112" y="45"/>
                      <a:pt x="112" y="45"/>
                    </a:cubicBezTo>
                    <a:cubicBezTo>
                      <a:pt x="114" y="47"/>
                      <a:pt x="114" y="47"/>
                      <a:pt x="114" y="47"/>
                    </a:cubicBezTo>
                    <a:cubicBezTo>
                      <a:pt x="115" y="47"/>
                      <a:pt x="115" y="48"/>
                      <a:pt x="115" y="48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5" y="194"/>
                      <a:pt x="114" y="194"/>
                    </a:cubicBezTo>
                    <a:cubicBezTo>
                      <a:pt x="114" y="195"/>
                      <a:pt x="114" y="195"/>
                      <a:pt x="113" y="195"/>
                    </a:cubicBezTo>
                    <a:close/>
                    <a:moveTo>
                      <a:pt x="6" y="128"/>
                    </a:move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50"/>
                      <a:pt x="111" y="50"/>
                      <a:pt x="111" y="50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8" y="48"/>
                      <a:pt x="107" y="47"/>
                      <a:pt x="107" y="47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6" y="110"/>
                      <a:pt x="35" y="111"/>
                      <a:pt x="35" y="111"/>
                    </a:cubicBezTo>
                    <a:lnTo>
                      <a:pt x="6" y="1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Freeform 1061">
                <a:extLst>
                  <a:ext uri="{FF2B5EF4-FFF2-40B4-BE49-F238E27FC236}">
                    <a16:creationId xmlns:a16="http://schemas.microsoft.com/office/drawing/2014/main" id="{781A5F12-DA31-472A-A8B2-FF5D6701D6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21" y="2188"/>
                <a:ext cx="161" cy="271"/>
              </a:xfrm>
              <a:custGeom>
                <a:avLst/>
                <a:gdLst>
                  <a:gd name="T0" fmla="*/ 2 w 68"/>
                  <a:gd name="T1" fmla="*/ 115 h 115"/>
                  <a:gd name="T2" fmla="*/ 1 w 68"/>
                  <a:gd name="T3" fmla="*/ 115 h 115"/>
                  <a:gd name="T4" fmla="*/ 0 w 68"/>
                  <a:gd name="T5" fmla="*/ 113 h 115"/>
                  <a:gd name="T6" fmla="*/ 0 w 68"/>
                  <a:gd name="T7" fmla="*/ 98 h 115"/>
                  <a:gd name="T8" fmla="*/ 1 w 68"/>
                  <a:gd name="T9" fmla="*/ 96 h 115"/>
                  <a:gd name="T10" fmla="*/ 48 w 68"/>
                  <a:gd name="T11" fmla="*/ 69 h 115"/>
                  <a:gd name="T12" fmla="*/ 1 w 68"/>
                  <a:gd name="T13" fmla="*/ 42 h 115"/>
                  <a:gd name="T14" fmla="*/ 0 w 68"/>
                  <a:gd name="T15" fmla="*/ 40 h 115"/>
                  <a:gd name="T16" fmla="*/ 0 w 68"/>
                  <a:gd name="T17" fmla="*/ 39 h 115"/>
                  <a:gd name="T18" fmla="*/ 1 w 68"/>
                  <a:gd name="T19" fmla="*/ 38 h 115"/>
                  <a:gd name="T20" fmla="*/ 13 w 68"/>
                  <a:gd name="T21" fmla="*/ 30 h 115"/>
                  <a:gd name="T22" fmla="*/ 14 w 68"/>
                  <a:gd name="T23" fmla="*/ 30 h 115"/>
                  <a:gd name="T24" fmla="*/ 15 w 68"/>
                  <a:gd name="T25" fmla="*/ 30 h 115"/>
                  <a:gd name="T26" fmla="*/ 65 w 68"/>
                  <a:gd name="T27" fmla="*/ 1 h 115"/>
                  <a:gd name="T28" fmla="*/ 67 w 68"/>
                  <a:gd name="T29" fmla="*/ 1 h 115"/>
                  <a:gd name="T30" fmla="*/ 68 w 68"/>
                  <a:gd name="T31" fmla="*/ 2 h 115"/>
                  <a:gd name="T32" fmla="*/ 68 w 68"/>
                  <a:gd name="T33" fmla="*/ 76 h 115"/>
                  <a:gd name="T34" fmla="*/ 67 w 68"/>
                  <a:gd name="T35" fmla="*/ 78 h 115"/>
                  <a:gd name="T36" fmla="*/ 3 w 68"/>
                  <a:gd name="T37" fmla="*/ 115 h 115"/>
                  <a:gd name="T38" fmla="*/ 2 w 68"/>
                  <a:gd name="T39" fmla="*/ 115 h 115"/>
                  <a:gd name="T40" fmla="*/ 4 w 68"/>
                  <a:gd name="T41" fmla="*/ 99 h 115"/>
                  <a:gd name="T42" fmla="*/ 4 w 68"/>
                  <a:gd name="T43" fmla="*/ 110 h 115"/>
                  <a:gd name="T44" fmla="*/ 64 w 68"/>
                  <a:gd name="T45" fmla="*/ 75 h 115"/>
                  <a:gd name="T46" fmla="*/ 64 w 68"/>
                  <a:gd name="T47" fmla="*/ 6 h 115"/>
                  <a:gd name="T48" fmla="*/ 18 w 68"/>
                  <a:gd name="T49" fmla="*/ 33 h 115"/>
                  <a:gd name="T50" fmla="*/ 17 w 68"/>
                  <a:gd name="T51" fmla="*/ 34 h 115"/>
                  <a:gd name="T52" fmla="*/ 15 w 68"/>
                  <a:gd name="T53" fmla="*/ 34 h 115"/>
                  <a:gd name="T54" fmla="*/ 15 w 68"/>
                  <a:gd name="T55" fmla="*/ 34 h 115"/>
                  <a:gd name="T56" fmla="*/ 5 w 68"/>
                  <a:gd name="T57" fmla="*/ 40 h 115"/>
                  <a:gd name="T58" fmla="*/ 53 w 68"/>
                  <a:gd name="T59" fmla="*/ 68 h 115"/>
                  <a:gd name="T60" fmla="*/ 54 w 68"/>
                  <a:gd name="T61" fmla="*/ 69 h 115"/>
                  <a:gd name="T62" fmla="*/ 53 w 68"/>
                  <a:gd name="T63" fmla="*/ 71 h 115"/>
                  <a:gd name="T64" fmla="*/ 4 w 68"/>
                  <a:gd name="T65" fmla="*/ 9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8" h="115">
                    <a:moveTo>
                      <a:pt x="2" y="115"/>
                    </a:moveTo>
                    <a:cubicBezTo>
                      <a:pt x="1" y="115"/>
                      <a:pt x="1" y="115"/>
                      <a:pt x="1" y="115"/>
                    </a:cubicBezTo>
                    <a:cubicBezTo>
                      <a:pt x="0" y="115"/>
                      <a:pt x="0" y="114"/>
                      <a:pt x="0" y="113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97"/>
                      <a:pt x="0" y="97"/>
                      <a:pt x="1" y="96"/>
                    </a:cubicBezTo>
                    <a:cubicBezTo>
                      <a:pt x="48" y="69"/>
                      <a:pt x="48" y="69"/>
                      <a:pt x="48" y="69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1"/>
                      <a:pt x="0" y="4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8"/>
                      <a:pt x="1" y="38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30"/>
                      <a:pt x="15" y="30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6" y="0"/>
                      <a:pt x="66" y="0"/>
                      <a:pt x="67" y="1"/>
                    </a:cubicBezTo>
                    <a:cubicBezTo>
                      <a:pt x="68" y="1"/>
                      <a:pt x="68" y="2"/>
                      <a:pt x="68" y="2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68" y="77"/>
                      <a:pt x="68" y="78"/>
                      <a:pt x="67" y="78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2" y="115"/>
                      <a:pt x="2" y="115"/>
                      <a:pt x="2" y="115"/>
                    </a:cubicBezTo>
                    <a:close/>
                    <a:moveTo>
                      <a:pt x="4" y="99"/>
                    </a:moveTo>
                    <a:cubicBezTo>
                      <a:pt x="4" y="110"/>
                      <a:pt x="4" y="110"/>
                      <a:pt x="4" y="110"/>
                    </a:cubicBezTo>
                    <a:cubicBezTo>
                      <a:pt x="64" y="75"/>
                      <a:pt x="64" y="75"/>
                      <a:pt x="64" y="75"/>
                    </a:cubicBezTo>
                    <a:cubicBezTo>
                      <a:pt x="64" y="6"/>
                      <a:pt x="64" y="6"/>
                      <a:pt x="64" y="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8" y="33"/>
                      <a:pt x="17" y="34"/>
                      <a:pt x="17" y="34"/>
                    </a:cubicBezTo>
                    <a:cubicBezTo>
                      <a:pt x="16" y="35"/>
                      <a:pt x="15" y="35"/>
                      <a:pt x="15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3" y="68"/>
                      <a:pt x="54" y="69"/>
                      <a:pt x="54" y="69"/>
                    </a:cubicBezTo>
                    <a:cubicBezTo>
                      <a:pt x="54" y="70"/>
                      <a:pt x="53" y="71"/>
                      <a:pt x="53" y="71"/>
                    </a:cubicBezTo>
                    <a:lnTo>
                      <a:pt x="4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Freeform 1062">
                <a:extLst>
                  <a:ext uri="{FF2B5EF4-FFF2-40B4-BE49-F238E27FC236}">
                    <a16:creationId xmlns:a16="http://schemas.microsoft.com/office/drawing/2014/main" id="{8898CAE9-370A-4CD6-A799-C2DC3EEDC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9" y="2254"/>
                <a:ext cx="48" cy="30"/>
              </a:xfrm>
              <a:custGeom>
                <a:avLst/>
                <a:gdLst>
                  <a:gd name="T0" fmla="*/ 5 w 20"/>
                  <a:gd name="T1" fmla="*/ 13 h 13"/>
                  <a:gd name="T2" fmla="*/ 4 w 20"/>
                  <a:gd name="T3" fmla="*/ 13 h 13"/>
                  <a:gd name="T4" fmla="*/ 1 w 20"/>
                  <a:gd name="T5" fmla="*/ 11 h 13"/>
                  <a:gd name="T6" fmla="*/ 0 w 20"/>
                  <a:gd name="T7" fmla="*/ 10 h 13"/>
                  <a:gd name="T8" fmla="*/ 1 w 20"/>
                  <a:gd name="T9" fmla="*/ 8 h 13"/>
                  <a:gd name="T10" fmla="*/ 15 w 20"/>
                  <a:gd name="T11" fmla="*/ 0 h 13"/>
                  <a:gd name="T12" fmla="*/ 17 w 20"/>
                  <a:gd name="T13" fmla="*/ 0 h 13"/>
                  <a:gd name="T14" fmla="*/ 19 w 20"/>
                  <a:gd name="T15" fmla="*/ 1 h 13"/>
                  <a:gd name="T16" fmla="*/ 20 w 20"/>
                  <a:gd name="T17" fmla="*/ 3 h 13"/>
                  <a:gd name="T18" fmla="*/ 19 w 20"/>
                  <a:gd name="T19" fmla="*/ 5 h 13"/>
                  <a:gd name="T20" fmla="*/ 7 w 20"/>
                  <a:gd name="T21" fmla="*/ 12 h 13"/>
                  <a:gd name="T22" fmla="*/ 6 w 20"/>
                  <a:gd name="T23" fmla="*/ 13 h 13"/>
                  <a:gd name="T24" fmla="*/ 5 w 20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3">
                    <a:moveTo>
                      <a:pt x="5" y="13"/>
                    </a:moveTo>
                    <a:cubicBezTo>
                      <a:pt x="5" y="13"/>
                      <a:pt x="4" y="13"/>
                      <a:pt x="4" y="13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0"/>
                      <a:pt x="0" y="10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2"/>
                      <a:pt x="20" y="2"/>
                      <a:pt x="20" y="3"/>
                    </a:cubicBezTo>
                    <a:cubicBezTo>
                      <a:pt x="20" y="4"/>
                      <a:pt x="19" y="4"/>
                      <a:pt x="19" y="5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3"/>
                      <a:pt x="6" y="13"/>
                    </a:cubicBezTo>
                    <a:cubicBezTo>
                      <a:pt x="6" y="13"/>
                      <a:pt x="6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Freeform 1063">
                <a:extLst>
                  <a:ext uri="{FF2B5EF4-FFF2-40B4-BE49-F238E27FC236}">
                    <a16:creationId xmlns:a16="http://schemas.microsoft.com/office/drawing/2014/main" id="{BA369554-3FB3-43C0-8950-27EB0B5917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1769"/>
                <a:ext cx="317" cy="464"/>
              </a:xfrm>
              <a:custGeom>
                <a:avLst/>
                <a:gdLst>
                  <a:gd name="T0" fmla="*/ 111 w 134"/>
                  <a:gd name="T1" fmla="*/ 196 h 196"/>
                  <a:gd name="T2" fmla="*/ 110 w 134"/>
                  <a:gd name="T3" fmla="*/ 196 h 196"/>
                  <a:gd name="T4" fmla="*/ 1 w 134"/>
                  <a:gd name="T5" fmla="*/ 133 h 196"/>
                  <a:gd name="T6" fmla="*/ 0 w 134"/>
                  <a:gd name="T7" fmla="*/ 132 h 196"/>
                  <a:gd name="T8" fmla="*/ 0 w 134"/>
                  <a:gd name="T9" fmla="*/ 2 h 196"/>
                  <a:gd name="T10" fmla="*/ 1 w 134"/>
                  <a:gd name="T11" fmla="*/ 1 h 196"/>
                  <a:gd name="T12" fmla="*/ 3 w 134"/>
                  <a:gd name="T13" fmla="*/ 1 h 196"/>
                  <a:gd name="T14" fmla="*/ 39 w 134"/>
                  <a:gd name="T15" fmla="*/ 22 h 196"/>
                  <a:gd name="T16" fmla="*/ 57 w 134"/>
                  <a:gd name="T17" fmla="*/ 12 h 196"/>
                  <a:gd name="T18" fmla="*/ 59 w 134"/>
                  <a:gd name="T19" fmla="*/ 12 h 196"/>
                  <a:gd name="T20" fmla="*/ 133 w 134"/>
                  <a:gd name="T21" fmla="*/ 55 h 196"/>
                  <a:gd name="T22" fmla="*/ 134 w 134"/>
                  <a:gd name="T23" fmla="*/ 56 h 196"/>
                  <a:gd name="T24" fmla="*/ 134 w 134"/>
                  <a:gd name="T25" fmla="*/ 63 h 196"/>
                  <a:gd name="T26" fmla="*/ 133 w 134"/>
                  <a:gd name="T27" fmla="*/ 65 h 196"/>
                  <a:gd name="T28" fmla="*/ 113 w 134"/>
                  <a:gd name="T29" fmla="*/ 77 h 196"/>
                  <a:gd name="T30" fmla="*/ 113 w 134"/>
                  <a:gd name="T31" fmla="*/ 194 h 196"/>
                  <a:gd name="T32" fmla="*/ 112 w 134"/>
                  <a:gd name="T33" fmla="*/ 196 h 196"/>
                  <a:gd name="T34" fmla="*/ 111 w 134"/>
                  <a:gd name="T35" fmla="*/ 196 h 196"/>
                  <a:gd name="T36" fmla="*/ 4 w 134"/>
                  <a:gd name="T37" fmla="*/ 130 h 196"/>
                  <a:gd name="T38" fmla="*/ 109 w 134"/>
                  <a:gd name="T39" fmla="*/ 191 h 196"/>
                  <a:gd name="T40" fmla="*/ 109 w 134"/>
                  <a:gd name="T41" fmla="*/ 75 h 196"/>
                  <a:gd name="T42" fmla="*/ 110 w 134"/>
                  <a:gd name="T43" fmla="*/ 74 h 196"/>
                  <a:gd name="T44" fmla="*/ 130 w 134"/>
                  <a:gd name="T45" fmla="*/ 62 h 196"/>
                  <a:gd name="T46" fmla="*/ 130 w 134"/>
                  <a:gd name="T47" fmla="*/ 58 h 196"/>
                  <a:gd name="T48" fmla="*/ 58 w 134"/>
                  <a:gd name="T49" fmla="*/ 16 h 196"/>
                  <a:gd name="T50" fmla="*/ 40 w 134"/>
                  <a:gd name="T51" fmla="*/ 26 h 196"/>
                  <a:gd name="T52" fmla="*/ 38 w 134"/>
                  <a:gd name="T53" fmla="*/ 26 h 196"/>
                  <a:gd name="T54" fmla="*/ 4 w 134"/>
                  <a:gd name="T55" fmla="*/ 6 h 196"/>
                  <a:gd name="T56" fmla="*/ 4 w 134"/>
                  <a:gd name="T57" fmla="*/ 130 h 196"/>
                  <a:gd name="T58" fmla="*/ 132 w 134"/>
                  <a:gd name="T59" fmla="*/ 63 h 196"/>
                  <a:gd name="T60" fmla="*/ 132 w 134"/>
                  <a:gd name="T61" fmla="*/ 63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4" h="196">
                    <a:moveTo>
                      <a:pt x="111" y="196"/>
                    </a:moveTo>
                    <a:cubicBezTo>
                      <a:pt x="110" y="196"/>
                      <a:pt x="110" y="196"/>
                      <a:pt x="110" y="196"/>
                    </a:cubicBezTo>
                    <a:cubicBezTo>
                      <a:pt x="1" y="133"/>
                      <a:pt x="1" y="133"/>
                      <a:pt x="1" y="133"/>
                    </a:cubicBezTo>
                    <a:cubicBezTo>
                      <a:pt x="0" y="133"/>
                      <a:pt x="0" y="132"/>
                      <a:pt x="0" y="13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57" y="12"/>
                      <a:pt x="57" y="12"/>
                      <a:pt x="57" y="12"/>
                    </a:cubicBezTo>
                    <a:cubicBezTo>
                      <a:pt x="57" y="11"/>
                      <a:pt x="58" y="11"/>
                      <a:pt x="59" y="12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4" y="56"/>
                      <a:pt x="134" y="56"/>
                    </a:cubicBezTo>
                    <a:cubicBezTo>
                      <a:pt x="134" y="63"/>
                      <a:pt x="134" y="63"/>
                      <a:pt x="134" y="63"/>
                    </a:cubicBezTo>
                    <a:cubicBezTo>
                      <a:pt x="134" y="64"/>
                      <a:pt x="133" y="64"/>
                      <a:pt x="133" y="65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3" y="194"/>
                      <a:pt x="113" y="194"/>
                      <a:pt x="113" y="194"/>
                    </a:cubicBezTo>
                    <a:cubicBezTo>
                      <a:pt x="113" y="195"/>
                      <a:pt x="112" y="196"/>
                      <a:pt x="112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lose/>
                    <a:moveTo>
                      <a:pt x="4" y="130"/>
                    </a:moveTo>
                    <a:cubicBezTo>
                      <a:pt x="109" y="191"/>
                      <a:pt x="109" y="191"/>
                      <a:pt x="109" y="191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09" y="75"/>
                      <a:pt x="109" y="74"/>
                      <a:pt x="110" y="74"/>
                    </a:cubicBezTo>
                    <a:cubicBezTo>
                      <a:pt x="130" y="62"/>
                      <a:pt x="130" y="62"/>
                      <a:pt x="130" y="62"/>
                    </a:cubicBezTo>
                    <a:cubicBezTo>
                      <a:pt x="130" y="58"/>
                      <a:pt x="130" y="58"/>
                      <a:pt x="130" y="58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39" y="26"/>
                      <a:pt x="38" y="2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0"/>
                    </a:lnTo>
                    <a:close/>
                    <a:moveTo>
                      <a:pt x="132" y="63"/>
                    </a:moveTo>
                    <a:cubicBezTo>
                      <a:pt x="132" y="63"/>
                      <a:pt x="132" y="63"/>
                      <a:pt x="132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Freeform 1064">
                <a:extLst>
                  <a:ext uri="{FF2B5EF4-FFF2-40B4-BE49-F238E27FC236}">
                    <a16:creationId xmlns:a16="http://schemas.microsoft.com/office/drawing/2014/main" id="{DFE51587-4D8B-4630-9B51-A30946513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15" y="3293"/>
                <a:ext cx="97" cy="116"/>
              </a:xfrm>
              <a:custGeom>
                <a:avLst/>
                <a:gdLst>
                  <a:gd name="T0" fmla="*/ 39 w 41"/>
                  <a:gd name="T1" fmla="*/ 49 h 49"/>
                  <a:gd name="T2" fmla="*/ 38 w 41"/>
                  <a:gd name="T3" fmla="*/ 49 h 49"/>
                  <a:gd name="T4" fmla="*/ 1 w 41"/>
                  <a:gd name="T5" fmla="*/ 27 h 49"/>
                  <a:gd name="T6" fmla="*/ 0 w 41"/>
                  <a:gd name="T7" fmla="*/ 25 h 49"/>
                  <a:gd name="T8" fmla="*/ 0 w 41"/>
                  <a:gd name="T9" fmla="*/ 2 h 49"/>
                  <a:gd name="T10" fmla="*/ 1 w 41"/>
                  <a:gd name="T11" fmla="*/ 0 h 49"/>
                  <a:gd name="T12" fmla="*/ 3 w 41"/>
                  <a:gd name="T13" fmla="*/ 0 h 49"/>
                  <a:gd name="T14" fmla="*/ 40 w 41"/>
                  <a:gd name="T15" fmla="*/ 22 h 49"/>
                  <a:gd name="T16" fmla="*/ 41 w 41"/>
                  <a:gd name="T17" fmla="*/ 24 h 49"/>
                  <a:gd name="T18" fmla="*/ 41 w 41"/>
                  <a:gd name="T19" fmla="*/ 47 h 49"/>
                  <a:gd name="T20" fmla="*/ 40 w 41"/>
                  <a:gd name="T21" fmla="*/ 49 h 49"/>
                  <a:gd name="T22" fmla="*/ 39 w 41"/>
                  <a:gd name="T23" fmla="*/ 49 h 49"/>
                  <a:gd name="T24" fmla="*/ 4 w 41"/>
                  <a:gd name="T25" fmla="*/ 24 h 49"/>
                  <a:gd name="T26" fmla="*/ 37 w 41"/>
                  <a:gd name="T27" fmla="*/ 44 h 49"/>
                  <a:gd name="T28" fmla="*/ 37 w 41"/>
                  <a:gd name="T29" fmla="*/ 25 h 49"/>
                  <a:gd name="T30" fmla="*/ 4 w 41"/>
                  <a:gd name="T31" fmla="*/ 6 h 49"/>
                  <a:gd name="T32" fmla="*/ 4 w 41"/>
                  <a:gd name="T33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" h="49">
                    <a:moveTo>
                      <a:pt x="39" y="49"/>
                    </a:moveTo>
                    <a:cubicBezTo>
                      <a:pt x="39" y="49"/>
                      <a:pt x="39" y="49"/>
                      <a:pt x="38" y="49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7"/>
                      <a:pt x="0" y="26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1" y="23"/>
                      <a:pt x="41" y="23"/>
                      <a:pt x="41" y="24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8"/>
                      <a:pt x="41" y="49"/>
                      <a:pt x="40" y="49"/>
                    </a:cubicBezTo>
                    <a:cubicBezTo>
                      <a:pt x="40" y="49"/>
                      <a:pt x="40" y="49"/>
                      <a:pt x="39" y="49"/>
                    </a:cubicBezTo>
                    <a:close/>
                    <a:moveTo>
                      <a:pt x="4" y="24"/>
                    </a:moveTo>
                    <a:cubicBezTo>
                      <a:pt x="37" y="44"/>
                      <a:pt x="37" y="44"/>
                      <a:pt x="37" y="44"/>
                    </a:cubicBezTo>
                    <a:cubicBezTo>
                      <a:pt x="37" y="25"/>
                      <a:pt x="37" y="25"/>
                      <a:pt x="37" y="25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Freeform 1065">
                <a:extLst>
                  <a:ext uri="{FF2B5EF4-FFF2-40B4-BE49-F238E27FC236}">
                    <a16:creationId xmlns:a16="http://schemas.microsoft.com/office/drawing/2014/main" id="{2F1C0C91-3F30-4C54-A304-C7B3573FD4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65" y="713"/>
                <a:ext cx="773" cy="1014"/>
              </a:xfrm>
              <a:custGeom>
                <a:avLst/>
                <a:gdLst>
                  <a:gd name="T0" fmla="*/ 66 w 327"/>
                  <a:gd name="T1" fmla="*/ 429 h 429"/>
                  <a:gd name="T2" fmla="*/ 65 w 327"/>
                  <a:gd name="T3" fmla="*/ 275 h 429"/>
                  <a:gd name="T4" fmla="*/ 0 w 327"/>
                  <a:gd name="T5" fmla="*/ 236 h 429"/>
                  <a:gd name="T6" fmla="*/ 94 w 327"/>
                  <a:gd name="T7" fmla="*/ 181 h 429"/>
                  <a:gd name="T8" fmla="*/ 111 w 327"/>
                  <a:gd name="T9" fmla="*/ 189 h 429"/>
                  <a:gd name="T10" fmla="*/ 76 w 327"/>
                  <a:gd name="T11" fmla="*/ 99 h 429"/>
                  <a:gd name="T12" fmla="*/ 75 w 327"/>
                  <a:gd name="T13" fmla="*/ 44 h 429"/>
                  <a:gd name="T14" fmla="*/ 110 w 327"/>
                  <a:gd name="T15" fmla="*/ 23 h 429"/>
                  <a:gd name="T16" fmla="*/ 118 w 327"/>
                  <a:gd name="T17" fmla="*/ 17 h 429"/>
                  <a:gd name="T18" fmla="*/ 119 w 327"/>
                  <a:gd name="T19" fmla="*/ 7 h 429"/>
                  <a:gd name="T20" fmla="*/ 132 w 327"/>
                  <a:gd name="T21" fmla="*/ 1 h 429"/>
                  <a:gd name="T22" fmla="*/ 133 w 327"/>
                  <a:gd name="T23" fmla="*/ 7 h 429"/>
                  <a:gd name="T24" fmla="*/ 186 w 327"/>
                  <a:gd name="T25" fmla="*/ 39 h 429"/>
                  <a:gd name="T26" fmla="*/ 185 w 327"/>
                  <a:gd name="T27" fmla="*/ 57 h 429"/>
                  <a:gd name="T28" fmla="*/ 121 w 327"/>
                  <a:gd name="T29" fmla="*/ 168 h 429"/>
                  <a:gd name="T30" fmla="*/ 130 w 327"/>
                  <a:gd name="T31" fmla="*/ 163 h 429"/>
                  <a:gd name="T32" fmla="*/ 327 w 327"/>
                  <a:gd name="T33" fmla="*/ 278 h 429"/>
                  <a:gd name="T34" fmla="*/ 318 w 327"/>
                  <a:gd name="T35" fmla="*/ 284 h 429"/>
                  <a:gd name="T36" fmla="*/ 317 w 327"/>
                  <a:gd name="T37" fmla="*/ 352 h 429"/>
                  <a:gd name="T38" fmla="*/ 302 w 327"/>
                  <a:gd name="T39" fmla="*/ 360 h 429"/>
                  <a:gd name="T40" fmla="*/ 301 w 327"/>
                  <a:gd name="T41" fmla="*/ 302 h 429"/>
                  <a:gd name="T42" fmla="*/ 177 w 327"/>
                  <a:gd name="T43" fmla="*/ 255 h 429"/>
                  <a:gd name="T44" fmla="*/ 78 w 327"/>
                  <a:gd name="T45" fmla="*/ 314 h 429"/>
                  <a:gd name="T46" fmla="*/ 77 w 327"/>
                  <a:gd name="T47" fmla="*/ 387 h 429"/>
                  <a:gd name="T48" fmla="*/ 77 w 327"/>
                  <a:gd name="T49" fmla="*/ 391 h 429"/>
                  <a:gd name="T50" fmla="*/ 78 w 327"/>
                  <a:gd name="T51" fmla="*/ 422 h 429"/>
                  <a:gd name="T52" fmla="*/ 68 w 327"/>
                  <a:gd name="T53" fmla="*/ 429 h 429"/>
                  <a:gd name="T54" fmla="*/ 69 w 327"/>
                  <a:gd name="T55" fmla="*/ 391 h 429"/>
                  <a:gd name="T56" fmla="*/ 74 w 327"/>
                  <a:gd name="T57" fmla="*/ 420 h 429"/>
                  <a:gd name="T58" fmla="*/ 69 w 327"/>
                  <a:gd name="T59" fmla="*/ 391 h 429"/>
                  <a:gd name="T60" fmla="*/ 68 w 327"/>
                  <a:gd name="T61" fmla="*/ 272 h 429"/>
                  <a:gd name="T62" fmla="*/ 69 w 327"/>
                  <a:gd name="T63" fmla="*/ 387 h 429"/>
                  <a:gd name="T64" fmla="*/ 74 w 327"/>
                  <a:gd name="T65" fmla="*/ 312 h 429"/>
                  <a:gd name="T66" fmla="*/ 173 w 327"/>
                  <a:gd name="T67" fmla="*/ 254 h 429"/>
                  <a:gd name="T68" fmla="*/ 174 w 327"/>
                  <a:gd name="T69" fmla="*/ 225 h 429"/>
                  <a:gd name="T70" fmla="*/ 304 w 327"/>
                  <a:gd name="T71" fmla="*/ 299 h 429"/>
                  <a:gd name="T72" fmla="*/ 305 w 327"/>
                  <a:gd name="T73" fmla="*/ 354 h 429"/>
                  <a:gd name="T74" fmla="*/ 314 w 327"/>
                  <a:gd name="T75" fmla="*/ 283 h 429"/>
                  <a:gd name="T76" fmla="*/ 321 w 327"/>
                  <a:gd name="T77" fmla="*/ 278 h 429"/>
                  <a:gd name="T78" fmla="*/ 120 w 327"/>
                  <a:gd name="T79" fmla="*/ 173 h 429"/>
                  <a:gd name="T80" fmla="*/ 117 w 327"/>
                  <a:gd name="T81" fmla="*/ 171 h 429"/>
                  <a:gd name="T82" fmla="*/ 118 w 327"/>
                  <a:gd name="T83" fmla="*/ 92 h 429"/>
                  <a:gd name="T84" fmla="*/ 182 w 327"/>
                  <a:gd name="T85" fmla="*/ 40 h 429"/>
                  <a:gd name="T86" fmla="*/ 129 w 327"/>
                  <a:gd name="T87" fmla="*/ 8 h 429"/>
                  <a:gd name="T88" fmla="*/ 122 w 327"/>
                  <a:gd name="T89" fmla="*/ 10 h 429"/>
                  <a:gd name="T90" fmla="*/ 121 w 327"/>
                  <a:gd name="T91" fmla="*/ 20 h 429"/>
                  <a:gd name="T92" fmla="*/ 113 w 327"/>
                  <a:gd name="T93" fmla="*/ 25 h 429"/>
                  <a:gd name="T94" fmla="*/ 79 w 327"/>
                  <a:gd name="T95" fmla="*/ 96 h 429"/>
                  <a:gd name="T96" fmla="*/ 115 w 327"/>
                  <a:gd name="T97" fmla="*/ 117 h 429"/>
                  <a:gd name="T98" fmla="*/ 114 w 327"/>
                  <a:gd name="T99" fmla="*/ 194 h 429"/>
                  <a:gd name="T100" fmla="*/ 95 w 327"/>
                  <a:gd name="T101" fmla="*/ 185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7" h="429">
                    <a:moveTo>
                      <a:pt x="67" y="429"/>
                    </a:moveTo>
                    <a:cubicBezTo>
                      <a:pt x="66" y="429"/>
                      <a:pt x="66" y="429"/>
                      <a:pt x="66" y="429"/>
                    </a:cubicBezTo>
                    <a:cubicBezTo>
                      <a:pt x="65" y="428"/>
                      <a:pt x="65" y="428"/>
                      <a:pt x="65" y="427"/>
                    </a:cubicBezTo>
                    <a:cubicBezTo>
                      <a:pt x="65" y="275"/>
                      <a:pt x="65" y="275"/>
                      <a:pt x="65" y="275"/>
                    </a:cubicBezTo>
                    <a:cubicBezTo>
                      <a:pt x="1" y="238"/>
                      <a:pt x="1" y="238"/>
                      <a:pt x="1" y="238"/>
                    </a:cubicBezTo>
                    <a:cubicBezTo>
                      <a:pt x="0" y="238"/>
                      <a:pt x="0" y="237"/>
                      <a:pt x="0" y="236"/>
                    </a:cubicBezTo>
                    <a:cubicBezTo>
                      <a:pt x="0" y="236"/>
                      <a:pt x="0" y="235"/>
                      <a:pt x="1" y="235"/>
                    </a:cubicBezTo>
                    <a:cubicBezTo>
                      <a:pt x="94" y="181"/>
                      <a:pt x="94" y="181"/>
                      <a:pt x="94" y="181"/>
                    </a:cubicBezTo>
                    <a:cubicBezTo>
                      <a:pt x="95" y="180"/>
                      <a:pt x="95" y="180"/>
                      <a:pt x="96" y="181"/>
                    </a:cubicBezTo>
                    <a:cubicBezTo>
                      <a:pt x="111" y="189"/>
                      <a:pt x="111" y="189"/>
                      <a:pt x="111" y="189"/>
                    </a:cubicBezTo>
                    <a:cubicBezTo>
                      <a:pt x="111" y="118"/>
                      <a:pt x="111" y="118"/>
                      <a:pt x="111" y="118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98"/>
                      <a:pt x="75" y="98"/>
                      <a:pt x="75" y="97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5" y="43"/>
                      <a:pt x="76" y="42"/>
                      <a:pt x="76" y="42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0" y="22"/>
                      <a:pt x="110" y="22"/>
                      <a:pt x="111" y="22"/>
                    </a:cubicBezTo>
                    <a:cubicBezTo>
                      <a:pt x="118" y="17"/>
                      <a:pt x="118" y="17"/>
                      <a:pt x="118" y="17"/>
                    </a:cubicBezTo>
                    <a:cubicBezTo>
                      <a:pt x="118" y="9"/>
                      <a:pt x="118" y="9"/>
                      <a:pt x="118" y="9"/>
                    </a:cubicBezTo>
                    <a:cubicBezTo>
                      <a:pt x="118" y="8"/>
                      <a:pt x="119" y="7"/>
                      <a:pt x="119" y="7"/>
                    </a:cubicBezTo>
                    <a:cubicBezTo>
                      <a:pt x="130" y="1"/>
                      <a:pt x="130" y="1"/>
                      <a:pt x="130" y="1"/>
                    </a:cubicBezTo>
                    <a:cubicBezTo>
                      <a:pt x="131" y="0"/>
                      <a:pt x="131" y="0"/>
                      <a:pt x="132" y="1"/>
                    </a:cubicBezTo>
                    <a:cubicBezTo>
                      <a:pt x="133" y="1"/>
                      <a:pt x="133" y="2"/>
                      <a:pt x="133" y="2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6" y="38"/>
                      <a:pt x="186" y="38"/>
                      <a:pt x="186" y="39"/>
                    </a:cubicBezTo>
                    <a:cubicBezTo>
                      <a:pt x="186" y="55"/>
                      <a:pt x="186" y="55"/>
                      <a:pt x="186" y="55"/>
                    </a:cubicBezTo>
                    <a:cubicBezTo>
                      <a:pt x="186" y="56"/>
                      <a:pt x="186" y="57"/>
                      <a:pt x="185" y="57"/>
                    </a:cubicBezTo>
                    <a:cubicBezTo>
                      <a:pt x="121" y="95"/>
                      <a:pt x="121" y="95"/>
                      <a:pt x="121" y="95"/>
                    </a:cubicBezTo>
                    <a:cubicBezTo>
                      <a:pt x="121" y="168"/>
                      <a:pt x="121" y="168"/>
                      <a:pt x="121" y="168"/>
                    </a:cubicBezTo>
                    <a:cubicBezTo>
                      <a:pt x="128" y="163"/>
                      <a:pt x="128" y="163"/>
                      <a:pt x="128" y="163"/>
                    </a:cubicBezTo>
                    <a:cubicBezTo>
                      <a:pt x="129" y="163"/>
                      <a:pt x="130" y="163"/>
                      <a:pt x="130" y="163"/>
                    </a:cubicBezTo>
                    <a:cubicBezTo>
                      <a:pt x="326" y="276"/>
                      <a:pt x="326" y="276"/>
                      <a:pt x="326" y="276"/>
                    </a:cubicBezTo>
                    <a:cubicBezTo>
                      <a:pt x="326" y="277"/>
                      <a:pt x="327" y="277"/>
                      <a:pt x="327" y="278"/>
                    </a:cubicBezTo>
                    <a:cubicBezTo>
                      <a:pt x="327" y="279"/>
                      <a:pt x="326" y="279"/>
                      <a:pt x="326" y="280"/>
                    </a:cubicBezTo>
                    <a:cubicBezTo>
                      <a:pt x="318" y="284"/>
                      <a:pt x="318" y="284"/>
                      <a:pt x="318" y="284"/>
                    </a:cubicBezTo>
                    <a:cubicBezTo>
                      <a:pt x="318" y="351"/>
                      <a:pt x="318" y="351"/>
                      <a:pt x="318" y="351"/>
                    </a:cubicBezTo>
                    <a:cubicBezTo>
                      <a:pt x="318" y="351"/>
                      <a:pt x="317" y="352"/>
                      <a:pt x="317" y="352"/>
                    </a:cubicBezTo>
                    <a:cubicBezTo>
                      <a:pt x="304" y="360"/>
                      <a:pt x="304" y="360"/>
                      <a:pt x="304" y="360"/>
                    </a:cubicBezTo>
                    <a:cubicBezTo>
                      <a:pt x="304" y="360"/>
                      <a:pt x="303" y="360"/>
                      <a:pt x="302" y="360"/>
                    </a:cubicBezTo>
                    <a:cubicBezTo>
                      <a:pt x="302" y="359"/>
                      <a:pt x="301" y="359"/>
                      <a:pt x="301" y="358"/>
                    </a:cubicBezTo>
                    <a:cubicBezTo>
                      <a:pt x="301" y="302"/>
                      <a:pt x="301" y="302"/>
                      <a:pt x="301" y="302"/>
                    </a:cubicBezTo>
                    <a:cubicBezTo>
                      <a:pt x="177" y="230"/>
                      <a:pt x="177" y="230"/>
                      <a:pt x="177" y="230"/>
                    </a:cubicBezTo>
                    <a:cubicBezTo>
                      <a:pt x="177" y="255"/>
                      <a:pt x="177" y="255"/>
                      <a:pt x="177" y="255"/>
                    </a:cubicBezTo>
                    <a:cubicBezTo>
                      <a:pt x="177" y="256"/>
                      <a:pt x="176" y="257"/>
                      <a:pt x="176" y="257"/>
                    </a:cubicBezTo>
                    <a:cubicBezTo>
                      <a:pt x="78" y="314"/>
                      <a:pt x="78" y="314"/>
                      <a:pt x="78" y="314"/>
                    </a:cubicBezTo>
                    <a:cubicBezTo>
                      <a:pt x="78" y="385"/>
                      <a:pt x="78" y="385"/>
                      <a:pt x="78" y="385"/>
                    </a:cubicBezTo>
                    <a:cubicBezTo>
                      <a:pt x="78" y="386"/>
                      <a:pt x="77" y="386"/>
                      <a:pt x="77" y="387"/>
                    </a:cubicBezTo>
                    <a:cubicBezTo>
                      <a:pt x="73" y="389"/>
                      <a:pt x="73" y="389"/>
                      <a:pt x="73" y="389"/>
                    </a:cubicBezTo>
                    <a:cubicBezTo>
                      <a:pt x="77" y="391"/>
                      <a:pt x="77" y="391"/>
                      <a:pt x="77" y="391"/>
                    </a:cubicBezTo>
                    <a:cubicBezTo>
                      <a:pt x="77" y="392"/>
                      <a:pt x="78" y="392"/>
                      <a:pt x="78" y="393"/>
                    </a:cubicBezTo>
                    <a:cubicBezTo>
                      <a:pt x="78" y="422"/>
                      <a:pt x="78" y="422"/>
                      <a:pt x="78" y="422"/>
                    </a:cubicBezTo>
                    <a:cubicBezTo>
                      <a:pt x="78" y="422"/>
                      <a:pt x="77" y="423"/>
                      <a:pt x="77" y="423"/>
                    </a:cubicBezTo>
                    <a:cubicBezTo>
                      <a:pt x="68" y="429"/>
                      <a:pt x="68" y="429"/>
                      <a:pt x="68" y="429"/>
                    </a:cubicBezTo>
                    <a:cubicBezTo>
                      <a:pt x="67" y="429"/>
                      <a:pt x="67" y="429"/>
                      <a:pt x="67" y="429"/>
                    </a:cubicBezTo>
                    <a:close/>
                    <a:moveTo>
                      <a:pt x="69" y="391"/>
                    </a:moveTo>
                    <a:cubicBezTo>
                      <a:pt x="69" y="423"/>
                      <a:pt x="69" y="423"/>
                      <a:pt x="69" y="423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74" y="394"/>
                      <a:pt x="74" y="394"/>
                      <a:pt x="74" y="394"/>
                    </a:cubicBezTo>
                    <a:lnTo>
                      <a:pt x="69" y="391"/>
                    </a:lnTo>
                    <a:close/>
                    <a:moveTo>
                      <a:pt x="6" y="236"/>
                    </a:moveTo>
                    <a:cubicBezTo>
                      <a:pt x="68" y="272"/>
                      <a:pt x="68" y="272"/>
                      <a:pt x="68" y="272"/>
                    </a:cubicBezTo>
                    <a:cubicBezTo>
                      <a:pt x="68" y="273"/>
                      <a:pt x="69" y="273"/>
                      <a:pt x="69" y="274"/>
                    </a:cubicBezTo>
                    <a:cubicBezTo>
                      <a:pt x="69" y="387"/>
                      <a:pt x="69" y="387"/>
                      <a:pt x="69" y="387"/>
                    </a:cubicBezTo>
                    <a:cubicBezTo>
                      <a:pt x="74" y="384"/>
                      <a:pt x="74" y="384"/>
                      <a:pt x="74" y="384"/>
                    </a:cubicBezTo>
                    <a:cubicBezTo>
                      <a:pt x="74" y="312"/>
                      <a:pt x="74" y="312"/>
                      <a:pt x="74" y="312"/>
                    </a:cubicBezTo>
                    <a:cubicBezTo>
                      <a:pt x="74" y="312"/>
                      <a:pt x="74" y="311"/>
                      <a:pt x="75" y="311"/>
                    </a:cubicBezTo>
                    <a:cubicBezTo>
                      <a:pt x="173" y="254"/>
                      <a:pt x="173" y="254"/>
                      <a:pt x="173" y="254"/>
                    </a:cubicBezTo>
                    <a:cubicBezTo>
                      <a:pt x="173" y="226"/>
                      <a:pt x="173" y="226"/>
                      <a:pt x="173" y="226"/>
                    </a:cubicBezTo>
                    <a:cubicBezTo>
                      <a:pt x="173" y="226"/>
                      <a:pt x="173" y="225"/>
                      <a:pt x="174" y="225"/>
                    </a:cubicBezTo>
                    <a:cubicBezTo>
                      <a:pt x="174" y="224"/>
                      <a:pt x="175" y="224"/>
                      <a:pt x="176" y="225"/>
                    </a:cubicBezTo>
                    <a:cubicBezTo>
                      <a:pt x="304" y="299"/>
                      <a:pt x="304" y="299"/>
                      <a:pt x="304" y="299"/>
                    </a:cubicBezTo>
                    <a:cubicBezTo>
                      <a:pt x="305" y="299"/>
                      <a:pt x="305" y="300"/>
                      <a:pt x="305" y="301"/>
                    </a:cubicBezTo>
                    <a:cubicBezTo>
                      <a:pt x="305" y="354"/>
                      <a:pt x="305" y="354"/>
                      <a:pt x="305" y="354"/>
                    </a:cubicBezTo>
                    <a:cubicBezTo>
                      <a:pt x="314" y="349"/>
                      <a:pt x="314" y="349"/>
                      <a:pt x="314" y="349"/>
                    </a:cubicBezTo>
                    <a:cubicBezTo>
                      <a:pt x="314" y="283"/>
                      <a:pt x="314" y="283"/>
                      <a:pt x="314" y="283"/>
                    </a:cubicBezTo>
                    <a:cubicBezTo>
                      <a:pt x="314" y="282"/>
                      <a:pt x="314" y="282"/>
                      <a:pt x="315" y="281"/>
                    </a:cubicBezTo>
                    <a:cubicBezTo>
                      <a:pt x="321" y="278"/>
                      <a:pt x="321" y="278"/>
                      <a:pt x="321" y="278"/>
                    </a:cubicBezTo>
                    <a:cubicBezTo>
                      <a:pt x="129" y="167"/>
                      <a:pt x="129" y="167"/>
                      <a:pt x="129" y="167"/>
                    </a:cubicBezTo>
                    <a:cubicBezTo>
                      <a:pt x="120" y="173"/>
                      <a:pt x="120" y="173"/>
                      <a:pt x="120" y="173"/>
                    </a:cubicBezTo>
                    <a:cubicBezTo>
                      <a:pt x="119" y="173"/>
                      <a:pt x="118" y="173"/>
                      <a:pt x="118" y="173"/>
                    </a:cubicBezTo>
                    <a:cubicBezTo>
                      <a:pt x="117" y="173"/>
                      <a:pt x="117" y="172"/>
                      <a:pt x="117" y="171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7" y="93"/>
                      <a:pt x="117" y="92"/>
                      <a:pt x="118" y="92"/>
                    </a:cubicBezTo>
                    <a:cubicBezTo>
                      <a:pt x="182" y="54"/>
                      <a:pt x="182" y="54"/>
                      <a:pt x="182" y="54"/>
                    </a:cubicBezTo>
                    <a:cubicBezTo>
                      <a:pt x="182" y="40"/>
                      <a:pt x="182" y="40"/>
                      <a:pt x="182" y="4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9"/>
                      <a:pt x="129" y="8"/>
                    </a:cubicBezTo>
                    <a:cubicBezTo>
                      <a:pt x="129" y="6"/>
                      <a:pt x="129" y="6"/>
                      <a:pt x="129" y="6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2" y="19"/>
                      <a:pt x="122" y="20"/>
                      <a:pt x="121" y="20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4" y="25"/>
                      <a:pt x="114" y="25"/>
                      <a:pt x="113" y="25"/>
                    </a:cubicBezTo>
                    <a:cubicBezTo>
                      <a:pt x="79" y="45"/>
                      <a:pt x="79" y="45"/>
                      <a:pt x="79" y="45"/>
                    </a:cubicBezTo>
                    <a:cubicBezTo>
                      <a:pt x="79" y="96"/>
                      <a:pt x="79" y="96"/>
                      <a:pt x="79" y="96"/>
                    </a:cubicBezTo>
                    <a:cubicBezTo>
                      <a:pt x="114" y="116"/>
                      <a:pt x="114" y="116"/>
                      <a:pt x="114" y="116"/>
                    </a:cubicBezTo>
                    <a:cubicBezTo>
                      <a:pt x="114" y="116"/>
                      <a:pt x="115" y="117"/>
                      <a:pt x="115" y="117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5" y="193"/>
                      <a:pt x="114" y="194"/>
                      <a:pt x="114" y="194"/>
                    </a:cubicBezTo>
                    <a:cubicBezTo>
                      <a:pt x="113" y="195"/>
                      <a:pt x="112" y="195"/>
                      <a:pt x="112" y="194"/>
                    </a:cubicBezTo>
                    <a:cubicBezTo>
                      <a:pt x="95" y="185"/>
                      <a:pt x="95" y="185"/>
                      <a:pt x="95" y="185"/>
                    </a:cubicBezTo>
                    <a:lnTo>
                      <a:pt x="6" y="2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8" name="Freeform 1066">
                <a:extLst>
                  <a:ext uri="{FF2B5EF4-FFF2-40B4-BE49-F238E27FC236}">
                    <a16:creationId xmlns:a16="http://schemas.microsoft.com/office/drawing/2014/main" id="{A9A4D431-CBEE-4E0B-A98F-527B17C77D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6" y="2464"/>
                <a:ext cx="607" cy="1035"/>
              </a:xfrm>
              <a:custGeom>
                <a:avLst/>
                <a:gdLst>
                  <a:gd name="T0" fmla="*/ 255 w 257"/>
                  <a:gd name="T1" fmla="*/ 438 h 438"/>
                  <a:gd name="T2" fmla="*/ 254 w 257"/>
                  <a:gd name="T3" fmla="*/ 437 h 438"/>
                  <a:gd name="T4" fmla="*/ 162 w 257"/>
                  <a:gd name="T5" fmla="*/ 385 h 438"/>
                  <a:gd name="T6" fmla="*/ 161 w 257"/>
                  <a:gd name="T7" fmla="*/ 383 h 438"/>
                  <a:gd name="T8" fmla="*/ 161 w 257"/>
                  <a:gd name="T9" fmla="*/ 343 h 438"/>
                  <a:gd name="T10" fmla="*/ 103 w 257"/>
                  <a:gd name="T11" fmla="*/ 309 h 438"/>
                  <a:gd name="T12" fmla="*/ 103 w 257"/>
                  <a:gd name="T13" fmla="*/ 350 h 438"/>
                  <a:gd name="T14" fmla="*/ 102 w 257"/>
                  <a:gd name="T15" fmla="*/ 352 h 438"/>
                  <a:gd name="T16" fmla="*/ 100 w 257"/>
                  <a:gd name="T17" fmla="*/ 352 h 438"/>
                  <a:gd name="T18" fmla="*/ 3 w 257"/>
                  <a:gd name="T19" fmla="*/ 296 h 438"/>
                  <a:gd name="T20" fmla="*/ 2 w 257"/>
                  <a:gd name="T21" fmla="*/ 294 h 438"/>
                  <a:gd name="T22" fmla="*/ 3 w 257"/>
                  <a:gd name="T23" fmla="*/ 293 h 438"/>
                  <a:gd name="T24" fmla="*/ 40 w 257"/>
                  <a:gd name="T25" fmla="*/ 271 h 438"/>
                  <a:gd name="T26" fmla="*/ 40 w 257"/>
                  <a:gd name="T27" fmla="*/ 134 h 438"/>
                  <a:gd name="T28" fmla="*/ 3 w 257"/>
                  <a:gd name="T29" fmla="*/ 155 h 438"/>
                  <a:gd name="T30" fmla="*/ 1 w 257"/>
                  <a:gd name="T31" fmla="*/ 155 h 438"/>
                  <a:gd name="T32" fmla="*/ 0 w 257"/>
                  <a:gd name="T33" fmla="*/ 154 h 438"/>
                  <a:gd name="T34" fmla="*/ 0 w 257"/>
                  <a:gd name="T35" fmla="*/ 2 h 438"/>
                  <a:gd name="T36" fmla="*/ 1 w 257"/>
                  <a:gd name="T37" fmla="*/ 1 h 438"/>
                  <a:gd name="T38" fmla="*/ 3 w 257"/>
                  <a:gd name="T39" fmla="*/ 1 h 438"/>
                  <a:gd name="T40" fmla="*/ 256 w 257"/>
                  <a:gd name="T41" fmla="*/ 146 h 438"/>
                  <a:gd name="T42" fmla="*/ 257 w 257"/>
                  <a:gd name="T43" fmla="*/ 148 h 438"/>
                  <a:gd name="T44" fmla="*/ 257 w 257"/>
                  <a:gd name="T45" fmla="*/ 436 h 438"/>
                  <a:gd name="T46" fmla="*/ 256 w 257"/>
                  <a:gd name="T47" fmla="*/ 437 h 438"/>
                  <a:gd name="T48" fmla="*/ 255 w 257"/>
                  <a:gd name="T49" fmla="*/ 438 h 438"/>
                  <a:gd name="T50" fmla="*/ 165 w 257"/>
                  <a:gd name="T51" fmla="*/ 382 h 438"/>
                  <a:gd name="T52" fmla="*/ 253 w 257"/>
                  <a:gd name="T53" fmla="*/ 432 h 438"/>
                  <a:gd name="T54" fmla="*/ 253 w 257"/>
                  <a:gd name="T55" fmla="*/ 149 h 438"/>
                  <a:gd name="T56" fmla="*/ 4 w 257"/>
                  <a:gd name="T57" fmla="*/ 6 h 438"/>
                  <a:gd name="T58" fmla="*/ 4 w 257"/>
                  <a:gd name="T59" fmla="*/ 150 h 438"/>
                  <a:gd name="T60" fmla="*/ 41 w 257"/>
                  <a:gd name="T61" fmla="*/ 129 h 438"/>
                  <a:gd name="T62" fmla="*/ 43 w 257"/>
                  <a:gd name="T63" fmla="*/ 129 h 438"/>
                  <a:gd name="T64" fmla="*/ 44 w 257"/>
                  <a:gd name="T65" fmla="*/ 131 h 438"/>
                  <a:gd name="T66" fmla="*/ 44 w 257"/>
                  <a:gd name="T67" fmla="*/ 272 h 438"/>
                  <a:gd name="T68" fmla="*/ 43 w 257"/>
                  <a:gd name="T69" fmla="*/ 274 h 438"/>
                  <a:gd name="T70" fmla="*/ 8 w 257"/>
                  <a:gd name="T71" fmla="*/ 294 h 438"/>
                  <a:gd name="T72" fmla="*/ 99 w 257"/>
                  <a:gd name="T73" fmla="*/ 347 h 438"/>
                  <a:gd name="T74" fmla="*/ 99 w 257"/>
                  <a:gd name="T75" fmla="*/ 305 h 438"/>
                  <a:gd name="T76" fmla="*/ 100 w 257"/>
                  <a:gd name="T77" fmla="*/ 304 h 438"/>
                  <a:gd name="T78" fmla="*/ 102 w 257"/>
                  <a:gd name="T79" fmla="*/ 304 h 438"/>
                  <a:gd name="T80" fmla="*/ 164 w 257"/>
                  <a:gd name="T81" fmla="*/ 340 h 438"/>
                  <a:gd name="T82" fmla="*/ 165 w 257"/>
                  <a:gd name="T83" fmla="*/ 341 h 438"/>
                  <a:gd name="T84" fmla="*/ 165 w 257"/>
                  <a:gd name="T85" fmla="*/ 382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7" h="438">
                    <a:moveTo>
                      <a:pt x="255" y="438"/>
                    </a:moveTo>
                    <a:cubicBezTo>
                      <a:pt x="254" y="438"/>
                      <a:pt x="254" y="438"/>
                      <a:pt x="254" y="437"/>
                    </a:cubicBezTo>
                    <a:cubicBezTo>
                      <a:pt x="162" y="385"/>
                      <a:pt x="162" y="385"/>
                      <a:pt x="162" y="385"/>
                    </a:cubicBezTo>
                    <a:cubicBezTo>
                      <a:pt x="162" y="384"/>
                      <a:pt x="161" y="384"/>
                      <a:pt x="161" y="383"/>
                    </a:cubicBezTo>
                    <a:cubicBezTo>
                      <a:pt x="161" y="343"/>
                      <a:pt x="161" y="343"/>
                      <a:pt x="161" y="343"/>
                    </a:cubicBezTo>
                    <a:cubicBezTo>
                      <a:pt x="103" y="309"/>
                      <a:pt x="103" y="309"/>
                      <a:pt x="103" y="309"/>
                    </a:cubicBezTo>
                    <a:cubicBezTo>
                      <a:pt x="103" y="350"/>
                      <a:pt x="103" y="350"/>
                      <a:pt x="103" y="350"/>
                    </a:cubicBezTo>
                    <a:cubicBezTo>
                      <a:pt x="103" y="351"/>
                      <a:pt x="103" y="352"/>
                      <a:pt x="102" y="352"/>
                    </a:cubicBezTo>
                    <a:cubicBezTo>
                      <a:pt x="101" y="352"/>
                      <a:pt x="101" y="352"/>
                      <a:pt x="100" y="352"/>
                    </a:cubicBezTo>
                    <a:cubicBezTo>
                      <a:pt x="3" y="296"/>
                      <a:pt x="3" y="296"/>
                      <a:pt x="3" y="296"/>
                    </a:cubicBezTo>
                    <a:cubicBezTo>
                      <a:pt x="2" y="296"/>
                      <a:pt x="2" y="295"/>
                      <a:pt x="2" y="294"/>
                    </a:cubicBezTo>
                    <a:cubicBezTo>
                      <a:pt x="2" y="294"/>
                      <a:pt x="2" y="293"/>
                      <a:pt x="3" y="293"/>
                    </a:cubicBezTo>
                    <a:cubicBezTo>
                      <a:pt x="40" y="271"/>
                      <a:pt x="40" y="271"/>
                      <a:pt x="40" y="271"/>
                    </a:cubicBezTo>
                    <a:cubicBezTo>
                      <a:pt x="40" y="134"/>
                      <a:pt x="40" y="134"/>
                      <a:pt x="40" y="134"/>
                    </a:cubicBezTo>
                    <a:cubicBezTo>
                      <a:pt x="3" y="155"/>
                      <a:pt x="3" y="155"/>
                      <a:pt x="3" y="155"/>
                    </a:cubicBezTo>
                    <a:cubicBezTo>
                      <a:pt x="2" y="156"/>
                      <a:pt x="2" y="156"/>
                      <a:pt x="1" y="155"/>
                    </a:cubicBezTo>
                    <a:cubicBezTo>
                      <a:pt x="0" y="155"/>
                      <a:pt x="0" y="154"/>
                      <a:pt x="0" y="15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256" y="146"/>
                      <a:pt x="256" y="146"/>
                      <a:pt x="256" y="146"/>
                    </a:cubicBezTo>
                    <a:cubicBezTo>
                      <a:pt x="256" y="147"/>
                      <a:pt x="257" y="147"/>
                      <a:pt x="257" y="148"/>
                    </a:cubicBezTo>
                    <a:cubicBezTo>
                      <a:pt x="257" y="436"/>
                      <a:pt x="257" y="436"/>
                      <a:pt x="257" y="436"/>
                    </a:cubicBezTo>
                    <a:cubicBezTo>
                      <a:pt x="257" y="436"/>
                      <a:pt x="256" y="437"/>
                      <a:pt x="256" y="437"/>
                    </a:cubicBezTo>
                    <a:cubicBezTo>
                      <a:pt x="255" y="438"/>
                      <a:pt x="255" y="438"/>
                      <a:pt x="255" y="438"/>
                    </a:cubicBezTo>
                    <a:close/>
                    <a:moveTo>
                      <a:pt x="165" y="382"/>
                    </a:moveTo>
                    <a:cubicBezTo>
                      <a:pt x="253" y="432"/>
                      <a:pt x="253" y="432"/>
                      <a:pt x="253" y="432"/>
                    </a:cubicBezTo>
                    <a:cubicBezTo>
                      <a:pt x="253" y="149"/>
                      <a:pt x="253" y="149"/>
                      <a:pt x="253" y="149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50"/>
                      <a:pt x="4" y="150"/>
                      <a:pt x="4" y="150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2" y="128"/>
                      <a:pt x="42" y="128"/>
                      <a:pt x="43" y="129"/>
                    </a:cubicBezTo>
                    <a:cubicBezTo>
                      <a:pt x="44" y="129"/>
                      <a:pt x="44" y="130"/>
                      <a:pt x="44" y="131"/>
                    </a:cubicBezTo>
                    <a:cubicBezTo>
                      <a:pt x="44" y="272"/>
                      <a:pt x="44" y="272"/>
                      <a:pt x="44" y="272"/>
                    </a:cubicBezTo>
                    <a:cubicBezTo>
                      <a:pt x="44" y="273"/>
                      <a:pt x="44" y="274"/>
                      <a:pt x="43" y="274"/>
                    </a:cubicBezTo>
                    <a:cubicBezTo>
                      <a:pt x="8" y="294"/>
                      <a:pt x="8" y="294"/>
                      <a:pt x="8" y="294"/>
                    </a:cubicBezTo>
                    <a:cubicBezTo>
                      <a:pt x="99" y="347"/>
                      <a:pt x="99" y="347"/>
                      <a:pt x="99" y="347"/>
                    </a:cubicBezTo>
                    <a:cubicBezTo>
                      <a:pt x="99" y="305"/>
                      <a:pt x="99" y="305"/>
                      <a:pt x="99" y="305"/>
                    </a:cubicBezTo>
                    <a:cubicBezTo>
                      <a:pt x="99" y="305"/>
                      <a:pt x="99" y="304"/>
                      <a:pt x="100" y="304"/>
                    </a:cubicBezTo>
                    <a:cubicBezTo>
                      <a:pt x="101" y="303"/>
                      <a:pt x="101" y="303"/>
                      <a:pt x="102" y="304"/>
                    </a:cubicBezTo>
                    <a:cubicBezTo>
                      <a:pt x="164" y="340"/>
                      <a:pt x="164" y="340"/>
                      <a:pt x="164" y="340"/>
                    </a:cubicBezTo>
                    <a:cubicBezTo>
                      <a:pt x="165" y="340"/>
                      <a:pt x="165" y="341"/>
                      <a:pt x="165" y="341"/>
                    </a:cubicBezTo>
                    <a:lnTo>
                      <a:pt x="165" y="3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Freeform 1067">
                <a:extLst>
                  <a:ext uri="{FF2B5EF4-FFF2-40B4-BE49-F238E27FC236}">
                    <a16:creationId xmlns:a16="http://schemas.microsoft.com/office/drawing/2014/main" id="{05B82623-1F9F-45B4-9D14-A13819EC6F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5" y="2828"/>
                <a:ext cx="198" cy="444"/>
              </a:xfrm>
              <a:custGeom>
                <a:avLst/>
                <a:gdLst>
                  <a:gd name="T0" fmla="*/ 2 w 84"/>
                  <a:gd name="T1" fmla="*/ 188 h 188"/>
                  <a:gd name="T2" fmla="*/ 1 w 84"/>
                  <a:gd name="T3" fmla="*/ 188 h 188"/>
                  <a:gd name="T4" fmla="*/ 0 w 84"/>
                  <a:gd name="T5" fmla="*/ 186 h 188"/>
                  <a:gd name="T6" fmla="*/ 0 w 84"/>
                  <a:gd name="T7" fmla="*/ 48 h 188"/>
                  <a:gd name="T8" fmla="*/ 1 w 84"/>
                  <a:gd name="T9" fmla="*/ 47 h 188"/>
                  <a:gd name="T10" fmla="*/ 80 w 84"/>
                  <a:gd name="T11" fmla="*/ 1 h 188"/>
                  <a:gd name="T12" fmla="*/ 82 w 84"/>
                  <a:gd name="T13" fmla="*/ 1 h 188"/>
                  <a:gd name="T14" fmla="*/ 83 w 84"/>
                  <a:gd name="T15" fmla="*/ 2 h 188"/>
                  <a:gd name="T16" fmla="*/ 83 w 84"/>
                  <a:gd name="T17" fmla="*/ 139 h 188"/>
                  <a:gd name="T18" fmla="*/ 84 w 84"/>
                  <a:gd name="T19" fmla="*/ 140 h 188"/>
                  <a:gd name="T20" fmla="*/ 83 w 84"/>
                  <a:gd name="T21" fmla="*/ 142 h 188"/>
                  <a:gd name="T22" fmla="*/ 3 w 84"/>
                  <a:gd name="T23" fmla="*/ 188 h 188"/>
                  <a:gd name="T24" fmla="*/ 2 w 84"/>
                  <a:gd name="T25" fmla="*/ 188 h 188"/>
                  <a:gd name="T26" fmla="*/ 4 w 84"/>
                  <a:gd name="T27" fmla="*/ 50 h 188"/>
                  <a:gd name="T28" fmla="*/ 4 w 84"/>
                  <a:gd name="T29" fmla="*/ 183 h 188"/>
                  <a:gd name="T30" fmla="*/ 79 w 84"/>
                  <a:gd name="T31" fmla="*/ 139 h 188"/>
                  <a:gd name="T32" fmla="*/ 79 w 84"/>
                  <a:gd name="T33" fmla="*/ 6 h 188"/>
                  <a:gd name="T34" fmla="*/ 4 w 84"/>
                  <a:gd name="T35" fmla="*/ 5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4" h="188">
                    <a:moveTo>
                      <a:pt x="2" y="188"/>
                    </a:moveTo>
                    <a:cubicBezTo>
                      <a:pt x="1" y="188"/>
                      <a:pt x="1" y="188"/>
                      <a:pt x="1" y="188"/>
                    </a:cubicBezTo>
                    <a:cubicBezTo>
                      <a:pt x="0" y="188"/>
                      <a:pt x="0" y="187"/>
                      <a:pt x="0" y="186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0" y="47"/>
                      <a:pt x="1" y="47"/>
                    </a:cubicBezTo>
                    <a:cubicBezTo>
                      <a:pt x="80" y="1"/>
                      <a:pt x="80" y="1"/>
                      <a:pt x="80" y="1"/>
                    </a:cubicBezTo>
                    <a:cubicBezTo>
                      <a:pt x="81" y="0"/>
                      <a:pt x="82" y="0"/>
                      <a:pt x="82" y="1"/>
                    </a:cubicBezTo>
                    <a:cubicBezTo>
                      <a:pt x="83" y="1"/>
                      <a:pt x="83" y="2"/>
                      <a:pt x="83" y="2"/>
                    </a:cubicBezTo>
                    <a:cubicBezTo>
                      <a:pt x="83" y="139"/>
                      <a:pt x="83" y="139"/>
                      <a:pt x="83" y="139"/>
                    </a:cubicBezTo>
                    <a:cubicBezTo>
                      <a:pt x="84" y="140"/>
                      <a:pt x="84" y="140"/>
                      <a:pt x="84" y="140"/>
                    </a:cubicBezTo>
                    <a:cubicBezTo>
                      <a:pt x="84" y="141"/>
                      <a:pt x="83" y="142"/>
                      <a:pt x="83" y="142"/>
                    </a:cubicBezTo>
                    <a:cubicBezTo>
                      <a:pt x="3" y="188"/>
                      <a:pt x="3" y="188"/>
                      <a:pt x="3" y="188"/>
                    </a:cubicBezTo>
                    <a:cubicBezTo>
                      <a:pt x="2" y="188"/>
                      <a:pt x="2" y="188"/>
                      <a:pt x="2" y="188"/>
                    </a:cubicBezTo>
                    <a:close/>
                    <a:moveTo>
                      <a:pt x="4" y="50"/>
                    </a:moveTo>
                    <a:cubicBezTo>
                      <a:pt x="4" y="183"/>
                      <a:pt x="4" y="183"/>
                      <a:pt x="4" y="183"/>
                    </a:cubicBezTo>
                    <a:cubicBezTo>
                      <a:pt x="79" y="139"/>
                      <a:pt x="79" y="139"/>
                      <a:pt x="79" y="139"/>
                    </a:cubicBezTo>
                    <a:cubicBezTo>
                      <a:pt x="79" y="6"/>
                      <a:pt x="79" y="6"/>
                      <a:pt x="79" y="6"/>
                    </a:cubicBezTo>
                    <a:lnTo>
                      <a:pt x="4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0" name="Freeform 1068">
                <a:extLst>
                  <a:ext uri="{FF2B5EF4-FFF2-40B4-BE49-F238E27FC236}">
                    <a16:creationId xmlns:a16="http://schemas.microsoft.com/office/drawing/2014/main" id="{F019D324-DC60-4143-9C1C-21E41C949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6" y="2774"/>
                <a:ext cx="100" cy="387"/>
              </a:xfrm>
              <a:custGeom>
                <a:avLst/>
                <a:gdLst>
                  <a:gd name="T0" fmla="*/ 2 w 42"/>
                  <a:gd name="T1" fmla="*/ 164 h 164"/>
                  <a:gd name="T2" fmla="*/ 1 w 42"/>
                  <a:gd name="T3" fmla="*/ 164 h 164"/>
                  <a:gd name="T4" fmla="*/ 0 w 42"/>
                  <a:gd name="T5" fmla="*/ 162 h 164"/>
                  <a:gd name="T6" fmla="*/ 0 w 42"/>
                  <a:gd name="T7" fmla="*/ 24 h 164"/>
                  <a:gd name="T8" fmla="*/ 1 w 42"/>
                  <a:gd name="T9" fmla="*/ 23 h 164"/>
                  <a:gd name="T10" fmla="*/ 39 w 42"/>
                  <a:gd name="T11" fmla="*/ 1 h 164"/>
                  <a:gd name="T12" fmla="*/ 41 w 42"/>
                  <a:gd name="T13" fmla="*/ 1 h 164"/>
                  <a:gd name="T14" fmla="*/ 42 w 42"/>
                  <a:gd name="T15" fmla="*/ 2 h 164"/>
                  <a:gd name="T16" fmla="*/ 42 w 42"/>
                  <a:gd name="T17" fmla="*/ 140 h 164"/>
                  <a:gd name="T18" fmla="*/ 41 w 42"/>
                  <a:gd name="T19" fmla="*/ 142 h 164"/>
                  <a:gd name="T20" fmla="*/ 3 w 42"/>
                  <a:gd name="T21" fmla="*/ 164 h 164"/>
                  <a:gd name="T22" fmla="*/ 2 w 42"/>
                  <a:gd name="T23" fmla="*/ 164 h 164"/>
                  <a:gd name="T24" fmla="*/ 4 w 42"/>
                  <a:gd name="T25" fmla="*/ 26 h 164"/>
                  <a:gd name="T26" fmla="*/ 4 w 42"/>
                  <a:gd name="T27" fmla="*/ 159 h 164"/>
                  <a:gd name="T28" fmla="*/ 38 w 42"/>
                  <a:gd name="T29" fmla="*/ 139 h 164"/>
                  <a:gd name="T30" fmla="*/ 38 w 42"/>
                  <a:gd name="T31" fmla="*/ 6 h 164"/>
                  <a:gd name="T32" fmla="*/ 4 w 42"/>
                  <a:gd name="T33" fmla="*/ 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164">
                    <a:moveTo>
                      <a:pt x="2" y="164"/>
                    </a:moveTo>
                    <a:cubicBezTo>
                      <a:pt x="2" y="164"/>
                      <a:pt x="2" y="164"/>
                      <a:pt x="1" y="164"/>
                    </a:cubicBezTo>
                    <a:cubicBezTo>
                      <a:pt x="1" y="164"/>
                      <a:pt x="0" y="163"/>
                      <a:pt x="0" y="16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3"/>
                      <a:pt x="1" y="2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40" y="0"/>
                      <a:pt x="41" y="0"/>
                      <a:pt x="41" y="1"/>
                    </a:cubicBezTo>
                    <a:cubicBezTo>
                      <a:pt x="42" y="1"/>
                      <a:pt x="42" y="2"/>
                      <a:pt x="42" y="2"/>
                    </a:cubicBezTo>
                    <a:cubicBezTo>
                      <a:pt x="42" y="140"/>
                      <a:pt x="42" y="140"/>
                      <a:pt x="42" y="140"/>
                    </a:cubicBezTo>
                    <a:cubicBezTo>
                      <a:pt x="42" y="141"/>
                      <a:pt x="42" y="142"/>
                      <a:pt x="41" y="142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3" y="164"/>
                      <a:pt x="3" y="164"/>
                      <a:pt x="2" y="164"/>
                    </a:cubicBezTo>
                    <a:close/>
                    <a:moveTo>
                      <a:pt x="4" y="26"/>
                    </a:moveTo>
                    <a:cubicBezTo>
                      <a:pt x="4" y="159"/>
                      <a:pt x="4" y="159"/>
                      <a:pt x="4" y="159"/>
                    </a:cubicBezTo>
                    <a:cubicBezTo>
                      <a:pt x="38" y="139"/>
                      <a:pt x="38" y="139"/>
                      <a:pt x="38" y="139"/>
                    </a:cubicBezTo>
                    <a:cubicBezTo>
                      <a:pt x="38" y="6"/>
                      <a:pt x="38" y="6"/>
                      <a:pt x="38" y="6"/>
                    </a:cubicBezTo>
                    <a:lnTo>
                      <a:pt x="4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1" name="Freeform 1069">
                <a:extLst>
                  <a:ext uri="{FF2B5EF4-FFF2-40B4-BE49-F238E27FC236}">
                    <a16:creationId xmlns:a16="http://schemas.microsoft.com/office/drawing/2014/main" id="{8FA669CC-DA52-4B0B-96CB-D23F092FE4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7" y="3435"/>
                <a:ext cx="57" cy="198"/>
              </a:xfrm>
              <a:custGeom>
                <a:avLst/>
                <a:gdLst>
                  <a:gd name="T0" fmla="*/ 2 w 24"/>
                  <a:gd name="T1" fmla="*/ 84 h 84"/>
                  <a:gd name="T2" fmla="*/ 1 w 24"/>
                  <a:gd name="T3" fmla="*/ 84 h 84"/>
                  <a:gd name="T4" fmla="*/ 0 w 24"/>
                  <a:gd name="T5" fmla="*/ 82 h 84"/>
                  <a:gd name="T6" fmla="*/ 0 w 24"/>
                  <a:gd name="T7" fmla="*/ 14 h 84"/>
                  <a:gd name="T8" fmla="*/ 1 w 24"/>
                  <a:gd name="T9" fmla="*/ 12 h 84"/>
                  <a:gd name="T10" fmla="*/ 21 w 24"/>
                  <a:gd name="T11" fmla="*/ 1 h 84"/>
                  <a:gd name="T12" fmla="*/ 23 w 24"/>
                  <a:gd name="T13" fmla="*/ 1 h 84"/>
                  <a:gd name="T14" fmla="*/ 24 w 24"/>
                  <a:gd name="T15" fmla="*/ 2 h 84"/>
                  <a:gd name="T16" fmla="*/ 24 w 24"/>
                  <a:gd name="T17" fmla="*/ 70 h 84"/>
                  <a:gd name="T18" fmla="*/ 23 w 24"/>
                  <a:gd name="T19" fmla="*/ 72 h 84"/>
                  <a:gd name="T20" fmla="*/ 3 w 24"/>
                  <a:gd name="T21" fmla="*/ 84 h 84"/>
                  <a:gd name="T22" fmla="*/ 2 w 24"/>
                  <a:gd name="T23" fmla="*/ 84 h 84"/>
                  <a:gd name="T24" fmla="*/ 4 w 24"/>
                  <a:gd name="T25" fmla="*/ 15 h 84"/>
                  <a:gd name="T26" fmla="*/ 4 w 24"/>
                  <a:gd name="T27" fmla="*/ 78 h 84"/>
                  <a:gd name="T28" fmla="*/ 20 w 24"/>
                  <a:gd name="T29" fmla="*/ 69 h 84"/>
                  <a:gd name="T30" fmla="*/ 20 w 24"/>
                  <a:gd name="T31" fmla="*/ 6 h 84"/>
                  <a:gd name="T32" fmla="*/ 4 w 24"/>
                  <a:gd name="T33" fmla="*/ 1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4">
                    <a:moveTo>
                      <a:pt x="2" y="84"/>
                    </a:moveTo>
                    <a:cubicBezTo>
                      <a:pt x="2" y="84"/>
                      <a:pt x="1" y="84"/>
                      <a:pt x="1" y="84"/>
                    </a:cubicBezTo>
                    <a:cubicBezTo>
                      <a:pt x="0" y="83"/>
                      <a:pt x="0" y="83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0"/>
                      <a:pt x="22" y="0"/>
                      <a:pt x="23" y="1"/>
                    </a:cubicBezTo>
                    <a:cubicBezTo>
                      <a:pt x="23" y="1"/>
                      <a:pt x="24" y="2"/>
                      <a:pt x="24" y="2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71"/>
                      <a:pt x="23" y="72"/>
                      <a:pt x="23" y="72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84"/>
                      <a:pt x="2" y="84"/>
                      <a:pt x="2" y="84"/>
                    </a:cubicBezTo>
                    <a:close/>
                    <a:moveTo>
                      <a:pt x="4" y="15"/>
                    </a:moveTo>
                    <a:cubicBezTo>
                      <a:pt x="4" y="78"/>
                      <a:pt x="4" y="78"/>
                      <a:pt x="4" y="78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20" y="6"/>
                      <a:pt x="20" y="6"/>
                      <a:pt x="20" y="6"/>
                    </a:cubicBezTo>
                    <a:lnTo>
                      <a:pt x="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2" name="Freeform 1070">
                <a:extLst>
                  <a:ext uri="{FF2B5EF4-FFF2-40B4-BE49-F238E27FC236}">
                    <a16:creationId xmlns:a16="http://schemas.microsoft.com/office/drawing/2014/main" id="{206E6917-4FF6-4460-8182-7C4AAC2A98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2" y="2133"/>
                <a:ext cx="1110" cy="695"/>
              </a:xfrm>
              <a:custGeom>
                <a:avLst/>
                <a:gdLst>
                  <a:gd name="T0" fmla="*/ 267 w 470"/>
                  <a:gd name="T1" fmla="*/ 294 h 294"/>
                  <a:gd name="T2" fmla="*/ 266 w 470"/>
                  <a:gd name="T3" fmla="*/ 294 h 294"/>
                  <a:gd name="T4" fmla="*/ 257 w 470"/>
                  <a:gd name="T5" fmla="*/ 289 h 294"/>
                  <a:gd name="T6" fmla="*/ 256 w 470"/>
                  <a:gd name="T7" fmla="*/ 288 h 294"/>
                  <a:gd name="T8" fmla="*/ 1 w 470"/>
                  <a:gd name="T9" fmla="*/ 141 h 294"/>
                  <a:gd name="T10" fmla="*/ 0 w 470"/>
                  <a:gd name="T11" fmla="*/ 139 h 294"/>
                  <a:gd name="T12" fmla="*/ 1 w 470"/>
                  <a:gd name="T13" fmla="*/ 137 h 294"/>
                  <a:gd name="T14" fmla="*/ 223 w 470"/>
                  <a:gd name="T15" fmla="*/ 9 h 294"/>
                  <a:gd name="T16" fmla="*/ 225 w 470"/>
                  <a:gd name="T17" fmla="*/ 9 h 294"/>
                  <a:gd name="T18" fmla="*/ 226 w 470"/>
                  <a:gd name="T19" fmla="*/ 10 h 294"/>
                  <a:gd name="T20" fmla="*/ 226 w 470"/>
                  <a:gd name="T21" fmla="*/ 25 h 294"/>
                  <a:gd name="T22" fmla="*/ 269 w 470"/>
                  <a:gd name="T23" fmla="*/ 0 h 294"/>
                  <a:gd name="T24" fmla="*/ 271 w 470"/>
                  <a:gd name="T25" fmla="*/ 0 h 294"/>
                  <a:gd name="T26" fmla="*/ 320 w 470"/>
                  <a:gd name="T27" fmla="*/ 28 h 294"/>
                  <a:gd name="T28" fmla="*/ 320 w 470"/>
                  <a:gd name="T29" fmla="*/ 17 h 294"/>
                  <a:gd name="T30" fmla="*/ 321 w 470"/>
                  <a:gd name="T31" fmla="*/ 16 h 294"/>
                  <a:gd name="T32" fmla="*/ 323 w 470"/>
                  <a:gd name="T33" fmla="*/ 16 h 294"/>
                  <a:gd name="T34" fmla="*/ 329 w 470"/>
                  <a:gd name="T35" fmla="*/ 19 h 294"/>
                  <a:gd name="T36" fmla="*/ 330 w 470"/>
                  <a:gd name="T37" fmla="*/ 21 h 294"/>
                  <a:gd name="T38" fmla="*/ 330 w 470"/>
                  <a:gd name="T39" fmla="*/ 22 h 294"/>
                  <a:gd name="T40" fmla="*/ 331 w 470"/>
                  <a:gd name="T41" fmla="*/ 21 h 294"/>
                  <a:gd name="T42" fmla="*/ 333 w 470"/>
                  <a:gd name="T43" fmla="*/ 21 h 294"/>
                  <a:gd name="T44" fmla="*/ 412 w 470"/>
                  <a:gd name="T45" fmla="*/ 67 h 294"/>
                  <a:gd name="T46" fmla="*/ 413 w 470"/>
                  <a:gd name="T47" fmla="*/ 69 h 294"/>
                  <a:gd name="T48" fmla="*/ 412 w 470"/>
                  <a:gd name="T49" fmla="*/ 70 h 294"/>
                  <a:gd name="T50" fmla="*/ 359 w 470"/>
                  <a:gd name="T51" fmla="*/ 101 h 294"/>
                  <a:gd name="T52" fmla="*/ 469 w 470"/>
                  <a:gd name="T53" fmla="*/ 164 h 294"/>
                  <a:gd name="T54" fmla="*/ 470 w 470"/>
                  <a:gd name="T55" fmla="*/ 166 h 294"/>
                  <a:gd name="T56" fmla="*/ 469 w 470"/>
                  <a:gd name="T57" fmla="*/ 167 h 294"/>
                  <a:gd name="T58" fmla="*/ 287 w 470"/>
                  <a:gd name="T59" fmla="*/ 273 h 294"/>
                  <a:gd name="T60" fmla="*/ 287 w 470"/>
                  <a:gd name="T61" fmla="*/ 282 h 294"/>
                  <a:gd name="T62" fmla="*/ 286 w 470"/>
                  <a:gd name="T63" fmla="*/ 284 h 294"/>
                  <a:gd name="T64" fmla="*/ 268 w 470"/>
                  <a:gd name="T65" fmla="*/ 294 h 294"/>
                  <a:gd name="T66" fmla="*/ 267 w 470"/>
                  <a:gd name="T67" fmla="*/ 294 h 294"/>
                  <a:gd name="T68" fmla="*/ 260 w 470"/>
                  <a:gd name="T69" fmla="*/ 286 h 294"/>
                  <a:gd name="T70" fmla="*/ 267 w 470"/>
                  <a:gd name="T71" fmla="*/ 290 h 294"/>
                  <a:gd name="T72" fmla="*/ 283 w 470"/>
                  <a:gd name="T73" fmla="*/ 281 h 294"/>
                  <a:gd name="T74" fmla="*/ 283 w 470"/>
                  <a:gd name="T75" fmla="*/ 271 h 294"/>
                  <a:gd name="T76" fmla="*/ 284 w 470"/>
                  <a:gd name="T77" fmla="*/ 270 h 294"/>
                  <a:gd name="T78" fmla="*/ 464 w 470"/>
                  <a:gd name="T79" fmla="*/ 166 h 294"/>
                  <a:gd name="T80" fmla="*/ 354 w 470"/>
                  <a:gd name="T81" fmla="*/ 102 h 294"/>
                  <a:gd name="T82" fmla="*/ 353 w 470"/>
                  <a:gd name="T83" fmla="*/ 101 h 294"/>
                  <a:gd name="T84" fmla="*/ 354 w 470"/>
                  <a:gd name="T85" fmla="*/ 99 h 294"/>
                  <a:gd name="T86" fmla="*/ 407 w 470"/>
                  <a:gd name="T87" fmla="*/ 69 h 294"/>
                  <a:gd name="T88" fmla="*/ 332 w 470"/>
                  <a:gd name="T89" fmla="*/ 25 h 294"/>
                  <a:gd name="T90" fmla="*/ 329 w 470"/>
                  <a:gd name="T91" fmla="*/ 27 h 294"/>
                  <a:gd name="T92" fmla="*/ 327 w 470"/>
                  <a:gd name="T93" fmla="*/ 27 h 294"/>
                  <a:gd name="T94" fmla="*/ 326 w 470"/>
                  <a:gd name="T95" fmla="*/ 25 h 294"/>
                  <a:gd name="T96" fmla="*/ 326 w 470"/>
                  <a:gd name="T97" fmla="*/ 22 h 294"/>
                  <a:gd name="T98" fmla="*/ 324 w 470"/>
                  <a:gd name="T99" fmla="*/ 21 h 294"/>
                  <a:gd name="T100" fmla="*/ 324 w 470"/>
                  <a:gd name="T101" fmla="*/ 32 h 294"/>
                  <a:gd name="T102" fmla="*/ 323 w 470"/>
                  <a:gd name="T103" fmla="*/ 33 h 294"/>
                  <a:gd name="T104" fmla="*/ 321 w 470"/>
                  <a:gd name="T105" fmla="*/ 33 h 294"/>
                  <a:gd name="T106" fmla="*/ 270 w 470"/>
                  <a:gd name="T107" fmla="*/ 4 h 294"/>
                  <a:gd name="T108" fmla="*/ 225 w 470"/>
                  <a:gd name="T109" fmla="*/ 30 h 294"/>
                  <a:gd name="T110" fmla="*/ 223 w 470"/>
                  <a:gd name="T111" fmla="*/ 30 h 294"/>
                  <a:gd name="T112" fmla="*/ 222 w 470"/>
                  <a:gd name="T113" fmla="*/ 28 h 294"/>
                  <a:gd name="T114" fmla="*/ 222 w 470"/>
                  <a:gd name="T115" fmla="*/ 14 h 294"/>
                  <a:gd name="T116" fmla="*/ 6 w 470"/>
                  <a:gd name="T117" fmla="*/ 139 h 294"/>
                  <a:gd name="T118" fmla="*/ 259 w 470"/>
                  <a:gd name="T119" fmla="*/ 285 h 294"/>
                  <a:gd name="T120" fmla="*/ 260 w 470"/>
                  <a:gd name="T121" fmla="*/ 286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0" h="294">
                    <a:moveTo>
                      <a:pt x="267" y="294"/>
                    </a:moveTo>
                    <a:cubicBezTo>
                      <a:pt x="267" y="294"/>
                      <a:pt x="266" y="294"/>
                      <a:pt x="266" y="294"/>
                    </a:cubicBezTo>
                    <a:cubicBezTo>
                      <a:pt x="257" y="289"/>
                      <a:pt x="257" y="289"/>
                      <a:pt x="257" y="289"/>
                    </a:cubicBezTo>
                    <a:cubicBezTo>
                      <a:pt x="257" y="289"/>
                      <a:pt x="256" y="288"/>
                      <a:pt x="256" y="288"/>
                    </a:cubicBezTo>
                    <a:cubicBezTo>
                      <a:pt x="1" y="141"/>
                      <a:pt x="1" y="141"/>
                      <a:pt x="1" y="141"/>
                    </a:cubicBezTo>
                    <a:cubicBezTo>
                      <a:pt x="1" y="140"/>
                      <a:pt x="0" y="140"/>
                      <a:pt x="0" y="139"/>
                    </a:cubicBezTo>
                    <a:cubicBezTo>
                      <a:pt x="0" y="138"/>
                      <a:pt x="1" y="137"/>
                      <a:pt x="1" y="137"/>
                    </a:cubicBezTo>
                    <a:cubicBezTo>
                      <a:pt x="223" y="9"/>
                      <a:pt x="223" y="9"/>
                      <a:pt x="223" y="9"/>
                    </a:cubicBezTo>
                    <a:cubicBezTo>
                      <a:pt x="224" y="8"/>
                      <a:pt x="225" y="8"/>
                      <a:pt x="225" y="9"/>
                    </a:cubicBezTo>
                    <a:cubicBezTo>
                      <a:pt x="226" y="9"/>
                      <a:pt x="226" y="10"/>
                      <a:pt x="226" y="10"/>
                    </a:cubicBezTo>
                    <a:cubicBezTo>
                      <a:pt x="226" y="25"/>
                      <a:pt x="226" y="25"/>
                      <a:pt x="226" y="25"/>
                    </a:cubicBezTo>
                    <a:cubicBezTo>
                      <a:pt x="269" y="0"/>
                      <a:pt x="269" y="0"/>
                      <a:pt x="269" y="0"/>
                    </a:cubicBezTo>
                    <a:cubicBezTo>
                      <a:pt x="270" y="0"/>
                      <a:pt x="270" y="0"/>
                      <a:pt x="271" y="0"/>
                    </a:cubicBezTo>
                    <a:cubicBezTo>
                      <a:pt x="320" y="28"/>
                      <a:pt x="320" y="28"/>
                      <a:pt x="320" y="28"/>
                    </a:cubicBezTo>
                    <a:cubicBezTo>
                      <a:pt x="320" y="17"/>
                      <a:pt x="320" y="17"/>
                      <a:pt x="320" y="17"/>
                    </a:cubicBezTo>
                    <a:cubicBezTo>
                      <a:pt x="320" y="17"/>
                      <a:pt x="320" y="16"/>
                      <a:pt x="321" y="16"/>
                    </a:cubicBezTo>
                    <a:cubicBezTo>
                      <a:pt x="321" y="15"/>
                      <a:pt x="322" y="15"/>
                      <a:pt x="323" y="16"/>
                    </a:cubicBezTo>
                    <a:cubicBezTo>
                      <a:pt x="329" y="19"/>
                      <a:pt x="329" y="19"/>
                      <a:pt x="329" y="19"/>
                    </a:cubicBezTo>
                    <a:cubicBezTo>
                      <a:pt x="329" y="19"/>
                      <a:pt x="330" y="20"/>
                      <a:pt x="330" y="21"/>
                    </a:cubicBezTo>
                    <a:cubicBezTo>
                      <a:pt x="330" y="22"/>
                      <a:pt x="330" y="22"/>
                      <a:pt x="330" y="22"/>
                    </a:cubicBezTo>
                    <a:cubicBezTo>
                      <a:pt x="331" y="21"/>
                      <a:pt x="331" y="21"/>
                      <a:pt x="331" y="21"/>
                    </a:cubicBezTo>
                    <a:cubicBezTo>
                      <a:pt x="331" y="21"/>
                      <a:pt x="332" y="21"/>
                      <a:pt x="333" y="21"/>
                    </a:cubicBezTo>
                    <a:cubicBezTo>
                      <a:pt x="412" y="67"/>
                      <a:pt x="412" y="67"/>
                      <a:pt x="412" y="67"/>
                    </a:cubicBezTo>
                    <a:cubicBezTo>
                      <a:pt x="412" y="67"/>
                      <a:pt x="413" y="68"/>
                      <a:pt x="413" y="69"/>
                    </a:cubicBezTo>
                    <a:cubicBezTo>
                      <a:pt x="413" y="69"/>
                      <a:pt x="412" y="70"/>
                      <a:pt x="412" y="70"/>
                    </a:cubicBezTo>
                    <a:cubicBezTo>
                      <a:pt x="359" y="101"/>
                      <a:pt x="359" y="101"/>
                      <a:pt x="359" y="101"/>
                    </a:cubicBezTo>
                    <a:cubicBezTo>
                      <a:pt x="469" y="164"/>
                      <a:pt x="469" y="164"/>
                      <a:pt x="469" y="164"/>
                    </a:cubicBezTo>
                    <a:cubicBezTo>
                      <a:pt x="470" y="164"/>
                      <a:pt x="470" y="165"/>
                      <a:pt x="470" y="166"/>
                    </a:cubicBezTo>
                    <a:cubicBezTo>
                      <a:pt x="470" y="166"/>
                      <a:pt x="470" y="167"/>
                      <a:pt x="469" y="167"/>
                    </a:cubicBezTo>
                    <a:cubicBezTo>
                      <a:pt x="287" y="273"/>
                      <a:pt x="287" y="273"/>
                      <a:pt x="287" y="273"/>
                    </a:cubicBezTo>
                    <a:cubicBezTo>
                      <a:pt x="287" y="282"/>
                      <a:pt x="287" y="282"/>
                      <a:pt x="287" y="282"/>
                    </a:cubicBezTo>
                    <a:cubicBezTo>
                      <a:pt x="287" y="283"/>
                      <a:pt x="286" y="284"/>
                      <a:pt x="286" y="284"/>
                    </a:cubicBezTo>
                    <a:cubicBezTo>
                      <a:pt x="268" y="294"/>
                      <a:pt x="268" y="294"/>
                      <a:pt x="268" y="294"/>
                    </a:cubicBezTo>
                    <a:cubicBezTo>
                      <a:pt x="268" y="294"/>
                      <a:pt x="267" y="294"/>
                      <a:pt x="267" y="294"/>
                    </a:cubicBezTo>
                    <a:close/>
                    <a:moveTo>
                      <a:pt x="260" y="286"/>
                    </a:moveTo>
                    <a:cubicBezTo>
                      <a:pt x="267" y="290"/>
                      <a:pt x="267" y="290"/>
                      <a:pt x="267" y="290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3" y="271"/>
                      <a:pt x="283" y="271"/>
                      <a:pt x="283" y="271"/>
                    </a:cubicBezTo>
                    <a:cubicBezTo>
                      <a:pt x="283" y="271"/>
                      <a:pt x="283" y="270"/>
                      <a:pt x="284" y="270"/>
                    </a:cubicBezTo>
                    <a:cubicBezTo>
                      <a:pt x="464" y="166"/>
                      <a:pt x="464" y="166"/>
                      <a:pt x="464" y="166"/>
                    </a:cubicBezTo>
                    <a:cubicBezTo>
                      <a:pt x="354" y="102"/>
                      <a:pt x="354" y="102"/>
                      <a:pt x="354" y="102"/>
                    </a:cubicBezTo>
                    <a:cubicBezTo>
                      <a:pt x="353" y="102"/>
                      <a:pt x="353" y="101"/>
                      <a:pt x="353" y="101"/>
                    </a:cubicBezTo>
                    <a:cubicBezTo>
                      <a:pt x="353" y="100"/>
                      <a:pt x="353" y="99"/>
                      <a:pt x="354" y="99"/>
                    </a:cubicBezTo>
                    <a:cubicBezTo>
                      <a:pt x="407" y="69"/>
                      <a:pt x="407" y="69"/>
                      <a:pt x="407" y="69"/>
                    </a:cubicBezTo>
                    <a:cubicBezTo>
                      <a:pt x="332" y="25"/>
                      <a:pt x="332" y="25"/>
                      <a:pt x="332" y="25"/>
                    </a:cubicBezTo>
                    <a:cubicBezTo>
                      <a:pt x="329" y="27"/>
                      <a:pt x="329" y="27"/>
                      <a:pt x="329" y="27"/>
                    </a:cubicBezTo>
                    <a:cubicBezTo>
                      <a:pt x="328" y="27"/>
                      <a:pt x="327" y="27"/>
                      <a:pt x="327" y="27"/>
                    </a:cubicBezTo>
                    <a:cubicBezTo>
                      <a:pt x="326" y="27"/>
                      <a:pt x="326" y="26"/>
                      <a:pt x="326" y="25"/>
                    </a:cubicBezTo>
                    <a:cubicBezTo>
                      <a:pt x="326" y="22"/>
                      <a:pt x="326" y="22"/>
                      <a:pt x="326" y="22"/>
                    </a:cubicBezTo>
                    <a:cubicBezTo>
                      <a:pt x="324" y="21"/>
                      <a:pt x="324" y="21"/>
                      <a:pt x="324" y="21"/>
                    </a:cubicBezTo>
                    <a:cubicBezTo>
                      <a:pt x="324" y="32"/>
                      <a:pt x="324" y="32"/>
                      <a:pt x="324" y="32"/>
                    </a:cubicBezTo>
                    <a:cubicBezTo>
                      <a:pt x="324" y="32"/>
                      <a:pt x="323" y="33"/>
                      <a:pt x="323" y="33"/>
                    </a:cubicBezTo>
                    <a:cubicBezTo>
                      <a:pt x="322" y="34"/>
                      <a:pt x="321" y="34"/>
                      <a:pt x="321" y="33"/>
                    </a:cubicBezTo>
                    <a:cubicBezTo>
                      <a:pt x="270" y="4"/>
                      <a:pt x="270" y="4"/>
                      <a:pt x="270" y="4"/>
                    </a:cubicBezTo>
                    <a:cubicBezTo>
                      <a:pt x="225" y="30"/>
                      <a:pt x="225" y="30"/>
                      <a:pt x="225" y="30"/>
                    </a:cubicBezTo>
                    <a:cubicBezTo>
                      <a:pt x="225" y="30"/>
                      <a:pt x="224" y="30"/>
                      <a:pt x="223" y="30"/>
                    </a:cubicBezTo>
                    <a:cubicBezTo>
                      <a:pt x="223" y="30"/>
                      <a:pt x="222" y="29"/>
                      <a:pt x="222" y="28"/>
                    </a:cubicBezTo>
                    <a:cubicBezTo>
                      <a:pt x="222" y="14"/>
                      <a:pt x="222" y="14"/>
                      <a:pt x="222" y="14"/>
                    </a:cubicBezTo>
                    <a:cubicBezTo>
                      <a:pt x="6" y="139"/>
                      <a:pt x="6" y="139"/>
                      <a:pt x="6" y="139"/>
                    </a:cubicBezTo>
                    <a:cubicBezTo>
                      <a:pt x="259" y="285"/>
                      <a:pt x="259" y="285"/>
                      <a:pt x="259" y="285"/>
                    </a:cubicBezTo>
                    <a:cubicBezTo>
                      <a:pt x="260" y="285"/>
                      <a:pt x="260" y="286"/>
                      <a:pt x="260" y="2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3" name="Freeform 1071">
                <a:extLst>
                  <a:ext uri="{FF2B5EF4-FFF2-40B4-BE49-F238E27FC236}">
                    <a16:creationId xmlns:a16="http://schemas.microsoft.com/office/drawing/2014/main" id="{F0803675-4756-4B44-AD8D-19924F0D4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7" y="3348"/>
                <a:ext cx="57" cy="89"/>
              </a:xfrm>
              <a:custGeom>
                <a:avLst/>
                <a:gdLst>
                  <a:gd name="T0" fmla="*/ 22 w 24"/>
                  <a:gd name="T1" fmla="*/ 38 h 38"/>
                  <a:gd name="T2" fmla="*/ 21 w 24"/>
                  <a:gd name="T3" fmla="*/ 38 h 38"/>
                  <a:gd name="T4" fmla="*/ 1 w 24"/>
                  <a:gd name="T5" fmla="*/ 27 h 38"/>
                  <a:gd name="T6" fmla="*/ 0 w 24"/>
                  <a:gd name="T7" fmla="*/ 25 h 38"/>
                  <a:gd name="T8" fmla="*/ 0 w 24"/>
                  <a:gd name="T9" fmla="*/ 2 h 38"/>
                  <a:gd name="T10" fmla="*/ 1 w 24"/>
                  <a:gd name="T11" fmla="*/ 0 h 38"/>
                  <a:gd name="T12" fmla="*/ 3 w 24"/>
                  <a:gd name="T13" fmla="*/ 0 h 38"/>
                  <a:gd name="T14" fmla="*/ 23 w 24"/>
                  <a:gd name="T15" fmla="*/ 11 h 38"/>
                  <a:gd name="T16" fmla="*/ 24 w 24"/>
                  <a:gd name="T17" fmla="*/ 13 h 38"/>
                  <a:gd name="T18" fmla="*/ 24 w 24"/>
                  <a:gd name="T19" fmla="*/ 36 h 38"/>
                  <a:gd name="T20" fmla="*/ 23 w 24"/>
                  <a:gd name="T21" fmla="*/ 38 h 38"/>
                  <a:gd name="T22" fmla="*/ 22 w 24"/>
                  <a:gd name="T23" fmla="*/ 38 h 38"/>
                  <a:gd name="T24" fmla="*/ 4 w 24"/>
                  <a:gd name="T25" fmla="*/ 24 h 38"/>
                  <a:gd name="T26" fmla="*/ 20 w 24"/>
                  <a:gd name="T27" fmla="*/ 33 h 38"/>
                  <a:gd name="T28" fmla="*/ 20 w 24"/>
                  <a:gd name="T29" fmla="*/ 14 h 38"/>
                  <a:gd name="T30" fmla="*/ 4 w 24"/>
                  <a:gd name="T31" fmla="*/ 5 h 38"/>
                  <a:gd name="T32" fmla="*/ 4 w 24"/>
                  <a:gd name="T33" fmla="*/ 2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8">
                    <a:moveTo>
                      <a:pt x="22" y="38"/>
                    </a:moveTo>
                    <a:cubicBezTo>
                      <a:pt x="21" y="38"/>
                      <a:pt x="21" y="38"/>
                      <a:pt x="21" y="38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6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2"/>
                      <a:pt x="24" y="12"/>
                      <a:pt x="24" y="13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37"/>
                      <a:pt x="23" y="38"/>
                      <a:pt x="23" y="38"/>
                    </a:cubicBezTo>
                    <a:cubicBezTo>
                      <a:pt x="22" y="38"/>
                      <a:pt x="22" y="38"/>
                      <a:pt x="22" y="38"/>
                    </a:cubicBezTo>
                    <a:close/>
                    <a:moveTo>
                      <a:pt x="4" y="24"/>
                    </a:move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4" name="Freeform 1072">
                <a:extLst>
                  <a:ext uri="{FF2B5EF4-FFF2-40B4-BE49-F238E27FC236}">
                    <a16:creationId xmlns:a16="http://schemas.microsoft.com/office/drawing/2014/main" id="{A8B5EC8C-C4C3-479A-BA5E-32BD6703BC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30" y="2592"/>
                <a:ext cx="191" cy="222"/>
              </a:xfrm>
              <a:custGeom>
                <a:avLst/>
                <a:gdLst>
                  <a:gd name="T0" fmla="*/ 79 w 81"/>
                  <a:gd name="T1" fmla="*/ 94 h 94"/>
                  <a:gd name="T2" fmla="*/ 78 w 81"/>
                  <a:gd name="T3" fmla="*/ 93 h 94"/>
                  <a:gd name="T4" fmla="*/ 1 w 81"/>
                  <a:gd name="T5" fmla="*/ 49 h 94"/>
                  <a:gd name="T6" fmla="*/ 0 w 81"/>
                  <a:gd name="T7" fmla="*/ 47 h 94"/>
                  <a:gd name="T8" fmla="*/ 1 w 81"/>
                  <a:gd name="T9" fmla="*/ 45 h 94"/>
                  <a:gd name="T10" fmla="*/ 78 w 81"/>
                  <a:gd name="T11" fmla="*/ 1 h 94"/>
                  <a:gd name="T12" fmla="*/ 80 w 81"/>
                  <a:gd name="T13" fmla="*/ 1 h 94"/>
                  <a:gd name="T14" fmla="*/ 81 w 81"/>
                  <a:gd name="T15" fmla="*/ 2 h 94"/>
                  <a:gd name="T16" fmla="*/ 81 w 81"/>
                  <a:gd name="T17" fmla="*/ 92 h 94"/>
                  <a:gd name="T18" fmla="*/ 80 w 81"/>
                  <a:gd name="T19" fmla="*/ 93 h 94"/>
                  <a:gd name="T20" fmla="*/ 79 w 81"/>
                  <a:gd name="T21" fmla="*/ 94 h 94"/>
                  <a:gd name="T22" fmla="*/ 6 w 81"/>
                  <a:gd name="T23" fmla="*/ 47 h 94"/>
                  <a:gd name="T24" fmla="*/ 77 w 81"/>
                  <a:gd name="T25" fmla="*/ 88 h 94"/>
                  <a:gd name="T26" fmla="*/ 77 w 81"/>
                  <a:gd name="T27" fmla="*/ 6 h 94"/>
                  <a:gd name="T28" fmla="*/ 6 w 81"/>
                  <a:gd name="T2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1" h="94">
                    <a:moveTo>
                      <a:pt x="79" y="94"/>
                    </a:moveTo>
                    <a:cubicBezTo>
                      <a:pt x="79" y="94"/>
                      <a:pt x="79" y="94"/>
                      <a:pt x="78" y="93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0" y="48"/>
                      <a:pt x="0" y="48"/>
                      <a:pt x="0" y="47"/>
                    </a:cubicBezTo>
                    <a:cubicBezTo>
                      <a:pt x="0" y="46"/>
                      <a:pt x="0" y="46"/>
                      <a:pt x="1" y="45"/>
                    </a:cubicBezTo>
                    <a:cubicBezTo>
                      <a:pt x="78" y="1"/>
                      <a:pt x="78" y="1"/>
                      <a:pt x="78" y="1"/>
                    </a:cubicBezTo>
                    <a:cubicBezTo>
                      <a:pt x="79" y="0"/>
                      <a:pt x="80" y="0"/>
                      <a:pt x="80" y="1"/>
                    </a:cubicBezTo>
                    <a:cubicBezTo>
                      <a:pt x="81" y="1"/>
                      <a:pt x="81" y="2"/>
                      <a:pt x="81" y="2"/>
                    </a:cubicBezTo>
                    <a:cubicBezTo>
                      <a:pt x="81" y="92"/>
                      <a:pt x="81" y="92"/>
                      <a:pt x="81" y="92"/>
                    </a:cubicBezTo>
                    <a:cubicBezTo>
                      <a:pt x="81" y="92"/>
                      <a:pt x="81" y="93"/>
                      <a:pt x="80" y="93"/>
                    </a:cubicBezTo>
                    <a:cubicBezTo>
                      <a:pt x="80" y="94"/>
                      <a:pt x="80" y="94"/>
                      <a:pt x="79" y="94"/>
                    </a:cubicBezTo>
                    <a:close/>
                    <a:moveTo>
                      <a:pt x="6" y="47"/>
                    </a:moveTo>
                    <a:cubicBezTo>
                      <a:pt x="77" y="88"/>
                      <a:pt x="77" y="88"/>
                      <a:pt x="77" y="88"/>
                    </a:cubicBezTo>
                    <a:cubicBezTo>
                      <a:pt x="77" y="6"/>
                      <a:pt x="77" y="6"/>
                      <a:pt x="77" y="6"/>
                    </a:cubicBezTo>
                    <a:lnTo>
                      <a:pt x="6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5" name="Freeform 1073">
                <a:extLst>
                  <a:ext uri="{FF2B5EF4-FFF2-40B4-BE49-F238E27FC236}">
                    <a16:creationId xmlns:a16="http://schemas.microsoft.com/office/drawing/2014/main" id="{298F7DAD-37F3-4FBA-80AF-665E516A16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79" y="2447"/>
                <a:ext cx="142" cy="93"/>
              </a:xfrm>
              <a:custGeom>
                <a:avLst/>
                <a:gdLst>
                  <a:gd name="T0" fmla="*/ 10 w 60"/>
                  <a:gd name="T1" fmla="*/ 39 h 39"/>
                  <a:gd name="T2" fmla="*/ 9 w 60"/>
                  <a:gd name="T3" fmla="*/ 39 h 39"/>
                  <a:gd name="T4" fmla="*/ 1 w 60"/>
                  <a:gd name="T5" fmla="*/ 34 h 39"/>
                  <a:gd name="T6" fmla="*/ 0 w 60"/>
                  <a:gd name="T7" fmla="*/ 33 h 39"/>
                  <a:gd name="T8" fmla="*/ 1 w 60"/>
                  <a:gd name="T9" fmla="*/ 31 h 39"/>
                  <a:gd name="T10" fmla="*/ 55 w 60"/>
                  <a:gd name="T11" fmla="*/ 0 h 39"/>
                  <a:gd name="T12" fmla="*/ 57 w 60"/>
                  <a:gd name="T13" fmla="*/ 0 h 39"/>
                  <a:gd name="T14" fmla="*/ 59 w 60"/>
                  <a:gd name="T15" fmla="*/ 1 h 39"/>
                  <a:gd name="T16" fmla="*/ 60 w 60"/>
                  <a:gd name="T17" fmla="*/ 3 h 39"/>
                  <a:gd name="T18" fmla="*/ 60 w 60"/>
                  <a:gd name="T19" fmla="*/ 9 h 39"/>
                  <a:gd name="T20" fmla="*/ 59 w 60"/>
                  <a:gd name="T21" fmla="*/ 11 h 39"/>
                  <a:gd name="T22" fmla="*/ 11 w 60"/>
                  <a:gd name="T23" fmla="*/ 39 h 39"/>
                  <a:gd name="T24" fmla="*/ 10 w 60"/>
                  <a:gd name="T25" fmla="*/ 39 h 39"/>
                  <a:gd name="T26" fmla="*/ 6 w 60"/>
                  <a:gd name="T27" fmla="*/ 33 h 39"/>
                  <a:gd name="T28" fmla="*/ 10 w 60"/>
                  <a:gd name="T29" fmla="*/ 35 h 39"/>
                  <a:gd name="T30" fmla="*/ 56 w 60"/>
                  <a:gd name="T31" fmla="*/ 8 h 39"/>
                  <a:gd name="T32" fmla="*/ 56 w 60"/>
                  <a:gd name="T33" fmla="*/ 4 h 39"/>
                  <a:gd name="T34" fmla="*/ 56 w 60"/>
                  <a:gd name="T35" fmla="*/ 4 h 39"/>
                  <a:gd name="T36" fmla="*/ 6 w 60"/>
                  <a:gd name="T37" fmla="*/ 33 h 39"/>
                  <a:gd name="T38" fmla="*/ 58 w 60"/>
                  <a:gd name="T39" fmla="*/ 9 h 39"/>
                  <a:gd name="T40" fmla="*/ 58 w 60"/>
                  <a:gd name="T41" fmla="*/ 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39">
                    <a:moveTo>
                      <a:pt x="10" y="39"/>
                    </a:moveTo>
                    <a:cubicBezTo>
                      <a:pt x="9" y="39"/>
                      <a:pt x="9" y="39"/>
                      <a:pt x="9" y="39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3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60" y="2"/>
                      <a:pt x="60" y="2"/>
                      <a:pt x="60" y="3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10"/>
                      <a:pt x="60" y="11"/>
                      <a:pt x="59" y="11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39"/>
                      <a:pt x="10" y="39"/>
                      <a:pt x="10" y="39"/>
                    </a:cubicBezTo>
                    <a:close/>
                    <a:moveTo>
                      <a:pt x="6" y="33"/>
                    </a:moveTo>
                    <a:cubicBezTo>
                      <a:pt x="10" y="35"/>
                      <a:pt x="10" y="35"/>
                      <a:pt x="10" y="35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lnTo>
                      <a:pt x="6" y="33"/>
                    </a:lnTo>
                    <a:close/>
                    <a:moveTo>
                      <a:pt x="58" y="9"/>
                    </a:moveTo>
                    <a:cubicBezTo>
                      <a:pt x="58" y="9"/>
                      <a:pt x="58" y="9"/>
                      <a:pt x="5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6" name="Freeform 1074">
                <a:extLst>
                  <a:ext uri="{FF2B5EF4-FFF2-40B4-BE49-F238E27FC236}">
                    <a16:creationId xmlns:a16="http://schemas.microsoft.com/office/drawing/2014/main" id="{0DEF8007-37F8-49C4-9995-B1D3E57CEC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2" y="2535"/>
                <a:ext cx="579" cy="902"/>
              </a:xfrm>
              <a:custGeom>
                <a:avLst/>
                <a:gdLst>
                  <a:gd name="T0" fmla="*/ 2 w 245"/>
                  <a:gd name="T1" fmla="*/ 382 h 382"/>
                  <a:gd name="T2" fmla="*/ 1 w 245"/>
                  <a:gd name="T3" fmla="*/ 382 h 382"/>
                  <a:gd name="T4" fmla="*/ 0 w 245"/>
                  <a:gd name="T5" fmla="*/ 380 h 382"/>
                  <a:gd name="T6" fmla="*/ 0 w 245"/>
                  <a:gd name="T7" fmla="*/ 113 h 382"/>
                  <a:gd name="T8" fmla="*/ 1 w 245"/>
                  <a:gd name="T9" fmla="*/ 111 h 382"/>
                  <a:gd name="T10" fmla="*/ 194 w 245"/>
                  <a:gd name="T11" fmla="*/ 0 h 382"/>
                  <a:gd name="T12" fmla="*/ 196 w 245"/>
                  <a:gd name="T13" fmla="*/ 0 h 382"/>
                  <a:gd name="T14" fmla="*/ 227 w 245"/>
                  <a:gd name="T15" fmla="*/ 19 h 382"/>
                  <a:gd name="T16" fmla="*/ 242 w 245"/>
                  <a:gd name="T17" fmla="*/ 10 h 382"/>
                  <a:gd name="T18" fmla="*/ 244 w 245"/>
                  <a:gd name="T19" fmla="*/ 10 h 382"/>
                  <a:gd name="T20" fmla="*/ 245 w 245"/>
                  <a:gd name="T21" fmla="*/ 12 h 382"/>
                  <a:gd name="T22" fmla="*/ 245 w 245"/>
                  <a:gd name="T23" fmla="*/ 25 h 382"/>
                  <a:gd name="T24" fmla="*/ 244 w 245"/>
                  <a:gd name="T25" fmla="*/ 26 h 382"/>
                  <a:gd name="T26" fmla="*/ 167 w 245"/>
                  <a:gd name="T27" fmla="*/ 71 h 382"/>
                  <a:gd name="T28" fmla="*/ 244 w 245"/>
                  <a:gd name="T29" fmla="*/ 116 h 382"/>
                  <a:gd name="T30" fmla="*/ 245 w 245"/>
                  <a:gd name="T31" fmla="*/ 118 h 382"/>
                  <a:gd name="T32" fmla="*/ 245 w 245"/>
                  <a:gd name="T33" fmla="*/ 241 h 382"/>
                  <a:gd name="T34" fmla="*/ 244 w 245"/>
                  <a:gd name="T35" fmla="*/ 243 h 382"/>
                  <a:gd name="T36" fmla="*/ 3 w 245"/>
                  <a:gd name="T37" fmla="*/ 382 h 382"/>
                  <a:gd name="T38" fmla="*/ 2 w 245"/>
                  <a:gd name="T39" fmla="*/ 382 h 382"/>
                  <a:gd name="T40" fmla="*/ 4 w 245"/>
                  <a:gd name="T41" fmla="*/ 114 h 382"/>
                  <a:gd name="T42" fmla="*/ 4 w 245"/>
                  <a:gd name="T43" fmla="*/ 377 h 382"/>
                  <a:gd name="T44" fmla="*/ 241 w 245"/>
                  <a:gd name="T45" fmla="*/ 240 h 382"/>
                  <a:gd name="T46" fmla="*/ 241 w 245"/>
                  <a:gd name="T47" fmla="*/ 119 h 382"/>
                  <a:gd name="T48" fmla="*/ 162 w 245"/>
                  <a:gd name="T49" fmla="*/ 73 h 382"/>
                  <a:gd name="T50" fmla="*/ 161 w 245"/>
                  <a:gd name="T51" fmla="*/ 71 h 382"/>
                  <a:gd name="T52" fmla="*/ 162 w 245"/>
                  <a:gd name="T53" fmla="*/ 69 h 382"/>
                  <a:gd name="T54" fmla="*/ 241 w 245"/>
                  <a:gd name="T55" fmla="*/ 23 h 382"/>
                  <a:gd name="T56" fmla="*/ 241 w 245"/>
                  <a:gd name="T57" fmla="*/ 15 h 382"/>
                  <a:gd name="T58" fmla="*/ 228 w 245"/>
                  <a:gd name="T59" fmla="*/ 23 h 382"/>
                  <a:gd name="T60" fmla="*/ 226 w 245"/>
                  <a:gd name="T61" fmla="*/ 23 h 382"/>
                  <a:gd name="T62" fmla="*/ 195 w 245"/>
                  <a:gd name="T63" fmla="*/ 4 h 382"/>
                  <a:gd name="T64" fmla="*/ 4 w 245"/>
                  <a:gd name="T65" fmla="*/ 114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5" h="382">
                    <a:moveTo>
                      <a:pt x="2" y="382"/>
                    </a:moveTo>
                    <a:cubicBezTo>
                      <a:pt x="2" y="382"/>
                      <a:pt x="2" y="382"/>
                      <a:pt x="1" y="382"/>
                    </a:cubicBezTo>
                    <a:cubicBezTo>
                      <a:pt x="1" y="382"/>
                      <a:pt x="0" y="381"/>
                      <a:pt x="0" y="38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2"/>
                      <a:pt x="1" y="112"/>
                      <a:pt x="1" y="111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194" y="0"/>
                      <a:pt x="195" y="0"/>
                      <a:pt x="196" y="0"/>
                    </a:cubicBezTo>
                    <a:cubicBezTo>
                      <a:pt x="227" y="19"/>
                      <a:pt x="227" y="19"/>
                      <a:pt x="227" y="19"/>
                    </a:cubicBezTo>
                    <a:cubicBezTo>
                      <a:pt x="242" y="10"/>
                      <a:pt x="242" y="10"/>
                      <a:pt x="242" y="10"/>
                    </a:cubicBezTo>
                    <a:cubicBezTo>
                      <a:pt x="243" y="10"/>
                      <a:pt x="244" y="10"/>
                      <a:pt x="244" y="10"/>
                    </a:cubicBezTo>
                    <a:cubicBezTo>
                      <a:pt x="245" y="10"/>
                      <a:pt x="245" y="11"/>
                      <a:pt x="245" y="12"/>
                    </a:cubicBezTo>
                    <a:cubicBezTo>
                      <a:pt x="245" y="25"/>
                      <a:pt x="245" y="25"/>
                      <a:pt x="245" y="25"/>
                    </a:cubicBezTo>
                    <a:cubicBezTo>
                      <a:pt x="245" y="25"/>
                      <a:pt x="245" y="26"/>
                      <a:pt x="244" y="26"/>
                    </a:cubicBezTo>
                    <a:cubicBezTo>
                      <a:pt x="167" y="71"/>
                      <a:pt x="167" y="71"/>
                      <a:pt x="167" y="71"/>
                    </a:cubicBezTo>
                    <a:cubicBezTo>
                      <a:pt x="244" y="116"/>
                      <a:pt x="244" y="116"/>
                      <a:pt x="244" y="116"/>
                    </a:cubicBezTo>
                    <a:cubicBezTo>
                      <a:pt x="245" y="116"/>
                      <a:pt x="245" y="117"/>
                      <a:pt x="245" y="118"/>
                    </a:cubicBezTo>
                    <a:cubicBezTo>
                      <a:pt x="245" y="241"/>
                      <a:pt x="245" y="241"/>
                      <a:pt x="245" y="241"/>
                    </a:cubicBezTo>
                    <a:cubicBezTo>
                      <a:pt x="245" y="242"/>
                      <a:pt x="245" y="243"/>
                      <a:pt x="244" y="243"/>
                    </a:cubicBezTo>
                    <a:cubicBezTo>
                      <a:pt x="3" y="382"/>
                      <a:pt x="3" y="382"/>
                      <a:pt x="3" y="382"/>
                    </a:cubicBezTo>
                    <a:cubicBezTo>
                      <a:pt x="3" y="382"/>
                      <a:pt x="3" y="382"/>
                      <a:pt x="2" y="382"/>
                    </a:cubicBezTo>
                    <a:close/>
                    <a:moveTo>
                      <a:pt x="4" y="114"/>
                    </a:moveTo>
                    <a:cubicBezTo>
                      <a:pt x="4" y="377"/>
                      <a:pt x="4" y="377"/>
                      <a:pt x="4" y="377"/>
                    </a:cubicBezTo>
                    <a:cubicBezTo>
                      <a:pt x="241" y="240"/>
                      <a:pt x="241" y="240"/>
                      <a:pt x="241" y="240"/>
                    </a:cubicBezTo>
                    <a:cubicBezTo>
                      <a:pt x="241" y="119"/>
                      <a:pt x="241" y="119"/>
                      <a:pt x="241" y="119"/>
                    </a:cubicBezTo>
                    <a:cubicBezTo>
                      <a:pt x="162" y="73"/>
                      <a:pt x="162" y="73"/>
                      <a:pt x="162" y="73"/>
                    </a:cubicBezTo>
                    <a:cubicBezTo>
                      <a:pt x="161" y="72"/>
                      <a:pt x="161" y="72"/>
                      <a:pt x="161" y="71"/>
                    </a:cubicBezTo>
                    <a:cubicBezTo>
                      <a:pt x="161" y="70"/>
                      <a:pt x="161" y="70"/>
                      <a:pt x="162" y="69"/>
                    </a:cubicBezTo>
                    <a:cubicBezTo>
                      <a:pt x="241" y="23"/>
                      <a:pt x="241" y="23"/>
                      <a:pt x="241" y="23"/>
                    </a:cubicBezTo>
                    <a:cubicBezTo>
                      <a:pt x="241" y="15"/>
                      <a:pt x="241" y="15"/>
                      <a:pt x="241" y="15"/>
                    </a:cubicBezTo>
                    <a:cubicBezTo>
                      <a:pt x="228" y="23"/>
                      <a:pt x="228" y="23"/>
                      <a:pt x="228" y="23"/>
                    </a:cubicBezTo>
                    <a:cubicBezTo>
                      <a:pt x="228" y="23"/>
                      <a:pt x="227" y="23"/>
                      <a:pt x="226" y="23"/>
                    </a:cubicBezTo>
                    <a:cubicBezTo>
                      <a:pt x="195" y="4"/>
                      <a:pt x="195" y="4"/>
                      <a:pt x="195" y="4"/>
                    </a:cubicBezTo>
                    <a:lnTo>
                      <a:pt x="4" y="1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7" name="Freeform 1075">
                <a:extLst>
                  <a:ext uri="{FF2B5EF4-FFF2-40B4-BE49-F238E27FC236}">
                    <a16:creationId xmlns:a16="http://schemas.microsoft.com/office/drawing/2014/main" id="{FEFAF819-176A-435B-B606-632DB5196C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01" y="2469"/>
                <a:ext cx="120" cy="116"/>
              </a:xfrm>
              <a:custGeom>
                <a:avLst/>
                <a:gdLst>
                  <a:gd name="T0" fmla="*/ 33 w 51"/>
                  <a:gd name="T1" fmla="*/ 49 h 49"/>
                  <a:gd name="T2" fmla="*/ 32 w 51"/>
                  <a:gd name="T3" fmla="*/ 49 h 49"/>
                  <a:gd name="T4" fmla="*/ 1 w 51"/>
                  <a:gd name="T5" fmla="*/ 31 h 49"/>
                  <a:gd name="T6" fmla="*/ 0 w 51"/>
                  <a:gd name="T7" fmla="*/ 29 h 49"/>
                  <a:gd name="T8" fmla="*/ 1 w 51"/>
                  <a:gd name="T9" fmla="*/ 27 h 49"/>
                  <a:gd name="T10" fmla="*/ 48 w 51"/>
                  <a:gd name="T11" fmla="*/ 0 h 49"/>
                  <a:gd name="T12" fmla="*/ 50 w 51"/>
                  <a:gd name="T13" fmla="*/ 0 h 49"/>
                  <a:gd name="T14" fmla="*/ 51 w 51"/>
                  <a:gd name="T15" fmla="*/ 2 h 49"/>
                  <a:gd name="T16" fmla="*/ 51 w 51"/>
                  <a:gd name="T17" fmla="*/ 38 h 49"/>
                  <a:gd name="T18" fmla="*/ 50 w 51"/>
                  <a:gd name="T19" fmla="*/ 39 h 49"/>
                  <a:gd name="T20" fmla="*/ 34 w 51"/>
                  <a:gd name="T21" fmla="*/ 49 h 49"/>
                  <a:gd name="T22" fmla="*/ 33 w 51"/>
                  <a:gd name="T23" fmla="*/ 49 h 49"/>
                  <a:gd name="T24" fmla="*/ 6 w 51"/>
                  <a:gd name="T25" fmla="*/ 29 h 49"/>
                  <a:gd name="T26" fmla="*/ 33 w 51"/>
                  <a:gd name="T27" fmla="*/ 45 h 49"/>
                  <a:gd name="T28" fmla="*/ 47 w 51"/>
                  <a:gd name="T29" fmla="*/ 37 h 49"/>
                  <a:gd name="T30" fmla="*/ 47 w 51"/>
                  <a:gd name="T31" fmla="*/ 6 h 49"/>
                  <a:gd name="T32" fmla="*/ 6 w 51"/>
                  <a:gd name="T33" fmla="*/ 29 h 49"/>
                  <a:gd name="T34" fmla="*/ 49 w 51"/>
                  <a:gd name="T35" fmla="*/ 38 h 49"/>
                  <a:gd name="T36" fmla="*/ 49 w 51"/>
                  <a:gd name="T37" fmla="*/ 3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49">
                    <a:moveTo>
                      <a:pt x="33" y="49"/>
                    </a:moveTo>
                    <a:cubicBezTo>
                      <a:pt x="33" y="49"/>
                      <a:pt x="33" y="49"/>
                      <a:pt x="32" y="49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0"/>
                      <a:pt x="0" y="30"/>
                      <a:pt x="0" y="29"/>
                    </a:cubicBezTo>
                    <a:cubicBezTo>
                      <a:pt x="0" y="28"/>
                      <a:pt x="1" y="28"/>
                      <a:pt x="1" y="27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9" y="0"/>
                      <a:pt x="50" y="0"/>
                      <a:pt x="50" y="0"/>
                    </a:cubicBezTo>
                    <a:cubicBezTo>
                      <a:pt x="51" y="1"/>
                      <a:pt x="51" y="1"/>
                      <a:pt x="51" y="2"/>
                    </a:cubicBezTo>
                    <a:cubicBezTo>
                      <a:pt x="51" y="38"/>
                      <a:pt x="51" y="38"/>
                      <a:pt x="51" y="38"/>
                    </a:cubicBezTo>
                    <a:cubicBezTo>
                      <a:pt x="51" y="38"/>
                      <a:pt x="51" y="39"/>
                      <a:pt x="50" y="39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4" y="49"/>
                      <a:pt x="34" y="49"/>
                      <a:pt x="33" y="49"/>
                    </a:cubicBezTo>
                    <a:close/>
                    <a:moveTo>
                      <a:pt x="6" y="29"/>
                    </a:moveTo>
                    <a:cubicBezTo>
                      <a:pt x="33" y="45"/>
                      <a:pt x="33" y="45"/>
                      <a:pt x="33" y="45"/>
                    </a:cubicBezTo>
                    <a:cubicBezTo>
                      <a:pt x="47" y="37"/>
                      <a:pt x="47" y="37"/>
                      <a:pt x="47" y="37"/>
                    </a:cubicBezTo>
                    <a:cubicBezTo>
                      <a:pt x="47" y="6"/>
                      <a:pt x="47" y="6"/>
                      <a:pt x="47" y="6"/>
                    </a:cubicBezTo>
                    <a:lnTo>
                      <a:pt x="6" y="29"/>
                    </a:lnTo>
                    <a:close/>
                    <a:moveTo>
                      <a:pt x="49" y="38"/>
                    </a:moveTo>
                    <a:cubicBezTo>
                      <a:pt x="49" y="38"/>
                      <a:pt x="49" y="38"/>
                      <a:pt x="49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8" name="Freeform 1076">
                <a:extLst>
                  <a:ext uri="{FF2B5EF4-FFF2-40B4-BE49-F238E27FC236}">
                    <a16:creationId xmlns:a16="http://schemas.microsoft.com/office/drawing/2014/main" id="{2B563F88-56E9-4948-8E38-8978ECE55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7" y="3369"/>
                <a:ext cx="226" cy="137"/>
              </a:xfrm>
              <a:custGeom>
                <a:avLst/>
                <a:gdLst>
                  <a:gd name="T0" fmla="*/ 94 w 96"/>
                  <a:gd name="T1" fmla="*/ 58 h 58"/>
                  <a:gd name="T2" fmla="*/ 93 w 96"/>
                  <a:gd name="T3" fmla="*/ 58 h 58"/>
                  <a:gd name="T4" fmla="*/ 1 w 96"/>
                  <a:gd name="T5" fmla="*/ 5 h 58"/>
                  <a:gd name="T6" fmla="*/ 0 w 96"/>
                  <a:gd name="T7" fmla="*/ 3 h 58"/>
                  <a:gd name="T8" fmla="*/ 0 w 96"/>
                  <a:gd name="T9" fmla="*/ 2 h 58"/>
                  <a:gd name="T10" fmla="*/ 1 w 96"/>
                  <a:gd name="T11" fmla="*/ 0 h 58"/>
                  <a:gd name="T12" fmla="*/ 3 w 96"/>
                  <a:gd name="T13" fmla="*/ 0 h 58"/>
                  <a:gd name="T14" fmla="*/ 95 w 96"/>
                  <a:gd name="T15" fmla="*/ 53 h 58"/>
                  <a:gd name="T16" fmla="*/ 96 w 96"/>
                  <a:gd name="T17" fmla="*/ 55 h 58"/>
                  <a:gd name="T18" fmla="*/ 96 w 96"/>
                  <a:gd name="T19" fmla="*/ 56 h 58"/>
                  <a:gd name="T20" fmla="*/ 95 w 96"/>
                  <a:gd name="T21" fmla="*/ 58 h 58"/>
                  <a:gd name="T22" fmla="*/ 94 w 96"/>
                  <a:gd name="T2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6" h="58">
                    <a:moveTo>
                      <a:pt x="94" y="58"/>
                    </a:moveTo>
                    <a:cubicBezTo>
                      <a:pt x="93" y="58"/>
                      <a:pt x="93" y="58"/>
                      <a:pt x="93" y="58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3"/>
                      <a:pt x="96" y="54"/>
                      <a:pt x="96" y="55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6" y="57"/>
                      <a:pt x="95" y="57"/>
                      <a:pt x="95" y="58"/>
                    </a:cubicBezTo>
                    <a:cubicBezTo>
                      <a:pt x="94" y="58"/>
                      <a:pt x="94" y="58"/>
                      <a:pt x="94" y="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9" name="Freeform 1077">
                <a:extLst>
                  <a:ext uri="{FF2B5EF4-FFF2-40B4-BE49-F238E27FC236}">
                    <a16:creationId xmlns:a16="http://schemas.microsoft.com/office/drawing/2014/main" id="{711623A4-62B8-43E3-A5C4-430F659F7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7" y="3338"/>
                <a:ext cx="57" cy="40"/>
              </a:xfrm>
              <a:custGeom>
                <a:avLst/>
                <a:gdLst>
                  <a:gd name="T0" fmla="*/ 22 w 24"/>
                  <a:gd name="T1" fmla="*/ 17 h 17"/>
                  <a:gd name="T2" fmla="*/ 21 w 24"/>
                  <a:gd name="T3" fmla="*/ 17 h 17"/>
                  <a:gd name="T4" fmla="*/ 1 w 24"/>
                  <a:gd name="T5" fmla="*/ 6 h 17"/>
                  <a:gd name="T6" fmla="*/ 0 w 24"/>
                  <a:gd name="T7" fmla="*/ 4 h 17"/>
                  <a:gd name="T8" fmla="*/ 0 w 24"/>
                  <a:gd name="T9" fmla="*/ 3 h 17"/>
                  <a:gd name="T10" fmla="*/ 1 w 24"/>
                  <a:gd name="T11" fmla="*/ 1 h 17"/>
                  <a:gd name="T12" fmla="*/ 3 w 24"/>
                  <a:gd name="T13" fmla="*/ 1 h 17"/>
                  <a:gd name="T14" fmla="*/ 23 w 24"/>
                  <a:gd name="T15" fmla="*/ 12 h 17"/>
                  <a:gd name="T16" fmla="*/ 24 w 24"/>
                  <a:gd name="T17" fmla="*/ 14 h 17"/>
                  <a:gd name="T18" fmla="*/ 24 w 24"/>
                  <a:gd name="T19" fmla="*/ 15 h 17"/>
                  <a:gd name="T20" fmla="*/ 23 w 24"/>
                  <a:gd name="T21" fmla="*/ 17 h 17"/>
                  <a:gd name="T22" fmla="*/ 22 w 24"/>
                  <a:gd name="T23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17">
                    <a:moveTo>
                      <a:pt x="22" y="17"/>
                    </a:moveTo>
                    <a:cubicBezTo>
                      <a:pt x="21" y="17"/>
                      <a:pt x="21" y="17"/>
                      <a:pt x="21" y="17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3" y="13"/>
                      <a:pt x="24" y="13"/>
                      <a:pt x="24" y="14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6"/>
                      <a:pt x="23" y="17"/>
                      <a:pt x="23" y="17"/>
                    </a:cubicBezTo>
                    <a:cubicBezTo>
                      <a:pt x="22" y="17"/>
                      <a:pt x="22" y="17"/>
                      <a:pt x="2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0" name="Freeform 1078">
                <a:extLst>
                  <a:ext uri="{FF2B5EF4-FFF2-40B4-BE49-F238E27FC236}">
                    <a16:creationId xmlns:a16="http://schemas.microsoft.com/office/drawing/2014/main" id="{BF40912D-E4AA-427D-923B-FADB831B70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7" y="3407"/>
                <a:ext cx="54" cy="61"/>
              </a:xfrm>
              <a:custGeom>
                <a:avLst/>
                <a:gdLst>
                  <a:gd name="T0" fmla="*/ 2 w 23"/>
                  <a:gd name="T1" fmla="*/ 26 h 26"/>
                  <a:gd name="T2" fmla="*/ 1 w 23"/>
                  <a:gd name="T3" fmla="*/ 26 h 26"/>
                  <a:gd name="T4" fmla="*/ 0 w 23"/>
                  <a:gd name="T5" fmla="*/ 24 h 26"/>
                  <a:gd name="T6" fmla="*/ 0 w 23"/>
                  <a:gd name="T7" fmla="*/ 2 h 26"/>
                  <a:gd name="T8" fmla="*/ 1 w 23"/>
                  <a:gd name="T9" fmla="*/ 0 h 26"/>
                  <a:gd name="T10" fmla="*/ 3 w 23"/>
                  <a:gd name="T11" fmla="*/ 0 h 26"/>
                  <a:gd name="T12" fmla="*/ 22 w 23"/>
                  <a:gd name="T13" fmla="*/ 11 h 26"/>
                  <a:gd name="T14" fmla="*/ 23 w 23"/>
                  <a:gd name="T15" fmla="*/ 13 h 26"/>
                  <a:gd name="T16" fmla="*/ 22 w 23"/>
                  <a:gd name="T17" fmla="*/ 15 h 26"/>
                  <a:gd name="T18" fmla="*/ 3 w 23"/>
                  <a:gd name="T19" fmla="*/ 26 h 26"/>
                  <a:gd name="T20" fmla="*/ 2 w 23"/>
                  <a:gd name="T21" fmla="*/ 26 h 26"/>
                  <a:gd name="T22" fmla="*/ 4 w 23"/>
                  <a:gd name="T23" fmla="*/ 5 h 26"/>
                  <a:gd name="T24" fmla="*/ 4 w 23"/>
                  <a:gd name="T25" fmla="*/ 20 h 26"/>
                  <a:gd name="T26" fmla="*/ 17 w 23"/>
                  <a:gd name="T27" fmla="*/ 13 h 26"/>
                  <a:gd name="T28" fmla="*/ 4 w 23"/>
                  <a:gd name="T2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" h="26">
                    <a:moveTo>
                      <a:pt x="2" y="26"/>
                    </a:moveTo>
                    <a:cubicBezTo>
                      <a:pt x="2" y="26"/>
                      <a:pt x="1" y="26"/>
                      <a:pt x="1" y="26"/>
                    </a:cubicBezTo>
                    <a:cubicBezTo>
                      <a:pt x="0" y="25"/>
                      <a:pt x="0" y="25"/>
                      <a:pt x="0" y="2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2"/>
                      <a:pt x="23" y="12"/>
                      <a:pt x="23" y="13"/>
                    </a:cubicBezTo>
                    <a:cubicBezTo>
                      <a:pt x="23" y="14"/>
                      <a:pt x="22" y="14"/>
                      <a:pt x="22" y="1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2" y="26"/>
                      <a:pt x="2" y="26"/>
                    </a:cubicBezTo>
                    <a:close/>
                    <a:moveTo>
                      <a:pt x="4" y="5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17" y="13"/>
                      <a:pt x="17" y="13"/>
                      <a:pt x="17" y="13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1" name="Freeform 1079">
                <a:extLst>
                  <a:ext uri="{FF2B5EF4-FFF2-40B4-BE49-F238E27FC236}">
                    <a16:creationId xmlns:a16="http://schemas.microsoft.com/office/drawing/2014/main" id="{949FB557-7180-4683-BAF6-D784BD175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3" y="3912"/>
                <a:ext cx="14" cy="14"/>
              </a:xfrm>
              <a:custGeom>
                <a:avLst/>
                <a:gdLst>
                  <a:gd name="T0" fmla="*/ 4 w 6"/>
                  <a:gd name="T1" fmla="*/ 6 h 6"/>
                  <a:gd name="T2" fmla="*/ 3 w 6"/>
                  <a:gd name="T3" fmla="*/ 6 h 6"/>
                  <a:gd name="T4" fmla="*/ 1 w 6"/>
                  <a:gd name="T5" fmla="*/ 5 h 6"/>
                  <a:gd name="T6" fmla="*/ 0 w 6"/>
                  <a:gd name="T7" fmla="*/ 3 h 6"/>
                  <a:gd name="T8" fmla="*/ 1 w 6"/>
                  <a:gd name="T9" fmla="*/ 1 h 6"/>
                  <a:gd name="T10" fmla="*/ 3 w 6"/>
                  <a:gd name="T11" fmla="*/ 0 h 6"/>
                  <a:gd name="T12" fmla="*/ 5 w 6"/>
                  <a:gd name="T13" fmla="*/ 0 h 6"/>
                  <a:gd name="T14" fmla="*/ 6 w 6"/>
                  <a:gd name="T15" fmla="*/ 2 h 6"/>
                  <a:gd name="T16" fmla="*/ 6 w 6"/>
                  <a:gd name="T17" fmla="*/ 4 h 6"/>
                  <a:gd name="T18" fmla="*/ 5 w 6"/>
                  <a:gd name="T19" fmla="*/ 6 h 6"/>
                  <a:gd name="T20" fmla="*/ 4 w 6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4" y="6"/>
                      <a:pt x="3" y="6"/>
                      <a:pt x="3" y="6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5"/>
                      <a:pt x="6" y="6"/>
                      <a:pt x="5" y="6"/>
                    </a:cubicBezTo>
                    <a:cubicBezTo>
                      <a:pt x="5" y="6"/>
                      <a:pt x="4" y="6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2" name="Freeform 1080">
                <a:extLst>
                  <a:ext uri="{FF2B5EF4-FFF2-40B4-BE49-F238E27FC236}">
                    <a16:creationId xmlns:a16="http://schemas.microsoft.com/office/drawing/2014/main" id="{B62EC71E-767F-4141-90F1-4780A57C0D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64" y="3879"/>
                <a:ext cx="319" cy="544"/>
              </a:xfrm>
              <a:custGeom>
                <a:avLst/>
                <a:gdLst>
                  <a:gd name="T0" fmla="*/ 133 w 135"/>
                  <a:gd name="T1" fmla="*/ 230 h 230"/>
                  <a:gd name="T2" fmla="*/ 132 w 135"/>
                  <a:gd name="T3" fmla="*/ 229 h 230"/>
                  <a:gd name="T4" fmla="*/ 1 w 135"/>
                  <a:gd name="T5" fmla="*/ 154 h 230"/>
                  <a:gd name="T6" fmla="*/ 0 w 135"/>
                  <a:gd name="T7" fmla="*/ 152 h 230"/>
                  <a:gd name="T8" fmla="*/ 0 w 135"/>
                  <a:gd name="T9" fmla="*/ 2 h 230"/>
                  <a:gd name="T10" fmla="*/ 1 w 135"/>
                  <a:gd name="T11" fmla="*/ 0 h 230"/>
                  <a:gd name="T12" fmla="*/ 3 w 135"/>
                  <a:gd name="T13" fmla="*/ 0 h 230"/>
                  <a:gd name="T14" fmla="*/ 134 w 135"/>
                  <a:gd name="T15" fmla="*/ 76 h 230"/>
                  <a:gd name="T16" fmla="*/ 135 w 135"/>
                  <a:gd name="T17" fmla="*/ 77 h 230"/>
                  <a:gd name="T18" fmla="*/ 135 w 135"/>
                  <a:gd name="T19" fmla="*/ 228 h 230"/>
                  <a:gd name="T20" fmla="*/ 134 w 135"/>
                  <a:gd name="T21" fmla="*/ 229 h 230"/>
                  <a:gd name="T22" fmla="*/ 133 w 135"/>
                  <a:gd name="T23" fmla="*/ 230 h 230"/>
                  <a:gd name="T24" fmla="*/ 4 w 135"/>
                  <a:gd name="T25" fmla="*/ 151 h 230"/>
                  <a:gd name="T26" fmla="*/ 131 w 135"/>
                  <a:gd name="T27" fmla="*/ 224 h 230"/>
                  <a:gd name="T28" fmla="*/ 131 w 135"/>
                  <a:gd name="T29" fmla="*/ 78 h 230"/>
                  <a:gd name="T30" fmla="*/ 4 w 135"/>
                  <a:gd name="T31" fmla="*/ 5 h 230"/>
                  <a:gd name="T32" fmla="*/ 4 w 135"/>
                  <a:gd name="T33" fmla="*/ 151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230">
                    <a:moveTo>
                      <a:pt x="133" y="230"/>
                    </a:moveTo>
                    <a:cubicBezTo>
                      <a:pt x="132" y="230"/>
                      <a:pt x="132" y="230"/>
                      <a:pt x="132" y="229"/>
                    </a:cubicBezTo>
                    <a:cubicBezTo>
                      <a:pt x="1" y="154"/>
                      <a:pt x="1" y="154"/>
                      <a:pt x="1" y="154"/>
                    </a:cubicBezTo>
                    <a:cubicBezTo>
                      <a:pt x="1" y="154"/>
                      <a:pt x="0" y="153"/>
                      <a:pt x="0" y="15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6"/>
                      <a:pt x="135" y="77"/>
                      <a:pt x="135" y="77"/>
                    </a:cubicBezTo>
                    <a:cubicBezTo>
                      <a:pt x="135" y="228"/>
                      <a:pt x="135" y="228"/>
                      <a:pt x="135" y="228"/>
                    </a:cubicBezTo>
                    <a:cubicBezTo>
                      <a:pt x="135" y="228"/>
                      <a:pt x="134" y="229"/>
                      <a:pt x="134" y="229"/>
                    </a:cubicBezTo>
                    <a:cubicBezTo>
                      <a:pt x="133" y="230"/>
                      <a:pt x="133" y="230"/>
                      <a:pt x="133" y="230"/>
                    </a:cubicBezTo>
                    <a:close/>
                    <a:moveTo>
                      <a:pt x="4" y="151"/>
                    </a:moveTo>
                    <a:cubicBezTo>
                      <a:pt x="131" y="224"/>
                      <a:pt x="131" y="224"/>
                      <a:pt x="131" y="224"/>
                    </a:cubicBezTo>
                    <a:cubicBezTo>
                      <a:pt x="131" y="78"/>
                      <a:pt x="131" y="78"/>
                      <a:pt x="131" y="78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Freeform 1081">
                <a:extLst>
                  <a:ext uri="{FF2B5EF4-FFF2-40B4-BE49-F238E27FC236}">
                    <a16:creationId xmlns:a16="http://schemas.microsoft.com/office/drawing/2014/main" id="{DEF07871-22AB-4CD3-B0A2-EB5B279B11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4075"/>
                <a:ext cx="57" cy="189"/>
              </a:xfrm>
              <a:custGeom>
                <a:avLst/>
                <a:gdLst>
                  <a:gd name="T0" fmla="*/ 2 w 24"/>
                  <a:gd name="T1" fmla="*/ 80 h 80"/>
                  <a:gd name="T2" fmla="*/ 1 w 24"/>
                  <a:gd name="T3" fmla="*/ 80 h 80"/>
                  <a:gd name="T4" fmla="*/ 0 w 24"/>
                  <a:gd name="T5" fmla="*/ 78 h 80"/>
                  <a:gd name="T6" fmla="*/ 0 w 24"/>
                  <a:gd name="T7" fmla="*/ 2 h 80"/>
                  <a:gd name="T8" fmla="*/ 1 w 24"/>
                  <a:gd name="T9" fmla="*/ 0 h 80"/>
                  <a:gd name="T10" fmla="*/ 3 w 24"/>
                  <a:gd name="T11" fmla="*/ 0 h 80"/>
                  <a:gd name="T12" fmla="*/ 20 w 24"/>
                  <a:gd name="T13" fmla="*/ 10 h 80"/>
                  <a:gd name="T14" fmla="*/ 21 w 24"/>
                  <a:gd name="T15" fmla="*/ 9 h 80"/>
                  <a:gd name="T16" fmla="*/ 23 w 24"/>
                  <a:gd name="T17" fmla="*/ 9 h 80"/>
                  <a:gd name="T18" fmla="*/ 24 w 24"/>
                  <a:gd name="T19" fmla="*/ 11 h 80"/>
                  <a:gd name="T20" fmla="*/ 24 w 24"/>
                  <a:gd name="T21" fmla="*/ 67 h 80"/>
                  <a:gd name="T22" fmla="*/ 23 w 24"/>
                  <a:gd name="T23" fmla="*/ 69 h 80"/>
                  <a:gd name="T24" fmla="*/ 3 w 24"/>
                  <a:gd name="T25" fmla="*/ 80 h 80"/>
                  <a:gd name="T26" fmla="*/ 2 w 24"/>
                  <a:gd name="T27" fmla="*/ 80 h 80"/>
                  <a:gd name="T28" fmla="*/ 4 w 24"/>
                  <a:gd name="T29" fmla="*/ 5 h 80"/>
                  <a:gd name="T30" fmla="*/ 4 w 24"/>
                  <a:gd name="T31" fmla="*/ 75 h 80"/>
                  <a:gd name="T32" fmla="*/ 20 w 24"/>
                  <a:gd name="T33" fmla="*/ 66 h 80"/>
                  <a:gd name="T34" fmla="*/ 20 w 24"/>
                  <a:gd name="T35" fmla="*/ 14 h 80"/>
                  <a:gd name="T36" fmla="*/ 19 w 24"/>
                  <a:gd name="T37" fmla="*/ 14 h 80"/>
                  <a:gd name="T38" fmla="*/ 4 w 24"/>
                  <a:gd name="T39" fmla="*/ 5 h 80"/>
                  <a:gd name="T40" fmla="*/ 22 w 24"/>
                  <a:gd name="T41" fmla="*/ 67 h 80"/>
                  <a:gd name="T42" fmla="*/ 22 w 24"/>
                  <a:gd name="T43" fmla="*/ 6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80">
                    <a:moveTo>
                      <a:pt x="2" y="80"/>
                    </a:moveTo>
                    <a:cubicBezTo>
                      <a:pt x="2" y="80"/>
                      <a:pt x="1" y="80"/>
                      <a:pt x="1" y="80"/>
                    </a:cubicBezTo>
                    <a:cubicBezTo>
                      <a:pt x="1" y="80"/>
                      <a:pt x="0" y="79"/>
                      <a:pt x="0" y="7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2" y="9"/>
                      <a:pt x="23" y="9"/>
                    </a:cubicBezTo>
                    <a:cubicBezTo>
                      <a:pt x="23" y="10"/>
                      <a:pt x="24" y="10"/>
                      <a:pt x="24" y="11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4" y="68"/>
                      <a:pt x="23" y="68"/>
                      <a:pt x="23" y="69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3" y="80"/>
                      <a:pt x="3" y="80"/>
                      <a:pt x="2" y="80"/>
                    </a:cubicBezTo>
                    <a:close/>
                    <a:moveTo>
                      <a:pt x="4" y="5"/>
                    </a:moveTo>
                    <a:cubicBezTo>
                      <a:pt x="4" y="75"/>
                      <a:pt x="4" y="75"/>
                      <a:pt x="4" y="75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19" y="14"/>
                      <a:pt x="19" y="14"/>
                    </a:cubicBezTo>
                    <a:lnTo>
                      <a:pt x="4" y="5"/>
                    </a:lnTo>
                    <a:close/>
                    <a:moveTo>
                      <a:pt x="22" y="67"/>
                    </a:moveTo>
                    <a:cubicBezTo>
                      <a:pt x="22" y="67"/>
                      <a:pt x="22" y="67"/>
                      <a:pt x="22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4" name="Freeform 1082">
                <a:extLst>
                  <a:ext uri="{FF2B5EF4-FFF2-40B4-BE49-F238E27FC236}">
                    <a16:creationId xmlns:a16="http://schemas.microsoft.com/office/drawing/2014/main" id="{EB1D16F9-9C36-4221-BE0D-0B2A67E63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54" y="3959"/>
                <a:ext cx="241" cy="277"/>
              </a:xfrm>
              <a:custGeom>
                <a:avLst/>
                <a:gdLst>
                  <a:gd name="T0" fmla="*/ 2 w 102"/>
                  <a:gd name="T1" fmla="*/ 117 h 117"/>
                  <a:gd name="T2" fmla="*/ 1 w 102"/>
                  <a:gd name="T3" fmla="*/ 117 h 117"/>
                  <a:gd name="T4" fmla="*/ 0 w 102"/>
                  <a:gd name="T5" fmla="*/ 115 h 117"/>
                  <a:gd name="T6" fmla="*/ 0 w 102"/>
                  <a:gd name="T7" fmla="*/ 59 h 117"/>
                  <a:gd name="T8" fmla="*/ 1 w 102"/>
                  <a:gd name="T9" fmla="*/ 57 h 117"/>
                  <a:gd name="T10" fmla="*/ 99 w 102"/>
                  <a:gd name="T11" fmla="*/ 1 h 117"/>
                  <a:gd name="T12" fmla="*/ 101 w 102"/>
                  <a:gd name="T13" fmla="*/ 1 h 117"/>
                  <a:gd name="T14" fmla="*/ 102 w 102"/>
                  <a:gd name="T15" fmla="*/ 2 h 117"/>
                  <a:gd name="T16" fmla="*/ 102 w 102"/>
                  <a:gd name="T17" fmla="*/ 58 h 117"/>
                  <a:gd name="T18" fmla="*/ 101 w 102"/>
                  <a:gd name="T19" fmla="*/ 60 h 117"/>
                  <a:gd name="T20" fmla="*/ 3 w 102"/>
                  <a:gd name="T21" fmla="*/ 117 h 117"/>
                  <a:gd name="T22" fmla="*/ 2 w 102"/>
                  <a:gd name="T23" fmla="*/ 117 h 117"/>
                  <a:gd name="T24" fmla="*/ 4 w 102"/>
                  <a:gd name="T25" fmla="*/ 60 h 117"/>
                  <a:gd name="T26" fmla="*/ 4 w 102"/>
                  <a:gd name="T27" fmla="*/ 112 h 117"/>
                  <a:gd name="T28" fmla="*/ 98 w 102"/>
                  <a:gd name="T29" fmla="*/ 57 h 117"/>
                  <a:gd name="T30" fmla="*/ 98 w 102"/>
                  <a:gd name="T31" fmla="*/ 6 h 117"/>
                  <a:gd name="T32" fmla="*/ 4 w 102"/>
                  <a:gd name="T33" fmla="*/ 6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2" h="117">
                    <a:moveTo>
                      <a:pt x="2" y="117"/>
                    </a:moveTo>
                    <a:cubicBezTo>
                      <a:pt x="1" y="117"/>
                      <a:pt x="1" y="117"/>
                      <a:pt x="1" y="117"/>
                    </a:cubicBezTo>
                    <a:cubicBezTo>
                      <a:pt x="0" y="117"/>
                      <a:pt x="0" y="116"/>
                      <a:pt x="0" y="11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8"/>
                      <a:pt x="0" y="58"/>
                      <a:pt x="1" y="57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0"/>
                      <a:pt x="100" y="0"/>
                      <a:pt x="101" y="1"/>
                    </a:cubicBezTo>
                    <a:cubicBezTo>
                      <a:pt x="101" y="1"/>
                      <a:pt x="102" y="2"/>
                      <a:pt x="102" y="2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2" y="59"/>
                      <a:pt x="101" y="60"/>
                      <a:pt x="101" y="60"/>
                    </a:cubicBezTo>
                    <a:cubicBezTo>
                      <a:pt x="3" y="117"/>
                      <a:pt x="3" y="117"/>
                      <a:pt x="3" y="117"/>
                    </a:cubicBezTo>
                    <a:cubicBezTo>
                      <a:pt x="2" y="117"/>
                      <a:pt x="2" y="117"/>
                      <a:pt x="2" y="117"/>
                    </a:cubicBezTo>
                    <a:close/>
                    <a:moveTo>
                      <a:pt x="4" y="60"/>
                    </a:moveTo>
                    <a:cubicBezTo>
                      <a:pt x="4" y="112"/>
                      <a:pt x="4" y="112"/>
                      <a:pt x="4" y="112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8" y="6"/>
                      <a:pt x="98" y="6"/>
                      <a:pt x="98" y="6"/>
                    </a:cubicBezTo>
                    <a:lnTo>
                      <a:pt x="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Freeform 1083">
                <a:extLst>
                  <a:ext uri="{FF2B5EF4-FFF2-40B4-BE49-F238E27FC236}">
                    <a16:creationId xmlns:a16="http://schemas.microsoft.com/office/drawing/2014/main" id="{D3A0FF7D-E578-48EF-897A-22E7C719D7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3820"/>
                <a:ext cx="293" cy="279"/>
              </a:xfrm>
              <a:custGeom>
                <a:avLst/>
                <a:gdLst>
                  <a:gd name="T0" fmla="*/ 24 w 124"/>
                  <a:gd name="T1" fmla="*/ 118 h 118"/>
                  <a:gd name="T2" fmla="*/ 23 w 124"/>
                  <a:gd name="T3" fmla="*/ 118 h 118"/>
                  <a:gd name="T4" fmla="*/ 22 w 124"/>
                  <a:gd name="T5" fmla="*/ 116 h 118"/>
                  <a:gd name="T6" fmla="*/ 22 w 124"/>
                  <a:gd name="T7" fmla="*/ 102 h 118"/>
                  <a:gd name="T8" fmla="*/ 1 w 124"/>
                  <a:gd name="T9" fmla="*/ 91 h 118"/>
                  <a:gd name="T10" fmla="*/ 0 w 124"/>
                  <a:gd name="T11" fmla="*/ 89 h 118"/>
                  <a:gd name="T12" fmla="*/ 0 w 124"/>
                  <a:gd name="T13" fmla="*/ 48 h 118"/>
                  <a:gd name="T14" fmla="*/ 1 w 124"/>
                  <a:gd name="T15" fmla="*/ 47 h 118"/>
                  <a:gd name="T16" fmla="*/ 81 w 124"/>
                  <a:gd name="T17" fmla="*/ 0 h 118"/>
                  <a:gd name="T18" fmla="*/ 83 w 124"/>
                  <a:gd name="T19" fmla="*/ 0 h 118"/>
                  <a:gd name="T20" fmla="*/ 123 w 124"/>
                  <a:gd name="T21" fmla="*/ 23 h 118"/>
                  <a:gd name="T22" fmla="*/ 124 w 124"/>
                  <a:gd name="T23" fmla="*/ 25 h 118"/>
                  <a:gd name="T24" fmla="*/ 124 w 124"/>
                  <a:gd name="T25" fmla="*/ 60 h 118"/>
                  <a:gd name="T26" fmla="*/ 123 w 124"/>
                  <a:gd name="T27" fmla="*/ 61 h 118"/>
                  <a:gd name="T28" fmla="*/ 25 w 124"/>
                  <a:gd name="T29" fmla="*/ 118 h 118"/>
                  <a:gd name="T30" fmla="*/ 24 w 124"/>
                  <a:gd name="T31" fmla="*/ 118 h 118"/>
                  <a:gd name="T32" fmla="*/ 4 w 124"/>
                  <a:gd name="T33" fmla="*/ 88 h 118"/>
                  <a:gd name="T34" fmla="*/ 25 w 124"/>
                  <a:gd name="T35" fmla="*/ 100 h 118"/>
                  <a:gd name="T36" fmla="*/ 26 w 124"/>
                  <a:gd name="T37" fmla="*/ 101 h 118"/>
                  <a:gd name="T38" fmla="*/ 26 w 124"/>
                  <a:gd name="T39" fmla="*/ 113 h 118"/>
                  <a:gd name="T40" fmla="*/ 120 w 124"/>
                  <a:gd name="T41" fmla="*/ 58 h 118"/>
                  <a:gd name="T42" fmla="*/ 120 w 124"/>
                  <a:gd name="T43" fmla="*/ 26 h 118"/>
                  <a:gd name="T44" fmla="*/ 82 w 124"/>
                  <a:gd name="T45" fmla="*/ 4 h 118"/>
                  <a:gd name="T46" fmla="*/ 4 w 124"/>
                  <a:gd name="T47" fmla="*/ 50 h 118"/>
                  <a:gd name="T48" fmla="*/ 4 w 124"/>
                  <a:gd name="T49" fmla="*/ 8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118">
                    <a:moveTo>
                      <a:pt x="24" y="118"/>
                    </a:moveTo>
                    <a:cubicBezTo>
                      <a:pt x="23" y="118"/>
                      <a:pt x="23" y="118"/>
                      <a:pt x="23" y="118"/>
                    </a:cubicBezTo>
                    <a:cubicBezTo>
                      <a:pt x="22" y="118"/>
                      <a:pt x="22" y="117"/>
                      <a:pt x="22" y="116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1" y="91"/>
                      <a:pt x="1" y="91"/>
                      <a:pt x="1" y="91"/>
                    </a:cubicBezTo>
                    <a:cubicBezTo>
                      <a:pt x="1" y="90"/>
                      <a:pt x="0" y="90"/>
                      <a:pt x="0" y="8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1" y="47"/>
                      <a:pt x="1" y="47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2" y="0"/>
                      <a:pt x="83" y="0"/>
                      <a:pt x="83" y="0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4" y="24"/>
                      <a:pt x="124" y="25"/>
                    </a:cubicBezTo>
                    <a:cubicBezTo>
                      <a:pt x="124" y="60"/>
                      <a:pt x="124" y="60"/>
                      <a:pt x="124" y="60"/>
                    </a:cubicBezTo>
                    <a:cubicBezTo>
                      <a:pt x="124" y="60"/>
                      <a:pt x="123" y="61"/>
                      <a:pt x="123" y="61"/>
                    </a:cubicBezTo>
                    <a:cubicBezTo>
                      <a:pt x="25" y="118"/>
                      <a:pt x="25" y="118"/>
                      <a:pt x="25" y="118"/>
                    </a:cubicBezTo>
                    <a:cubicBezTo>
                      <a:pt x="24" y="118"/>
                      <a:pt x="24" y="118"/>
                      <a:pt x="24" y="118"/>
                    </a:cubicBezTo>
                    <a:close/>
                    <a:moveTo>
                      <a:pt x="4" y="88"/>
                    </a:move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6" y="101"/>
                      <a:pt x="26" y="101"/>
                    </a:cubicBezTo>
                    <a:cubicBezTo>
                      <a:pt x="26" y="113"/>
                      <a:pt x="26" y="113"/>
                      <a:pt x="26" y="113"/>
                    </a:cubicBezTo>
                    <a:cubicBezTo>
                      <a:pt x="120" y="58"/>
                      <a:pt x="120" y="58"/>
                      <a:pt x="120" y="58"/>
                    </a:cubicBezTo>
                    <a:cubicBezTo>
                      <a:pt x="120" y="26"/>
                      <a:pt x="120" y="26"/>
                      <a:pt x="120" y="26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4" y="50"/>
                      <a:pt x="4" y="50"/>
                      <a:pt x="4" y="50"/>
                    </a:cubicBezTo>
                    <a:lnTo>
                      <a:pt x="4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6" name="Freeform 1084">
                <a:extLst>
                  <a:ext uri="{FF2B5EF4-FFF2-40B4-BE49-F238E27FC236}">
                    <a16:creationId xmlns:a16="http://schemas.microsoft.com/office/drawing/2014/main" id="{99AABA87-965B-4B08-A9FE-6D61E4B37C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3893"/>
                <a:ext cx="267" cy="185"/>
              </a:xfrm>
              <a:custGeom>
                <a:avLst/>
                <a:gdLst>
                  <a:gd name="T0" fmla="*/ 111 w 113"/>
                  <a:gd name="T1" fmla="*/ 78 h 78"/>
                  <a:gd name="T2" fmla="*/ 110 w 113"/>
                  <a:gd name="T3" fmla="*/ 78 h 78"/>
                  <a:gd name="T4" fmla="*/ 1 w 113"/>
                  <a:gd name="T5" fmla="*/ 15 h 78"/>
                  <a:gd name="T6" fmla="*/ 0 w 113"/>
                  <a:gd name="T7" fmla="*/ 13 h 78"/>
                  <a:gd name="T8" fmla="*/ 0 w 113"/>
                  <a:gd name="T9" fmla="*/ 9 h 78"/>
                  <a:gd name="T10" fmla="*/ 1 w 113"/>
                  <a:gd name="T11" fmla="*/ 7 h 78"/>
                  <a:gd name="T12" fmla="*/ 12 w 113"/>
                  <a:gd name="T13" fmla="*/ 1 h 78"/>
                  <a:gd name="T14" fmla="*/ 14 w 113"/>
                  <a:gd name="T15" fmla="*/ 1 h 78"/>
                  <a:gd name="T16" fmla="*/ 112 w 113"/>
                  <a:gd name="T17" fmla="*/ 57 h 78"/>
                  <a:gd name="T18" fmla="*/ 113 w 113"/>
                  <a:gd name="T19" fmla="*/ 59 h 78"/>
                  <a:gd name="T20" fmla="*/ 113 w 113"/>
                  <a:gd name="T21" fmla="*/ 76 h 78"/>
                  <a:gd name="T22" fmla="*/ 112 w 113"/>
                  <a:gd name="T23" fmla="*/ 78 h 78"/>
                  <a:gd name="T24" fmla="*/ 111 w 113"/>
                  <a:gd name="T25" fmla="*/ 78 h 78"/>
                  <a:gd name="T26" fmla="*/ 4 w 113"/>
                  <a:gd name="T27" fmla="*/ 12 h 78"/>
                  <a:gd name="T28" fmla="*/ 109 w 113"/>
                  <a:gd name="T29" fmla="*/ 73 h 78"/>
                  <a:gd name="T30" fmla="*/ 109 w 113"/>
                  <a:gd name="T31" fmla="*/ 60 h 78"/>
                  <a:gd name="T32" fmla="*/ 13 w 113"/>
                  <a:gd name="T33" fmla="*/ 5 h 78"/>
                  <a:gd name="T34" fmla="*/ 4 w 113"/>
                  <a:gd name="T35" fmla="*/ 10 h 78"/>
                  <a:gd name="T36" fmla="*/ 4 w 113"/>
                  <a:gd name="T37" fmla="*/ 1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3" h="78">
                    <a:moveTo>
                      <a:pt x="111" y="78"/>
                    </a:moveTo>
                    <a:cubicBezTo>
                      <a:pt x="110" y="78"/>
                      <a:pt x="110" y="78"/>
                      <a:pt x="110" y="78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8"/>
                      <a:pt x="1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3" y="0"/>
                      <a:pt x="14" y="1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2" y="58"/>
                      <a:pt x="113" y="58"/>
                      <a:pt x="113" y="59"/>
                    </a:cubicBezTo>
                    <a:cubicBezTo>
                      <a:pt x="113" y="76"/>
                      <a:pt x="113" y="76"/>
                      <a:pt x="113" y="76"/>
                    </a:cubicBezTo>
                    <a:cubicBezTo>
                      <a:pt x="113" y="77"/>
                      <a:pt x="112" y="78"/>
                      <a:pt x="112" y="78"/>
                    </a:cubicBezTo>
                    <a:cubicBezTo>
                      <a:pt x="111" y="78"/>
                      <a:pt x="111" y="78"/>
                      <a:pt x="111" y="78"/>
                    </a:cubicBezTo>
                    <a:close/>
                    <a:moveTo>
                      <a:pt x="4" y="12"/>
                    </a:moveTo>
                    <a:cubicBezTo>
                      <a:pt x="109" y="73"/>
                      <a:pt x="109" y="73"/>
                      <a:pt x="109" y="73"/>
                    </a:cubicBezTo>
                    <a:cubicBezTo>
                      <a:pt x="109" y="60"/>
                      <a:pt x="109" y="60"/>
                      <a:pt x="109" y="60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Freeform 1085">
                <a:extLst>
                  <a:ext uri="{FF2B5EF4-FFF2-40B4-BE49-F238E27FC236}">
                    <a16:creationId xmlns:a16="http://schemas.microsoft.com/office/drawing/2014/main" id="{1D449A84-8C44-493D-AB9D-CA0009C5C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71" y="3735"/>
                <a:ext cx="427" cy="298"/>
              </a:xfrm>
              <a:custGeom>
                <a:avLst/>
                <a:gdLst>
                  <a:gd name="T0" fmla="*/ 99 w 181"/>
                  <a:gd name="T1" fmla="*/ 126 h 126"/>
                  <a:gd name="T2" fmla="*/ 98 w 181"/>
                  <a:gd name="T3" fmla="*/ 126 h 126"/>
                  <a:gd name="T4" fmla="*/ 1 w 181"/>
                  <a:gd name="T5" fmla="*/ 70 h 126"/>
                  <a:gd name="T6" fmla="*/ 0 w 181"/>
                  <a:gd name="T7" fmla="*/ 69 h 126"/>
                  <a:gd name="T8" fmla="*/ 1 w 181"/>
                  <a:gd name="T9" fmla="*/ 67 h 126"/>
                  <a:gd name="T10" fmla="*/ 117 w 181"/>
                  <a:gd name="T11" fmla="*/ 0 h 126"/>
                  <a:gd name="T12" fmla="*/ 119 w 181"/>
                  <a:gd name="T13" fmla="*/ 0 h 126"/>
                  <a:gd name="T14" fmla="*/ 180 w 181"/>
                  <a:gd name="T15" fmla="*/ 35 h 126"/>
                  <a:gd name="T16" fmla="*/ 181 w 181"/>
                  <a:gd name="T17" fmla="*/ 37 h 126"/>
                  <a:gd name="T18" fmla="*/ 180 w 181"/>
                  <a:gd name="T19" fmla="*/ 39 h 126"/>
                  <a:gd name="T20" fmla="*/ 101 w 181"/>
                  <a:gd name="T21" fmla="*/ 85 h 126"/>
                  <a:gd name="T22" fmla="*/ 101 w 181"/>
                  <a:gd name="T23" fmla="*/ 124 h 126"/>
                  <a:gd name="T24" fmla="*/ 100 w 181"/>
                  <a:gd name="T25" fmla="*/ 126 h 126"/>
                  <a:gd name="T26" fmla="*/ 99 w 181"/>
                  <a:gd name="T27" fmla="*/ 126 h 126"/>
                  <a:gd name="T28" fmla="*/ 6 w 181"/>
                  <a:gd name="T29" fmla="*/ 69 h 126"/>
                  <a:gd name="T30" fmla="*/ 97 w 181"/>
                  <a:gd name="T31" fmla="*/ 121 h 126"/>
                  <a:gd name="T32" fmla="*/ 97 w 181"/>
                  <a:gd name="T33" fmla="*/ 83 h 126"/>
                  <a:gd name="T34" fmla="*/ 98 w 181"/>
                  <a:gd name="T35" fmla="*/ 82 h 126"/>
                  <a:gd name="T36" fmla="*/ 175 w 181"/>
                  <a:gd name="T37" fmla="*/ 37 h 126"/>
                  <a:gd name="T38" fmla="*/ 118 w 181"/>
                  <a:gd name="T39" fmla="*/ 4 h 126"/>
                  <a:gd name="T40" fmla="*/ 6 w 181"/>
                  <a:gd name="T41" fmla="*/ 69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1" h="126">
                    <a:moveTo>
                      <a:pt x="99" y="126"/>
                    </a:moveTo>
                    <a:cubicBezTo>
                      <a:pt x="98" y="126"/>
                      <a:pt x="98" y="126"/>
                      <a:pt x="98" y="126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0" y="69"/>
                      <a:pt x="0" y="69"/>
                    </a:cubicBezTo>
                    <a:cubicBezTo>
                      <a:pt x="0" y="68"/>
                      <a:pt x="1" y="67"/>
                      <a:pt x="1" y="67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118" y="0"/>
                      <a:pt x="118" y="0"/>
                      <a:pt x="119" y="0"/>
                    </a:cubicBezTo>
                    <a:cubicBezTo>
                      <a:pt x="180" y="35"/>
                      <a:pt x="180" y="35"/>
                      <a:pt x="180" y="35"/>
                    </a:cubicBezTo>
                    <a:cubicBezTo>
                      <a:pt x="180" y="36"/>
                      <a:pt x="181" y="36"/>
                      <a:pt x="181" y="37"/>
                    </a:cubicBezTo>
                    <a:cubicBezTo>
                      <a:pt x="181" y="38"/>
                      <a:pt x="180" y="38"/>
                      <a:pt x="180" y="39"/>
                    </a:cubicBezTo>
                    <a:cubicBezTo>
                      <a:pt x="101" y="85"/>
                      <a:pt x="101" y="85"/>
                      <a:pt x="101" y="85"/>
                    </a:cubicBezTo>
                    <a:cubicBezTo>
                      <a:pt x="101" y="124"/>
                      <a:pt x="101" y="124"/>
                      <a:pt x="101" y="124"/>
                    </a:cubicBezTo>
                    <a:cubicBezTo>
                      <a:pt x="101" y="125"/>
                      <a:pt x="100" y="125"/>
                      <a:pt x="100" y="126"/>
                    </a:cubicBezTo>
                    <a:cubicBezTo>
                      <a:pt x="99" y="126"/>
                      <a:pt x="99" y="126"/>
                      <a:pt x="99" y="126"/>
                    </a:cubicBezTo>
                    <a:close/>
                    <a:moveTo>
                      <a:pt x="6" y="69"/>
                    </a:moveTo>
                    <a:cubicBezTo>
                      <a:pt x="97" y="121"/>
                      <a:pt x="97" y="121"/>
                      <a:pt x="97" y="121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7" y="83"/>
                      <a:pt x="97" y="82"/>
                      <a:pt x="98" y="82"/>
                    </a:cubicBezTo>
                    <a:cubicBezTo>
                      <a:pt x="175" y="37"/>
                      <a:pt x="175" y="37"/>
                      <a:pt x="175" y="37"/>
                    </a:cubicBezTo>
                    <a:cubicBezTo>
                      <a:pt x="118" y="4"/>
                      <a:pt x="118" y="4"/>
                      <a:pt x="118" y="4"/>
                    </a:cubicBezTo>
                    <a:lnTo>
                      <a:pt x="6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Freeform 1086">
                <a:extLst>
                  <a:ext uri="{FF2B5EF4-FFF2-40B4-BE49-F238E27FC236}">
                    <a16:creationId xmlns:a16="http://schemas.microsoft.com/office/drawing/2014/main" id="{ABF8B6AF-CC1D-4C73-B1A0-F321038B63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96" y="3766"/>
                <a:ext cx="99" cy="113"/>
              </a:xfrm>
              <a:custGeom>
                <a:avLst/>
                <a:gdLst>
                  <a:gd name="T0" fmla="*/ 40 w 42"/>
                  <a:gd name="T1" fmla="*/ 48 h 48"/>
                  <a:gd name="T2" fmla="*/ 39 w 42"/>
                  <a:gd name="T3" fmla="*/ 48 h 48"/>
                  <a:gd name="T4" fmla="*/ 1 w 42"/>
                  <a:gd name="T5" fmla="*/ 26 h 48"/>
                  <a:gd name="T6" fmla="*/ 0 w 42"/>
                  <a:gd name="T7" fmla="*/ 24 h 48"/>
                  <a:gd name="T8" fmla="*/ 1 w 42"/>
                  <a:gd name="T9" fmla="*/ 22 h 48"/>
                  <a:gd name="T10" fmla="*/ 39 w 42"/>
                  <a:gd name="T11" fmla="*/ 1 h 48"/>
                  <a:gd name="T12" fmla="*/ 41 w 42"/>
                  <a:gd name="T13" fmla="*/ 1 h 48"/>
                  <a:gd name="T14" fmla="*/ 42 w 42"/>
                  <a:gd name="T15" fmla="*/ 2 h 48"/>
                  <a:gd name="T16" fmla="*/ 42 w 42"/>
                  <a:gd name="T17" fmla="*/ 46 h 48"/>
                  <a:gd name="T18" fmla="*/ 41 w 42"/>
                  <a:gd name="T19" fmla="*/ 48 h 48"/>
                  <a:gd name="T20" fmla="*/ 40 w 42"/>
                  <a:gd name="T21" fmla="*/ 48 h 48"/>
                  <a:gd name="T22" fmla="*/ 6 w 42"/>
                  <a:gd name="T23" fmla="*/ 24 h 48"/>
                  <a:gd name="T24" fmla="*/ 38 w 42"/>
                  <a:gd name="T25" fmla="*/ 42 h 48"/>
                  <a:gd name="T26" fmla="*/ 38 w 42"/>
                  <a:gd name="T27" fmla="*/ 6 h 48"/>
                  <a:gd name="T28" fmla="*/ 6 w 42"/>
                  <a:gd name="T29" fmla="*/ 2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48">
                    <a:moveTo>
                      <a:pt x="40" y="48"/>
                    </a:moveTo>
                    <a:cubicBezTo>
                      <a:pt x="39" y="48"/>
                      <a:pt x="39" y="48"/>
                      <a:pt x="39" y="48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5"/>
                      <a:pt x="0" y="25"/>
                      <a:pt x="0" y="24"/>
                    </a:cubicBezTo>
                    <a:cubicBezTo>
                      <a:pt x="0" y="23"/>
                      <a:pt x="0" y="23"/>
                      <a:pt x="1" y="22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0"/>
                      <a:pt x="40" y="0"/>
                      <a:pt x="41" y="1"/>
                    </a:cubicBezTo>
                    <a:cubicBezTo>
                      <a:pt x="41" y="1"/>
                      <a:pt x="42" y="2"/>
                      <a:pt x="42" y="2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7"/>
                      <a:pt x="41" y="47"/>
                      <a:pt x="41" y="48"/>
                    </a:cubicBezTo>
                    <a:cubicBezTo>
                      <a:pt x="40" y="48"/>
                      <a:pt x="40" y="48"/>
                      <a:pt x="40" y="48"/>
                    </a:cubicBezTo>
                    <a:close/>
                    <a:moveTo>
                      <a:pt x="6" y="24"/>
                    </a:move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6"/>
                      <a:pt x="38" y="6"/>
                      <a:pt x="38" y="6"/>
                    </a:cubicBezTo>
                    <a:lnTo>
                      <a:pt x="6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Freeform 1087">
                <a:extLst>
                  <a:ext uri="{FF2B5EF4-FFF2-40B4-BE49-F238E27FC236}">
                    <a16:creationId xmlns:a16="http://schemas.microsoft.com/office/drawing/2014/main" id="{F388BAD2-2AB7-45B0-A00F-97F50B69F0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26" y="3730"/>
                <a:ext cx="959" cy="700"/>
              </a:xfrm>
              <a:custGeom>
                <a:avLst/>
                <a:gdLst>
                  <a:gd name="T0" fmla="*/ 140 w 406"/>
                  <a:gd name="T1" fmla="*/ 295 h 296"/>
                  <a:gd name="T2" fmla="*/ 5 w 406"/>
                  <a:gd name="T3" fmla="*/ 216 h 296"/>
                  <a:gd name="T4" fmla="*/ 1 w 406"/>
                  <a:gd name="T5" fmla="*/ 82 h 296"/>
                  <a:gd name="T6" fmla="*/ 1 w 406"/>
                  <a:gd name="T7" fmla="*/ 78 h 296"/>
                  <a:gd name="T8" fmla="*/ 5 w 406"/>
                  <a:gd name="T9" fmla="*/ 62 h 296"/>
                  <a:gd name="T10" fmla="*/ 8 w 406"/>
                  <a:gd name="T11" fmla="*/ 60 h 296"/>
                  <a:gd name="T12" fmla="*/ 136 w 406"/>
                  <a:gd name="T13" fmla="*/ 0 h 296"/>
                  <a:gd name="T14" fmla="*/ 199 w 406"/>
                  <a:gd name="T15" fmla="*/ 36 h 296"/>
                  <a:gd name="T16" fmla="*/ 241 w 406"/>
                  <a:gd name="T17" fmla="*/ 13 h 296"/>
                  <a:gd name="T18" fmla="*/ 242 w 406"/>
                  <a:gd name="T19" fmla="*/ 61 h 296"/>
                  <a:gd name="T20" fmla="*/ 269 w 406"/>
                  <a:gd name="T21" fmla="*/ 62 h 296"/>
                  <a:gd name="T22" fmla="*/ 272 w 406"/>
                  <a:gd name="T23" fmla="*/ 60 h 296"/>
                  <a:gd name="T24" fmla="*/ 406 w 406"/>
                  <a:gd name="T25" fmla="*/ 139 h 296"/>
                  <a:gd name="T26" fmla="*/ 405 w 406"/>
                  <a:gd name="T27" fmla="*/ 295 h 296"/>
                  <a:gd name="T28" fmla="*/ 270 w 406"/>
                  <a:gd name="T29" fmla="*/ 218 h 296"/>
                  <a:gd name="T30" fmla="*/ 269 w 406"/>
                  <a:gd name="T31" fmla="*/ 84 h 296"/>
                  <a:gd name="T32" fmla="*/ 242 w 406"/>
                  <a:gd name="T33" fmla="*/ 156 h 296"/>
                  <a:gd name="T34" fmla="*/ 143 w 406"/>
                  <a:gd name="T35" fmla="*/ 215 h 296"/>
                  <a:gd name="T36" fmla="*/ 142 w 406"/>
                  <a:gd name="T37" fmla="*/ 295 h 296"/>
                  <a:gd name="T38" fmla="*/ 9 w 406"/>
                  <a:gd name="T39" fmla="*/ 215 h 296"/>
                  <a:gd name="T40" fmla="*/ 139 w 406"/>
                  <a:gd name="T41" fmla="*/ 214 h 296"/>
                  <a:gd name="T42" fmla="*/ 238 w 406"/>
                  <a:gd name="T43" fmla="*/ 155 h 296"/>
                  <a:gd name="T44" fmla="*/ 239 w 406"/>
                  <a:gd name="T45" fmla="*/ 97 h 296"/>
                  <a:gd name="T46" fmla="*/ 239 w 406"/>
                  <a:gd name="T47" fmla="*/ 64 h 296"/>
                  <a:gd name="T48" fmla="*/ 238 w 406"/>
                  <a:gd name="T49" fmla="*/ 18 h 296"/>
                  <a:gd name="T50" fmla="*/ 198 w 406"/>
                  <a:gd name="T51" fmla="*/ 40 h 296"/>
                  <a:gd name="T52" fmla="*/ 21 w 406"/>
                  <a:gd name="T53" fmla="*/ 71 h 296"/>
                  <a:gd name="T54" fmla="*/ 9 w 406"/>
                  <a:gd name="T55" fmla="*/ 66 h 296"/>
                  <a:gd name="T56" fmla="*/ 8 w 406"/>
                  <a:gd name="T57" fmla="*/ 79 h 296"/>
                  <a:gd name="T58" fmla="*/ 8 w 406"/>
                  <a:gd name="T59" fmla="*/ 81 h 296"/>
                  <a:gd name="T60" fmla="*/ 9 w 406"/>
                  <a:gd name="T61" fmla="*/ 215 h 296"/>
                  <a:gd name="T62" fmla="*/ 402 w 406"/>
                  <a:gd name="T63" fmla="*/ 290 h 296"/>
                  <a:gd name="T64" fmla="*/ 273 w 406"/>
                  <a:gd name="T65" fmla="*/ 66 h 296"/>
                  <a:gd name="T66" fmla="*/ 273 w 406"/>
                  <a:gd name="T67" fmla="*/ 80 h 296"/>
                  <a:gd name="T68" fmla="*/ 273 w 406"/>
                  <a:gd name="T69" fmla="*/ 215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06" h="296">
                    <a:moveTo>
                      <a:pt x="141" y="295"/>
                    </a:moveTo>
                    <a:cubicBezTo>
                      <a:pt x="140" y="295"/>
                      <a:pt x="140" y="295"/>
                      <a:pt x="140" y="295"/>
                    </a:cubicBezTo>
                    <a:cubicBezTo>
                      <a:pt x="6" y="218"/>
                      <a:pt x="6" y="218"/>
                      <a:pt x="6" y="218"/>
                    </a:cubicBezTo>
                    <a:cubicBezTo>
                      <a:pt x="5" y="218"/>
                      <a:pt x="5" y="217"/>
                      <a:pt x="5" y="216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0" y="82"/>
                      <a:pt x="0" y="81"/>
                      <a:pt x="0" y="80"/>
                    </a:cubicBezTo>
                    <a:cubicBezTo>
                      <a:pt x="0" y="79"/>
                      <a:pt x="0" y="79"/>
                      <a:pt x="1" y="78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61"/>
                      <a:pt x="5" y="61"/>
                      <a:pt x="6" y="60"/>
                    </a:cubicBezTo>
                    <a:cubicBezTo>
                      <a:pt x="7" y="60"/>
                      <a:pt x="7" y="60"/>
                      <a:pt x="8" y="60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37" y="0"/>
                      <a:pt x="137" y="0"/>
                      <a:pt x="138" y="0"/>
                    </a:cubicBezTo>
                    <a:cubicBezTo>
                      <a:pt x="199" y="36"/>
                      <a:pt x="199" y="36"/>
                      <a:pt x="199" y="36"/>
                    </a:cubicBezTo>
                    <a:cubicBezTo>
                      <a:pt x="239" y="13"/>
                      <a:pt x="239" y="13"/>
                      <a:pt x="239" y="13"/>
                    </a:cubicBezTo>
                    <a:cubicBezTo>
                      <a:pt x="240" y="12"/>
                      <a:pt x="241" y="12"/>
                      <a:pt x="241" y="13"/>
                    </a:cubicBezTo>
                    <a:cubicBezTo>
                      <a:pt x="242" y="13"/>
                      <a:pt x="242" y="14"/>
                      <a:pt x="242" y="14"/>
                    </a:cubicBezTo>
                    <a:cubicBezTo>
                      <a:pt x="242" y="61"/>
                      <a:pt x="242" y="61"/>
                      <a:pt x="242" y="61"/>
                    </a:cubicBezTo>
                    <a:cubicBezTo>
                      <a:pt x="269" y="76"/>
                      <a:pt x="269" y="76"/>
                      <a:pt x="269" y="76"/>
                    </a:cubicBezTo>
                    <a:cubicBezTo>
                      <a:pt x="269" y="62"/>
                      <a:pt x="269" y="62"/>
                      <a:pt x="269" y="62"/>
                    </a:cubicBezTo>
                    <a:cubicBezTo>
                      <a:pt x="269" y="61"/>
                      <a:pt x="269" y="61"/>
                      <a:pt x="270" y="60"/>
                    </a:cubicBezTo>
                    <a:cubicBezTo>
                      <a:pt x="270" y="60"/>
                      <a:pt x="271" y="60"/>
                      <a:pt x="272" y="60"/>
                    </a:cubicBezTo>
                    <a:cubicBezTo>
                      <a:pt x="405" y="138"/>
                      <a:pt x="405" y="138"/>
                      <a:pt x="405" y="138"/>
                    </a:cubicBezTo>
                    <a:cubicBezTo>
                      <a:pt x="406" y="138"/>
                      <a:pt x="406" y="139"/>
                      <a:pt x="406" y="139"/>
                    </a:cubicBezTo>
                    <a:cubicBezTo>
                      <a:pt x="406" y="293"/>
                      <a:pt x="406" y="293"/>
                      <a:pt x="406" y="293"/>
                    </a:cubicBezTo>
                    <a:cubicBezTo>
                      <a:pt x="406" y="294"/>
                      <a:pt x="406" y="295"/>
                      <a:pt x="405" y="295"/>
                    </a:cubicBezTo>
                    <a:cubicBezTo>
                      <a:pt x="405" y="296"/>
                      <a:pt x="404" y="296"/>
                      <a:pt x="403" y="295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69" y="218"/>
                      <a:pt x="269" y="217"/>
                      <a:pt x="269" y="216"/>
                    </a:cubicBezTo>
                    <a:cubicBezTo>
                      <a:pt x="269" y="84"/>
                      <a:pt x="269" y="84"/>
                      <a:pt x="269" y="84"/>
                    </a:cubicBezTo>
                    <a:cubicBezTo>
                      <a:pt x="242" y="100"/>
                      <a:pt x="242" y="100"/>
                      <a:pt x="242" y="100"/>
                    </a:cubicBezTo>
                    <a:cubicBezTo>
                      <a:pt x="242" y="156"/>
                      <a:pt x="242" y="156"/>
                      <a:pt x="242" y="156"/>
                    </a:cubicBezTo>
                    <a:cubicBezTo>
                      <a:pt x="242" y="157"/>
                      <a:pt x="242" y="158"/>
                      <a:pt x="241" y="158"/>
                    </a:cubicBezTo>
                    <a:cubicBezTo>
                      <a:pt x="143" y="215"/>
                      <a:pt x="143" y="215"/>
                      <a:pt x="143" y="215"/>
                    </a:cubicBezTo>
                    <a:cubicBezTo>
                      <a:pt x="143" y="293"/>
                      <a:pt x="143" y="293"/>
                      <a:pt x="143" y="293"/>
                    </a:cubicBezTo>
                    <a:cubicBezTo>
                      <a:pt x="143" y="294"/>
                      <a:pt x="142" y="295"/>
                      <a:pt x="142" y="295"/>
                    </a:cubicBezTo>
                    <a:cubicBezTo>
                      <a:pt x="141" y="295"/>
                      <a:pt x="141" y="295"/>
                      <a:pt x="141" y="295"/>
                    </a:cubicBezTo>
                    <a:close/>
                    <a:moveTo>
                      <a:pt x="9" y="215"/>
                    </a:moveTo>
                    <a:cubicBezTo>
                      <a:pt x="139" y="290"/>
                      <a:pt x="139" y="290"/>
                      <a:pt x="139" y="290"/>
                    </a:cubicBezTo>
                    <a:cubicBezTo>
                      <a:pt x="139" y="214"/>
                      <a:pt x="139" y="214"/>
                      <a:pt x="139" y="214"/>
                    </a:cubicBezTo>
                    <a:cubicBezTo>
                      <a:pt x="139" y="213"/>
                      <a:pt x="139" y="213"/>
                      <a:pt x="140" y="212"/>
                    </a:cubicBezTo>
                    <a:cubicBezTo>
                      <a:pt x="238" y="155"/>
                      <a:pt x="238" y="155"/>
                      <a:pt x="238" y="155"/>
                    </a:cubicBezTo>
                    <a:cubicBezTo>
                      <a:pt x="238" y="98"/>
                      <a:pt x="238" y="98"/>
                      <a:pt x="238" y="98"/>
                    </a:cubicBezTo>
                    <a:cubicBezTo>
                      <a:pt x="238" y="98"/>
                      <a:pt x="239" y="97"/>
                      <a:pt x="239" y="97"/>
                    </a:cubicBezTo>
                    <a:cubicBezTo>
                      <a:pt x="268" y="80"/>
                      <a:pt x="268" y="80"/>
                      <a:pt x="268" y="80"/>
                    </a:cubicBezTo>
                    <a:cubicBezTo>
                      <a:pt x="239" y="64"/>
                      <a:pt x="239" y="64"/>
                      <a:pt x="239" y="64"/>
                    </a:cubicBezTo>
                    <a:cubicBezTo>
                      <a:pt x="239" y="63"/>
                      <a:pt x="238" y="63"/>
                      <a:pt x="238" y="62"/>
                    </a:cubicBezTo>
                    <a:cubicBezTo>
                      <a:pt x="238" y="18"/>
                      <a:pt x="238" y="18"/>
                      <a:pt x="238" y="18"/>
                    </a:cubicBezTo>
                    <a:cubicBezTo>
                      <a:pt x="200" y="40"/>
                      <a:pt x="200" y="40"/>
                      <a:pt x="200" y="40"/>
                    </a:cubicBezTo>
                    <a:cubicBezTo>
                      <a:pt x="200" y="40"/>
                      <a:pt x="199" y="40"/>
                      <a:pt x="198" y="40"/>
                    </a:cubicBezTo>
                    <a:cubicBezTo>
                      <a:pt x="137" y="4"/>
                      <a:pt x="137" y="4"/>
                      <a:pt x="137" y="4"/>
                    </a:cubicBezTo>
                    <a:cubicBezTo>
                      <a:pt x="21" y="71"/>
                      <a:pt x="21" y="71"/>
                      <a:pt x="21" y="71"/>
                    </a:cubicBezTo>
                    <a:cubicBezTo>
                      <a:pt x="20" y="72"/>
                      <a:pt x="19" y="72"/>
                      <a:pt x="19" y="71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9" y="78"/>
                      <a:pt x="9" y="78"/>
                      <a:pt x="8" y="79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8" y="81"/>
                      <a:pt x="8" y="81"/>
                      <a:pt x="8" y="81"/>
                    </a:cubicBezTo>
                    <a:cubicBezTo>
                      <a:pt x="9" y="82"/>
                      <a:pt x="9" y="82"/>
                      <a:pt x="9" y="83"/>
                    </a:cubicBezTo>
                    <a:lnTo>
                      <a:pt x="9" y="215"/>
                    </a:lnTo>
                    <a:close/>
                    <a:moveTo>
                      <a:pt x="273" y="215"/>
                    </a:moveTo>
                    <a:cubicBezTo>
                      <a:pt x="402" y="290"/>
                      <a:pt x="402" y="290"/>
                      <a:pt x="402" y="290"/>
                    </a:cubicBezTo>
                    <a:cubicBezTo>
                      <a:pt x="402" y="140"/>
                      <a:pt x="402" y="140"/>
                      <a:pt x="402" y="140"/>
                    </a:cubicBezTo>
                    <a:cubicBezTo>
                      <a:pt x="273" y="66"/>
                      <a:pt x="273" y="66"/>
                      <a:pt x="273" y="66"/>
                    </a:cubicBezTo>
                    <a:cubicBezTo>
                      <a:pt x="273" y="79"/>
                      <a:pt x="273" y="79"/>
                      <a:pt x="273" y="79"/>
                    </a:cubicBezTo>
                    <a:cubicBezTo>
                      <a:pt x="273" y="80"/>
                      <a:pt x="273" y="80"/>
                      <a:pt x="273" y="80"/>
                    </a:cubicBezTo>
                    <a:cubicBezTo>
                      <a:pt x="273" y="80"/>
                      <a:pt x="273" y="81"/>
                      <a:pt x="273" y="81"/>
                    </a:cubicBezTo>
                    <a:lnTo>
                      <a:pt x="273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Freeform 1088">
                <a:extLst>
                  <a:ext uri="{FF2B5EF4-FFF2-40B4-BE49-F238E27FC236}">
                    <a16:creationId xmlns:a16="http://schemas.microsoft.com/office/drawing/2014/main" id="{C3C3582C-0E63-4B2E-99FC-B9E302FAEE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02" y="4030"/>
                <a:ext cx="57" cy="74"/>
              </a:xfrm>
              <a:custGeom>
                <a:avLst/>
                <a:gdLst>
                  <a:gd name="T0" fmla="*/ 20 w 24"/>
                  <a:gd name="T1" fmla="*/ 31 h 31"/>
                  <a:gd name="T2" fmla="*/ 19 w 24"/>
                  <a:gd name="T3" fmla="*/ 31 h 31"/>
                  <a:gd name="T4" fmla="*/ 1 w 24"/>
                  <a:gd name="T5" fmla="*/ 21 h 31"/>
                  <a:gd name="T6" fmla="*/ 0 w 24"/>
                  <a:gd name="T7" fmla="*/ 19 h 31"/>
                  <a:gd name="T8" fmla="*/ 0 w 24"/>
                  <a:gd name="T9" fmla="*/ 2 h 31"/>
                  <a:gd name="T10" fmla="*/ 1 w 24"/>
                  <a:gd name="T11" fmla="*/ 0 h 31"/>
                  <a:gd name="T12" fmla="*/ 3 w 24"/>
                  <a:gd name="T13" fmla="*/ 0 h 31"/>
                  <a:gd name="T14" fmla="*/ 23 w 24"/>
                  <a:gd name="T15" fmla="*/ 12 h 31"/>
                  <a:gd name="T16" fmla="*/ 24 w 24"/>
                  <a:gd name="T17" fmla="*/ 13 h 31"/>
                  <a:gd name="T18" fmla="*/ 24 w 24"/>
                  <a:gd name="T19" fmla="*/ 28 h 31"/>
                  <a:gd name="T20" fmla="*/ 23 w 24"/>
                  <a:gd name="T21" fmla="*/ 30 h 31"/>
                  <a:gd name="T22" fmla="*/ 21 w 24"/>
                  <a:gd name="T23" fmla="*/ 31 h 31"/>
                  <a:gd name="T24" fmla="*/ 20 w 24"/>
                  <a:gd name="T25" fmla="*/ 31 h 31"/>
                  <a:gd name="T26" fmla="*/ 22 w 24"/>
                  <a:gd name="T27" fmla="*/ 28 h 31"/>
                  <a:gd name="T28" fmla="*/ 22 w 24"/>
                  <a:gd name="T29" fmla="*/ 28 h 31"/>
                  <a:gd name="T30" fmla="*/ 4 w 24"/>
                  <a:gd name="T31" fmla="*/ 18 h 31"/>
                  <a:gd name="T32" fmla="*/ 20 w 24"/>
                  <a:gd name="T33" fmla="*/ 27 h 31"/>
                  <a:gd name="T34" fmla="*/ 20 w 24"/>
                  <a:gd name="T35" fmla="*/ 14 h 31"/>
                  <a:gd name="T36" fmla="*/ 4 w 24"/>
                  <a:gd name="T37" fmla="*/ 5 h 31"/>
                  <a:gd name="T38" fmla="*/ 4 w 24"/>
                  <a:gd name="T3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31">
                    <a:moveTo>
                      <a:pt x="20" y="31"/>
                    </a:moveTo>
                    <a:cubicBezTo>
                      <a:pt x="20" y="31"/>
                      <a:pt x="19" y="31"/>
                      <a:pt x="19" y="3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0"/>
                      <a:pt x="0" y="20"/>
                      <a:pt x="0" y="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3" y="12"/>
                      <a:pt x="24" y="13"/>
                      <a:pt x="24" y="13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9"/>
                      <a:pt x="23" y="30"/>
                      <a:pt x="23" y="30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0" y="31"/>
                      <a:pt x="20" y="31"/>
                    </a:cubicBezTo>
                    <a:close/>
                    <a:moveTo>
                      <a:pt x="22" y="28"/>
                    </a:moveTo>
                    <a:cubicBezTo>
                      <a:pt x="22" y="28"/>
                      <a:pt x="22" y="28"/>
                      <a:pt x="22" y="28"/>
                    </a:cubicBezTo>
                    <a:close/>
                    <a:moveTo>
                      <a:pt x="4" y="18"/>
                    </a:moveTo>
                    <a:cubicBezTo>
                      <a:pt x="20" y="27"/>
                      <a:pt x="20" y="27"/>
                      <a:pt x="20" y="27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Freeform 1089">
                <a:extLst>
                  <a:ext uri="{FF2B5EF4-FFF2-40B4-BE49-F238E27FC236}">
                    <a16:creationId xmlns:a16="http://schemas.microsoft.com/office/drawing/2014/main" id="{000C13C6-AE22-42CA-876F-CB64BB34E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3924"/>
                <a:ext cx="317" cy="499"/>
              </a:xfrm>
              <a:custGeom>
                <a:avLst/>
                <a:gdLst>
                  <a:gd name="T0" fmla="*/ 132 w 134"/>
                  <a:gd name="T1" fmla="*/ 211 h 211"/>
                  <a:gd name="T2" fmla="*/ 131 w 134"/>
                  <a:gd name="T3" fmla="*/ 210 h 211"/>
                  <a:gd name="T4" fmla="*/ 1 w 134"/>
                  <a:gd name="T5" fmla="*/ 135 h 211"/>
                  <a:gd name="T6" fmla="*/ 0 w 134"/>
                  <a:gd name="T7" fmla="*/ 133 h 211"/>
                  <a:gd name="T8" fmla="*/ 0 w 134"/>
                  <a:gd name="T9" fmla="*/ 2 h 211"/>
                  <a:gd name="T10" fmla="*/ 1 w 134"/>
                  <a:gd name="T11" fmla="*/ 0 h 211"/>
                  <a:gd name="T12" fmla="*/ 3 w 134"/>
                  <a:gd name="T13" fmla="*/ 0 h 211"/>
                  <a:gd name="T14" fmla="*/ 112 w 134"/>
                  <a:gd name="T15" fmla="*/ 63 h 211"/>
                  <a:gd name="T16" fmla="*/ 113 w 134"/>
                  <a:gd name="T17" fmla="*/ 65 h 211"/>
                  <a:gd name="T18" fmla="*/ 113 w 134"/>
                  <a:gd name="T19" fmla="*/ 142 h 211"/>
                  <a:gd name="T20" fmla="*/ 131 w 134"/>
                  <a:gd name="T21" fmla="*/ 131 h 211"/>
                  <a:gd name="T22" fmla="*/ 133 w 134"/>
                  <a:gd name="T23" fmla="*/ 131 h 211"/>
                  <a:gd name="T24" fmla="*/ 134 w 134"/>
                  <a:gd name="T25" fmla="*/ 133 h 211"/>
                  <a:gd name="T26" fmla="*/ 134 w 134"/>
                  <a:gd name="T27" fmla="*/ 209 h 211"/>
                  <a:gd name="T28" fmla="*/ 133 w 134"/>
                  <a:gd name="T29" fmla="*/ 210 h 211"/>
                  <a:gd name="T30" fmla="*/ 132 w 134"/>
                  <a:gd name="T31" fmla="*/ 211 h 211"/>
                  <a:gd name="T32" fmla="*/ 4 w 134"/>
                  <a:gd name="T33" fmla="*/ 132 h 211"/>
                  <a:gd name="T34" fmla="*/ 130 w 134"/>
                  <a:gd name="T35" fmla="*/ 205 h 211"/>
                  <a:gd name="T36" fmla="*/ 130 w 134"/>
                  <a:gd name="T37" fmla="*/ 136 h 211"/>
                  <a:gd name="T38" fmla="*/ 112 w 134"/>
                  <a:gd name="T39" fmla="*/ 147 h 211"/>
                  <a:gd name="T40" fmla="*/ 110 w 134"/>
                  <a:gd name="T41" fmla="*/ 147 h 211"/>
                  <a:gd name="T42" fmla="*/ 109 w 134"/>
                  <a:gd name="T43" fmla="*/ 145 h 211"/>
                  <a:gd name="T44" fmla="*/ 109 w 134"/>
                  <a:gd name="T45" fmla="*/ 66 h 211"/>
                  <a:gd name="T46" fmla="*/ 4 w 134"/>
                  <a:gd name="T47" fmla="*/ 6 h 211"/>
                  <a:gd name="T48" fmla="*/ 4 w 134"/>
                  <a:gd name="T49" fmla="*/ 132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211">
                    <a:moveTo>
                      <a:pt x="132" y="211"/>
                    </a:moveTo>
                    <a:cubicBezTo>
                      <a:pt x="132" y="211"/>
                      <a:pt x="131" y="211"/>
                      <a:pt x="131" y="210"/>
                    </a:cubicBezTo>
                    <a:cubicBezTo>
                      <a:pt x="1" y="135"/>
                      <a:pt x="1" y="135"/>
                      <a:pt x="1" y="135"/>
                    </a:cubicBezTo>
                    <a:cubicBezTo>
                      <a:pt x="0" y="135"/>
                      <a:pt x="0" y="134"/>
                      <a:pt x="0" y="13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4"/>
                      <a:pt x="113" y="64"/>
                      <a:pt x="113" y="65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31" y="131"/>
                      <a:pt x="131" y="131"/>
                      <a:pt x="131" y="131"/>
                    </a:cubicBezTo>
                    <a:cubicBezTo>
                      <a:pt x="131" y="131"/>
                      <a:pt x="132" y="131"/>
                      <a:pt x="133" y="131"/>
                    </a:cubicBezTo>
                    <a:cubicBezTo>
                      <a:pt x="133" y="132"/>
                      <a:pt x="134" y="132"/>
                      <a:pt x="134" y="133"/>
                    </a:cubicBezTo>
                    <a:cubicBezTo>
                      <a:pt x="134" y="209"/>
                      <a:pt x="134" y="209"/>
                      <a:pt x="134" y="209"/>
                    </a:cubicBezTo>
                    <a:cubicBezTo>
                      <a:pt x="134" y="209"/>
                      <a:pt x="133" y="210"/>
                      <a:pt x="133" y="210"/>
                    </a:cubicBezTo>
                    <a:cubicBezTo>
                      <a:pt x="133" y="211"/>
                      <a:pt x="132" y="211"/>
                      <a:pt x="132" y="211"/>
                    </a:cubicBezTo>
                    <a:close/>
                    <a:moveTo>
                      <a:pt x="4" y="132"/>
                    </a:moveTo>
                    <a:cubicBezTo>
                      <a:pt x="130" y="205"/>
                      <a:pt x="130" y="205"/>
                      <a:pt x="130" y="205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12" y="147"/>
                      <a:pt x="112" y="147"/>
                      <a:pt x="112" y="147"/>
                    </a:cubicBezTo>
                    <a:cubicBezTo>
                      <a:pt x="111" y="147"/>
                      <a:pt x="110" y="147"/>
                      <a:pt x="110" y="147"/>
                    </a:cubicBezTo>
                    <a:cubicBezTo>
                      <a:pt x="109" y="147"/>
                      <a:pt x="109" y="146"/>
                      <a:pt x="109" y="145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Freeform 1090">
                <a:extLst>
                  <a:ext uri="{FF2B5EF4-FFF2-40B4-BE49-F238E27FC236}">
                    <a16:creationId xmlns:a16="http://schemas.microsoft.com/office/drawing/2014/main" id="{D8287AFB-534B-4408-92C4-F76AF301B7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88" y="3877"/>
                <a:ext cx="78" cy="87"/>
              </a:xfrm>
              <a:custGeom>
                <a:avLst/>
                <a:gdLst>
                  <a:gd name="T0" fmla="*/ 2 w 33"/>
                  <a:gd name="T1" fmla="*/ 37 h 37"/>
                  <a:gd name="T2" fmla="*/ 1 w 33"/>
                  <a:gd name="T3" fmla="*/ 36 h 37"/>
                  <a:gd name="T4" fmla="*/ 0 w 33"/>
                  <a:gd name="T5" fmla="*/ 35 h 37"/>
                  <a:gd name="T6" fmla="*/ 0 w 33"/>
                  <a:gd name="T7" fmla="*/ 2 h 37"/>
                  <a:gd name="T8" fmla="*/ 1 w 33"/>
                  <a:gd name="T9" fmla="*/ 0 h 37"/>
                  <a:gd name="T10" fmla="*/ 3 w 33"/>
                  <a:gd name="T11" fmla="*/ 0 h 37"/>
                  <a:gd name="T12" fmla="*/ 32 w 33"/>
                  <a:gd name="T13" fmla="*/ 16 h 37"/>
                  <a:gd name="T14" fmla="*/ 33 w 33"/>
                  <a:gd name="T15" fmla="*/ 18 h 37"/>
                  <a:gd name="T16" fmla="*/ 32 w 33"/>
                  <a:gd name="T17" fmla="*/ 20 h 37"/>
                  <a:gd name="T18" fmla="*/ 3 w 33"/>
                  <a:gd name="T19" fmla="*/ 36 h 37"/>
                  <a:gd name="T20" fmla="*/ 2 w 33"/>
                  <a:gd name="T21" fmla="*/ 37 h 37"/>
                  <a:gd name="T22" fmla="*/ 4 w 33"/>
                  <a:gd name="T23" fmla="*/ 5 h 37"/>
                  <a:gd name="T24" fmla="*/ 4 w 33"/>
                  <a:gd name="T25" fmla="*/ 31 h 37"/>
                  <a:gd name="T26" fmla="*/ 27 w 33"/>
                  <a:gd name="T27" fmla="*/ 18 h 37"/>
                  <a:gd name="T28" fmla="*/ 4 w 33"/>
                  <a:gd name="T29" fmla="*/ 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7">
                    <a:moveTo>
                      <a:pt x="2" y="37"/>
                    </a:moveTo>
                    <a:cubicBezTo>
                      <a:pt x="2" y="37"/>
                      <a:pt x="2" y="36"/>
                      <a:pt x="1" y="36"/>
                    </a:cubicBezTo>
                    <a:cubicBezTo>
                      <a:pt x="1" y="36"/>
                      <a:pt x="0" y="35"/>
                      <a:pt x="0" y="3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3" y="19"/>
                      <a:pt x="33" y="20"/>
                      <a:pt x="32" y="20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6"/>
                      <a:pt x="3" y="37"/>
                      <a:pt x="2" y="37"/>
                    </a:cubicBezTo>
                    <a:close/>
                    <a:moveTo>
                      <a:pt x="4" y="5"/>
                    </a:moveTo>
                    <a:cubicBezTo>
                      <a:pt x="4" y="31"/>
                      <a:pt x="4" y="31"/>
                      <a:pt x="4" y="31"/>
                    </a:cubicBezTo>
                    <a:cubicBezTo>
                      <a:pt x="27" y="18"/>
                      <a:pt x="27" y="18"/>
                      <a:pt x="27" y="18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Freeform 1091">
                <a:extLst>
                  <a:ext uri="{FF2B5EF4-FFF2-40B4-BE49-F238E27FC236}">
                    <a16:creationId xmlns:a16="http://schemas.microsoft.com/office/drawing/2014/main" id="{74156144-7C2C-4CAC-BD01-18BA7D6CE1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42" y="3879"/>
                <a:ext cx="31" cy="36"/>
              </a:xfrm>
              <a:custGeom>
                <a:avLst/>
                <a:gdLst>
                  <a:gd name="T0" fmla="*/ 2 w 13"/>
                  <a:gd name="T1" fmla="*/ 15 h 15"/>
                  <a:gd name="T2" fmla="*/ 1 w 13"/>
                  <a:gd name="T3" fmla="*/ 15 h 15"/>
                  <a:gd name="T4" fmla="*/ 0 w 13"/>
                  <a:gd name="T5" fmla="*/ 13 h 15"/>
                  <a:gd name="T6" fmla="*/ 0 w 13"/>
                  <a:gd name="T7" fmla="*/ 2 h 15"/>
                  <a:gd name="T8" fmla="*/ 1 w 13"/>
                  <a:gd name="T9" fmla="*/ 0 h 15"/>
                  <a:gd name="T10" fmla="*/ 3 w 13"/>
                  <a:gd name="T11" fmla="*/ 0 h 15"/>
                  <a:gd name="T12" fmla="*/ 12 w 13"/>
                  <a:gd name="T13" fmla="*/ 6 h 15"/>
                  <a:gd name="T14" fmla="*/ 13 w 13"/>
                  <a:gd name="T15" fmla="*/ 8 h 15"/>
                  <a:gd name="T16" fmla="*/ 12 w 13"/>
                  <a:gd name="T17" fmla="*/ 9 h 15"/>
                  <a:gd name="T18" fmla="*/ 3 w 13"/>
                  <a:gd name="T19" fmla="*/ 15 h 15"/>
                  <a:gd name="T20" fmla="*/ 2 w 13"/>
                  <a:gd name="T21" fmla="*/ 15 h 15"/>
                  <a:gd name="T22" fmla="*/ 4 w 13"/>
                  <a:gd name="T23" fmla="*/ 5 h 15"/>
                  <a:gd name="T24" fmla="*/ 4 w 13"/>
                  <a:gd name="T25" fmla="*/ 10 h 15"/>
                  <a:gd name="T26" fmla="*/ 7 w 13"/>
                  <a:gd name="T27" fmla="*/ 8 h 15"/>
                  <a:gd name="T28" fmla="*/ 4 w 13"/>
                  <a:gd name="T2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5">
                    <a:moveTo>
                      <a:pt x="2" y="15"/>
                    </a:move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3" y="6"/>
                      <a:pt x="13" y="7"/>
                      <a:pt x="13" y="8"/>
                    </a:cubicBezTo>
                    <a:cubicBezTo>
                      <a:pt x="13" y="8"/>
                      <a:pt x="13" y="9"/>
                      <a:pt x="12" y="9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2" y="15"/>
                      <a:pt x="2" y="15"/>
                    </a:cubicBezTo>
                    <a:close/>
                    <a:moveTo>
                      <a:pt x="4" y="5"/>
                    </a:moveTo>
                    <a:cubicBezTo>
                      <a:pt x="4" y="10"/>
                      <a:pt x="4" y="10"/>
                      <a:pt x="4" y="10"/>
                    </a:cubicBezTo>
                    <a:cubicBezTo>
                      <a:pt x="7" y="8"/>
                      <a:pt x="7" y="8"/>
                      <a:pt x="7" y="8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Freeform 1092">
                <a:extLst>
                  <a:ext uri="{FF2B5EF4-FFF2-40B4-BE49-F238E27FC236}">
                    <a16:creationId xmlns:a16="http://schemas.microsoft.com/office/drawing/2014/main" id="{552C2CAB-4257-4D10-AEB1-4D4FE5538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16" y="3418"/>
                <a:ext cx="382" cy="225"/>
              </a:xfrm>
              <a:custGeom>
                <a:avLst/>
                <a:gdLst>
                  <a:gd name="T0" fmla="*/ 81 w 162"/>
                  <a:gd name="T1" fmla="*/ 95 h 95"/>
                  <a:gd name="T2" fmla="*/ 80 w 162"/>
                  <a:gd name="T3" fmla="*/ 95 h 95"/>
                  <a:gd name="T4" fmla="*/ 1 w 162"/>
                  <a:gd name="T5" fmla="*/ 50 h 95"/>
                  <a:gd name="T6" fmla="*/ 0 w 162"/>
                  <a:gd name="T7" fmla="*/ 48 h 95"/>
                  <a:gd name="T8" fmla="*/ 1 w 162"/>
                  <a:gd name="T9" fmla="*/ 46 h 95"/>
                  <a:gd name="T10" fmla="*/ 80 w 162"/>
                  <a:gd name="T11" fmla="*/ 0 h 95"/>
                  <a:gd name="T12" fmla="*/ 82 w 162"/>
                  <a:gd name="T13" fmla="*/ 0 h 95"/>
                  <a:gd name="T14" fmla="*/ 161 w 162"/>
                  <a:gd name="T15" fmla="*/ 46 h 95"/>
                  <a:gd name="T16" fmla="*/ 162 w 162"/>
                  <a:gd name="T17" fmla="*/ 48 h 95"/>
                  <a:gd name="T18" fmla="*/ 161 w 162"/>
                  <a:gd name="T19" fmla="*/ 50 h 95"/>
                  <a:gd name="T20" fmla="*/ 82 w 162"/>
                  <a:gd name="T21" fmla="*/ 95 h 95"/>
                  <a:gd name="T22" fmla="*/ 81 w 162"/>
                  <a:gd name="T23" fmla="*/ 95 h 95"/>
                  <a:gd name="T24" fmla="*/ 6 w 162"/>
                  <a:gd name="T25" fmla="*/ 48 h 95"/>
                  <a:gd name="T26" fmla="*/ 81 w 162"/>
                  <a:gd name="T27" fmla="*/ 91 h 95"/>
                  <a:gd name="T28" fmla="*/ 156 w 162"/>
                  <a:gd name="T29" fmla="*/ 48 h 95"/>
                  <a:gd name="T30" fmla="*/ 81 w 162"/>
                  <a:gd name="T31" fmla="*/ 5 h 95"/>
                  <a:gd name="T32" fmla="*/ 6 w 162"/>
                  <a:gd name="T33" fmla="*/ 4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2" h="95">
                    <a:moveTo>
                      <a:pt x="81" y="95"/>
                    </a:moveTo>
                    <a:cubicBezTo>
                      <a:pt x="81" y="95"/>
                      <a:pt x="80" y="95"/>
                      <a:pt x="80" y="9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49"/>
                      <a:pt x="0" y="49"/>
                      <a:pt x="0" y="48"/>
                    </a:cubicBezTo>
                    <a:cubicBezTo>
                      <a:pt x="0" y="47"/>
                      <a:pt x="0" y="46"/>
                      <a:pt x="1" y="4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1" y="0"/>
                      <a:pt x="81" y="0"/>
                      <a:pt x="82" y="0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2" y="46"/>
                      <a:pt x="162" y="47"/>
                      <a:pt x="162" y="48"/>
                    </a:cubicBezTo>
                    <a:cubicBezTo>
                      <a:pt x="162" y="49"/>
                      <a:pt x="162" y="49"/>
                      <a:pt x="161" y="50"/>
                    </a:cubicBezTo>
                    <a:cubicBezTo>
                      <a:pt x="82" y="95"/>
                      <a:pt x="82" y="95"/>
                      <a:pt x="82" y="95"/>
                    </a:cubicBezTo>
                    <a:cubicBezTo>
                      <a:pt x="82" y="95"/>
                      <a:pt x="81" y="95"/>
                      <a:pt x="81" y="95"/>
                    </a:cubicBezTo>
                    <a:close/>
                    <a:moveTo>
                      <a:pt x="6" y="48"/>
                    </a:moveTo>
                    <a:cubicBezTo>
                      <a:pt x="81" y="91"/>
                      <a:pt x="81" y="91"/>
                      <a:pt x="81" y="91"/>
                    </a:cubicBezTo>
                    <a:cubicBezTo>
                      <a:pt x="156" y="48"/>
                      <a:pt x="156" y="48"/>
                      <a:pt x="156" y="48"/>
                    </a:cubicBezTo>
                    <a:cubicBezTo>
                      <a:pt x="81" y="5"/>
                      <a:pt x="81" y="5"/>
                      <a:pt x="81" y="5"/>
                    </a:cubicBezTo>
                    <a:lnTo>
                      <a:pt x="6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Freeform 1093">
                <a:extLst>
                  <a:ext uri="{FF2B5EF4-FFF2-40B4-BE49-F238E27FC236}">
                    <a16:creationId xmlns:a16="http://schemas.microsoft.com/office/drawing/2014/main" id="{EA576F47-B152-4F5C-A4FC-459F40AF65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23" y="3423"/>
                <a:ext cx="368" cy="218"/>
              </a:xfrm>
              <a:custGeom>
                <a:avLst/>
                <a:gdLst>
                  <a:gd name="T0" fmla="*/ 78 w 156"/>
                  <a:gd name="T1" fmla="*/ 92 h 92"/>
                  <a:gd name="T2" fmla="*/ 77 w 156"/>
                  <a:gd name="T3" fmla="*/ 91 h 92"/>
                  <a:gd name="T4" fmla="*/ 1 w 156"/>
                  <a:gd name="T5" fmla="*/ 48 h 92"/>
                  <a:gd name="T6" fmla="*/ 0 w 156"/>
                  <a:gd name="T7" fmla="*/ 46 h 92"/>
                  <a:gd name="T8" fmla="*/ 1 w 156"/>
                  <a:gd name="T9" fmla="*/ 44 h 92"/>
                  <a:gd name="T10" fmla="*/ 77 w 156"/>
                  <a:gd name="T11" fmla="*/ 0 h 92"/>
                  <a:gd name="T12" fmla="*/ 79 w 156"/>
                  <a:gd name="T13" fmla="*/ 0 h 92"/>
                  <a:gd name="T14" fmla="*/ 155 w 156"/>
                  <a:gd name="T15" fmla="*/ 44 h 92"/>
                  <a:gd name="T16" fmla="*/ 156 w 156"/>
                  <a:gd name="T17" fmla="*/ 46 h 92"/>
                  <a:gd name="T18" fmla="*/ 155 w 156"/>
                  <a:gd name="T19" fmla="*/ 48 h 92"/>
                  <a:gd name="T20" fmla="*/ 79 w 156"/>
                  <a:gd name="T21" fmla="*/ 91 h 92"/>
                  <a:gd name="T22" fmla="*/ 78 w 156"/>
                  <a:gd name="T23" fmla="*/ 92 h 92"/>
                  <a:gd name="T24" fmla="*/ 6 w 156"/>
                  <a:gd name="T25" fmla="*/ 46 h 92"/>
                  <a:gd name="T26" fmla="*/ 78 w 156"/>
                  <a:gd name="T27" fmla="*/ 87 h 92"/>
                  <a:gd name="T28" fmla="*/ 150 w 156"/>
                  <a:gd name="T29" fmla="*/ 46 h 92"/>
                  <a:gd name="T30" fmla="*/ 78 w 156"/>
                  <a:gd name="T31" fmla="*/ 4 h 92"/>
                  <a:gd name="T32" fmla="*/ 6 w 156"/>
                  <a:gd name="T33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6" h="92">
                    <a:moveTo>
                      <a:pt x="78" y="92"/>
                    </a:moveTo>
                    <a:cubicBezTo>
                      <a:pt x="78" y="92"/>
                      <a:pt x="77" y="91"/>
                      <a:pt x="77" y="91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7"/>
                      <a:pt x="0" y="47"/>
                      <a:pt x="0" y="46"/>
                    </a:cubicBezTo>
                    <a:cubicBezTo>
                      <a:pt x="0" y="45"/>
                      <a:pt x="1" y="44"/>
                      <a:pt x="1" y="44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8" y="0"/>
                      <a:pt x="78" y="0"/>
                      <a:pt x="79" y="0"/>
                    </a:cubicBezTo>
                    <a:cubicBezTo>
                      <a:pt x="155" y="44"/>
                      <a:pt x="155" y="44"/>
                      <a:pt x="155" y="44"/>
                    </a:cubicBezTo>
                    <a:cubicBezTo>
                      <a:pt x="155" y="44"/>
                      <a:pt x="156" y="45"/>
                      <a:pt x="156" y="46"/>
                    </a:cubicBezTo>
                    <a:cubicBezTo>
                      <a:pt x="156" y="47"/>
                      <a:pt x="155" y="47"/>
                      <a:pt x="155" y="48"/>
                    </a:cubicBezTo>
                    <a:cubicBezTo>
                      <a:pt x="79" y="91"/>
                      <a:pt x="79" y="91"/>
                      <a:pt x="79" y="91"/>
                    </a:cubicBezTo>
                    <a:cubicBezTo>
                      <a:pt x="79" y="91"/>
                      <a:pt x="78" y="92"/>
                      <a:pt x="78" y="92"/>
                    </a:cubicBezTo>
                    <a:close/>
                    <a:moveTo>
                      <a:pt x="6" y="46"/>
                    </a:moveTo>
                    <a:cubicBezTo>
                      <a:pt x="78" y="87"/>
                      <a:pt x="78" y="87"/>
                      <a:pt x="78" y="87"/>
                    </a:cubicBezTo>
                    <a:cubicBezTo>
                      <a:pt x="150" y="46"/>
                      <a:pt x="150" y="46"/>
                      <a:pt x="150" y="46"/>
                    </a:cubicBezTo>
                    <a:cubicBezTo>
                      <a:pt x="78" y="4"/>
                      <a:pt x="78" y="4"/>
                      <a:pt x="78" y="4"/>
                    </a:cubicBezTo>
                    <a:lnTo>
                      <a:pt x="6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Freeform 1094">
                <a:extLst>
                  <a:ext uri="{FF2B5EF4-FFF2-40B4-BE49-F238E27FC236}">
                    <a16:creationId xmlns:a16="http://schemas.microsoft.com/office/drawing/2014/main" id="{789A0ED5-8915-4385-A586-7E51E07CC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2724"/>
                <a:ext cx="40" cy="104"/>
              </a:xfrm>
              <a:custGeom>
                <a:avLst/>
                <a:gdLst>
                  <a:gd name="T0" fmla="*/ 8 w 17"/>
                  <a:gd name="T1" fmla="*/ 44 h 44"/>
                  <a:gd name="T2" fmla="*/ 7 w 17"/>
                  <a:gd name="T3" fmla="*/ 44 h 44"/>
                  <a:gd name="T4" fmla="*/ 1 w 17"/>
                  <a:gd name="T5" fmla="*/ 40 h 44"/>
                  <a:gd name="T6" fmla="*/ 0 w 17"/>
                  <a:gd name="T7" fmla="*/ 39 h 44"/>
                  <a:gd name="T8" fmla="*/ 0 w 17"/>
                  <a:gd name="T9" fmla="*/ 10 h 44"/>
                  <a:gd name="T10" fmla="*/ 1 w 17"/>
                  <a:gd name="T11" fmla="*/ 8 h 44"/>
                  <a:gd name="T12" fmla="*/ 14 w 17"/>
                  <a:gd name="T13" fmla="*/ 0 h 44"/>
                  <a:gd name="T14" fmla="*/ 16 w 17"/>
                  <a:gd name="T15" fmla="*/ 0 h 44"/>
                  <a:gd name="T16" fmla="*/ 17 w 17"/>
                  <a:gd name="T17" fmla="*/ 2 h 44"/>
                  <a:gd name="T18" fmla="*/ 17 w 17"/>
                  <a:gd name="T19" fmla="*/ 38 h 44"/>
                  <a:gd name="T20" fmla="*/ 16 w 17"/>
                  <a:gd name="T21" fmla="*/ 40 h 44"/>
                  <a:gd name="T22" fmla="*/ 9 w 17"/>
                  <a:gd name="T23" fmla="*/ 44 h 44"/>
                  <a:gd name="T24" fmla="*/ 8 w 17"/>
                  <a:gd name="T25" fmla="*/ 44 h 44"/>
                  <a:gd name="T26" fmla="*/ 4 w 17"/>
                  <a:gd name="T27" fmla="*/ 37 h 44"/>
                  <a:gd name="T28" fmla="*/ 8 w 17"/>
                  <a:gd name="T29" fmla="*/ 40 h 44"/>
                  <a:gd name="T30" fmla="*/ 13 w 17"/>
                  <a:gd name="T31" fmla="*/ 37 h 44"/>
                  <a:gd name="T32" fmla="*/ 13 w 17"/>
                  <a:gd name="T33" fmla="*/ 5 h 44"/>
                  <a:gd name="T34" fmla="*/ 4 w 17"/>
                  <a:gd name="T35" fmla="*/ 11 h 44"/>
                  <a:gd name="T36" fmla="*/ 4 w 17"/>
                  <a:gd name="T37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44">
                    <a:moveTo>
                      <a:pt x="8" y="44"/>
                    </a:moveTo>
                    <a:cubicBezTo>
                      <a:pt x="8" y="44"/>
                      <a:pt x="8" y="44"/>
                      <a:pt x="7" y="44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9"/>
                      <a:pt x="0" y="8"/>
                      <a:pt x="1" y="8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17" y="0"/>
                      <a:pt x="17" y="1"/>
                      <a:pt x="17" y="2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7" y="39"/>
                      <a:pt x="17" y="40"/>
                      <a:pt x="16" y="40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4"/>
                      <a:pt x="9" y="44"/>
                      <a:pt x="8" y="44"/>
                    </a:cubicBezTo>
                    <a:close/>
                    <a:moveTo>
                      <a:pt x="4" y="37"/>
                    </a:moveTo>
                    <a:cubicBezTo>
                      <a:pt x="8" y="40"/>
                      <a:pt x="8" y="40"/>
                      <a:pt x="8" y="40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4" y="11"/>
                      <a:pt x="4" y="11"/>
                      <a:pt x="4" y="11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Freeform 1095">
                <a:extLst>
                  <a:ext uri="{FF2B5EF4-FFF2-40B4-BE49-F238E27FC236}">
                    <a16:creationId xmlns:a16="http://schemas.microsoft.com/office/drawing/2014/main" id="{89A3A2B3-CCAA-46D3-82B4-271046C802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2703"/>
                <a:ext cx="40" cy="45"/>
              </a:xfrm>
              <a:custGeom>
                <a:avLst/>
                <a:gdLst>
                  <a:gd name="T0" fmla="*/ 2 w 17"/>
                  <a:gd name="T1" fmla="*/ 19 h 19"/>
                  <a:gd name="T2" fmla="*/ 1 w 17"/>
                  <a:gd name="T3" fmla="*/ 18 h 19"/>
                  <a:gd name="T4" fmla="*/ 0 w 17"/>
                  <a:gd name="T5" fmla="*/ 17 h 19"/>
                  <a:gd name="T6" fmla="*/ 0 w 17"/>
                  <a:gd name="T7" fmla="*/ 2 h 19"/>
                  <a:gd name="T8" fmla="*/ 1 w 17"/>
                  <a:gd name="T9" fmla="*/ 0 h 19"/>
                  <a:gd name="T10" fmla="*/ 3 w 17"/>
                  <a:gd name="T11" fmla="*/ 0 h 19"/>
                  <a:gd name="T12" fmla="*/ 16 w 17"/>
                  <a:gd name="T13" fmla="*/ 8 h 19"/>
                  <a:gd name="T14" fmla="*/ 17 w 17"/>
                  <a:gd name="T15" fmla="*/ 9 h 19"/>
                  <a:gd name="T16" fmla="*/ 16 w 17"/>
                  <a:gd name="T17" fmla="*/ 11 h 19"/>
                  <a:gd name="T18" fmla="*/ 3 w 17"/>
                  <a:gd name="T19" fmla="*/ 18 h 19"/>
                  <a:gd name="T20" fmla="*/ 2 w 17"/>
                  <a:gd name="T21" fmla="*/ 19 h 19"/>
                  <a:gd name="T22" fmla="*/ 4 w 17"/>
                  <a:gd name="T23" fmla="*/ 5 h 19"/>
                  <a:gd name="T24" fmla="*/ 4 w 17"/>
                  <a:gd name="T25" fmla="*/ 13 h 19"/>
                  <a:gd name="T26" fmla="*/ 11 w 17"/>
                  <a:gd name="T27" fmla="*/ 9 h 19"/>
                  <a:gd name="T28" fmla="*/ 4 w 17"/>
                  <a:gd name="T29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cubicBezTo>
                      <a:pt x="1" y="19"/>
                      <a:pt x="1" y="19"/>
                      <a:pt x="1" y="18"/>
                    </a:cubicBezTo>
                    <a:cubicBezTo>
                      <a:pt x="0" y="18"/>
                      <a:pt x="0" y="17"/>
                      <a:pt x="0" y="1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7" y="9"/>
                      <a:pt x="17" y="9"/>
                    </a:cubicBezTo>
                    <a:cubicBezTo>
                      <a:pt x="17" y="10"/>
                      <a:pt x="16" y="11"/>
                      <a:pt x="16" y="1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  <a:moveTo>
                      <a:pt x="4" y="5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1" y="9"/>
                      <a:pt x="11" y="9"/>
                      <a:pt x="11" y="9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Freeform 1096">
                <a:extLst>
                  <a:ext uri="{FF2B5EF4-FFF2-40B4-BE49-F238E27FC236}">
                    <a16:creationId xmlns:a16="http://schemas.microsoft.com/office/drawing/2014/main" id="{430DD085-57A5-482A-8F39-860EC96189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27" y="2724"/>
                <a:ext cx="83" cy="92"/>
              </a:xfrm>
              <a:custGeom>
                <a:avLst/>
                <a:gdLst>
                  <a:gd name="T0" fmla="*/ 2 w 35"/>
                  <a:gd name="T1" fmla="*/ 39 h 39"/>
                  <a:gd name="T2" fmla="*/ 1 w 35"/>
                  <a:gd name="T3" fmla="*/ 39 h 39"/>
                  <a:gd name="T4" fmla="*/ 0 w 35"/>
                  <a:gd name="T5" fmla="*/ 37 h 39"/>
                  <a:gd name="T6" fmla="*/ 0 w 35"/>
                  <a:gd name="T7" fmla="*/ 2 h 39"/>
                  <a:gd name="T8" fmla="*/ 1 w 35"/>
                  <a:gd name="T9" fmla="*/ 0 h 39"/>
                  <a:gd name="T10" fmla="*/ 3 w 35"/>
                  <a:gd name="T11" fmla="*/ 0 h 39"/>
                  <a:gd name="T12" fmla="*/ 34 w 35"/>
                  <a:gd name="T13" fmla="*/ 18 h 39"/>
                  <a:gd name="T14" fmla="*/ 35 w 35"/>
                  <a:gd name="T15" fmla="*/ 20 h 39"/>
                  <a:gd name="T16" fmla="*/ 34 w 35"/>
                  <a:gd name="T17" fmla="*/ 21 h 39"/>
                  <a:gd name="T18" fmla="*/ 3 w 35"/>
                  <a:gd name="T19" fmla="*/ 39 h 39"/>
                  <a:gd name="T20" fmla="*/ 2 w 35"/>
                  <a:gd name="T21" fmla="*/ 39 h 39"/>
                  <a:gd name="T22" fmla="*/ 4 w 35"/>
                  <a:gd name="T23" fmla="*/ 5 h 39"/>
                  <a:gd name="T24" fmla="*/ 4 w 35"/>
                  <a:gd name="T25" fmla="*/ 34 h 39"/>
                  <a:gd name="T26" fmla="*/ 29 w 35"/>
                  <a:gd name="T27" fmla="*/ 20 h 39"/>
                  <a:gd name="T28" fmla="*/ 4 w 35"/>
                  <a:gd name="T29" fmla="*/ 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9">
                    <a:moveTo>
                      <a:pt x="2" y="39"/>
                    </a:moveTo>
                    <a:cubicBezTo>
                      <a:pt x="2" y="39"/>
                      <a:pt x="1" y="39"/>
                      <a:pt x="1" y="39"/>
                    </a:cubicBezTo>
                    <a:cubicBezTo>
                      <a:pt x="0" y="39"/>
                      <a:pt x="0" y="38"/>
                      <a:pt x="0" y="3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5" y="18"/>
                      <a:pt x="35" y="19"/>
                      <a:pt x="35" y="20"/>
                    </a:cubicBezTo>
                    <a:cubicBezTo>
                      <a:pt x="35" y="20"/>
                      <a:pt x="35" y="21"/>
                      <a:pt x="34" y="21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2" y="39"/>
                      <a:pt x="2" y="39"/>
                    </a:cubicBezTo>
                    <a:close/>
                    <a:moveTo>
                      <a:pt x="4" y="5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29" y="20"/>
                      <a:pt x="29" y="20"/>
                      <a:pt x="29" y="20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Freeform 1097">
                <a:extLst>
                  <a:ext uri="{FF2B5EF4-FFF2-40B4-BE49-F238E27FC236}">
                    <a16:creationId xmlns:a16="http://schemas.microsoft.com/office/drawing/2014/main" id="{780688E9-4A25-46DB-8363-34F8374E9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2" y="2691"/>
                <a:ext cx="127" cy="83"/>
              </a:xfrm>
              <a:custGeom>
                <a:avLst/>
                <a:gdLst>
                  <a:gd name="T0" fmla="*/ 50 w 54"/>
                  <a:gd name="T1" fmla="*/ 35 h 35"/>
                  <a:gd name="T2" fmla="*/ 49 w 54"/>
                  <a:gd name="T3" fmla="*/ 34 h 35"/>
                  <a:gd name="T4" fmla="*/ 16 w 54"/>
                  <a:gd name="T5" fmla="*/ 16 h 35"/>
                  <a:gd name="T6" fmla="*/ 16 w 54"/>
                  <a:gd name="T7" fmla="*/ 15 h 35"/>
                  <a:gd name="T8" fmla="*/ 15 w 54"/>
                  <a:gd name="T9" fmla="*/ 15 h 35"/>
                  <a:gd name="T10" fmla="*/ 1 w 54"/>
                  <a:gd name="T11" fmla="*/ 7 h 35"/>
                  <a:gd name="T12" fmla="*/ 0 w 54"/>
                  <a:gd name="T13" fmla="*/ 5 h 35"/>
                  <a:gd name="T14" fmla="*/ 0 w 54"/>
                  <a:gd name="T15" fmla="*/ 2 h 35"/>
                  <a:gd name="T16" fmla="*/ 1 w 54"/>
                  <a:gd name="T17" fmla="*/ 1 h 35"/>
                  <a:gd name="T18" fmla="*/ 3 w 54"/>
                  <a:gd name="T19" fmla="*/ 1 h 35"/>
                  <a:gd name="T20" fmla="*/ 53 w 54"/>
                  <a:gd name="T21" fmla="*/ 30 h 35"/>
                  <a:gd name="T22" fmla="*/ 54 w 54"/>
                  <a:gd name="T23" fmla="*/ 31 h 35"/>
                  <a:gd name="T24" fmla="*/ 53 w 54"/>
                  <a:gd name="T25" fmla="*/ 33 h 35"/>
                  <a:gd name="T26" fmla="*/ 51 w 54"/>
                  <a:gd name="T27" fmla="*/ 34 h 35"/>
                  <a:gd name="T28" fmla="*/ 50 w 54"/>
                  <a:gd name="T2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35">
                    <a:moveTo>
                      <a:pt x="50" y="35"/>
                    </a:moveTo>
                    <a:cubicBezTo>
                      <a:pt x="49" y="35"/>
                      <a:pt x="49" y="35"/>
                      <a:pt x="49" y="3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5"/>
                      <a:pt x="16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30"/>
                      <a:pt x="54" y="31"/>
                      <a:pt x="54" y="31"/>
                    </a:cubicBezTo>
                    <a:cubicBezTo>
                      <a:pt x="54" y="32"/>
                      <a:pt x="53" y="33"/>
                      <a:pt x="53" y="33"/>
                    </a:cubicBezTo>
                    <a:cubicBezTo>
                      <a:pt x="51" y="34"/>
                      <a:pt x="51" y="34"/>
                      <a:pt x="51" y="34"/>
                    </a:cubicBezTo>
                    <a:cubicBezTo>
                      <a:pt x="50" y="35"/>
                      <a:pt x="50" y="35"/>
                      <a:pt x="50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0" name="Freeform 1098">
                <a:extLst>
                  <a:ext uri="{FF2B5EF4-FFF2-40B4-BE49-F238E27FC236}">
                    <a16:creationId xmlns:a16="http://schemas.microsoft.com/office/drawing/2014/main" id="{E49B7DB4-2E6B-41FC-888B-A9B53CAA2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11" y="2937"/>
                <a:ext cx="127" cy="77"/>
              </a:xfrm>
              <a:custGeom>
                <a:avLst/>
                <a:gdLst>
                  <a:gd name="T0" fmla="*/ 2 w 54"/>
                  <a:gd name="T1" fmla="*/ 33 h 33"/>
                  <a:gd name="T2" fmla="*/ 1 w 54"/>
                  <a:gd name="T3" fmla="*/ 32 h 33"/>
                  <a:gd name="T4" fmla="*/ 0 w 54"/>
                  <a:gd name="T5" fmla="*/ 31 h 33"/>
                  <a:gd name="T6" fmla="*/ 1 w 54"/>
                  <a:gd name="T7" fmla="*/ 29 h 33"/>
                  <a:gd name="T8" fmla="*/ 51 w 54"/>
                  <a:gd name="T9" fmla="*/ 0 h 33"/>
                  <a:gd name="T10" fmla="*/ 53 w 54"/>
                  <a:gd name="T11" fmla="*/ 0 h 33"/>
                  <a:gd name="T12" fmla="*/ 54 w 54"/>
                  <a:gd name="T13" fmla="*/ 2 h 33"/>
                  <a:gd name="T14" fmla="*/ 53 w 54"/>
                  <a:gd name="T15" fmla="*/ 4 h 33"/>
                  <a:gd name="T16" fmla="*/ 3 w 54"/>
                  <a:gd name="T17" fmla="*/ 32 h 33"/>
                  <a:gd name="T18" fmla="*/ 2 w 54"/>
                  <a:gd name="T1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33">
                    <a:moveTo>
                      <a:pt x="2" y="33"/>
                    </a:moveTo>
                    <a:cubicBezTo>
                      <a:pt x="2" y="33"/>
                      <a:pt x="2" y="33"/>
                      <a:pt x="1" y="32"/>
                    </a:cubicBezTo>
                    <a:cubicBezTo>
                      <a:pt x="1" y="32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2" y="0"/>
                      <a:pt x="53" y="0"/>
                    </a:cubicBezTo>
                    <a:cubicBezTo>
                      <a:pt x="53" y="0"/>
                      <a:pt x="54" y="1"/>
                      <a:pt x="54" y="2"/>
                    </a:cubicBezTo>
                    <a:cubicBezTo>
                      <a:pt x="54" y="3"/>
                      <a:pt x="54" y="3"/>
                      <a:pt x="53" y="4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33"/>
                      <a:pt x="3" y="33"/>
                      <a:pt x="2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Freeform 1099">
                <a:extLst>
                  <a:ext uri="{FF2B5EF4-FFF2-40B4-BE49-F238E27FC236}">
                    <a16:creationId xmlns:a16="http://schemas.microsoft.com/office/drawing/2014/main" id="{88E6B95F-B13D-45A0-B65B-36E184154B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79" y="2788"/>
                <a:ext cx="89" cy="182"/>
              </a:xfrm>
              <a:custGeom>
                <a:avLst/>
                <a:gdLst>
                  <a:gd name="T0" fmla="*/ 14 w 38"/>
                  <a:gd name="T1" fmla="*/ 77 h 77"/>
                  <a:gd name="T2" fmla="*/ 13 w 38"/>
                  <a:gd name="T3" fmla="*/ 76 h 77"/>
                  <a:gd name="T4" fmla="*/ 1 w 38"/>
                  <a:gd name="T5" fmla="*/ 69 h 77"/>
                  <a:gd name="T6" fmla="*/ 0 w 38"/>
                  <a:gd name="T7" fmla="*/ 67 h 77"/>
                  <a:gd name="T8" fmla="*/ 0 w 38"/>
                  <a:gd name="T9" fmla="*/ 10 h 77"/>
                  <a:gd name="T10" fmla="*/ 1 w 38"/>
                  <a:gd name="T11" fmla="*/ 9 h 77"/>
                  <a:gd name="T12" fmla="*/ 16 w 38"/>
                  <a:gd name="T13" fmla="*/ 0 h 77"/>
                  <a:gd name="T14" fmla="*/ 18 w 38"/>
                  <a:gd name="T15" fmla="*/ 0 h 77"/>
                  <a:gd name="T16" fmla="*/ 37 w 38"/>
                  <a:gd name="T17" fmla="*/ 11 h 77"/>
                  <a:gd name="T18" fmla="*/ 38 w 38"/>
                  <a:gd name="T19" fmla="*/ 13 h 77"/>
                  <a:gd name="T20" fmla="*/ 38 w 38"/>
                  <a:gd name="T21" fmla="*/ 62 h 77"/>
                  <a:gd name="T22" fmla="*/ 37 w 38"/>
                  <a:gd name="T23" fmla="*/ 64 h 77"/>
                  <a:gd name="T24" fmla="*/ 15 w 38"/>
                  <a:gd name="T25" fmla="*/ 76 h 77"/>
                  <a:gd name="T26" fmla="*/ 14 w 38"/>
                  <a:gd name="T27" fmla="*/ 77 h 77"/>
                  <a:gd name="T28" fmla="*/ 4 w 38"/>
                  <a:gd name="T29" fmla="*/ 66 h 77"/>
                  <a:gd name="T30" fmla="*/ 14 w 38"/>
                  <a:gd name="T31" fmla="*/ 72 h 77"/>
                  <a:gd name="T32" fmla="*/ 34 w 38"/>
                  <a:gd name="T33" fmla="*/ 61 h 77"/>
                  <a:gd name="T34" fmla="*/ 34 w 38"/>
                  <a:gd name="T35" fmla="*/ 14 h 77"/>
                  <a:gd name="T36" fmla="*/ 17 w 38"/>
                  <a:gd name="T37" fmla="*/ 4 h 77"/>
                  <a:gd name="T38" fmla="*/ 4 w 38"/>
                  <a:gd name="T39" fmla="*/ 12 h 77"/>
                  <a:gd name="T40" fmla="*/ 4 w 38"/>
                  <a:gd name="T41" fmla="*/ 6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77">
                    <a:moveTo>
                      <a:pt x="14" y="77"/>
                    </a:moveTo>
                    <a:cubicBezTo>
                      <a:pt x="14" y="77"/>
                      <a:pt x="14" y="76"/>
                      <a:pt x="13" y="76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0" y="69"/>
                      <a:pt x="0" y="68"/>
                      <a:pt x="0" y="6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9"/>
                      <a:pt x="1" y="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2"/>
                      <a:pt x="38" y="12"/>
                      <a:pt x="38" y="13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3"/>
                      <a:pt x="37" y="64"/>
                      <a:pt x="37" y="64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6"/>
                      <a:pt x="15" y="77"/>
                      <a:pt x="14" y="77"/>
                    </a:cubicBezTo>
                    <a:close/>
                    <a:moveTo>
                      <a:pt x="4" y="66"/>
                    </a:moveTo>
                    <a:cubicBezTo>
                      <a:pt x="14" y="72"/>
                      <a:pt x="14" y="72"/>
                      <a:pt x="14" y="72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4" y="12"/>
                      <a:pt x="4" y="12"/>
                      <a:pt x="4" y="12"/>
                    </a:cubicBezTo>
                    <a:lnTo>
                      <a:pt x="4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Freeform 1100">
                <a:extLst>
                  <a:ext uri="{FF2B5EF4-FFF2-40B4-BE49-F238E27FC236}">
                    <a16:creationId xmlns:a16="http://schemas.microsoft.com/office/drawing/2014/main" id="{1C646629-6305-4ED5-9B93-46A711441C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61" y="2998"/>
                <a:ext cx="43" cy="184"/>
              </a:xfrm>
              <a:custGeom>
                <a:avLst/>
                <a:gdLst>
                  <a:gd name="T0" fmla="*/ 4 w 18"/>
                  <a:gd name="T1" fmla="*/ 78 h 78"/>
                  <a:gd name="T2" fmla="*/ 3 w 18"/>
                  <a:gd name="T3" fmla="*/ 77 h 78"/>
                  <a:gd name="T4" fmla="*/ 1 w 18"/>
                  <a:gd name="T5" fmla="*/ 77 h 78"/>
                  <a:gd name="T6" fmla="*/ 0 w 18"/>
                  <a:gd name="T7" fmla="*/ 75 h 78"/>
                  <a:gd name="T8" fmla="*/ 0 w 18"/>
                  <a:gd name="T9" fmla="*/ 2 h 78"/>
                  <a:gd name="T10" fmla="*/ 1 w 18"/>
                  <a:gd name="T11" fmla="*/ 1 h 78"/>
                  <a:gd name="T12" fmla="*/ 3 w 18"/>
                  <a:gd name="T13" fmla="*/ 0 h 78"/>
                  <a:gd name="T14" fmla="*/ 5 w 18"/>
                  <a:gd name="T15" fmla="*/ 0 h 78"/>
                  <a:gd name="T16" fmla="*/ 17 w 18"/>
                  <a:gd name="T17" fmla="*/ 7 h 78"/>
                  <a:gd name="T18" fmla="*/ 18 w 18"/>
                  <a:gd name="T19" fmla="*/ 9 h 78"/>
                  <a:gd name="T20" fmla="*/ 17 w 18"/>
                  <a:gd name="T21" fmla="*/ 10 h 78"/>
                  <a:gd name="T22" fmla="*/ 15 w 18"/>
                  <a:gd name="T23" fmla="*/ 12 h 78"/>
                  <a:gd name="T24" fmla="*/ 15 w 18"/>
                  <a:gd name="T25" fmla="*/ 70 h 78"/>
                  <a:gd name="T26" fmla="*/ 14 w 18"/>
                  <a:gd name="T27" fmla="*/ 72 h 78"/>
                  <a:gd name="T28" fmla="*/ 5 w 18"/>
                  <a:gd name="T29" fmla="*/ 77 h 78"/>
                  <a:gd name="T30" fmla="*/ 4 w 18"/>
                  <a:gd name="T31" fmla="*/ 78 h 78"/>
                  <a:gd name="T32" fmla="*/ 4 w 18"/>
                  <a:gd name="T33" fmla="*/ 4 h 78"/>
                  <a:gd name="T34" fmla="*/ 4 w 18"/>
                  <a:gd name="T35" fmla="*/ 73 h 78"/>
                  <a:gd name="T36" fmla="*/ 11 w 18"/>
                  <a:gd name="T37" fmla="*/ 69 h 78"/>
                  <a:gd name="T38" fmla="*/ 11 w 18"/>
                  <a:gd name="T39" fmla="*/ 10 h 78"/>
                  <a:gd name="T40" fmla="*/ 12 w 18"/>
                  <a:gd name="T41" fmla="*/ 9 h 78"/>
                  <a:gd name="T42" fmla="*/ 4 w 18"/>
                  <a:gd name="T43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78">
                    <a:moveTo>
                      <a:pt x="4" y="78"/>
                    </a:moveTo>
                    <a:cubicBezTo>
                      <a:pt x="4" y="78"/>
                      <a:pt x="3" y="78"/>
                      <a:pt x="3" y="77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1" y="76"/>
                      <a:pt x="0" y="75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7"/>
                      <a:pt x="18" y="8"/>
                      <a:pt x="18" y="9"/>
                    </a:cubicBezTo>
                    <a:cubicBezTo>
                      <a:pt x="18" y="9"/>
                      <a:pt x="18" y="10"/>
                      <a:pt x="17" y="10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5" y="71"/>
                      <a:pt x="15" y="72"/>
                      <a:pt x="14" y="72"/>
                    </a:cubicBezTo>
                    <a:cubicBezTo>
                      <a:pt x="5" y="77"/>
                      <a:pt x="5" y="77"/>
                      <a:pt x="5" y="77"/>
                    </a:cubicBezTo>
                    <a:cubicBezTo>
                      <a:pt x="5" y="78"/>
                      <a:pt x="4" y="78"/>
                      <a:pt x="4" y="78"/>
                    </a:cubicBezTo>
                    <a:close/>
                    <a:moveTo>
                      <a:pt x="4" y="4"/>
                    </a:moveTo>
                    <a:cubicBezTo>
                      <a:pt x="4" y="73"/>
                      <a:pt x="4" y="73"/>
                      <a:pt x="4" y="73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1" y="9"/>
                      <a:pt x="12" y="9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Freeform 1101">
                <a:extLst>
                  <a:ext uri="{FF2B5EF4-FFF2-40B4-BE49-F238E27FC236}">
                    <a16:creationId xmlns:a16="http://schemas.microsoft.com/office/drawing/2014/main" id="{44F39FD6-7C77-4F46-8E50-35339CDD23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79" y="2946"/>
                <a:ext cx="35" cy="40"/>
              </a:xfrm>
              <a:custGeom>
                <a:avLst/>
                <a:gdLst>
                  <a:gd name="T0" fmla="*/ 2 w 15"/>
                  <a:gd name="T1" fmla="*/ 17 h 17"/>
                  <a:gd name="T2" fmla="*/ 1 w 15"/>
                  <a:gd name="T3" fmla="*/ 17 h 17"/>
                  <a:gd name="T4" fmla="*/ 0 w 15"/>
                  <a:gd name="T5" fmla="*/ 15 h 17"/>
                  <a:gd name="T6" fmla="*/ 0 w 15"/>
                  <a:gd name="T7" fmla="*/ 2 h 17"/>
                  <a:gd name="T8" fmla="*/ 1 w 15"/>
                  <a:gd name="T9" fmla="*/ 0 h 17"/>
                  <a:gd name="T10" fmla="*/ 3 w 15"/>
                  <a:gd name="T11" fmla="*/ 0 h 17"/>
                  <a:gd name="T12" fmla="*/ 14 w 15"/>
                  <a:gd name="T13" fmla="*/ 7 h 17"/>
                  <a:gd name="T14" fmla="*/ 15 w 15"/>
                  <a:gd name="T15" fmla="*/ 9 h 17"/>
                  <a:gd name="T16" fmla="*/ 14 w 15"/>
                  <a:gd name="T17" fmla="*/ 10 h 17"/>
                  <a:gd name="T18" fmla="*/ 3 w 15"/>
                  <a:gd name="T19" fmla="*/ 17 h 17"/>
                  <a:gd name="T20" fmla="*/ 2 w 15"/>
                  <a:gd name="T21" fmla="*/ 17 h 17"/>
                  <a:gd name="T22" fmla="*/ 4 w 15"/>
                  <a:gd name="T23" fmla="*/ 6 h 17"/>
                  <a:gd name="T24" fmla="*/ 4 w 15"/>
                  <a:gd name="T25" fmla="*/ 11 h 17"/>
                  <a:gd name="T26" fmla="*/ 9 w 15"/>
                  <a:gd name="T27" fmla="*/ 9 h 17"/>
                  <a:gd name="T28" fmla="*/ 4 w 15"/>
                  <a:gd name="T29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7">
                    <a:moveTo>
                      <a:pt x="2" y="17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6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15" y="8"/>
                      <a:pt x="15" y="9"/>
                    </a:cubicBezTo>
                    <a:cubicBezTo>
                      <a:pt x="15" y="9"/>
                      <a:pt x="14" y="10"/>
                      <a:pt x="14" y="10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2" y="17"/>
                      <a:pt x="2" y="17"/>
                      <a:pt x="2" y="17"/>
                    </a:cubicBezTo>
                    <a:close/>
                    <a:moveTo>
                      <a:pt x="4" y="6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9" y="9"/>
                      <a:pt x="9" y="9"/>
                      <a:pt x="9" y="9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Freeform 1102">
                <a:extLst>
                  <a:ext uri="{FF2B5EF4-FFF2-40B4-BE49-F238E27FC236}">
                    <a16:creationId xmlns:a16="http://schemas.microsoft.com/office/drawing/2014/main" id="{F53F4F35-DAC2-49B4-B133-23C4C8592A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16" y="2778"/>
                <a:ext cx="116" cy="159"/>
              </a:xfrm>
              <a:custGeom>
                <a:avLst/>
                <a:gdLst>
                  <a:gd name="T0" fmla="*/ 21 w 49"/>
                  <a:gd name="T1" fmla="*/ 67 h 67"/>
                  <a:gd name="T2" fmla="*/ 20 w 49"/>
                  <a:gd name="T3" fmla="*/ 67 h 67"/>
                  <a:gd name="T4" fmla="*/ 19 w 49"/>
                  <a:gd name="T5" fmla="*/ 65 h 67"/>
                  <a:gd name="T6" fmla="*/ 19 w 49"/>
                  <a:gd name="T7" fmla="*/ 17 h 67"/>
                  <a:gd name="T8" fmla="*/ 1 w 49"/>
                  <a:gd name="T9" fmla="*/ 7 h 67"/>
                  <a:gd name="T10" fmla="*/ 0 w 49"/>
                  <a:gd name="T11" fmla="*/ 5 h 67"/>
                  <a:gd name="T12" fmla="*/ 1 w 49"/>
                  <a:gd name="T13" fmla="*/ 3 h 67"/>
                  <a:gd name="T14" fmla="*/ 6 w 49"/>
                  <a:gd name="T15" fmla="*/ 0 h 67"/>
                  <a:gd name="T16" fmla="*/ 8 w 49"/>
                  <a:gd name="T17" fmla="*/ 0 h 67"/>
                  <a:gd name="T18" fmla="*/ 33 w 49"/>
                  <a:gd name="T19" fmla="*/ 15 h 67"/>
                  <a:gd name="T20" fmla="*/ 34 w 49"/>
                  <a:gd name="T21" fmla="*/ 17 h 67"/>
                  <a:gd name="T22" fmla="*/ 34 w 49"/>
                  <a:gd name="T23" fmla="*/ 33 h 67"/>
                  <a:gd name="T24" fmla="*/ 48 w 49"/>
                  <a:gd name="T25" fmla="*/ 41 h 67"/>
                  <a:gd name="T26" fmla="*/ 49 w 49"/>
                  <a:gd name="T27" fmla="*/ 43 h 67"/>
                  <a:gd name="T28" fmla="*/ 49 w 49"/>
                  <a:gd name="T29" fmla="*/ 50 h 67"/>
                  <a:gd name="T30" fmla="*/ 48 w 49"/>
                  <a:gd name="T31" fmla="*/ 52 h 67"/>
                  <a:gd name="T32" fmla="*/ 22 w 49"/>
                  <a:gd name="T33" fmla="*/ 67 h 67"/>
                  <a:gd name="T34" fmla="*/ 21 w 49"/>
                  <a:gd name="T35" fmla="*/ 67 h 67"/>
                  <a:gd name="T36" fmla="*/ 6 w 49"/>
                  <a:gd name="T37" fmla="*/ 5 h 67"/>
                  <a:gd name="T38" fmla="*/ 22 w 49"/>
                  <a:gd name="T39" fmla="*/ 14 h 67"/>
                  <a:gd name="T40" fmla="*/ 23 w 49"/>
                  <a:gd name="T41" fmla="*/ 16 h 67"/>
                  <a:gd name="T42" fmla="*/ 23 w 49"/>
                  <a:gd name="T43" fmla="*/ 62 h 67"/>
                  <a:gd name="T44" fmla="*/ 45 w 49"/>
                  <a:gd name="T45" fmla="*/ 49 h 67"/>
                  <a:gd name="T46" fmla="*/ 45 w 49"/>
                  <a:gd name="T47" fmla="*/ 44 h 67"/>
                  <a:gd name="T48" fmla="*/ 31 w 49"/>
                  <a:gd name="T49" fmla="*/ 36 h 67"/>
                  <a:gd name="T50" fmla="*/ 30 w 49"/>
                  <a:gd name="T51" fmla="*/ 34 h 67"/>
                  <a:gd name="T52" fmla="*/ 30 w 49"/>
                  <a:gd name="T53" fmla="*/ 18 h 67"/>
                  <a:gd name="T54" fmla="*/ 7 w 49"/>
                  <a:gd name="T55" fmla="*/ 4 h 67"/>
                  <a:gd name="T56" fmla="*/ 6 w 49"/>
                  <a:gd name="T5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9" h="67">
                    <a:moveTo>
                      <a:pt x="21" y="67"/>
                    </a:moveTo>
                    <a:cubicBezTo>
                      <a:pt x="21" y="67"/>
                      <a:pt x="21" y="67"/>
                      <a:pt x="20" y="67"/>
                    </a:cubicBezTo>
                    <a:cubicBezTo>
                      <a:pt x="20" y="67"/>
                      <a:pt x="19" y="66"/>
                      <a:pt x="19" y="65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7" y="0"/>
                      <a:pt x="8" y="0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4" y="15"/>
                      <a:pt x="34" y="16"/>
                      <a:pt x="34" y="17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49" y="42"/>
                      <a:pt x="49" y="43"/>
                      <a:pt x="49" y="43"/>
                    </a:cubicBezTo>
                    <a:cubicBezTo>
                      <a:pt x="49" y="50"/>
                      <a:pt x="49" y="50"/>
                      <a:pt x="49" y="50"/>
                    </a:cubicBezTo>
                    <a:cubicBezTo>
                      <a:pt x="49" y="51"/>
                      <a:pt x="49" y="52"/>
                      <a:pt x="48" y="52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2" y="67"/>
                      <a:pt x="22" y="67"/>
                      <a:pt x="21" y="67"/>
                    </a:cubicBezTo>
                    <a:close/>
                    <a:moveTo>
                      <a:pt x="6" y="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23" y="15"/>
                      <a:pt x="23" y="15"/>
                      <a:pt x="23" y="16"/>
                    </a:cubicBezTo>
                    <a:cubicBezTo>
                      <a:pt x="23" y="62"/>
                      <a:pt x="23" y="62"/>
                      <a:pt x="23" y="62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5" y="44"/>
                      <a:pt x="45" y="44"/>
                      <a:pt x="45" y="44"/>
                    </a:cubicBezTo>
                    <a:cubicBezTo>
                      <a:pt x="31" y="36"/>
                      <a:pt x="31" y="36"/>
                      <a:pt x="31" y="36"/>
                    </a:cubicBezTo>
                    <a:cubicBezTo>
                      <a:pt x="31" y="36"/>
                      <a:pt x="30" y="35"/>
                      <a:pt x="30" y="34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7" y="4"/>
                      <a:pt x="7" y="4"/>
                      <a:pt x="7" y="4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Freeform 1103">
                <a:extLst>
                  <a:ext uri="{FF2B5EF4-FFF2-40B4-BE49-F238E27FC236}">
                    <a16:creationId xmlns:a16="http://schemas.microsoft.com/office/drawing/2014/main" id="{7B9A860F-6A5F-4BF9-923A-F57796AF76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03" y="2282"/>
                <a:ext cx="534" cy="992"/>
              </a:xfrm>
              <a:custGeom>
                <a:avLst/>
                <a:gdLst>
                  <a:gd name="T0" fmla="*/ 134 w 226"/>
                  <a:gd name="T1" fmla="*/ 419 h 420"/>
                  <a:gd name="T2" fmla="*/ 19 w 226"/>
                  <a:gd name="T3" fmla="*/ 413 h 420"/>
                  <a:gd name="T4" fmla="*/ 16 w 226"/>
                  <a:gd name="T5" fmla="*/ 411 h 420"/>
                  <a:gd name="T6" fmla="*/ 17 w 226"/>
                  <a:gd name="T7" fmla="*/ 332 h 420"/>
                  <a:gd name="T8" fmla="*/ 46 w 226"/>
                  <a:gd name="T9" fmla="*/ 293 h 420"/>
                  <a:gd name="T10" fmla="*/ 31 w 226"/>
                  <a:gd name="T11" fmla="*/ 301 h 420"/>
                  <a:gd name="T12" fmla="*/ 30 w 226"/>
                  <a:gd name="T13" fmla="*/ 283 h 420"/>
                  <a:gd name="T14" fmla="*/ 0 w 226"/>
                  <a:gd name="T15" fmla="*/ 265 h 420"/>
                  <a:gd name="T16" fmla="*/ 1 w 226"/>
                  <a:gd name="T17" fmla="*/ 185 h 420"/>
                  <a:gd name="T18" fmla="*/ 49 w 226"/>
                  <a:gd name="T19" fmla="*/ 212 h 420"/>
                  <a:gd name="T20" fmla="*/ 19 w 226"/>
                  <a:gd name="T21" fmla="*/ 193 h 420"/>
                  <a:gd name="T22" fmla="*/ 19 w 226"/>
                  <a:gd name="T23" fmla="*/ 190 h 420"/>
                  <a:gd name="T24" fmla="*/ 31 w 226"/>
                  <a:gd name="T25" fmla="*/ 153 h 420"/>
                  <a:gd name="T26" fmla="*/ 30 w 226"/>
                  <a:gd name="T27" fmla="*/ 3 h 420"/>
                  <a:gd name="T28" fmla="*/ 33 w 226"/>
                  <a:gd name="T29" fmla="*/ 1 h 420"/>
                  <a:gd name="T30" fmla="*/ 163 w 226"/>
                  <a:gd name="T31" fmla="*/ 77 h 420"/>
                  <a:gd name="T32" fmla="*/ 162 w 226"/>
                  <a:gd name="T33" fmla="*/ 227 h 420"/>
                  <a:gd name="T34" fmla="*/ 144 w 226"/>
                  <a:gd name="T35" fmla="*/ 218 h 420"/>
                  <a:gd name="T36" fmla="*/ 154 w 226"/>
                  <a:gd name="T37" fmla="*/ 266 h 420"/>
                  <a:gd name="T38" fmla="*/ 225 w 226"/>
                  <a:gd name="T39" fmla="*/ 306 h 420"/>
                  <a:gd name="T40" fmla="*/ 225 w 226"/>
                  <a:gd name="T41" fmla="*/ 309 h 420"/>
                  <a:gd name="T42" fmla="*/ 154 w 226"/>
                  <a:gd name="T43" fmla="*/ 349 h 420"/>
                  <a:gd name="T44" fmla="*/ 144 w 226"/>
                  <a:gd name="T45" fmla="*/ 349 h 420"/>
                  <a:gd name="T46" fmla="*/ 137 w 226"/>
                  <a:gd name="T47" fmla="*/ 355 h 420"/>
                  <a:gd name="T48" fmla="*/ 136 w 226"/>
                  <a:gd name="T49" fmla="*/ 419 h 420"/>
                  <a:gd name="T50" fmla="*/ 71 w 226"/>
                  <a:gd name="T51" fmla="*/ 379 h 420"/>
                  <a:gd name="T52" fmla="*/ 133 w 226"/>
                  <a:gd name="T53" fmla="*/ 414 h 420"/>
                  <a:gd name="T54" fmla="*/ 134 w 226"/>
                  <a:gd name="T55" fmla="*/ 352 h 420"/>
                  <a:gd name="T56" fmla="*/ 140 w 226"/>
                  <a:gd name="T57" fmla="*/ 340 h 420"/>
                  <a:gd name="T58" fmla="*/ 143 w 226"/>
                  <a:gd name="T59" fmla="*/ 338 h 420"/>
                  <a:gd name="T60" fmla="*/ 220 w 226"/>
                  <a:gd name="T61" fmla="*/ 307 h 420"/>
                  <a:gd name="T62" fmla="*/ 143 w 226"/>
                  <a:gd name="T63" fmla="*/ 277 h 420"/>
                  <a:gd name="T64" fmla="*/ 140 w 226"/>
                  <a:gd name="T65" fmla="*/ 275 h 420"/>
                  <a:gd name="T66" fmla="*/ 141 w 226"/>
                  <a:gd name="T67" fmla="*/ 213 h 420"/>
                  <a:gd name="T68" fmla="*/ 159 w 226"/>
                  <a:gd name="T69" fmla="*/ 222 h 420"/>
                  <a:gd name="T70" fmla="*/ 34 w 226"/>
                  <a:gd name="T71" fmla="*/ 6 h 420"/>
                  <a:gd name="T72" fmla="*/ 62 w 226"/>
                  <a:gd name="T73" fmla="*/ 166 h 420"/>
                  <a:gd name="T74" fmla="*/ 62 w 226"/>
                  <a:gd name="T75" fmla="*/ 170 h 420"/>
                  <a:gd name="T76" fmla="*/ 54 w 226"/>
                  <a:gd name="T77" fmla="*/ 209 h 420"/>
                  <a:gd name="T78" fmla="*/ 54 w 226"/>
                  <a:gd name="T79" fmla="*/ 213 h 420"/>
                  <a:gd name="T80" fmla="*/ 48 w 226"/>
                  <a:gd name="T81" fmla="*/ 216 h 420"/>
                  <a:gd name="T82" fmla="*/ 4 w 226"/>
                  <a:gd name="T83" fmla="*/ 264 h 420"/>
                  <a:gd name="T84" fmla="*/ 34 w 226"/>
                  <a:gd name="T85" fmla="*/ 282 h 420"/>
                  <a:gd name="T86" fmla="*/ 45 w 226"/>
                  <a:gd name="T87" fmla="*/ 289 h 420"/>
                  <a:gd name="T88" fmla="*/ 69 w 226"/>
                  <a:gd name="T89" fmla="*/ 301 h 420"/>
                  <a:gd name="T90" fmla="*/ 70 w 226"/>
                  <a:gd name="T91" fmla="*/ 304 h 420"/>
                  <a:gd name="T92" fmla="*/ 20 w 226"/>
                  <a:gd name="T93" fmla="*/ 335 h 420"/>
                  <a:gd name="T94" fmla="*/ 70 w 226"/>
                  <a:gd name="T95" fmla="*/ 379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6" h="420">
                    <a:moveTo>
                      <a:pt x="135" y="420"/>
                    </a:moveTo>
                    <a:cubicBezTo>
                      <a:pt x="135" y="420"/>
                      <a:pt x="134" y="420"/>
                      <a:pt x="134" y="419"/>
                    </a:cubicBezTo>
                    <a:cubicBezTo>
                      <a:pt x="71" y="383"/>
                      <a:pt x="71" y="383"/>
                      <a:pt x="71" y="383"/>
                    </a:cubicBezTo>
                    <a:cubicBezTo>
                      <a:pt x="19" y="413"/>
                      <a:pt x="19" y="413"/>
                      <a:pt x="19" y="413"/>
                    </a:cubicBezTo>
                    <a:cubicBezTo>
                      <a:pt x="18" y="414"/>
                      <a:pt x="17" y="414"/>
                      <a:pt x="17" y="413"/>
                    </a:cubicBezTo>
                    <a:cubicBezTo>
                      <a:pt x="16" y="413"/>
                      <a:pt x="16" y="412"/>
                      <a:pt x="16" y="411"/>
                    </a:cubicBezTo>
                    <a:cubicBezTo>
                      <a:pt x="16" y="333"/>
                      <a:pt x="16" y="333"/>
                      <a:pt x="16" y="333"/>
                    </a:cubicBezTo>
                    <a:cubicBezTo>
                      <a:pt x="16" y="333"/>
                      <a:pt x="16" y="332"/>
                      <a:pt x="17" y="332"/>
                    </a:cubicBezTo>
                    <a:cubicBezTo>
                      <a:pt x="65" y="304"/>
                      <a:pt x="65" y="304"/>
                      <a:pt x="65" y="304"/>
                    </a:cubicBezTo>
                    <a:cubicBezTo>
                      <a:pt x="46" y="293"/>
                      <a:pt x="46" y="293"/>
                      <a:pt x="46" y="293"/>
                    </a:cubicBezTo>
                    <a:cubicBezTo>
                      <a:pt x="33" y="301"/>
                      <a:pt x="33" y="301"/>
                      <a:pt x="33" y="301"/>
                    </a:cubicBezTo>
                    <a:cubicBezTo>
                      <a:pt x="32" y="301"/>
                      <a:pt x="32" y="301"/>
                      <a:pt x="31" y="301"/>
                    </a:cubicBezTo>
                    <a:cubicBezTo>
                      <a:pt x="30" y="300"/>
                      <a:pt x="30" y="299"/>
                      <a:pt x="30" y="299"/>
                    </a:cubicBezTo>
                    <a:cubicBezTo>
                      <a:pt x="30" y="283"/>
                      <a:pt x="30" y="283"/>
                      <a:pt x="30" y="283"/>
                    </a:cubicBezTo>
                    <a:cubicBezTo>
                      <a:pt x="1" y="267"/>
                      <a:pt x="1" y="267"/>
                      <a:pt x="1" y="267"/>
                    </a:cubicBezTo>
                    <a:cubicBezTo>
                      <a:pt x="0" y="266"/>
                      <a:pt x="0" y="266"/>
                      <a:pt x="0" y="265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86"/>
                      <a:pt x="0" y="186"/>
                      <a:pt x="1" y="185"/>
                    </a:cubicBezTo>
                    <a:cubicBezTo>
                      <a:pt x="2" y="185"/>
                      <a:pt x="2" y="185"/>
                      <a:pt x="3" y="185"/>
                    </a:cubicBezTo>
                    <a:cubicBezTo>
                      <a:pt x="49" y="212"/>
                      <a:pt x="49" y="212"/>
                      <a:pt x="49" y="212"/>
                    </a:cubicBezTo>
                    <a:cubicBezTo>
                      <a:pt x="49" y="211"/>
                      <a:pt x="49" y="211"/>
                      <a:pt x="49" y="211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18" y="193"/>
                      <a:pt x="18" y="192"/>
                      <a:pt x="18" y="192"/>
                    </a:cubicBezTo>
                    <a:cubicBezTo>
                      <a:pt x="18" y="191"/>
                      <a:pt x="18" y="190"/>
                      <a:pt x="19" y="190"/>
                    </a:cubicBezTo>
                    <a:cubicBezTo>
                      <a:pt x="57" y="168"/>
                      <a:pt x="57" y="168"/>
                      <a:pt x="57" y="168"/>
                    </a:cubicBezTo>
                    <a:cubicBezTo>
                      <a:pt x="31" y="153"/>
                      <a:pt x="31" y="153"/>
                      <a:pt x="31" y="153"/>
                    </a:cubicBezTo>
                    <a:cubicBezTo>
                      <a:pt x="30" y="153"/>
                      <a:pt x="30" y="152"/>
                      <a:pt x="30" y="151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2"/>
                      <a:pt x="30" y="1"/>
                      <a:pt x="31" y="1"/>
                    </a:cubicBezTo>
                    <a:cubicBezTo>
                      <a:pt x="32" y="0"/>
                      <a:pt x="32" y="0"/>
                      <a:pt x="33" y="1"/>
                    </a:cubicBezTo>
                    <a:cubicBezTo>
                      <a:pt x="162" y="75"/>
                      <a:pt x="162" y="75"/>
                      <a:pt x="162" y="75"/>
                    </a:cubicBezTo>
                    <a:cubicBezTo>
                      <a:pt x="162" y="75"/>
                      <a:pt x="163" y="76"/>
                      <a:pt x="163" y="77"/>
                    </a:cubicBezTo>
                    <a:cubicBezTo>
                      <a:pt x="163" y="225"/>
                      <a:pt x="163" y="225"/>
                      <a:pt x="163" y="225"/>
                    </a:cubicBezTo>
                    <a:cubicBezTo>
                      <a:pt x="163" y="226"/>
                      <a:pt x="162" y="227"/>
                      <a:pt x="162" y="227"/>
                    </a:cubicBezTo>
                    <a:cubicBezTo>
                      <a:pt x="161" y="228"/>
                      <a:pt x="160" y="228"/>
                      <a:pt x="160" y="227"/>
                    </a:cubicBezTo>
                    <a:cubicBezTo>
                      <a:pt x="144" y="218"/>
                      <a:pt x="144" y="218"/>
                      <a:pt x="144" y="218"/>
                    </a:cubicBezTo>
                    <a:cubicBezTo>
                      <a:pt x="144" y="272"/>
                      <a:pt x="144" y="272"/>
                      <a:pt x="144" y="272"/>
                    </a:cubicBezTo>
                    <a:cubicBezTo>
                      <a:pt x="154" y="266"/>
                      <a:pt x="154" y="266"/>
                      <a:pt x="154" y="266"/>
                    </a:cubicBezTo>
                    <a:cubicBezTo>
                      <a:pt x="155" y="266"/>
                      <a:pt x="155" y="266"/>
                      <a:pt x="156" y="266"/>
                    </a:cubicBezTo>
                    <a:cubicBezTo>
                      <a:pt x="225" y="306"/>
                      <a:pt x="225" y="306"/>
                      <a:pt x="225" y="306"/>
                    </a:cubicBezTo>
                    <a:cubicBezTo>
                      <a:pt x="225" y="306"/>
                      <a:pt x="226" y="307"/>
                      <a:pt x="226" y="307"/>
                    </a:cubicBezTo>
                    <a:cubicBezTo>
                      <a:pt x="226" y="308"/>
                      <a:pt x="225" y="309"/>
                      <a:pt x="225" y="309"/>
                    </a:cubicBezTo>
                    <a:cubicBezTo>
                      <a:pt x="156" y="349"/>
                      <a:pt x="156" y="349"/>
                      <a:pt x="156" y="349"/>
                    </a:cubicBezTo>
                    <a:cubicBezTo>
                      <a:pt x="155" y="349"/>
                      <a:pt x="155" y="349"/>
                      <a:pt x="154" y="349"/>
                    </a:cubicBezTo>
                    <a:cubicBezTo>
                      <a:pt x="144" y="343"/>
                      <a:pt x="144" y="343"/>
                      <a:pt x="144" y="343"/>
                    </a:cubicBezTo>
                    <a:cubicBezTo>
                      <a:pt x="144" y="349"/>
                      <a:pt x="144" y="349"/>
                      <a:pt x="144" y="349"/>
                    </a:cubicBezTo>
                    <a:cubicBezTo>
                      <a:pt x="144" y="350"/>
                      <a:pt x="144" y="351"/>
                      <a:pt x="143" y="351"/>
                    </a:cubicBezTo>
                    <a:cubicBezTo>
                      <a:pt x="137" y="355"/>
                      <a:pt x="137" y="355"/>
                      <a:pt x="137" y="355"/>
                    </a:cubicBezTo>
                    <a:cubicBezTo>
                      <a:pt x="137" y="418"/>
                      <a:pt x="137" y="418"/>
                      <a:pt x="137" y="418"/>
                    </a:cubicBezTo>
                    <a:cubicBezTo>
                      <a:pt x="137" y="418"/>
                      <a:pt x="137" y="419"/>
                      <a:pt x="136" y="419"/>
                    </a:cubicBezTo>
                    <a:cubicBezTo>
                      <a:pt x="136" y="420"/>
                      <a:pt x="135" y="420"/>
                      <a:pt x="135" y="420"/>
                    </a:cubicBezTo>
                    <a:close/>
                    <a:moveTo>
                      <a:pt x="71" y="379"/>
                    </a:moveTo>
                    <a:cubicBezTo>
                      <a:pt x="71" y="379"/>
                      <a:pt x="72" y="379"/>
                      <a:pt x="72" y="379"/>
                    </a:cubicBezTo>
                    <a:cubicBezTo>
                      <a:pt x="133" y="414"/>
                      <a:pt x="133" y="414"/>
                      <a:pt x="133" y="414"/>
                    </a:cubicBezTo>
                    <a:cubicBezTo>
                      <a:pt x="133" y="354"/>
                      <a:pt x="133" y="354"/>
                      <a:pt x="133" y="354"/>
                    </a:cubicBezTo>
                    <a:cubicBezTo>
                      <a:pt x="133" y="353"/>
                      <a:pt x="134" y="352"/>
                      <a:pt x="134" y="352"/>
                    </a:cubicBezTo>
                    <a:cubicBezTo>
                      <a:pt x="140" y="348"/>
                      <a:pt x="140" y="348"/>
                      <a:pt x="140" y="348"/>
                    </a:cubicBezTo>
                    <a:cubicBezTo>
                      <a:pt x="140" y="340"/>
                      <a:pt x="140" y="340"/>
                      <a:pt x="140" y="340"/>
                    </a:cubicBezTo>
                    <a:cubicBezTo>
                      <a:pt x="140" y="339"/>
                      <a:pt x="141" y="338"/>
                      <a:pt x="141" y="338"/>
                    </a:cubicBezTo>
                    <a:cubicBezTo>
                      <a:pt x="142" y="338"/>
                      <a:pt x="143" y="338"/>
                      <a:pt x="143" y="338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220" y="307"/>
                      <a:pt x="220" y="307"/>
                      <a:pt x="220" y="307"/>
                    </a:cubicBezTo>
                    <a:cubicBezTo>
                      <a:pt x="155" y="270"/>
                      <a:pt x="155" y="270"/>
                      <a:pt x="155" y="270"/>
                    </a:cubicBezTo>
                    <a:cubicBezTo>
                      <a:pt x="143" y="277"/>
                      <a:pt x="143" y="277"/>
                      <a:pt x="143" y="277"/>
                    </a:cubicBezTo>
                    <a:cubicBezTo>
                      <a:pt x="143" y="277"/>
                      <a:pt x="142" y="277"/>
                      <a:pt x="141" y="277"/>
                    </a:cubicBezTo>
                    <a:cubicBezTo>
                      <a:pt x="141" y="277"/>
                      <a:pt x="140" y="276"/>
                      <a:pt x="140" y="275"/>
                    </a:cubicBezTo>
                    <a:cubicBezTo>
                      <a:pt x="140" y="215"/>
                      <a:pt x="140" y="215"/>
                      <a:pt x="140" y="215"/>
                    </a:cubicBezTo>
                    <a:cubicBezTo>
                      <a:pt x="140" y="214"/>
                      <a:pt x="141" y="214"/>
                      <a:pt x="141" y="213"/>
                    </a:cubicBezTo>
                    <a:cubicBezTo>
                      <a:pt x="142" y="213"/>
                      <a:pt x="143" y="213"/>
                      <a:pt x="143" y="213"/>
                    </a:cubicBezTo>
                    <a:cubicBezTo>
                      <a:pt x="159" y="222"/>
                      <a:pt x="159" y="222"/>
                      <a:pt x="159" y="222"/>
                    </a:cubicBezTo>
                    <a:cubicBezTo>
                      <a:pt x="159" y="78"/>
                      <a:pt x="159" y="78"/>
                      <a:pt x="159" y="78"/>
                    </a:cubicBezTo>
                    <a:cubicBezTo>
                      <a:pt x="34" y="6"/>
                      <a:pt x="34" y="6"/>
                      <a:pt x="34" y="6"/>
                    </a:cubicBezTo>
                    <a:cubicBezTo>
                      <a:pt x="34" y="150"/>
                      <a:pt x="34" y="150"/>
                      <a:pt x="34" y="150"/>
                    </a:cubicBezTo>
                    <a:cubicBezTo>
                      <a:pt x="62" y="166"/>
                      <a:pt x="62" y="166"/>
                      <a:pt x="62" y="166"/>
                    </a:cubicBezTo>
                    <a:cubicBezTo>
                      <a:pt x="63" y="167"/>
                      <a:pt x="63" y="167"/>
                      <a:pt x="63" y="168"/>
                    </a:cubicBezTo>
                    <a:cubicBezTo>
                      <a:pt x="63" y="169"/>
                      <a:pt x="63" y="169"/>
                      <a:pt x="62" y="170"/>
                    </a:cubicBezTo>
                    <a:cubicBezTo>
                      <a:pt x="24" y="192"/>
                      <a:pt x="24" y="192"/>
                      <a:pt x="24" y="192"/>
                    </a:cubicBezTo>
                    <a:cubicBezTo>
                      <a:pt x="54" y="209"/>
                      <a:pt x="54" y="209"/>
                      <a:pt x="54" y="209"/>
                    </a:cubicBezTo>
                    <a:cubicBezTo>
                      <a:pt x="55" y="210"/>
                      <a:pt x="55" y="210"/>
                      <a:pt x="55" y="211"/>
                    </a:cubicBezTo>
                    <a:cubicBezTo>
                      <a:pt x="55" y="212"/>
                      <a:pt x="55" y="213"/>
                      <a:pt x="54" y="213"/>
                    </a:cubicBezTo>
                    <a:cubicBezTo>
                      <a:pt x="49" y="216"/>
                      <a:pt x="49" y="216"/>
                      <a:pt x="49" y="216"/>
                    </a:cubicBezTo>
                    <a:cubicBezTo>
                      <a:pt x="49" y="216"/>
                      <a:pt x="48" y="216"/>
                      <a:pt x="48" y="216"/>
                    </a:cubicBezTo>
                    <a:cubicBezTo>
                      <a:pt x="4" y="191"/>
                      <a:pt x="4" y="191"/>
                      <a:pt x="4" y="191"/>
                    </a:cubicBezTo>
                    <a:cubicBezTo>
                      <a:pt x="4" y="264"/>
                      <a:pt x="4" y="264"/>
                      <a:pt x="4" y="264"/>
                    </a:cubicBezTo>
                    <a:cubicBezTo>
                      <a:pt x="33" y="280"/>
                      <a:pt x="33" y="280"/>
                      <a:pt x="33" y="280"/>
                    </a:cubicBezTo>
                    <a:cubicBezTo>
                      <a:pt x="34" y="281"/>
                      <a:pt x="34" y="281"/>
                      <a:pt x="34" y="282"/>
                    </a:cubicBezTo>
                    <a:cubicBezTo>
                      <a:pt x="34" y="295"/>
                      <a:pt x="34" y="295"/>
                      <a:pt x="34" y="295"/>
                    </a:cubicBezTo>
                    <a:cubicBezTo>
                      <a:pt x="45" y="289"/>
                      <a:pt x="45" y="289"/>
                      <a:pt x="45" y="289"/>
                    </a:cubicBezTo>
                    <a:cubicBezTo>
                      <a:pt x="46" y="288"/>
                      <a:pt x="47" y="288"/>
                      <a:pt x="47" y="289"/>
                    </a:cubicBezTo>
                    <a:cubicBezTo>
                      <a:pt x="69" y="301"/>
                      <a:pt x="69" y="301"/>
                      <a:pt x="69" y="301"/>
                    </a:cubicBezTo>
                    <a:cubicBezTo>
                      <a:pt x="69" y="301"/>
                      <a:pt x="70" y="302"/>
                      <a:pt x="70" y="303"/>
                    </a:cubicBezTo>
                    <a:cubicBezTo>
                      <a:pt x="70" y="304"/>
                      <a:pt x="70" y="304"/>
                      <a:pt x="70" y="304"/>
                    </a:cubicBezTo>
                    <a:cubicBezTo>
                      <a:pt x="70" y="305"/>
                      <a:pt x="69" y="306"/>
                      <a:pt x="69" y="306"/>
                    </a:cubicBezTo>
                    <a:cubicBezTo>
                      <a:pt x="20" y="335"/>
                      <a:pt x="20" y="335"/>
                      <a:pt x="20" y="335"/>
                    </a:cubicBezTo>
                    <a:cubicBezTo>
                      <a:pt x="20" y="408"/>
                      <a:pt x="20" y="408"/>
                      <a:pt x="20" y="408"/>
                    </a:cubicBezTo>
                    <a:cubicBezTo>
                      <a:pt x="70" y="379"/>
                      <a:pt x="70" y="379"/>
                      <a:pt x="70" y="379"/>
                    </a:cubicBezTo>
                    <a:cubicBezTo>
                      <a:pt x="70" y="379"/>
                      <a:pt x="71" y="379"/>
                      <a:pt x="71" y="37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Freeform 1104">
                <a:extLst>
                  <a:ext uri="{FF2B5EF4-FFF2-40B4-BE49-F238E27FC236}">
                    <a16:creationId xmlns:a16="http://schemas.microsoft.com/office/drawing/2014/main" id="{457D47FC-13FE-4B6C-9C57-C1C5E0FE48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43" y="3000"/>
                <a:ext cx="128" cy="253"/>
              </a:xfrm>
              <a:custGeom>
                <a:avLst/>
                <a:gdLst>
                  <a:gd name="T0" fmla="*/ 2 w 54"/>
                  <a:gd name="T1" fmla="*/ 107 h 107"/>
                  <a:gd name="T2" fmla="*/ 1 w 54"/>
                  <a:gd name="T3" fmla="*/ 106 h 107"/>
                  <a:gd name="T4" fmla="*/ 0 w 54"/>
                  <a:gd name="T5" fmla="*/ 105 h 107"/>
                  <a:gd name="T6" fmla="*/ 0 w 54"/>
                  <a:gd name="T7" fmla="*/ 30 h 107"/>
                  <a:gd name="T8" fmla="*/ 1 w 54"/>
                  <a:gd name="T9" fmla="*/ 29 h 107"/>
                  <a:gd name="T10" fmla="*/ 50 w 54"/>
                  <a:gd name="T11" fmla="*/ 1 h 107"/>
                  <a:gd name="T12" fmla="*/ 52 w 54"/>
                  <a:gd name="T13" fmla="*/ 1 h 107"/>
                  <a:gd name="T14" fmla="*/ 53 w 54"/>
                  <a:gd name="T15" fmla="*/ 2 h 107"/>
                  <a:gd name="T16" fmla="*/ 53 w 54"/>
                  <a:gd name="T17" fmla="*/ 74 h 107"/>
                  <a:gd name="T18" fmla="*/ 53 w 54"/>
                  <a:gd name="T19" fmla="*/ 74 h 107"/>
                  <a:gd name="T20" fmla="*/ 54 w 54"/>
                  <a:gd name="T21" fmla="*/ 76 h 107"/>
                  <a:gd name="T22" fmla="*/ 53 w 54"/>
                  <a:gd name="T23" fmla="*/ 77 h 107"/>
                  <a:gd name="T24" fmla="*/ 3 w 54"/>
                  <a:gd name="T25" fmla="*/ 106 h 107"/>
                  <a:gd name="T26" fmla="*/ 2 w 54"/>
                  <a:gd name="T27" fmla="*/ 107 h 107"/>
                  <a:gd name="T28" fmla="*/ 4 w 54"/>
                  <a:gd name="T29" fmla="*/ 32 h 107"/>
                  <a:gd name="T30" fmla="*/ 4 w 54"/>
                  <a:gd name="T31" fmla="*/ 101 h 107"/>
                  <a:gd name="T32" fmla="*/ 49 w 54"/>
                  <a:gd name="T33" fmla="*/ 75 h 107"/>
                  <a:gd name="T34" fmla="*/ 49 w 54"/>
                  <a:gd name="T35" fmla="*/ 75 h 107"/>
                  <a:gd name="T36" fmla="*/ 49 w 54"/>
                  <a:gd name="T37" fmla="*/ 6 h 107"/>
                  <a:gd name="T38" fmla="*/ 4 w 54"/>
                  <a:gd name="T39" fmla="*/ 3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107">
                    <a:moveTo>
                      <a:pt x="2" y="107"/>
                    </a:moveTo>
                    <a:cubicBezTo>
                      <a:pt x="2" y="107"/>
                      <a:pt x="1" y="107"/>
                      <a:pt x="1" y="106"/>
                    </a:cubicBezTo>
                    <a:cubicBezTo>
                      <a:pt x="1" y="106"/>
                      <a:pt x="0" y="105"/>
                      <a:pt x="0" y="105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1" y="29"/>
                      <a:pt x="1" y="29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0" y="0"/>
                      <a:pt x="51" y="0"/>
                      <a:pt x="52" y="1"/>
                    </a:cubicBezTo>
                    <a:cubicBezTo>
                      <a:pt x="52" y="1"/>
                      <a:pt x="53" y="2"/>
                      <a:pt x="53" y="2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4" y="74"/>
                      <a:pt x="54" y="75"/>
                      <a:pt x="54" y="76"/>
                    </a:cubicBezTo>
                    <a:cubicBezTo>
                      <a:pt x="54" y="76"/>
                      <a:pt x="54" y="77"/>
                      <a:pt x="53" y="77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3" y="107"/>
                      <a:pt x="3" y="107"/>
                      <a:pt x="2" y="107"/>
                    </a:cubicBezTo>
                    <a:close/>
                    <a:moveTo>
                      <a:pt x="4" y="32"/>
                    </a:moveTo>
                    <a:cubicBezTo>
                      <a:pt x="4" y="101"/>
                      <a:pt x="4" y="101"/>
                      <a:pt x="4" y="101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6"/>
                      <a:pt x="49" y="6"/>
                      <a:pt x="49" y="6"/>
                    </a:cubicBezTo>
                    <a:lnTo>
                      <a:pt x="4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Freeform 1105">
                <a:extLst>
                  <a:ext uri="{FF2B5EF4-FFF2-40B4-BE49-F238E27FC236}">
                    <a16:creationId xmlns:a16="http://schemas.microsoft.com/office/drawing/2014/main" id="{5E5FB445-BB13-4EFE-BA5F-57DC888A15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12" y="2934"/>
                <a:ext cx="56" cy="64"/>
              </a:xfrm>
              <a:custGeom>
                <a:avLst/>
                <a:gdLst>
                  <a:gd name="T0" fmla="*/ 22 w 24"/>
                  <a:gd name="T1" fmla="*/ 27 h 27"/>
                  <a:gd name="T2" fmla="*/ 21 w 24"/>
                  <a:gd name="T3" fmla="*/ 27 h 27"/>
                  <a:gd name="T4" fmla="*/ 1 w 24"/>
                  <a:gd name="T5" fmla="*/ 15 h 27"/>
                  <a:gd name="T6" fmla="*/ 0 w 24"/>
                  <a:gd name="T7" fmla="*/ 14 h 27"/>
                  <a:gd name="T8" fmla="*/ 1 w 24"/>
                  <a:gd name="T9" fmla="*/ 12 h 27"/>
                  <a:gd name="T10" fmla="*/ 21 w 24"/>
                  <a:gd name="T11" fmla="*/ 0 h 27"/>
                  <a:gd name="T12" fmla="*/ 23 w 24"/>
                  <a:gd name="T13" fmla="*/ 0 h 27"/>
                  <a:gd name="T14" fmla="*/ 24 w 24"/>
                  <a:gd name="T15" fmla="*/ 2 h 27"/>
                  <a:gd name="T16" fmla="*/ 24 w 24"/>
                  <a:gd name="T17" fmla="*/ 25 h 27"/>
                  <a:gd name="T18" fmla="*/ 23 w 24"/>
                  <a:gd name="T19" fmla="*/ 27 h 27"/>
                  <a:gd name="T20" fmla="*/ 22 w 24"/>
                  <a:gd name="T21" fmla="*/ 27 h 27"/>
                  <a:gd name="T22" fmla="*/ 6 w 24"/>
                  <a:gd name="T23" fmla="*/ 14 h 27"/>
                  <a:gd name="T24" fmla="*/ 20 w 24"/>
                  <a:gd name="T25" fmla="*/ 22 h 27"/>
                  <a:gd name="T26" fmla="*/ 20 w 24"/>
                  <a:gd name="T27" fmla="*/ 6 h 27"/>
                  <a:gd name="T28" fmla="*/ 6 w 24"/>
                  <a:gd name="T2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27">
                    <a:moveTo>
                      <a:pt x="22" y="27"/>
                    </a:moveTo>
                    <a:cubicBezTo>
                      <a:pt x="21" y="27"/>
                      <a:pt x="21" y="27"/>
                      <a:pt x="21" y="27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0" y="15"/>
                      <a:pt x="0" y="14"/>
                      <a:pt x="0" y="14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3" y="1"/>
                      <a:pt x="24" y="1"/>
                      <a:pt x="24" y="2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6"/>
                      <a:pt x="23" y="26"/>
                      <a:pt x="23" y="27"/>
                    </a:cubicBezTo>
                    <a:cubicBezTo>
                      <a:pt x="23" y="27"/>
                      <a:pt x="22" y="27"/>
                      <a:pt x="22" y="27"/>
                    </a:cubicBezTo>
                    <a:close/>
                    <a:moveTo>
                      <a:pt x="6" y="14"/>
                    </a:move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6"/>
                      <a:pt x="20" y="6"/>
                      <a:pt x="20" y="6"/>
                    </a:cubicBezTo>
                    <a:lnTo>
                      <a:pt x="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8" name="Freeform 1106">
                <a:extLst>
                  <a:ext uri="{FF2B5EF4-FFF2-40B4-BE49-F238E27FC236}">
                    <a16:creationId xmlns:a16="http://schemas.microsoft.com/office/drawing/2014/main" id="{A20C9588-F5C5-4CD6-BCAF-16AC6DDD8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2" y="3017"/>
                <a:ext cx="12" cy="151"/>
              </a:xfrm>
              <a:custGeom>
                <a:avLst/>
                <a:gdLst>
                  <a:gd name="T0" fmla="*/ 2 w 5"/>
                  <a:gd name="T1" fmla="*/ 64 h 64"/>
                  <a:gd name="T2" fmla="*/ 1 w 5"/>
                  <a:gd name="T3" fmla="*/ 63 h 64"/>
                  <a:gd name="T4" fmla="*/ 0 w 5"/>
                  <a:gd name="T5" fmla="*/ 62 h 64"/>
                  <a:gd name="T6" fmla="*/ 0 w 5"/>
                  <a:gd name="T7" fmla="*/ 3 h 64"/>
                  <a:gd name="T8" fmla="*/ 1 w 5"/>
                  <a:gd name="T9" fmla="*/ 2 h 64"/>
                  <a:gd name="T10" fmla="*/ 3 w 5"/>
                  <a:gd name="T11" fmla="*/ 1 h 64"/>
                  <a:gd name="T12" fmla="*/ 5 w 5"/>
                  <a:gd name="T13" fmla="*/ 1 h 64"/>
                  <a:gd name="T14" fmla="*/ 5 w 5"/>
                  <a:gd name="T15" fmla="*/ 2 h 64"/>
                  <a:gd name="T16" fmla="*/ 5 w 5"/>
                  <a:gd name="T17" fmla="*/ 61 h 64"/>
                  <a:gd name="T18" fmla="*/ 4 w 5"/>
                  <a:gd name="T19" fmla="*/ 62 h 64"/>
                  <a:gd name="T20" fmla="*/ 3 w 5"/>
                  <a:gd name="T21" fmla="*/ 63 h 64"/>
                  <a:gd name="T22" fmla="*/ 2 w 5"/>
                  <a:gd name="T23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64">
                    <a:moveTo>
                      <a:pt x="2" y="64"/>
                    </a:moveTo>
                    <a:cubicBezTo>
                      <a:pt x="1" y="64"/>
                      <a:pt x="1" y="63"/>
                      <a:pt x="1" y="63"/>
                    </a:cubicBezTo>
                    <a:cubicBezTo>
                      <a:pt x="0" y="63"/>
                      <a:pt x="0" y="62"/>
                      <a:pt x="0" y="6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5" y="62"/>
                      <a:pt x="4" y="62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2" y="63"/>
                      <a:pt x="2" y="64"/>
                      <a:pt x="2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9" name="Freeform 1107">
                <a:extLst>
                  <a:ext uri="{FF2B5EF4-FFF2-40B4-BE49-F238E27FC236}">
                    <a16:creationId xmlns:a16="http://schemas.microsoft.com/office/drawing/2014/main" id="{9FA1B307-2B20-45E9-8F4B-364542819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08" y="2726"/>
                <a:ext cx="111" cy="222"/>
              </a:xfrm>
              <a:custGeom>
                <a:avLst/>
                <a:gdLst>
                  <a:gd name="T0" fmla="*/ 30 w 47"/>
                  <a:gd name="T1" fmla="*/ 94 h 94"/>
                  <a:gd name="T2" fmla="*/ 29 w 47"/>
                  <a:gd name="T3" fmla="*/ 94 h 94"/>
                  <a:gd name="T4" fmla="*/ 1 w 47"/>
                  <a:gd name="T5" fmla="*/ 78 h 94"/>
                  <a:gd name="T6" fmla="*/ 0 w 47"/>
                  <a:gd name="T7" fmla="*/ 76 h 94"/>
                  <a:gd name="T8" fmla="*/ 0 w 47"/>
                  <a:gd name="T9" fmla="*/ 2 h 94"/>
                  <a:gd name="T10" fmla="*/ 1 w 47"/>
                  <a:gd name="T11" fmla="*/ 0 h 94"/>
                  <a:gd name="T12" fmla="*/ 3 w 47"/>
                  <a:gd name="T13" fmla="*/ 0 h 94"/>
                  <a:gd name="T14" fmla="*/ 46 w 47"/>
                  <a:gd name="T15" fmla="*/ 25 h 94"/>
                  <a:gd name="T16" fmla="*/ 47 w 47"/>
                  <a:gd name="T17" fmla="*/ 27 h 94"/>
                  <a:gd name="T18" fmla="*/ 46 w 47"/>
                  <a:gd name="T19" fmla="*/ 29 h 94"/>
                  <a:gd name="T20" fmla="*/ 32 w 47"/>
                  <a:gd name="T21" fmla="*/ 37 h 94"/>
                  <a:gd name="T22" fmla="*/ 32 w 47"/>
                  <a:gd name="T23" fmla="*/ 92 h 94"/>
                  <a:gd name="T24" fmla="*/ 31 w 47"/>
                  <a:gd name="T25" fmla="*/ 94 h 94"/>
                  <a:gd name="T26" fmla="*/ 30 w 47"/>
                  <a:gd name="T27" fmla="*/ 94 h 94"/>
                  <a:gd name="T28" fmla="*/ 4 w 47"/>
                  <a:gd name="T29" fmla="*/ 75 h 94"/>
                  <a:gd name="T30" fmla="*/ 28 w 47"/>
                  <a:gd name="T31" fmla="*/ 89 h 94"/>
                  <a:gd name="T32" fmla="*/ 28 w 47"/>
                  <a:gd name="T33" fmla="*/ 36 h 94"/>
                  <a:gd name="T34" fmla="*/ 29 w 47"/>
                  <a:gd name="T35" fmla="*/ 34 h 94"/>
                  <a:gd name="T36" fmla="*/ 41 w 47"/>
                  <a:gd name="T37" fmla="*/ 27 h 94"/>
                  <a:gd name="T38" fmla="*/ 4 w 47"/>
                  <a:gd name="T39" fmla="*/ 5 h 94"/>
                  <a:gd name="T40" fmla="*/ 4 w 47"/>
                  <a:gd name="T41" fmla="*/ 7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7" h="94">
                    <a:moveTo>
                      <a:pt x="30" y="94"/>
                    </a:moveTo>
                    <a:cubicBezTo>
                      <a:pt x="30" y="94"/>
                      <a:pt x="29" y="94"/>
                      <a:pt x="29" y="94"/>
                    </a:cubicBezTo>
                    <a:cubicBezTo>
                      <a:pt x="1" y="78"/>
                      <a:pt x="1" y="78"/>
                      <a:pt x="1" y="78"/>
                    </a:cubicBezTo>
                    <a:cubicBezTo>
                      <a:pt x="0" y="77"/>
                      <a:pt x="0" y="77"/>
                      <a:pt x="0" y="7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6" y="26"/>
                      <a:pt x="47" y="26"/>
                      <a:pt x="47" y="27"/>
                    </a:cubicBezTo>
                    <a:cubicBezTo>
                      <a:pt x="47" y="28"/>
                      <a:pt x="46" y="28"/>
                      <a:pt x="46" y="29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2" y="92"/>
                      <a:pt x="32" y="92"/>
                      <a:pt x="32" y="92"/>
                    </a:cubicBezTo>
                    <a:cubicBezTo>
                      <a:pt x="32" y="93"/>
                      <a:pt x="32" y="94"/>
                      <a:pt x="31" y="94"/>
                    </a:cubicBezTo>
                    <a:cubicBezTo>
                      <a:pt x="31" y="94"/>
                      <a:pt x="30" y="94"/>
                      <a:pt x="30" y="94"/>
                    </a:cubicBezTo>
                    <a:close/>
                    <a:moveTo>
                      <a:pt x="4" y="75"/>
                    </a:moveTo>
                    <a:cubicBezTo>
                      <a:pt x="28" y="89"/>
                      <a:pt x="28" y="89"/>
                      <a:pt x="28" y="89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5"/>
                      <a:pt x="28" y="34"/>
                      <a:pt x="29" y="34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Freeform 1108">
                <a:extLst>
                  <a:ext uri="{FF2B5EF4-FFF2-40B4-BE49-F238E27FC236}">
                    <a16:creationId xmlns:a16="http://schemas.microsoft.com/office/drawing/2014/main" id="{15A14A07-0A1A-48FD-9502-7E70DC403B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16" y="2939"/>
                <a:ext cx="125" cy="144"/>
              </a:xfrm>
              <a:custGeom>
                <a:avLst/>
                <a:gdLst>
                  <a:gd name="T0" fmla="*/ 51 w 53"/>
                  <a:gd name="T1" fmla="*/ 61 h 61"/>
                  <a:gd name="T2" fmla="*/ 50 w 53"/>
                  <a:gd name="T3" fmla="*/ 61 h 61"/>
                  <a:gd name="T4" fmla="*/ 1 w 53"/>
                  <a:gd name="T5" fmla="*/ 32 h 61"/>
                  <a:gd name="T6" fmla="*/ 0 w 53"/>
                  <a:gd name="T7" fmla="*/ 31 h 61"/>
                  <a:gd name="T8" fmla="*/ 1 w 53"/>
                  <a:gd name="T9" fmla="*/ 29 h 61"/>
                  <a:gd name="T10" fmla="*/ 50 w 53"/>
                  <a:gd name="T11" fmla="*/ 1 h 61"/>
                  <a:gd name="T12" fmla="*/ 52 w 53"/>
                  <a:gd name="T13" fmla="*/ 1 h 61"/>
                  <a:gd name="T14" fmla="*/ 53 w 53"/>
                  <a:gd name="T15" fmla="*/ 2 h 61"/>
                  <a:gd name="T16" fmla="*/ 53 w 53"/>
                  <a:gd name="T17" fmla="*/ 59 h 61"/>
                  <a:gd name="T18" fmla="*/ 52 w 53"/>
                  <a:gd name="T19" fmla="*/ 61 h 61"/>
                  <a:gd name="T20" fmla="*/ 51 w 53"/>
                  <a:gd name="T21" fmla="*/ 61 h 61"/>
                  <a:gd name="T22" fmla="*/ 6 w 53"/>
                  <a:gd name="T23" fmla="*/ 31 h 61"/>
                  <a:gd name="T24" fmla="*/ 49 w 53"/>
                  <a:gd name="T25" fmla="*/ 55 h 61"/>
                  <a:gd name="T26" fmla="*/ 49 w 53"/>
                  <a:gd name="T27" fmla="*/ 6 h 61"/>
                  <a:gd name="T28" fmla="*/ 6 w 53"/>
                  <a:gd name="T29" fmla="*/ 3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1">
                    <a:moveTo>
                      <a:pt x="51" y="61"/>
                    </a:moveTo>
                    <a:cubicBezTo>
                      <a:pt x="50" y="61"/>
                      <a:pt x="50" y="61"/>
                      <a:pt x="50" y="61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0" y="32"/>
                      <a:pt x="0" y="31"/>
                      <a:pt x="0" y="31"/>
                    </a:cubicBezTo>
                    <a:cubicBezTo>
                      <a:pt x="0" y="30"/>
                      <a:pt x="0" y="29"/>
                      <a:pt x="1" y="29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0" y="0"/>
                      <a:pt x="51" y="0"/>
                      <a:pt x="52" y="1"/>
                    </a:cubicBezTo>
                    <a:cubicBezTo>
                      <a:pt x="52" y="1"/>
                      <a:pt x="53" y="2"/>
                      <a:pt x="53" y="2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9"/>
                      <a:pt x="52" y="60"/>
                      <a:pt x="52" y="61"/>
                    </a:cubicBezTo>
                    <a:cubicBezTo>
                      <a:pt x="51" y="61"/>
                      <a:pt x="51" y="61"/>
                      <a:pt x="51" y="61"/>
                    </a:cubicBezTo>
                    <a:close/>
                    <a:moveTo>
                      <a:pt x="6" y="31"/>
                    </a:moveTo>
                    <a:cubicBezTo>
                      <a:pt x="49" y="55"/>
                      <a:pt x="49" y="55"/>
                      <a:pt x="49" y="55"/>
                    </a:cubicBezTo>
                    <a:cubicBezTo>
                      <a:pt x="49" y="6"/>
                      <a:pt x="49" y="6"/>
                      <a:pt x="49" y="6"/>
                    </a:cubicBezTo>
                    <a:lnTo>
                      <a:pt x="6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Freeform 1109">
                <a:extLst>
                  <a:ext uri="{FF2B5EF4-FFF2-40B4-BE49-F238E27FC236}">
                    <a16:creationId xmlns:a16="http://schemas.microsoft.com/office/drawing/2014/main" id="{5DD5A509-CF8A-44F4-9A31-CC547DC84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08" y="2762"/>
                <a:ext cx="33" cy="26"/>
              </a:xfrm>
              <a:custGeom>
                <a:avLst/>
                <a:gdLst>
                  <a:gd name="T0" fmla="*/ 12 w 14"/>
                  <a:gd name="T1" fmla="*/ 11 h 11"/>
                  <a:gd name="T2" fmla="*/ 11 w 14"/>
                  <a:gd name="T3" fmla="*/ 11 h 11"/>
                  <a:gd name="T4" fmla="*/ 1 w 14"/>
                  <a:gd name="T5" fmla="*/ 5 h 11"/>
                  <a:gd name="T6" fmla="*/ 0 w 14"/>
                  <a:gd name="T7" fmla="*/ 4 h 11"/>
                  <a:gd name="T8" fmla="*/ 1 w 14"/>
                  <a:gd name="T9" fmla="*/ 2 h 11"/>
                  <a:gd name="T10" fmla="*/ 3 w 14"/>
                  <a:gd name="T11" fmla="*/ 0 h 11"/>
                  <a:gd name="T12" fmla="*/ 5 w 14"/>
                  <a:gd name="T13" fmla="*/ 0 h 11"/>
                  <a:gd name="T14" fmla="*/ 13 w 14"/>
                  <a:gd name="T15" fmla="*/ 5 h 11"/>
                  <a:gd name="T16" fmla="*/ 14 w 14"/>
                  <a:gd name="T17" fmla="*/ 6 h 11"/>
                  <a:gd name="T18" fmla="*/ 14 w 14"/>
                  <a:gd name="T19" fmla="*/ 9 h 11"/>
                  <a:gd name="T20" fmla="*/ 13 w 14"/>
                  <a:gd name="T21" fmla="*/ 11 h 11"/>
                  <a:gd name="T22" fmla="*/ 12 w 14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1">
                    <a:moveTo>
                      <a:pt x="12" y="11"/>
                    </a:moveTo>
                    <a:cubicBezTo>
                      <a:pt x="11" y="11"/>
                      <a:pt x="11" y="11"/>
                      <a:pt x="11" y="1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4" y="6"/>
                      <a:pt x="14" y="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10"/>
                      <a:pt x="13" y="10"/>
                      <a:pt x="13" y="11"/>
                    </a:cubicBezTo>
                    <a:cubicBezTo>
                      <a:pt x="12" y="11"/>
                      <a:pt x="12" y="11"/>
                      <a:pt x="1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2" name="Freeform 1110">
                <a:extLst>
                  <a:ext uri="{FF2B5EF4-FFF2-40B4-BE49-F238E27FC236}">
                    <a16:creationId xmlns:a16="http://schemas.microsoft.com/office/drawing/2014/main" id="{72677704-AE0C-461F-AD19-3A3512D4C7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01" y="3007"/>
                <a:ext cx="140" cy="111"/>
              </a:xfrm>
              <a:custGeom>
                <a:avLst/>
                <a:gdLst>
                  <a:gd name="T0" fmla="*/ 51 w 59"/>
                  <a:gd name="T1" fmla="*/ 47 h 47"/>
                  <a:gd name="T2" fmla="*/ 50 w 59"/>
                  <a:gd name="T3" fmla="*/ 46 h 47"/>
                  <a:gd name="T4" fmla="*/ 49 w 59"/>
                  <a:gd name="T5" fmla="*/ 45 h 47"/>
                  <a:gd name="T6" fmla="*/ 49 w 59"/>
                  <a:gd name="T7" fmla="*/ 34 h 47"/>
                  <a:gd name="T8" fmla="*/ 1 w 59"/>
                  <a:gd name="T9" fmla="*/ 6 h 47"/>
                  <a:gd name="T10" fmla="*/ 0 w 59"/>
                  <a:gd name="T11" fmla="*/ 5 h 47"/>
                  <a:gd name="T12" fmla="*/ 1 w 59"/>
                  <a:gd name="T13" fmla="*/ 3 h 47"/>
                  <a:gd name="T14" fmla="*/ 5 w 59"/>
                  <a:gd name="T15" fmla="*/ 1 h 47"/>
                  <a:gd name="T16" fmla="*/ 7 w 59"/>
                  <a:gd name="T17" fmla="*/ 1 h 47"/>
                  <a:gd name="T18" fmla="*/ 58 w 59"/>
                  <a:gd name="T19" fmla="*/ 30 h 47"/>
                  <a:gd name="T20" fmla="*/ 59 w 59"/>
                  <a:gd name="T21" fmla="*/ 32 h 47"/>
                  <a:gd name="T22" fmla="*/ 59 w 59"/>
                  <a:gd name="T23" fmla="*/ 41 h 47"/>
                  <a:gd name="T24" fmla="*/ 58 w 59"/>
                  <a:gd name="T25" fmla="*/ 43 h 47"/>
                  <a:gd name="T26" fmla="*/ 52 w 59"/>
                  <a:gd name="T27" fmla="*/ 46 h 47"/>
                  <a:gd name="T28" fmla="*/ 51 w 59"/>
                  <a:gd name="T29" fmla="*/ 47 h 47"/>
                  <a:gd name="T30" fmla="*/ 53 w 59"/>
                  <a:gd name="T31" fmla="*/ 32 h 47"/>
                  <a:gd name="T32" fmla="*/ 53 w 59"/>
                  <a:gd name="T33" fmla="*/ 33 h 47"/>
                  <a:gd name="T34" fmla="*/ 53 w 59"/>
                  <a:gd name="T35" fmla="*/ 41 h 47"/>
                  <a:gd name="T36" fmla="*/ 55 w 59"/>
                  <a:gd name="T37" fmla="*/ 40 h 47"/>
                  <a:gd name="T38" fmla="*/ 55 w 59"/>
                  <a:gd name="T39" fmla="*/ 33 h 47"/>
                  <a:gd name="T40" fmla="*/ 53 w 59"/>
                  <a:gd name="T41" fmla="*/ 3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7">
                    <a:moveTo>
                      <a:pt x="51" y="47"/>
                    </a:moveTo>
                    <a:cubicBezTo>
                      <a:pt x="51" y="47"/>
                      <a:pt x="50" y="47"/>
                      <a:pt x="50" y="46"/>
                    </a:cubicBezTo>
                    <a:cubicBezTo>
                      <a:pt x="50" y="46"/>
                      <a:pt x="49" y="45"/>
                      <a:pt x="49" y="45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0"/>
                      <a:pt x="7" y="0"/>
                      <a:pt x="7" y="1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58" y="30"/>
                      <a:pt x="59" y="31"/>
                      <a:pt x="59" y="32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42"/>
                      <a:pt x="58" y="43"/>
                      <a:pt x="58" y="43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2" y="47"/>
                      <a:pt x="51" y="47"/>
                      <a:pt x="51" y="47"/>
                    </a:cubicBezTo>
                    <a:close/>
                    <a:moveTo>
                      <a:pt x="53" y="32"/>
                    </a:moveTo>
                    <a:cubicBezTo>
                      <a:pt x="53" y="32"/>
                      <a:pt x="53" y="32"/>
                      <a:pt x="53" y="33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55" y="33"/>
                      <a:pt x="55" y="33"/>
                      <a:pt x="55" y="33"/>
                    </a:cubicBezTo>
                    <a:lnTo>
                      <a:pt x="53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Freeform 1111">
                <a:extLst>
                  <a:ext uri="{FF2B5EF4-FFF2-40B4-BE49-F238E27FC236}">
                    <a16:creationId xmlns:a16="http://schemas.microsoft.com/office/drawing/2014/main" id="{7782AA9C-19D4-4E6D-9C26-EEB6B9FCDF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27" y="2766"/>
                <a:ext cx="114" cy="175"/>
              </a:xfrm>
              <a:custGeom>
                <a:avLst/>
                <a:gdLst>
                  <a:gd name="T0" fmla="*/ 45 w 48"/>
                  <a:gd name="T1" fmla="*/ 74 h 74"/>
                  <a:gd name="T2" fmla="*/ 44 w 48"/>
                  <a:gd name="T3" fmla="*/ 74 h 74"/>
                  <a:gd name="T4" fmla="*/ 1 w 48"/>
                  <a:gd name="T5" fmla="*/ 49 h 74"/>
                  <a:gd name="T6" fmla="*/ 0 w 48"/>
                  <a:gd name="T7" fmla="*/ 47 h 74"/>
                  <a:gd name="T8" fmla="*/ 0 w 48"/>
                  <a:gd name="T9" fmla="*/ 21 h 74"/>
                  <a:gd name="T10" fmla="*/ 1 w 48"/>
                  <a:gd name="T11" fmla="*/ 19 h 74"/>
                  <a:gd name="T12" fmla="*/ 34 w 48"/>
                  <a:gd name="T13" fmla="*/ 1 h 74"/>
                  <a:gd name="T14" fmla="*/ 36 w 48"/>
                  <a:gd name="T15" fmla="*/ 1 h 74"/>
                  <a:gd name="T16" fmla="*/ 47 w 48"/>
                  <a:gd name="T17" fmla="*/ 7 h 74"/>
                  <a:gd name="T18" fmla="*/ 48 w 48"/>
                  <a:gd name="T19" fmla="*/ 9 h 74"/>
                  <a:gd name="T20" fmla="*/ 48 w 48"/>
                  <a:gd name="T21" fmla="*/ 71 h 74"/>
                  <a:gd name="T22" fmla="*/ 47 w 48"/>
                  <a:gd name="T23" fmla="*/ 73 h 74"/>
                  <a:gd name="T24" fmla="*/ 46 w 48"/>
                  <a:gd name="T25" fmla="*/ 74 h 74"/>
                  <a:gd name="T26" fmla="*/ 45 w 48"/>
                  <a:gd name="T27" fmla="*/ 74 h 74"/>
                  <a:gd name="T28" fmla="*/ 46 w 48"/>
                  <a:gd name="T29" fmla="*/ 71 h 74"/>
                  <a:gd name="T30" fmla="*/ 46 w 48"/>
                  <a:gd name="T31" fmla="*/ 71 h 74"/>
                  <a:gd name="T32" fmla="*/ 4 w 48"/>
                  <a:gd name="T33" fmla="*/ 46 h 74"/>
                  <a:gd name="T34" fmla="*/ 44 w 48"/>
                  <a:gd name="T35" fmla="*/ 69 h 74"/>
                  <a:gd name="T36" fmla="*/ 44 w 48"/>
                  <a:gd name="T37" fmla="*/ 10 h 74"/>
                  <a:gd name="T38" fmla="*/ 35 w 48"/>
                  <a:gd name="T39" fmla="*/ 5 h 74"/>
                  <a:gd name="T40" fmla="*/ 4 w 48"/>
                  <a:gd name="T41" fmla="*/ 22 h 74"/>
                  <a:gd name="T42" fmla="*/ 4 w 48"/>
                  <a:gd name="T43" fmla="*/ 4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8" h="74">
                    <a:moveTo>
                      <a:pt x="45" y="74"/>
                    </a:moveTo>
                    <a:cubicBezTo>
                      <a:pt x="44" y="74"/>
                      <a:pt x="44" y="74"/>
                      <a:pt x="44" y="74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0" y="49"/>
                      <a:pt x="0" y="48"/>
                      <a:pt x="0" y="4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0" y="20"/>
                      <a:pt x="1" y="19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0"/>
                      <a:pt x="35" y="0"/>
                      <a:pt x="36" y="1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7" y="8"/>
                      <a:pt x="48" y="8"/>
                      <a:pt x="48" y="9"/>
                    </a:cubicBezTo>
                    <a:cubicBezTo>
                      <a:pt x="48" y="71"/>
                      <a:pt x="48" y="71"/>
                      <a:pt x="48" y="71"/>
                    </a:cubicBezTo>
                    <a:cubicBezTo>
                      <a:pt x="48" y="72"/>
                      <a:pt x="47" y="73"/>
                      <a:pt x="47" y="73"/>
                    </a:cubicBezTo>
                    <a:cubicBezTo>
                      <a:pt x="46" y="74"/>
                      <a:pt x="46" y="74"/>
                      <a:pt x="46" y="74"/>
                    </a:cubicBezTo>
                    <a:cubicBezTo>
                      <a:pt x="45" y="74"/>
                      <a:pt x="45" y="74"/>
                      <a:pt x="45" y="74"/>
                    </a:cubicBezTo>
                    <a:close/>
                    <a:moveTo>
                      <a:pt x="46" y="71"/>
                    </a:moveTo>
                    <a:cubicBezTo>
                      <a:pt x="46" y="71"/>
                      <a:pt x="46" y="71"/>
                      <a:pt x="46" y="71"/>
                    </a:cubicBezTo>
                    <a:close/>
                    <a:moveTo>
                      <a:pt x="4" y="46"/>
                    </a:moveTo>
                    <a:cubicBezTo>
                      <a:pt x="44" y="69"/>
                      <a:pt x="44" y="69"/>
                      <a:pt x="44" y="69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4" y="22"/>
                      <a:pt x="4" y="22"/>
                      <a:pt x="4" y="22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4" name="Freeform 1112">
                <a:extLst>
                  <a:ext uri="{FF2B5EF4-FFF2-40B4-BE49-F238E27FC236}">
                    <a16:creationId xmlns:a16="http://schemas.microsoft.com/office/drawing/2014/main" id="{E7299B15-A4B9-43FB-B8F1-76FF42B129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71" y="3163"/>
                <a:ext cx="26" cy="31"/>
              </a:xfrm>
              <a:custGeom>
                <a:avLst/>
                <a:gdLst>
                  <a:gd name="T0" fmla="*/ 9 w 11"/>
                  <a:gd name="T1" fmla="*/ 13 h 13"/>
                  <a:gd name="T2" fmla="*/ 8 w 11"/>
                  <a:gd name="T3" fmla="*/ 13 h 13"/>
                  <a:gd name="T4" fmla="*/ 1 w 11"/>
                  <a:gd name="T5" fmla="*/ 8 h 13"/>
                  <a:gd name="T6" fmla="*/ 0 w 11"/>
                  <a:gd name="T7" fmla="*/ 7 h 13"/>
                  <a:gd name="T8" fmla="*/ 1 w 11"/>
                  <a:gd name="T9" fmla="*/ 5 h 13"/>
                  <a:gd name="T10" fmla="*/ 8 w 11"/>
                  <a:gd name="T11" fmla="*/ 1 h 13"/>
                  <a:gd name="T12" fmla="*/ 10 w 11"/>
                  <a:gd name="T13" fmla="*/ 1 h 13"/>
                  <a:gd name="T14" fmla="*/ 11 w 11"/>
                  <a:gd name="T15" fmla="*/ 2 h 13"/>
                  <a:gd name="T16" fmla="*/ 11 w 11"/>
                  <a:gd name="T17" fmla="*/ 11 h 13"/>
                  <a:gd name="T18" fmla="*/ 10 w 11"/>
                  <a:gd name="T19" fmla="*/ 13 h 13"/>
                  <a:gd name="T20" fmla="*/ 9 w 11"/>
                  <a:gd name="T21" fmla="*/ 13 h 13"/>
                  <a:gd name="T22" fmla="*/ 6 w 11"/>
                  <a:gd name="T23" fmla="*/ 7 h 13"/>
                  <a:gd name="T24" fmla="*/ 7 w 11"/>
                  <a:gd name="T25" fmla="*/ 7 h 13"/>
                  <a:gd name="T26" fmla="*/ 7 w 11"/>
                  <a:gd name="T27" fmla="*/ 6 h 13"/>
                  <a:gd name="T28" fmla="*/ 6 w 11"/>
                  <a:gd name="T2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3">
                    <a:moveTo>
                      <a:pt x="9" y="13"/>
                    </a:moveTo>
                    <a:cubicBezTo>
                      <a:pt x="9" y="13"/>
                      <a:pt x="8" y="13"/>
                      <a:pt x="8" y="1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0"/>
                      <a:pt x="10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1" y="12"/>
                      <a:pt x="10" y="13"/>
                    </a:cubicBezTo>
                    <a:cubicBezTo>
                      <a:pt x="10" y="13"/>
                      <a:pt x="9" y="13"/>
                      <a:pt x="9" y="13"/>
                    </a:cubicBezTo>
                    <a:close/>
                    <a:moveTo>
                      <a:pt x="6" y="7"/>
                    </a:move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5" name="Freeform 1113">
                <a:extLst>
                  <a:ext uri="{FF2B5EF4-FFF2-40B4-BE49-F238E27FC236}">
                    <a16:creationId xmlns:a16="http://schemas.microsoft.com/office/drawing/2014/main" id="{B901F764-2BB1-4D2F-B1A8-5561246F9D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3017"/>
                <a:ext cx="132" cy="172"/>
              </a:xfrm>
              <a:custGeom>
                <a:avLst/>
                <a:gdLst>
                  <a:gd name="T0" fmla="*/ 2 w 56"/>
                  <a:gd name="T1" fmla="*/ 73 h 73"/>
                  <a:gd name="T2" fmla="*/ 1 w 56"/>
                  <a:gd name="T3" fmla="*/ 73 h 73"/>
                  <a:gd name="T4" fmla="*/ 0 w 56"/>
                  <a:gd name="T5" fmla="*/ 71 h 73"/>
                  <a:gd name="T6" fmla="*/ 0 w 56"/>
                  <a:gd name="T7" fmla="*/ 63 h 73"/>
                  <a:gd name="T8" fmla="*/ 1 w 56"/>
                  <a:gd name="T9" fmla="*/ 62 h 73"/>
                  <a:gd name="T10" fmla="*/ 3 w 56"/>
                  <a:gd name="T11" fmla="*/ 60 h 73"/>
                  <a:gd name="T12" fmla="*/ 3 w 56"/>
                  <a:gd name="T13" fmla="*/ 2 h 73"/>
                  <a:gd name="T14" fmla="*/ 4 w 56"/>
                  <a:gd name="T15" fmla="*/ 0 h 73"/>
                  <a:gd name="T16" fmla="*/ 6 w 56"/>
                  <a:gd name="T17" fmla="*/ 0 h 73"/>
                  <a:gd name="T18" fmla="*/ 55 w 56"/>
                  <a:gd name="T19" fmla="*/ 28 h 73"/>
                  <a:gd name="T20" fmla="*/ 56 w 56"/>
                  <a:gd name="T21" fmla="*/ 30 h 73"/>
                  <a:gd name="T22" fmla="*/ 56 w 56"/>
                  <a:gd name="T23" fmla="*/ 42 h 73"/>
                  <a:gd name="T24" fmla="*/ 55 w 56"/>
                  <a:gd name="T25" fmla="*/ 43 h 73"/>
                  <a:gd name="T26" fmla="*/ 3 w 56"/>
                  <a:gd name="T27" fmla="*/ 73 h 73"/>
                  <a:gd name="T28" fmla="*/ 2 w 56"/>
                  <a:gd name="T29" fmla="*/ 73 h 73"/>
                  <a:gd name="T30" fmla="*/ 4 w 56"/>
                  <a:gd name="T31" fmla="*/ 65 h 73"/>
                  <a:gd name="T32" fmla="*/ 4 w 56"/>
                  <a:gd name="T33" fmla="*/ 68 h 73"/>
                  <a:gd name="T34" fmla="*/ 52 w 56"/>
                  <a:gd name="T35" fmla="*/ 40 h 73"/>
                  <a:gd name="T36" fmla="*/ 52 w 56"/>
                  <a:gd name="T37" fmla="*/ 31 h 73"/>
                  <a:gd name="T38" fmla="*/ 7 w 56"/>
                  <a:gd name="T39" fmla="*/ 5 h 73"/>
                  <a:gd name="T40" fmla="*/ 7 w 56"/>
                  <a:gd name="T41" fmla="*/ 61 h 73"/>
                  <a:gd name="T42" fmla="*/ 6 w 56"/>
                  <a:gd name="T43" fmla="*/ 63 h 73"/>
                  <a:gd name="T44" fmla="*/ 4 w 56"/>
                  <a:gd name="T45" fmla="*/ 65 h 73"/>
                  <a:gd name="T46" fmla="*/ 54 w 56"/>
                  <a:gd name="T47" fmla="*/ 42 h 73"/>
                  <a:gd name="T48" fmla="*/ 54 w 56"/>
                  <a:gd name="T49" fmla="*/ 4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73">
                    <a:moveTo>
                      <a:pt x="2" y="73"/>
                    </a:moveTo>
                    <a:cubicBezTo>
                      <a:pt x="1" y="73"/>
                      <a:pt x="1" y="73"/>
                      <a:pt x="1" y="73"/>
                    </a:cubicBezTo>
                    <a:cubicBezTo>
                      <a:pt x="0" y="73"/>
                      <a:pt x="0" y="72"/>
                      <a:pt x="0" y="71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3"/>
                      <a:pt x="0" y="62"/>
                      <a:pt x="1" y="62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0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5" y="28"/>
                      <a:pt x="56" y="29"/>
                      <a:pt x="56" y="30"/>
                    </a:cubicBezTo>
                    <a:cubicBezTo>
                      <a:pt x="56" y="42"/>
                      <a:pt x="56" y="42"/>
                      <a:pt x="56" y="42"/>
                    </a:cubicBezTo>
                    <a:cubicBezTo>
                      <a:pt x="56" y="42"/>
                      <a:pt x="55" y="43"/>
                      <a:pt x="55" y="43"/>
                    </a:cubicBezTo>
                    <a:cubicBezTo>
                      <a:pt x="3" y="73"/>
                      <a:pt x="3" y="73"/>
                      <a:pt x="3" y="73"/>
                    </a:cubicBezTo>
                    <a:cubicBezTo>
                      <a:pt x="2" y="73"/>
                      <a:pt x="2" y="73"/>
                      <a:pt x="2" y="73"/>
                    </a:cubicBezTo>
                    <a:close/>
                    <a:moveTo>
                      <a:pt x="4" y="65"/>
                    </a:moveTo>
                    <a:cubicBezTo>
                      <a:pt x="4" y="68"/>
                      <a:pt x="4" y="68"/>
                      <a:pt x="4" y="68"/>
                    </a:cubicBezTo>
                    <a:cubicBezTo>
                      <a:pt x="52" y="40"/>
                      <a:pt x="52" y="40"/>
                      <a:pt x="52" y="40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7" y="62"/>
                      <a:pt x="7" y="63"/>
                      <a:pt x="6" y="63"/>
                    </a:cubicBezTo>
                    <a:lnTo>
                      <a:pt x="4" y="65"/>
                    </a:lnTo>
                    <a:close/>
                    <a:moveTo>
                      <a:pt x="54" y="42"/>
                    </a:moveTo>
                    <a:cubicBezTo>
                      <a:pt x="54" y="42"/>
                      <a:pt x="54" y="42"/>
                      <a:pt x="54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6" name="Freeform 1114">
                <a:extLst>
                  <a:ext uri="{FF2B5EF4-FFF2-40B4-BE49-F238E27FC236}">
                    <a16:creationId xmlns:a16="http://schemas.microsoft.com/office/drawing/2014/main" id="{F44C9CCF-1481-44F5-91D5-D4F0D82D98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0" y="3114"/>
                <a:ext cx="134" cy="153"/>
              </a:xfrm>
              <a:custGeom>
                <a:avLst/>
                <a:gdLst>
                  <a:gd name="T0" fmla="*/ 55 w 57"/>
                  <a:gd name="T1" fmla="*/ 65 h 65"/>
                  <a:gd name="T2" fmla="*/ 54 w 57"/>
                  <a:gd name="T3" fmla="*/ 65 h 65"/>
                  <a:gd name="T4" fmla="*/ 1 w 57"/>
                  <a:gd name="T5" fmla="*/ 34 h 65"/>
                  <a:gd name="T6" fmla="*/ 0 w 57"/>
                  <a:gd name="T7" fmla="*/ 33 h 65"/>
                  <a:gd name="T8" fmla="*/ 1 w 57"/>
                  <a:gd name="T9" fmla="*/ 31 h 65"/>
                  <a:gd name="T10" fmla="*/ 54 w 57"/>
                  <a:gd name="T11" fmla="*/ 1 h 65"/>
                  <a:gd name="T12" fmla="*/ 56 w 57"/>
                  <a:gd name="T13" fmla="*/ 1 h 65"/>
                  <a:gd name="T14" fmla="*/ 57 w 57"/>
                  <a:gd name="T15" fmla="*/ 2 h 65"/>
                  <a:gd name="T16" fmla="*/ 57 w 57"/>
                  <a:gd name="T17" fmla="*/ 63 h 65"/>
                  <a:gd name="T18" fmla="*/ 56 w 57"/>
                  <a:gd name="T19" fmla="*/ 65 h 65"/>
                  <a:gd name="T20" fmla="*/ 55 w 57"/>
                  <a:gd name="T21" fmla="*/ 65 h 65"/>
                  <a:gd name="T22" fmla="*/ 6 w 57"/>
                  <a:gd name="T23" fmla="*/ 33 h 65"/>
                  <a:gd name="T24" fmla="*/ 53 w 57"/>
                  <a:gd name="T25" fmla="*/ 59 h 65"/>
                  <a:gd name="T26" fmla="*/ 53 w 57"/>
                  <a:gd name="T27" fmla="*/ 6 h 65"/>
                  <a:gd name="T28" fmla="*/ 6 w 57"/>
                  <a:gd name="T29" fmla="*/ 3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65">
                    <a:moveTo>
                      <a:pt x="55" y="65"/>
                    </a:moveTo>
                    <a:cubicBezTo>
                      <a:pt x="54" y="65"/>
                      <a:pt x="54" y="65"/>
                      <a:pt x="54" y="6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0" y="33"/>
                      <a:pt x="0" y="33"/>
                    </a:cubicBezTo>
                    <a:cubicBezTo>
                      <a:pt x="0" y="32"/>
                      <a:pt x="1" y="31"/>
                      <a:pt x="1" y="3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4" y="0"/>
                      <a:pt x="55" y="0"/>
                      <a:pt x="56" y="1"/>
                    </a:cubicBezTo>
                    <a:cubicBezTo>
                      <a:pt x="56" y="1"/>
                      <a:pt x="57" y="2"/>
                      <a:pt x="57" y="2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7" y="63"/>
                      <a:pt x="56" y="64"/>
                      <a:pt x="56" y="65"/>
                    </a:cubicBezTo>
                    <a:cubicBezTo>
                      <a:pt x="55" y="65"/>
                      <a:pt x="55" y="65"/>
                      <a:pt x="55" y="65"/>
                    </a:cubicBezTo>
                    <a:close/>
                    <a:moveTo>
                      <a:pt x="6" y="33"/>
                    </a:move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6"/>
                      <a:pt x="53" y="6"/>
                      <a:pt x="53" y="6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7" name="Freeform 1115">
                <a:extLst>
                  <a:ext uri="{FF2B5EF4-FFF2-40B4-BE49-F238E27FC236}">
                    <a16:creationId xmlns:a16="http://schemas.microsoft.com/office/drawing/2014/main" id="{B4FE9D0F-32DB-4157-B21F-C8C08387A6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9" y="2641"/>
                <a:ext cx="220" cy="125"/>
              </a:xfrm>
              <a:custGeom>
                <a:avLst/>
                <a:gdLst>
                  <a:gd name="T0" fmla="*/ 71 w 93"/>
                  <a:gd name="T1" fmla="*/ 53 h 53"/>
                  <a:gd name="T2" fmla="*/ 70 w 93"/>
                  <a:gd name="T3" fmla="*/ 53 h 53"/>
                  <a:gd name="T4" fmla="*/ 20 w 93"/>
                  <a:gd name="T5" fmla="*/ 24 h 53"/>
                  <a:gd name="T6" fmla="*/ 20 w 93"/>
                  <a:gd name="T7" fmla="*/ 25 h 53"/>
                  <a:gd name="T8" fmla="*/ 19 w 93"/>
                  <a:gd name="T9" fmla="*/ 27 h 53"/>
                  <a:gd name="T10" fmla="*/ 17 w 93"/>
                  <a:gd name="T11" fmla="*/ 27 h 53"/>
                  <a:gd name="T12" fmla="*/ 1 w 93"/>
                  <a:gd name="T13" fmla="*/ 18 h 53"/>
                  <a:gd name="T14" fmla="*/ 0 w 93"/>
                  <a:gd name="T15" fmla="*/ 16 h 53"/>
                  <a:gd name="T16" fmla="*/ 1 w 93"/>
                  <a:gd name="T17" fmla="*/ 14 h 53"/>
                  <a:gd name="T18" fmla="*/ 25 w 93"/>
                  <a:gd name="T19" fmla="*/ 0 h 53"/>
                  <a:gd name="T20" fmla="*/ 27 w 93"/>
                  <a:gd name="T21" fmla="*/ 0 h 53"/>
                  <a:gd name="T22" fmla="*/ 92 w 93"/>
                  <a:gd name="T23" fmla="*/ 38 h 53"/>
                  <a:gd name="T24" fmla="*/ 93 w 93"/>
                  <a:gd name="T25" fmla="*/ 40 h 53"/>
                  <a:gd name="T26" fmla="*/ 92 w 93"/>
                  <a:gd name="T27" fmla="*/ 41 h 53"/>
                  <a:gd name="T28" fmla="*/ 72 w 93"/>
                  <a:gd name="T29" fmla="*/ 53 h 53"/>
                  <a:gd name="T30" fmla="*/ 71 w 93"/>
                  <a:gd name="T31" fmla="*/ 53 h 53"/>
                  <a:gd name="T32" fmla="*/ 18 w 93"/>
                  <a:gd name="T33" fmla="*/ 19 h 53"/>
                  <a:gd name="T34" fmla="*/ 19 w 93"/>
                  <a:gd name="T35" fmla="*/ 19 h 53"/>
                  <a:gd name="T36" fmla="*/ 71 w 93"/>
                  <a:gd name="T37" fmla="*/ 49 h 53"/>
                  <a:gd name="T38" fmla="*/ 87 w 93"/>
                  <a:gd name="T39" fmla="*/ 40 h 53"/>
                  <a:gd name="T40" fmla="*/ 26 w 93"/>
                  <a:gd name="T41" fmla="*/ 4 h 53"/>
                  <a:gd name="T42" fmla="*/ 6 w 93"/>
                  <a:gd name="T43" fmla="*/ 16 h 53"/>
                  <a:gd name="T44" fmla="*/ 16 w 93"/>
                  <a:gd name="T45" fmla="*/ 22 h 53"/>
                  <a:gd name="T46" fmla="*/ 16 w 93"/>
                  <a:gd name="T47" fmla="*/ 21 h 53"/>
                  <a:gd name="T48" fmla="*/ 17 w 93"/>
                  <a:gd name="T49" fmla="*/ 19 h 53"/>
                  <a:gd name="T50" fmla="*/ 18 w 93"/>
                  <a:gd name="T51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3" h="53">
                    <a:moveTo>
                      <a:pt x="71" y="53"/>
                    </a:moveTo>
                    <a:cubicBezTo>
                      <a:pt x="71" y="53"/>
                      <a:pt x="71" y="53"/>
                      <a:pt x="70" y="53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0" y="26"/>
                      <a:pt x="20" y="26"/>
                      <a:pt x="19" y="27"/>
                    </a:cubicBezTo>
                    <a:cubicBezTo>
                      <a:pt x="19" y="27"/>
                      <a:pt x="18" y="27"/>
                      <a:pt x="17" y="27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7"/>
                      <a:pt x="0" y="17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0"/>
                      <a:pt x="27" y="0"/>
                      <a:pt x="27" y="0"/>
                    </a:cubicBezTo>
                    <a:cubicBezTo>
                      <a:pt x="92" y="38"/>
                      <a:pt x="92" y="38"/>
                      <a:pt x="92" y="38"/>
                    </a:cubicBezTo>
                    <a:cubicBezTo>
                      <a:pt x="93" y="38"/>
                      <a:pt x="93" y="39"/>
                      <a:pt x="93" y="40"/>
                    </a:cubicBezTo>
                    <a:cubicBezTo>
                      <a:pt x="93" y="40"/>
                      <a:pt x="93" y="41"/>
                      <a:pt x="92" y="41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3"/>
                      <a:pt x="72" y="53"/>
                      <a:pt x="71" y="53"/>
                    </a:cubicBezTo>
                    <a:close/>
                    <a:moveTo>
                      <a:pt x="18" y="19"/>
                    </a:moveTo>
                    <a:cubicBezTo>
                      <a:pt x="18" y="19"/>
                      <a:pt x="19" y="19"/>
                      <a:pt x="19" y="19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87" y="40"/>
                      <a:pt x="87" y="40"/>
                      <a:pt x="87" y="40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20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 1116">
                <a:extLst>
                  <a:ext uri="{FF2B5EF4-FFF2-40B4-BE49-F238E27FC236}">
                    <a16:creationId xmlns:a16="http://schemas.microsoft.com/office/drawing/2014/main" id="{C4DC64FB-3992-4DF8-A6FA-75EBA9EF58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2" y="2814"/>
                <a:ext cx="40" cy="66"/>
              </a:xfrm>
              <a:custGeom>
                <a:avLst/>
                <a:gdLst>
                  <a:gd name="T0" fmla="*/ 15 w 17"/>
                  <a:gd name="T1" fmla="*/ 28 h 28"/>
                  <a:gd name="T2" fmla="*/ 14 w 17"/>
                  <a:gd name="T3" fmla="*/ 28 h 28"/>
                  <a:gd name="T4" fmla="*/ 1 w 17"/>
                  <a:gd name="T5" fmla="*/ 20 h 28"/>
                  <a:gd name="T6" fmla="*/ 0 w 17"/>
                  <a:gd name="T7" fmla="*/ 18 h 28"/>
                  <a:gd name="T8" fmla="*/ 0 w 17"/>
                  <a:gd name="T9" fmla="*/ 2 h 28"/>
                  <a:gd name="T10" fmla="*/ 1 w 17"/>
                  <a:gd name="T11" fmla="*/ 1 h 28"/>
                  <a:gd name="T12" fmla="*/ 3 w 17"/>
                  <a:gd name="T13" fmla="*/ 1 h 28"/>
                  <a:gd name="T14" fmla="*/ 8 w 17"/>
                  <a:gd name="T15" fmla="*/ 4 h 28"/>
                  <a:gd name="T16" fmla="*/ 14 w 17"/>
                  <a:gd name="T17" fmla="*/ 0 h 28"/>
                  <a:gd name="T18" fmla="*/ 16 w 17"/>
                  <a:gd name="T19" fmla="*/ 0 h 28"/>
                  <a:gd name="T20" fmla="*/ 17 w 17"/>
                  <a:gd name="T21" fmla="*/ 2 h 28"/>
                  <a:gd name="T22" fmla="*/ 17 w 17"/>
                  <a:gd name="T23" fmla="*/ 26 h 28"/>
                  <a:gd name="T24" fmla="*/ 16 w 17"/>
                  <a:gd name="T25" fmla="*/ 28 h 28"/>
                  <a:gd name="T26" fmla="*/ 15 w 17"/>
                  <a:gd name="T27" fmla="*/ 28 h 28"/>
                  <a:gd name="T28" fmla="*/ 4 w 17"/>
                  <a:gd name="T29" fmla="*/ 17 h 28"/>
                  <a:gd name="T30" fmla="*/ 13 w 17"/>
                  <a:gd name="T31" fmla="*/ 23 h 28"/>
                  <a:gd name="T32" fmla="*/ 13 w 17"/>
                  <a:gd name="T33" fmla="*/ 6 h 28"/>
                  <a:gd name="T34" fmla="*/ 9 w 17"/>
                  <a:gd name="T35" fmla="*/ 8 h 28"/>
                  <a:gd name="T36" fmla="*/ 7 w 17"/>
                  <a:gd name="T37" fmla="*/ 8 h 28"/>
                  <a:gd name="T38" fmla="*/ 4 w 17"/>
                  <a:gd name="T39" fmla="*/ 6 h 28"/>
                  <a:gd name="T40" fmla="*/ 4 w 17"/>
                  <a:gd name="T41" fmla="*/ 1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28">
                    <a:moveTo>
                      <a:pt x="15" y="28"/>
                    </a:moveTo>
                    <a:cubicBezTo>
                      <a:pt x="15" y="28"/>
                      <a:pt x="15" y="28"/>
                      <a:pt x="14" y="2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19"/>
                      <a:pt x="0" y="1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17" y="1"/>
                      <a:pt x="17" y="1"/>
                      <a:pt x="17" y="2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7"/>
                      <a:pt x="17" y="28"/>
                      <a:pt x="16" y="28"/>
                    </a:cubicBezTo>
                    <a:cubicBezTo>
                      <a:pt x="16" y="28"/>
                      <a:pt x="16" y="28"/>
                      <a:pt x="15" y="28"/>
                    </a:cubicBezTo>
                    <a:close/>
                    <a:moveTo>
                      <a:pt x="4" y="17"/>
                    </a:moveTo>
                    <a:cubicBezTo>
                      <a:pt x="13" y="23"/>
                      <a:pt x="13" y="23"/>
                      <a:pt x="13" y="23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8"/>
                      <a:pt x="8" y="8"/>
                      <a:pt x="7" y="8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Freeform 1117">
                <a:extLst>
                  <a:ext uri="{FF2B5EF4-FFF2-40B4-BE49-F238E27FC236}">
                    <a16:creationId xmlns:a16="http://schemas.microsoft.com/office/drawing/2014/main" id="{84B65181-5DF2-4A02-82D2-544D8B12A4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79" y="2289"/>
                <a:ext cx="304" cy="525"/>
              </a:xfrm>
              <a:custGeom>
                <a:avLst/>
                <a:gdLst>
                  <a:gd name="T0" fmla="*/ 127 w 129"/>
                  <a:gd name="T1" fmla="*/ 222 h 222"/>
                  <a:gd name="T2" fmla="*/ 126 w 129"/>
                  <a:gd name="T3" fmla="*/ 221 h 222"/>
                  <a:gd name="T4" fmla="*/ 109 w 129"/>
                  <a:gd name="T5" fmla="*/ 212 h 222"/>
                  <a:gd name="T6" fmla="*/ 108 w 129"/>
                  <a:gd name="T7" fmla="*/ 210 h 222"/>
                  <a:gd name="T8" fmla="*/ 108 w 129"/>
                  <a:gd name="T9" fmla="*/ 207 h 222"/>
                  <a:gd name="T10" fmla="*/ 102 w 129"/>
                  <a:gd name="T11" fmla="*/ 203 h 222"/>
                  <a:gd name="T12" fmla="*/ 101 w 129"/>
                  <a:gd name="T13" fmla="*/ 201 h 222"/>
                  <a:gd name="T14" fmla="*/ 102 w 129"/>
                  <a:gd name="T15" fmla="*/ 200 h 222"/>
                  <a:gd name="T16" fmla="*/ 121 w 129"/>
                  <a:gd name="T17" fmla="*/ 189 h 222"/>
                  <a:gd name="T18" fmla="*/ 56 w 129"/>
                  <a:gd name="T19" fmla="*/ 152 h 222"/>
                  <a:gd name="T20" fmla="*/ 32 w 129"/>
                  <a:gd name="T21" fmla="*/ 166 h 222"/>
                  <a:gd name="T22" fmla="*/ 30 w 129"/>
                  <a:gd name="T23" fmla="*/ 166 h 222"/>
                  <a:gd name="T24" fmla="*/ 1 w 129"/>
                  <a:gd name="T25" fmla="*/ 149 h 222"/>
                  <a:gd name="T26" fmla="*/ 0 w 129"/>
                  <a:gd name="T27" fmla="*/ 147 h 222"/>
                  <a:gd name="T28" fmla="*/ 0 w 129"/>
                  <a:gd name="T29" fmla="*/ 2 h 222"/>
                  <a:gd name="T30" fmla="*/ 1 w 129"/>
                  <a:gd name="T31" fmla="*/ 1 h 222"/>
                  <a:gd name="T32" fmla="*/ 3 w 129"/>
                  <a:gd name="T33" fmla="*/ 1 h 222"/>
                  <a:gd name="T34" fmla="*/ 128 w 129"/>
                  <a:gd name="T35" fmla="*/ 73 h 222"/>
                  <a:gd name="T36" fmla="*/ 129 w 129"/>
                  <a:gd name="T37" fmla="*/ 75 h 222"/>
                  <a:gd name="T38" fmla="*/ 129 w 129"/>
                  <a:gd name="T39" fmla="*/ 220 h 222"/>
                  <a:gd name="T40" fmla="*/ 128 w 129"/>
                  <a:gd name="T41" fmla="*/ 221 h 222"/>
                  <a:gd name="T42" fmla="*/ 127 w 129"/>
                  <a:gd name="T43" fmla="*/ 222 h 222"/>
                  <a:gd name="T44" fmla="*/ 112 w 129"/>
                  <a:gd name="T45" fmla="*/ 209 h 222"/>
                  <a:gd name="T46" fmla="*/ 125 w 129"/>
                  <a:gd name="T47" fmla="*/ 216 h 222"/>
                  <a:gd name="T48" fmla="*/ 125 w 129"/>
                  <a:gd name="T49" fmla="*/ 191 h 222"/>
                  <a:gd name="T50" fmla="*/ 107 w 129"/>
                  <a:gd name="T51" fmla="*/ 201 h 222"/>
                  <a:gd name="T52" fmla="*/ 111 w 129"/>
                  <a:gd name="T53" fmla="*/ 204 h 222"/>
                  <a:gd name="T54" fmla="*/ 112 w 129"/>
                  <a:gd name="T55" fmla="*/ 205 h 222"/>
                  <a:gd name="T56" fmla="*/ 112 w 129"/>
                  <a:gd name="T57" fmla="*/ 209 h 222"/>
                  <a:gd name="T58" fmla="*/ 56 w 129"/>
                  <a:gd name="T59" fmla="*/ 147 h 222"/>
                  <a:gd name="T60" fmla="*/ 57 w 129"/>
                  <a:gd name="T61" fmla="*/ 148 h 222"/>
                  <a:gd name="T62" fmla="*/ 125 w 129"/>
                  <a:gd name="T63" fmla="*/ 187 h 222"/>
                  <a:gd name="T64" fmla="*/ 125 w 129"/>
                  <a:gd name="T65" fmla="*/ 76 h 222"/>
                  <a:gd name="T66" fmla="*/ 4 w 129"/>
                  <a:gd name="T67" fmla="*/ 6 h 222"/>
                  <a:gd name="T68" fmla="*/ 4 w 129"/>
                  <a:gd name="T69" fmla="*/ 146 h 222"/>
                  <a:gd name="T70" fmla="*/ 31 w 129"/>
                  <a:gd name="T71" fmla="*/ 162 h 222"/>
                  <a:gd name="T72" fmla="*/ 55 w 129"/>
                  <a:gd name="T73" fmla="*/ 148 h 222"/>
                  <a:gd name="T74" fmla="*/ 56 w 129"/>
                  <a:gd name="T75" fmla="*/ 14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9" h="222">
                    <a:moveTo>
                      <a:pt x="127" y="222"/>
                    </a:moveTo>
                    <a:cubicBezTo>
                      <a:pt x="127" y="222"/>
                      <a:pt x="126" y="222"/>
                      <a:pt x="126" y="221"/>
                    </a:cubicBezTo>
                    <a:cubicBezTo>
                      <a:pt x="109" y="212"/>
                      <a:pt x="109" y="212"/>
                      <a:pt x="109" y="212"/>
                    </a:cubicBezTo>
                    <a:cubicBezTo>
                      <a:pt x="109" y="211"/>
                      <a:pt x="108" y="211"/>
                      <a:pt x="108" y="210"/>
                    </a:cubicBezTo>
                    <a:cubicBezTo>
                      <a:pt x="108" y="207"/>
                      <a:pt x="108" y="207"/>
                      <a:pt x="108" y="207"/>
                    </a:cubicBezTo>
                    <a:cubicBezTo>
                      <a:pt x="102" y="203"/>
                      <a:pt x="102" y="203"/>
                      <a:pt x="102" y="203"/>
                    </a:cubicBezTo>
                    <a:cubicBezTo>
                      <a:pt x="101" y="203"/>
                      <a:pt x="101" y="202"/>
                      <a:pt x="101" y="201"/>
                    </a:cubicBezTo>
                    <a:cubicBezTo>
                      <a:pt x="101" y="201"/>
                      <a:pt x="101" y="200"/>
                      <a:pt x="102" y="200"/>
                    </a:cubicBezTo>
                    <a:cubicBezTo>
                      <a:pt x="121" y="189"/>
                      <a:pt x="121" y="189"/>
                      <a:pt x="121" y="189"/>
                    </a:cubicBezTo>
                    <a:cubicBezTo>
                      <a:pt x="56" y="152"/>
                      <a:pt x="56" y="152"/>
                      <a:pt x="56" y="152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1" y="166"/>
                      <a:pt x="30" y="166"/>
                      <a:pt x="30" y="166"/>
                    </a:cubicBezTo>
                    <a:cubicBezTo>
                      <a:pt x="1" y="149"/>
                      <a:pt x="1" y="149"/>
                      <a:pt x="1" y="149"/>
                    </a:cubicBezTo>
                    <a:cubicBezTo>
                      <a:pt x="0" y="149"/>
                      <a:pt x="0" y="148"/>
                      <a:pt x="0" y="14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28" y="73"/>
                      <a:pt x="128" y="73"/>
                      <a:pt x="128" y="73"/>
                    </a:cubicBezTo>
                    <a:cubicBezTo>
                      <a:pt x="129" y="73"/>
                      <a:pt x="129" y="74"/>
                      <a:pt x="129" y="75"/>
                    </a:cubicBezTo>
                    <a:cubicBezTo>
                      <a:pt x="129" y="220"/>
                      <a:pt x="129" y="220"/>
                      <a:pt x="129" y="220"/>
                    </a:cubicBezTo>
                    <a:cubicBezTo>
                      <a:pt x="129" y="220"/>
                      <a:pt x="129" y="221"/>
                      <a:pt x="128" y="221"/>
                    </a:cubicBezTo>
                    <a:cubicBezTo>
                      <a:pt x="128" y="222"/>
                      <a:pt x="127" y="222"/>
                      <a:pt x="127" y="222"/>
                    </a:cubicBezTo>
                    <a:close/>
                    <a:moveTo>
                      <a:pt x="112" y="209"/>
                    </a:moveTo>
                    <a:cubicBezTo>
                      <a:pt x="125" y="216"/>
                      <a:pt x="125" y="216"/>
                      <a:pt x="125" y="216"/>
                    </a:cubicBezTo>
                    <a:cubicBezTo>
                      <a:pt x="125" y="191"/>
                      <a:pt x="125" y="191"/>
                      <a:pt x="125" y="191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11" y="204"/>
                      <a:pt x="111" y="204"/>
                      <a:pt x="111" y="204"/>
                    </a:cubicBezTo>
                    <a:cubicBezTo>
                      <a:pt x="112" y="204"/>
                      <a:pt x="112" y="205"/>
                      <a:pt x="112" y="205"/>
                    </a:cubicBezTo>
                    <a:lnTo>
                      <a:pt x="112" y="209"/>
                    </a:lnTo>
                    <a:close/>
                    <a:moveTo>
                      <a:pt x="56" y="147"/>
                    </a:moveTo>
                    <a:cubicBezTo>
                      <a:pt x="57" y="147"/>
                      <a:pt x="57" y="147"/>
                      <a:pt x="57" y="148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5" y="76"/>
                      <a:pt x="125" y="76"/>
                      <a:pt x="125" y="7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46"/>
                      <a:pt x="4" y="146"/>
                      <a:pt x="4" y="146"/>
                    </a:cubicBezTo>
                    <a:cubicBezTo>
                      <a:pt x="31" y="162"/>
                      <a:pt x="31" y="162"/>
                      <a:pt x="31" y="162"/>
                    </a:cubicBezTo>
                    <a:cubicBezTo>
                      <a:pt x="55" y="148"/>
                      <a:pt x="55" y="148"/>
                      <a:pt x="55" y="148"/>
                    </a:cubicBezTo>
                    <a:cubicBezTo>
                      <a:pt x="56" y="147"/>
                      <a:pt x="56" y="147"/>
                      <a:pt x="5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Freeform 1118">
                <a:extLst>
                  <a:ext uri="{FF2B5EF4-FFF2-40B4-BE49-F238E27FC236}">
                    <a16:creationId xmlns:a16="http://schemas.microsoft.com/office/drawing/2014/main" id="{4C6277B1-9894-489E-A6BF-94294209FC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61" y="2877"/>
                <a:ext cx="173" cy="145"/>
              </a:xfrm>
              <a:custGeom>
                <a:avLst/>
                <a:gdLst>
                  <a:gd name="T0" fmla="*/ 18 w 73"/>
                  <a:gd name="T1" fmla="*/ 61 h 61"/>
                  <a:gd name="T2" fmla="*/ 17 w 73"/>
                  <a:gd name="T3" fmla="*/ 60 h 61"/>
                  <a:gd name="T4" fmla="*/ 16 w 73"/>
                  <a:gd name="T5" fmla="*/ 59 h 61"/>
                  <a:gd name="T6" fmla="*/ 16 w 73"/>
                  <a:gd name="T7" fmla="*/ 46 h 61"/>
                  <a:gd name="T8" fmla="*/ 5 w 73"/>
                  <a:gd name="T9" fmla="*/ 52 h 61"/>
                  <a:gd name="T10" fmla="*/ 3 w 73"/>
                  <a:gd name="T11" fmla="*/ 52 h 61"/>
                  <a:gd name="T12" fmla="*/ 1 w 73"/>
                  <a:gd name="T13" fmla="*/ 52 h 61"/>
                  <a:gd name="T14" fmla="*/ 0 w 73"/>
                  <a:gd name="T15" fmla="*/ 50 h 61"/>
                  <a:gd name="T16" fmla="*/ 0 w 73"/>
                  <a:gd name="T17" fmla="*/ 25 h 61"/>
                  <a:gd name="T18" fmla="*/ 1 w 73"/>
                  <a:gd name="T19" fmla="*/ 23 h 61"/>
                  <a:gd name="T20" fmla="*/ 28 w 73"/>
                  <a:gd name="T21" fmla="*/ 8 h 61"/>
                  <a:gd name="T22" fmla="*/ 28 w 73"/>
                  <a:gd name="T23" fmla="*/ 2 h 61"/>
                  <a:gd name="T24" fmla="*/ 29 w 73"/>
                  <a:gd name="T25" fmla="*/ 0 h 61"/>
                  <a:gd name="T26" fmla="*/ 31 w 73"/>
                  <a:gd name="T27" fmla="*/ 0 h 61"/>
                  <a:gd name="T28" fmla="*/ 72 w 73"/>
                  <a:gd name="T29" fmla="*/ 24 h 61"/>
                  <a:gd name="T30" fmla="*/ 73 w 73"/>
                  <a:gd name="T31" fmla="*/ 26 h 61"/>
                  <a:gd name="T32" fmla="*/ 72 w 73"/>
                  <a:gd name="T33" fmla="*/ 28 h 61"/>
                  <a:gd name="T34" fmla="*/ 23 w 73"/>
                  <a:gd name="T35" fmla="*/ 56 h 61"/>
                  <a:gd name="T36" fmla="*/ 24 w 73"/>
                  <a:gd name="T37" fmla="*/ 57 h 61"/>
                  <a:gd name="T38" fmla="*/ 23 w 73"/>
                  <a:gd name="T39" fmla="*/ 58 h 61"/>
                  <a:gd name="T40" fmla="*/ 19 w 73"/>
                  <a:gd name="T41" fmla="*/ 60 h 61"/>
                  <a:gd name="T42" fmla="*/ 18 w 73"/>
                  <a:gd name="T43" fmla="*/ 61 h 61"/>
                  <a:gd name="T44" fmla="*/ 18 w 73"/>
                  <a:gd name="T45" fmla="*/ 40 h 61"/>
                  <a:gd name="T46" fmla="*/ 19 w 73"/>
                  <a:gd name="T47" fmla="*/ 41 h 61"/>
                  <a:gd name="T48" fmla="*/ 20 w 73"/>
                  <a:gd name="T49" fmla="*/ 42 h 61"/>
                  <a:gd name="T50" fmla="*/ 20 w 73"/>
                  <a:gd name="T51" fmla="*/ 53 h 61"/>
                  <a:gd name="T52" fmla="*/ 67 w 73"/>
                  <a:gd name="T53" fmla="*/ 26 h 61"/>
                  <a:gd name="T54" fmla="*/ 32 w 73"/>
                  <a:gd name="T55" fmla="*/ 6 h 61"/>
                  <a:gd name="T56" fmla="*/ 32 w 73"/>
                  <a:gd name="T57" fmla="*/ 9 h 61"/>
                  <a:gd name="T58" fmla="*/ 31 w 73"/>
                  <a:gd name="T59" fmla="*/ 11 h 61"/>
                  <a:gd name="T60" fmla="*/ 4 w 73"/>
                  <a:gd name="T61" fmla="*/ 26 h 61"/>
                  <a:gd name="T62" fmla="*/ 4 w 73"/>
                  <a:gd name="T63" fmla="*/ 48 h 61"/>
                  <a:gd name="T64" fmla="*/ 17 w 73"/>
                  <a:gd name="T65" fmla="*/ 41 h 61"/>
                  <a:gd name="T66" fmla="*/ 18 w 73"/>
                  <a:gd name="T67" fmla="*/ 4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" h="61">
                    <a:moveTo>
                      <a:pt x="18" y="61"/>
                    </a:moveTo>
                    <a:cubicBezTo>
                      <a:pt x="18" y="61"/>
                      <a:pt x="17" y="60"/>
                      <a:pt x="17" y="60"/>
                    </a:cubicBezTo>
                    <a:cubicBezTo>
                      <a:pt x="17" y="60"/>
                      <a:pt x="16" y="59"/>
                      <a:pt x="16" y="59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53"/>
                      <a:pt x="3" y="53"/>
                      <a:pt x="3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1"/>
                      <a:pt x="0" y="51"/>
                      <a:pt x="0" y="5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4"/>
                      <a:pt x="1" y="24"/>
                      <a:pt x="1" y="23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8" y="1"/>
                      <a:pt x="28" y="1"/>
                      <a:pt x="29" y="0"/>
                    </a:cubicBezTo>
                    <a:cubicBezTo>
                      <a:pt x="30" y="0"/>
                      <a:pt x="30" y="0"/>
                      <a:pt x="31" y="0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3" y="24"/>
                      <a:pt x="73" y="25"/>
                      <a:pt x="73" y="26"/>
                    </a:cubicBezTo>
                    <a:cubicBezTo>
                      <a:pt x="73" y="27"/>
                      <a:pt x="73" y="27"/>
                      <a:pt x="72" y="28"/>
                    </a:cubicBezTo>
                    <a:cubicBezTo>
                      <a:pt x="23" y="56"/>
                      <a:pt x="23" y="56"/>
                      <a:pt x="23" y="56"/>
                    </a:cubicBezTo>
                    <a:cubicBezTo>
                      <a:pt x="24" y="56"/>
                      <a:pt x="24" y="56"/>
                      <a:pt x="24" y="57"/>
                    </a:cubicBezTo>
                    <a:cubicBezTo>
                      <a:pt x="24" y="57"/>
                      <a:pt x="23" y="58"/>
                      <a:pt x="23" y="58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60"/>
                      <a:pt x="18" y="61"/>
                      <a:pt x="18" y="61"/>
                    </a:cubicBezTo>
                    <a:close/>
                    <a:moveTo>
                      <a:pt x="18" y="40"/>
                    </a:moveTo>
                    <a:cubicBezTo>
                      <a:pt x="18" y="40"/>
                      <a:pt x="19" y="41"/>
                      <a:pt x="19" y="41"/>
                    </a:cubicBezTo>
                    <a:cubicBezTo>
                      <a:pt x="20" y="41"/>
                      <a:pt x="20" y="42"/>
                      <a:pt x="20" y="42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2" y="10"/>
                      <a:pt x="32" y="11"/>
                      <a:pt x="31" y="11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17" y="41"/>
                      <a:pt x="17" y="41"/>
                      <a:pt x="17" y="41"/>
                    </a:cubicBezTo>
                    <a:cubicBezTo>
                      <a:pt x="17" y="41"/>
                      <a:pt x="18" y="40"/>
                      <a:pt x="18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1" name="Freeform 1119">
                <a:extLst>
                  <a:ext uri="{FF2B5EF4-FFF2-40B4-BE49-F238E27FC236}">
                    <a16:creationId xmlns:a16="http://schemas.microsoft.com/office/drawing/2014/main" id="{05705863-306C-427D-89AD-0CD032B32C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68" y="2979"/>
                <a:ext cx="36" cy="40"/>
              </a:xfrm>
              <a:custGeom>
                <a:avLst/>
                <a:gdLst>
                  <a:gd name="T0" fmla="*/ 13 w 15"/>
                  <a:gd name="T1" fmla="*/ 17 h 17"/>
                  <a:gd name="T2" fmla="*/ 12 w 15"/>
                  <a:gd name="T3" fmla="*/ 17 h 17"/>
                  <a:gd name="T4" fmla="*/ 1 w 15"/>
                  <a:gd name="T5" fmla="*/ 10 h 17"/>
                  <a:gd name="T6" fmla="*/ 0 w 15"/>
                  <a:gd name="T7" fmla="*/ 9 h 17"/>
                  <a:gd name="T8" fmla="*/ 1 w 15"/>
                  <a:gd name="T9" fmla="*/ 7 h 17"/>
                  <a:gd name="T10" fmla="*/ 12 w 15"/>
                  <a:gd name="T11" fmla="*/ 1 h 17"/>
                  <a:gd name="T12" fmla="*/ 14 w 15"/>
                  <a:gd name="T13" fmla="*/ 1 h 17"/>
                  <a:gd name="T14" fmla="*/ 15 w 15"/>
                  <a:gd name="T15" fmla="*/ 2 h 17"/>
                  <a:gd name="T16" fmla="*/ 15 w 15"/>
                  <a:gd name="T17" fmla="*/ 15 h 17"/>
                  <a:gd name="T18" fmla="*/ 14 w 15"/>
                  <a:gd name="T19" fmla="*/ 17 h 17"/>
                  <a:gd name="T20" fmla="*/ 13 w 15"/>
                  <a:gd name="T21" fmla="*/ 17 h 17"/>
                  <a:gd name="T22" fmla="*/ 6 w 15"/>
                  <a:gd name="T23" fmla="*/ 9 h 17"/>
                  <a:gd name="T24" fmla="*/ 11 w 15"/>
                  <a:gd name="T25" fmla="*/ 12 h 17"/>
                  <a:gd name="T26" fmla="*/ 11 w 15"/>
                  <a:gd name="T27" fmla="*/ 6 h 17"/>
                  <a:gd name="T28" fmla="*/ 6 w 15"/>
                  <a:gd name="T2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7">
                    <a:moveTo>
                      <a:pt x="13" y="17"/>
                    </a:moveTo>
                    <a:cubicBezTo>
                      <a:pt x="13" y="17"/>
                      <a:pt x="13" y="17"/>
                      <a:pt x="12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9"/>
                      <a:pt x="0" y="9"/>
                    </a:cubicBezTo>
                    <a:cubicBezTo>
                      <a:pt x="0" y="8"/>
                      <a:pt x="1" y="7"/>
                      <a:pt x="1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0"/>
                      <a:pt x="14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6"/>
                      <a:pt x="15" y="16"/>
                      <a:pt x="14" y="17"/>
                    </a:cubicBezTo>
                    <a:cubicBezTo>
                      <a:pt x="14" y="17"/>
                      <a:pt x="14" y="17"/>
                      <a:pt x="13" y="17"/>
                    </a:cubicBezTo>
                    <a:close/>
                    <a:moveTo>
                      <a:pt x="6" y="9"/>
                    </a:move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6"/>
                      <a:pt x="11" y="6"/>
                      <a:pt x="11" y="6"/>
                    </a:cubicBezTo>
                    <a:lnTo>
                      <a:pt x="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Freeform 1120">
                <a:extLst>
                  <a:ext uri="{FF2B5EF4-FFF2-40B4-BE49-F238E27FC236}">
                    <a16:creationId xmlns:a16="http://schemas.microsoft.com/office/drawing/2014/main" id="{85677DA7-22AA-4213-8039-58FE287BF6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34" y="2915"/>
                <a:ext cx="193" cy="187"/>
              </a:xfrm>
              <a:custGeom>
                <a:avLst/>
                <a:gdLst>
                  <a:gd name="T0" fmla="*/ 15 w 82"/>
                  <a:gd name="T1" fmla="*/ 79 h 79"/>
                  <a:gd name="T2" fmla="*/ 14 w 82"/>
                  <a:gd name="T3" fmla="*/ 79 h 79"/>
                  <a:gd name="T4" fmla="*/ 1 w 82"/>
                  <a:gd name="T5" fmla="*/ 71 h 79"/>
                  <a:gd name="T6" fmla="*/ 0 w 82"/>
                  <a:gd name="T7" fmla="*/ 70 h 79"/>
                  <a:gd name="T8" fmla="*/ 0 w 82"/>
                  <a:gd name="T9" fmla="*/ 9 h 79"/>
                  <a:gd name="T10" fmla="*/ 1 w 82"/>
                  <a:gd name="T11" fmla="*/ 7 h 79"/>
                  <a:gd name="T12" fmla="*/ 14 w 82"/>
                  <a:gd name="T13" fmla="*/ 0 h 79"/>
                  <a:gd name="T14" fmla="*/ 16 w 82"/>
                  <a:gd name="T15" fmla="*/ 0 h 79"/>
                  <a:gd name="T16" fmla="*/ 81 w 82"/>
                  <a:gd name="T17" fmla="*/ 38 h 79"/>
                  <a:gd name="T18" fmla="*/ 82 w 82"/>
                  <a:gd name="T19" fmla="*/ 39 h 79"/>
                  <a:gd name="T20" fmla="*/ 81 w 82"/>
                  <a:gd name="T21" fmla="*/ 41 h 79"/>
                  <a:gd name="T22" fmla="*/ 16 w 82"/>
                  <a:gd name="T23" fmla="*/ 79 h 79"/>
                  <a:gd name="T24" fmla="*/ 15 w 82"/>
                  <a:gd name="T25" fmla="*/ 79 h 79"/>
                  <a:gd name="T26" fmla="*/ 4 w 82"/>
                  <a:gd name="T27" fmla="*/ 69 h 79"/>
                  <a:gd name="T28" fmla="*/ 15 w 82"/>
                  <a:gd name="T29" fmla="*/ 75 h 79"/>
                  <a:gd name="T30" fmla="*/ 76 w 82"/>
                  <a:gd name="T31" fmla="*/ 39 h 79"/>
                  <a:gd name="T32" fmla="*/ 15 w 82"/>
                  <a:gd name="T33" fmla="*/ 4 h 79"/>
                  <a:gd name="T34" fmla="*/ 4 w 82"/>
                  <a:gd name="T35" fmla="*/ 10 h 79"/>
                  <a:gd name="T36" fmla="*/ 4 w 82"/>
                  <a:gd name="T37" fmla="*/ 6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79">
                    <a:moveTo>
                      <a:pt x="15" y="79"/>
                    </a:moveTo>
                    <a:cubicBezTo>
                      <a:pt x="15" y="79"/>
                      <a:pt x="14" y="79"/>
                      <a:pt x="14" y="79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1"/>
                      <a:pt x="0" y="70"/>
                      <a:pt x="0" y="7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" y="8"/>
                      <a:pt x="1" y="7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5" y="0"/>
                      <a:pt x="16" y="0"/>
                    </a:cubicBezTo>
                    <a:cubicBezTo>
                      <a:pt x="81" y="38"/>
                      <a:pt x="81" y="38"/>
                      <a:pt x="81" y="38"/>
                    </a:cubicBezTo>
                    <a:cubicBezTo>
                      <a:pt x="82" y="38"/>
                      <a:pt x="82" y="39"/>
                      <a:pt x="82" y="39"/>
                    </a:cubicBezTo>
                    <a:cubicBezTo>
                      <a:pt x="82" y="40"/>
                      <a:pt x="82" y="41"/>
                      <a:pt x="81" y="41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16" y="79"/>
                      <a:pt x="15" y="79"/>
                      <a:pt x="15" y="79"/>
                    </a:cubicBezTo>
                    <a:close/>
                    <a:moveTo>
                      <a:pt x="4" y="69"/>
                    </a:moveTo>
                    <a:cubicBezTo>
                      <a:pt x="15" y="75"/>
                      <a:pt x="15" y="75"/>
                      <a:pt x="15" y="75"/>
                    </a:cubicBezTo>
                    <a:cubicBezTo>
                      <a:pt x="76" y="39"/>
                      <a:pt x="76" y="39"/>
                      <a:pt x="76" y="39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3" name="Freeform 1121">
                <a:extLst>
                  <a:ext uri="{FF2B5EF4-FFF2-40B4-BE49-F238E27FC236}">
                    <a16:creationId xmlns:a16="http://schemas.microsoft.com/office/drawing/2014/main" id="{BC7882DA-14BF-4034-B2D7-709F095882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33" y="2745"/>
                <a:ext cx="64" cy="73"/>
              </a:xfrm>
              <a:custGeom>
                <a:avLst/>
                <a:gdLst>
                  <a:gd name="T0" fmla="*/ 25 w 27"/>
                  <a:gd name="T1" fmla="*/ 31 h 31"/>
                  <a:gd name="T2" fmla="*/ 24 w 27"/>
                  <a:gd name="T3" fmla="*/ 30 h 31"/>
                  <a:gd name="T4" fmla="*/ 1 w 27"/>
                  <a:gd name="T5" fmla="*/ 17 h 31"/>
                  <a:gd name="T6" fmla="*/ 0 w 27"/>
                  <a:gd name="T7" fmla="*/ 15 h 31"/>
                  <a:gd name="T8" fmla="*/ 1 w 27"/>
                  <a:gd name="T9" fmla="*/ 13 h 31"/>
                  <a:gd name="T10" fmla="*/ 24 w 27"/>
                  <a:gd name="T11" fmla="*/ 0 h 31"/>
                  <a:gd name="T12" fmla="*/ 26 w 27"/>
                  <a:gd name="T13" fmla="*/ 0 h 31"/>
                  <a:gd name="T14" fmla="*/ 27 w 27"/>
                  <a:gd name="T15" fmla="*/ 2 h 31"/>
                  <a:gd name="T16" fmla="*/ 27 w 27"/>
                  <a:gd name="T17" fmla="*/ 29 h 31"/>
                  <a:gd name="T18" fmla="*/ 26 w 27"/>
                  <a:gd name="T19" fmla="*/ 30 h 31"/>
                  <a:gd name="T20" fmla="*/ 25 w 27"/>
                  <a:gd name="T21" fmla="*/ 31 h 31"/>
                  <a:gd name="T22" fmla="*/ 6 w 27"/>
                  <a:gd name="T23" fmla="*/ 15 h 31"/>
                  <a:gd name="T24" fmla="*/ 23 w 27"/>
                  <a:gd name="T25" fmla="*/ 25 h 31"/>
                  <a:gd name="T26" fmla="*/ 23 w 27"/>
                  <a:gd name="T27" fmla="*/ 5 h 31"/>
                  <a:gd name="T28" fmla="*/ 6 w 27"/>
                  <a:gd name="T2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1">
                    <a:moveTo>
                      <a:pt x="25" y="31"/>
                    </a:moveTo>
                    <a:cubicBezTo>
                      <a:pt x="25" y="31"/>
                      <a:pt x="24" y="31"/>
                      <a:pt x="24" y="30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0"/>
                      <a:pt x="26" y="0"/>
                    </a:cubicBezTo>
                    <a:cubicBezTo>
                      <a:pt x="27" y="0"/>
                      <a:pt x="27" y="1"/>
                      <a:pt x="27" y="2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9"/>
                      <a:pt x="27" y="30"/>
                      <a:pt x="26" y="30"/>
                    </a:cubicBezTo>
                    <a:cubicBezTo>
                      <a:pt x="26" y="31"/>
                      <a:pt x="25" y="31"/>
                      <a:pt x="25" y="31"/>
                    </a:cubicBezTo>
                    <a:close/>
                    <a:moveTo>
                      <a:pt x="6" y="15"/>
                    </a:moveTo>
                    <a:cubicBezTo>
                      <a:pt x="23" y="25"/>
                      <a:pt x="23" y="25"/>
                      <a:pt x="23" y="25"/>
                    </a:cubicBezTo>
                    <a:cubicBezTo>
                      <a:pt x="23" y="5"/>
                      <a:pt x="23" y="5"/>
                      <a:pt x="23" y="5"/>
                    </a:cubicBezTo>
                    <a:lnTo>
                      <a:pt x="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Freeform 1122">
                <a:extLst>
                  <a:ext uri="{FF2B5EF4-FFF2-40B4-BE49-F238E27FC236}">
                    <a16:creationId xmlns:a16="http://schemas.microsoft.com/office/drawing/2014/main" id="{1978E6D0-C3DB-4249-814C-EC8773ACFF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53" y="2677"/>
                <a:ext cx="144" cy="106"/>
              </a:xfrm>
              <a:custGeom>
                <a:avLst/>
                <a:gdLst>
                  <a:gd name="T0" fmla="*/ 34 w 61"/>
                  <a:gd name="T1" fmla="*/ 45 h 45"/>
                  <a:gd name="T2" fmla="*/ 33 w 61"/>
                  <a:gd name="T3" fmla="*/ 45 h 45"/>
                  <a:gd name="T4" fmla="*/ 1 w 61"/>
                  <a:gd name="T5" fmla="*/ 26 h 45"/>
                  <a:gd name="T6" fmla="*/ 0 w 61"/>
                  <a:gd name="T7" fmla="*/ 25 h 45"/>
                  <a:gd name="T8" fmla="*/ 1 w 61"/>
                  <a:gd name="T9" fmla="*/ 23 h 45"/>
                  <a:gd name="T10" fmla="*/ 41 w 61"/>
                  <a:gd name="T11" fmla="*/ 0 h 45"/>
                  <a:gd name="T12" fmla="*/ 43 w 61"/>
                  <a:gd name="T13" fmla="*/ 0 h 45"/>
                  <a:gd name="T14" fmla="*/ 60 w 61"/>
                  <a:gd name="T15" fmla="*/ 10 h 45"/>
                  <a:gd name="T16" fmla="*/ 61 w 61"/>
                  <a:gd name="T17" fmla="*/ 12 h 45"/>
                  <a:gd name="T18" fmla="*/ 61 w 61"/>
                  <a:gd name="T19" fmla="*/ 29 h 45"/>
                  <a:gd name="T20" fmla="*/ 60 w 61"/>
                  <a:gd name="T21" fmla="*/ 30 h 45"/>
                  <a:gd name="T22" fmla="*/ 35 w 61"/>
                  <a:gd name="T23" fmla="*/ 45 h 45"/>
                  <a:gd name="T24" fmla="*/ 34 w 61"/>
                  <a:gd name="T25" fmla="*/ 45 h 45"/>
                  <a:gd name="T26" fmla="*/ 6 w 61"/>
                  <a:gd name="T27" fmla="*/ 25 h 45"/>
                  <a:gd name="T28" fmla="*/ 34 w 61"/>
                  <a:gd name="T29" fmla="*/ 41 h 45"/>
                  <a:gd name="T30" fmla="*/ 57 w 61"/>
                  <a:gd name="T31" fmla="*/ 28 h 45"/>
                  <a:gd name="T32" fmla="*/ 57 w 61"/>
                  <a:gd name="T33" fmla="*/ 13 h 45"/>
                  <a:gd name="T34" fmla="*/ 42 w 61"/>
                  <a:gd name="T35" fmla="*/ 4 h 45"/>
                  <a:gd name="T36" fmla="*/ 6 w 61"/>
                  <a:gd name="T37" fmla="*/ 2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45">
                    <a:moveTo>
                      <a:pt x="34" y="45"/>
                    </a:moveTo>
                    <a:cubicBezTo>
                      <a:pt x="34" y="45"/>
                      <a:pt x="33" y="45"/>
                      <a:pt x="33" y="4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0" y="25"/>
                      <a:pt x="0" y="25"/>
                    </a:cubicBezTo>
                    <a:cubicBezTo>
                      <a:pt x="0" y="24"/>
                      <a:pt x="1" y="23"/>
                      <a:pt x="1" y="23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2" y="0"/>
                      <a:pt x="43" y="0"/>
                    </a:cubicBezTo>
                    <a:cubicBezTo>
                      <a:pt x="60" y="10"/>
                      <a:pt x="60" y="10"/>
                      <a:pt x="60" y="10"/>
                    </a:cubicBezTo>
                    <a:cubicBezTo>
                      <a:pt x="61" y="11"/>
                      <a:pt x="61" y="11"/>
                      <a:pt x="61" y="12"/>
                    </a:cubicBezTo>
                    <a:cubicBezTo>
                      <a:pt x="61" y="29"/>
                      <a:pt x="61" y="29"/>
                      <a:pt x="61" y="29"/>
                    </a:cubicBezTo>
                    <a:cubicBezTo>
                      <a:pt x="61" y="29"/>
                      <a:pt x="61" y="30"/>
                      <a:pt x="60" y="30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4" y="45"/>
                      <a:pt x="34" y="45"/>
                    </a:cubicBezTo>
                    <a:close/>
                    <a:moveTo>
                      <a:pt x="6" y="25"/>
                    </a:moveTo>
                    <a:cubicBezTo>
                      <a:pt x="34" y="41"/>
                      <a:pt x="34" y="41"/>
                      <a:pt x="34" y="4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42" y="4"/>
                      <a:pt x="42" y="4"/>
                      <a:pt x="42" y="4"/>
                    </a:cubicBezTo>
                    <a:lnTo>
                      <a:pt x="6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FE6E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27063" y="1443038"/>
            <a:ext cx="3887914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FE6E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/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</p:spTree>
    <p:custDataLst>
      <p:custData r:id="rId1"/>
      <p:tags r:id="rId2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42" Type="http://schemas.openxmlformats.org/officeDocument/2006/relationships/tags" Target="../tags/tag11.xml"/><Relationship Id="rId47" Type="http://schemas.openxmlformats.org/officeDocument/2006/relationships/tags" Target="../tags/tag16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63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0.xml"/><Relationship Id="rId54" Type="http://schemas.openxmlformats.org/officeDocument/2006/relationships/tags" Target="../tags/tag23.xml"/><Relationship Id="rId62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tags" Target="../tags/tag6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53" Type="http://schemas.openxmlformats.org/officeDocument/2006/relationships/tags" Target="../tags/tag22.xml"/><Relationship Id="rId58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5.xml"/><Relationship Id="rId49" Type="http://schemas.openxmlformats.org/officeDocument/2006/relationships/tags" Target="../tags/tag18.xml"/><Relationship Id="rId57" Type="http://schemas.openxmlformats.org/officeDocument/2006/relationships/tags" Target="../tags/tag26.xml"/><Relationship Id="rId61" Type="http://schemas.openxmlformats.org/officeDocument/2006/relationships/tags" Target="../tags/tag30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4" Type="http://schemas.openxmlformats.org/officeDocument/2006/relationships/tags" Target="../tags/tag13.xml"/><Relationship Id="rId52" Type="http://schemas.openxmlformats.org/officeDocument/2006/relationships/tags" Target="../tags/tag21.xml"/><Relationship Id="rId60" Type="http://schemas.openxmlformats.org/officeDocument/2006/relationships/tags" Target="../tags/tag29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43" Type="http://schemas.openxmlformats.org/officeDocument/2006/relationships/tags" Target="../tags/tag12.xml"/><Relationship Id="rId48" Type="http://schemas.openxmlformats.org/officeDocument/2006/relationships/tags" Target="../tags/tag17.xml"/><Relationship Id="rId56" Type="http://schemas.openxmlformats.org/officeDocument/2006/relationships/tags" Target="../tags/tag25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46" Type="http://schemas.openxmlformats.org/officeDocument/2006/relationships/tags" Target="../tags/tag15.xml"/><Relationship Id="rId59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074732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" name="think-cell Slide" r:id="rId64" imgW="270" imgH="270" progId="TCLayout.ActiveDocument.1">
                  <p:embed/>
                </p:oleObj>
              </mc:Choice>
              <mc:Fallback>
                <p:oleObj name="think-cell Slide" r:id="rId6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5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6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60"/>
            </p:custDataLst>
          </p:nvPr>
        </p:nvSpPr>
        <p:spPr bwMode="auto">
          <a:xfrm>
            <a:off x="3445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Internal © Siemens 2019</a:t>
            </a:r>
          </a:p>
        </p:txBody>
      </p:sp>
      <p:sp>
        <p:nvSpPr>
          <p:cNvPr id="65" name="cdtTextBox 11 Id18"/>
          <p:cNvSpPr txBox="1"/>
          <p:nvPr>
            <p:custDataLst>
              <p:tags r:id="rId6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  <a:ln>
            <a:noFill/>
          </a:ln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5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56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0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1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2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0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1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2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3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4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5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6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7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8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9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0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1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2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3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4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5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6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7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8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09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13" name="cdtTextBox 11 Id18">
            <a:extLst>
              <a:ext uri="{FF2B5EF4-FFF2-40B4-BE49-F238E27FC236}">
                <a16:creationId xmlns:a16="http://schemas.microsoft.com/office/drawing/2014/main" id="{D2C407D2-303E-4C23-ABAC-DA9D14A4B7CA}"/>
              </a:ext>
            </a:extLst>
          </p:cNvPr>
          <p:cNvSpPr txBox="1"/>
          <p:nvPr userDrawn="1">
            <p:custDataLst>
              <p:tags r:id="rId62"/>
            </p:custDataLst>
          </p:nvPr>
        </p:nvSpPr>
        <p:spPr>
          <a:xfrm>
            <a:off x="1765285" y="6597650"/>
            <a:ext cx="7070740" cy="260350"/>
          </a:xfrm>
          <a:prstGeom prst="rect">
            <a:avLst/>
          </a:prstGeom>
          <a:noFill/>
          <a:ln>
            <a:noFill/>
          </a:ln>
        </p:spPr>
        <p:txBody>
          <a:bodyPr wrap="square" lIns="626400" tIns="0" rIns="0" bIns="115200" rtlCol="0" anchor="t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Industrial Edge Workshop | DI FA S SUP</a:t>
            </a:r>
          </a:p>
        </p:txBody>
      </p:sp>
      <p:sp>
        <p:nvSpPr>
          <p:cNvPr id="114" name="cdtTextBox 11 Id18">
            <a:extLst>
              <a:ext uri="{FF2B5EF4-FFF2-40B4-BE49-F238E27FC236}">
                <a16:creationId xmlns:a16="http://schemas.microsoft.com/office/drawing/2014/main" id="{C9D5C530-B951-4651-95D4-5F5D3AA628A6}"/>
              </a:ext>
            </a:extLst>
          </p:cNvPr>
          <p:cNvSpPr txBox="1"/>
          <p:nvPr userDrawn="1">
            <p:custDataLst>
              <p:tags r:id="rId63"/>
            </p:custDataLst>
          </p:nvPr>
        </p:nvSpPr>
        <p:spPr>
          <a:xfrm>
            <a:off x="8836025" y="6597043"/>
            <a:ext cx="3362322" cy="260350"/>
          </a:xfrm>
          <a:prstGeom prst="rect">
            <a:avLst/>
          </a:prstGeom>
          <a:noFill/>
          <a:ln>
            <a:noFill/>
          </a:ln>
        </p:spPr>
        <p:txBody>
          <a:bodyPr wrap="square" lIns="626400" tIns="0" rIns="0" bIns="115200" rtlCol="0" anchor="t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10/11/2019</a:t>
            </a:r>
          </a:p>
        </p:txBody>
      </p:sp>
    </p:spTree>
    <p:custDataLst>
      <p:tags r:id="rId33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  <p:sldLayoutId id="2147483716" r:id="rId30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5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1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9822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44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26567" y="4876657"/>
            <a:ext cx="6480496" cy="1324651"/>
          </a:xfrm>
        </p:spPr>
        <p:txBody>
          <a:bodyPr/>
          <a:lstStyle/>
          <a:p>
            <a:r>
              <a:rPr lang="en-US" dirty="0"/>
              <a:t>Industrial Edge</a:t>
            </a:r>
            <a:br>
              <a:rPr lang="en-US" dirty="0"/>
            </a:br>
            <a:r>
              <a:rPr lang="en-US" sz="2000" dirty="0"/>
              <a:t>Dashboard Application</a:t>
            </a:r>
            <a:endParaRPr lang="en-US" sz="22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4294967295"/>
          </p:nvPr>
        </p:nvSpPr>
        <p:spPr>
          <a:xfrm>
            <a:off x="10902950" y="1443038"/>
            <a:ext cx="1295400" cy="4748212"/>
          </a:xfrm>
        </p:spPr>
        <p:txBody>
          <a:bodyPr/>
          <a:lstStyle/>
          <a:p>
            <a:r>
              <a:rPr lang="en-US" dirty="0"/>
              <a:t>siemens.com/industrial-edg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358">
            <a:extLst>
              <a:ext uri="{FF2B5EF4-FFF2-40B4-BE49-F238E27FC236}">
                <a16:creationId xmlns:a16="http://schemas.microsoft.com/office/drawing/2014/main" id="{A3C0C1B8-1A37-41D2-8CB9-5E885BD40CE8}"/>
              </a:ext>
            </a:extLst>
          </p:cNvPr>
          <p:cNvSpPr/>
          <p:nvPr/>
        </p:nvSpPr>
        <p:spPr bwMode="auto">
          <a:xfrm>
            <a:off x="601632" y="1553828"/>
            <a:ext cx="11114923" cy="385696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t" anchorCtr="0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de-DE" sz="2400" b="1" i="0" u="none" baseline="0" dirty="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dge Device</a:t>
            </a:r>
            <a:endParaRPr lang="en-US" sz="2400" b="1" i="0" u="none" baseline="0" dirty="0">
              <a:solidFill>
                <a:schemeClr val="bg1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83EB4C4-1D67-4123-B168-4B674D61E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Edge</a:t>
            </a:r>
            <a:br>
              <a:rPr lang="de-DE" dirty="0"/>
            </a:br>
            <a:r>
              <a:rPr lang="de-DE" dirty="0"/>
              <a:t>System Apps – D</a:t>
            </a:r>
            <a:r>
              <a:rPr lang="en-US" dirty="0" err="1"/>
              <a:t>evice</a:t>
            </a:r>
            <a:r>
              <a:rPr lang="en-US" dirty="0"/>
              <a:t> Overview</a:t>
            </a:r>
            <a:endParaRPr lang="de-DE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2BB73332-1C14-44FA-8F81-1903FE6FCB2C}"/>
              </a:ext>
            </a:extLst>
          </p:cNvPr>
          <p:cNvSpPr>
            <a:spLocks/>
          </p:cNvSpPr>
          <p:nvPr/>
        </p:nvSpPr>
        <p:spPr bwMode="gray">
          <a:xfrm>
            <a:off x="821094" y="4187377"/>
            <a:ext cx="10783393" cy="360000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0" rIns="144000" bIns="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 err="1">
                <a:solidFill>
                  <a:schemeClr val="bg1"/>
                </a:solidFill>
              </a:rPr>
              <a:t>Databus</a:t>
            </a:r>
            <a:r>
              <a:rPr lang="en-US" sz="1600" b="1" dirty="0">
                <a:solidFill>
                  <a:schemeClr val="bg1"/>
                </a:solidFill>
              </a:rPr>
              <a:t> (MQTT-Broker)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BFD8A304-234F-4AC1-A997-49A27B3083DD}"/>
              </a:ext>
            </a:extLst>
          </p:cNvPr>
          <p:cNvSpPr>
            <a:spLocks/>
          </p:cNvSpPr>
          <p:nvPr/>
        </p:nvSpPr>
        <p:spPr bwMode="gray">
          <a:xfrm>
            <a:off x="821095" y="4830853"/>
            <a:ext cx="10783392" cy="361383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>
                <a:solidFill>
                  <a:schemeClr val="bg1"/>
                </a:solidFill>
              </a:rPr>
              <a:t>Southbound Connectivity App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58240E6-7460-438C-8195-6B0E5705FD78}"/>
              </a:ext>
            </a:extLst>
          </p:cNvPr>
          <p:cNvSpPr>
            <a:spLocks/>
          </p:cNvSpPr>
          <p:nvPr/>
        </p:nvSpPr>
        <p:spPr bwMode="gray">
          <a:xfrm>
            <a:off x="821094" y="2642103"/>
            <a:ext cx="1980000" cy="1269486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144000" rIns="144000" bIns="144000"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>
                <a:solidFill>
                  <a:schemeClr val="bg1"/>
                </a:solidFill>
              </a:rPr>
              <a:t>SIMATIC Flow Creator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04D9EC0-1513-405D-88E5-6B551EE01FDD}"/>
              </a:ext>
            </a:extLst>
          </p:cNvPr>
          <p:cNvSpPr>
            <a:spLocks/>
          </p:cNvSpPr>
          <p:nvPr/>
        </p:nvSpPr>
        <p:spPr bwMode="gray">
          <a:xfrm>
            <a:off x="9624487" y="2631936"/>
            <a:ext cx="1980000" cy="1269486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144000" rIns="144000" bIns="144000"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>
                <a:solidFill>
                  <a:schemeClr val="bg1"/>
                </a:solidFill>
              </a:rPr>
              <a:t>Cloud Connector</a:t>
            </a:r>
          </a:p>
        </p:txBody>
      </p:sp>
      <p:sp>
        <p:nvSpPr>
          <p:cNvPr id="73" name="Freeform 31">
            <a:extLst>
              <a:ext uri="{FF2B5EF4-FFF2-40B4-BE49-F238E27FC236}">
                <a16:creationId xmlns:a16="http://schemas.microsoft.com/office/drawing/2014/main" id="{D974CF55-5DFE-4C11-8421-98D3B0BA5EB2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5963201" y="5729112"/>
            <a:ext cx="495874" cy="495873"/>
          </a:xfrm>
          <a:custGeom>
            <a:avLst/>
            <a:gdLst>
              <a:gd name="T0" fmla="*/ 1200 w 2400"/>
              <a:gd name="T1" fmla="*/ 0 h 2400"/>
              <a:gd name="T2" fmla="*/ 840 w 2400"/>
              <a:gd name="T3" fmla="*/ 2220 h 2400"/>
              <a:gd name="T4" fmla="*/ 455 w 2400"/>
              <a:gd name="T5" fmla="*/ 2400 h 2400"/>
              <a:gd name="T6" fmla="*/ 0 w 2400"/>
              <a:gd name="T7" fmla="*/ 0 h 2400"/>
              <a:gd name="T8" fmla="*/ 2400 w 2400"/>
              <a:gd name="T9" fmla="*/ 2400 h 2400"/>
              <a:gd name="T10" fmla="*/ 631 w 2400"/>
              <a:gd name="T11" fmla="*/ 2329 h 2400"/>
              <a:gd name="T12" fmla="*/ 2400 w 2400"/>
              <a:gd name="T13" fmla="*/ 2260 h 2400"/>
              <a:gd name="T14" fmla="*/ 1800 w 2400"/>
              <a:gd name="T15" fmla="*/ 0 h 2400"/>
              <a:gd name="T16" fmla="*/ 1240 w 2400"/>
              <a:gd name="T17" fmla="*/ 2220 h 2400"/>
              <a:gd name="T18" fmla="*/ 1840 w 2400"/>
              <a:gd name="T19" fmla="*/ 0 h 2400"/>
              <a:gd name="T20" fmla="*/ 2400 w 2400"/>
              <a:gd name="T21" fmla="*/ 2220 h 2400"/>
              <a:gd name="T22" fmla="*/ 1840 w 2400"/>
              <a:gd name="T23" fmla="*/ 0 h 2400"/>
              <a:gd name="T24" fmla="*/ 700 w 2400"/>
              <a:gd name="T25" fmla="*/ 1400 h 2400"/>
              <a:gd name="T26" fmla="*/ 500 w 2400"/>
              <a:gd name="T27" fmla="*/ 1600 h 2400"/>
              <a:gd name="T28" fmla="*/ 532 w 2400"/>
              <a:gd name="T29" fmla="*/ 1568 h 2400"/>
              <a:gd name="T30" fmla="*/ 668 w 2400"/>
              <a:gd name="T31" fmla="*/ 1432 h 2400"/>
              <a:gd name="T32" fmla="*/ 1000 w 2400"/>
              <a:gd name="T33" fmla="*/ 1200 h 2400"/>
              <a:gd name="T34" fmla="*/ 200 w 2400"/>
              <a:gd name="T35" fmla="*/ 200 h 2400"/>
              <a:gd name="T36" fmla="*/ 1000 w 2400"/>
              <a:gd name="T37" fmla="*/ 1200 h 2400"/>
              <a:gd name="T38" fmla="*/ 460 w 2400"/>
              <a:gd name="T39" fmla="*/ 1640 h 2400"/>
              <a:gd name="T40" fmla="*/ 260 w 2400"/>
              <a:gd name="T41" fmla="*/ 1840 h 2400"/>
              <a:gd name="T42" fmla="*/ 292 w 2400"/>
              <a:gd name="T43" fmla="*/ 1808 h 2400"/>
              <a:gd name="T44" fmla="*/ 428 w 2400"/>
              <a:gd name="T45" fmla="*/ 1672 h 2400"/>
              <a:gd name="T46" fmla="*/ 676 w 2400"/>
              <a:gd name="T47" fmla="*/ 1904 h 2400"/>
              <a:gd name="T48" fmla="*/ 500 w 2400"/>
              <a:gd name="T49" fmla="*/ 1880 h 2400"/>
              <a:gd name="T50" fmla="*/ 524 w 2400"/>
              <a:gd name="T51" fmla="*/ 2056 h 2400"/>
              <a:gd name="T52" fmla="*/ 532 w 2400"/>
              <a:gd name="T53" fmla="*/ 1912 h 2400"/>
              <a:gd name="T54" fmla="*/ 676 w 2400"/>
              <a:gd name="T55" fmla="*/ 1904 h 2400"/>
              <a:gd name="T56" fmla="*/ 940 w 2400"/>
              <a:gd name="T57" fmla="*/ 1640 h 2400"/>
              <a:gd name="T58" fmla="*/ 740 w 2400"/>
              <a:gd name="T59" fmla="*/ 1840 h 2400"/>
              <a:gd name="T60" fmla="*/ 772 w 2400"/>
              <a:gd name="T61" fmla="*/ 1808 h 2400"/>
              <a:gd name="T62" fmla="*/ 908 w 2400"/>
              <a:gd name="T63" fmla="*/ 1672 h 2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00" h="2400">
                <a:moveTo>
                  <a:pt x="0" y="0"/>
                </a:moveTo>
                <a:cubicBezTo>
                  <a:pt x="1200" y="0"/>
                  <a:pt x="1200" y="0"/>
                  <a:pt x="1200" y="0"/>
                </a:cubicBezTo>
                <a:cubicBezTo>
                  <a:pt x="1200" y="2220"/>
                  <a:pt x="1200" y="2220"/>
                  <a:pt x="1200" y="2220"/>
                </a:cubicBezTo>
                <a:cubicBezTo>
                  <a:pt x="840" y="2220"/>
                  <a:pt x="840" y="2220"/>
                  <a:pt x="840" y="2220"/>
                </a:cubicBezTo>
                <a:cubicBezTo>
                  <a:pt x="726" y="2221"/>
                  <a:pt x="698" y="2242"/>
                  <a:pt x="609" y="2295"/>
                </a:cubicBezTo>
                <a:cubicBezTo>
                  <a:pt x="582" y="2313"/>
                  <a:pt x="516" y="2359"/>
                  <a:pt x="455" y="2400"/>
                </a:cubicBezTo>
                <a:cubicBezTo>
                  <a:pt x="0" y="2400"/>
                  <a:pt x="0" y="2400"/>
                  <a:pt x="0" y="240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400" y="2260"/>
                </a:moveTo>
                <a:cubicBezTo>
                  <a:pt x="2400" y="2400"/>
                  <a:pt x="2400" y="2400"/>
                  <a:pt x="2400" y="2400"/>
                </a:cubicBezTo>
                <a:cubicBezTo>
                  <a:pt x="526" y="2400"/>
                  <a:pt x="526" y="2400"/>
                  <a:pt x="526" y="2400"/>
                </a:cubicBezTo>
                <a:cubicBezTo>
                  <a:pt x="570" y="2370"/>
                  <a:pt x="611" y="2342"/>
                  <a:pt x="631" y="2329"/>
                </a:cubicBezTo>
                <a:cubicBezTo>
                  <a:pt x="715" y="2278"/>
                  <a:pt x="735" y="2260"/>
                  <a:pt x="848" y="2260"/>
                </a:cubicBezTo>
                <a:cubicBezTo>
                  <a:pt x="2400" y="2260"/>
                  <a:pt x="2400" y="2260"/>
                  <a:pt x="2400" y="2260"/>
                </a:cubicBezTo>
                <a:close/>
                <a:moveTo>
                  <a:pt x="1240" y="0"/>
                </a:moveTo>
                <a:cubicBezTo>
                  <a:pt x="1800" y="0"/>
                  <a:pt x="1800" y="0"/>
                  <a:pt x="1800" y="0"/>
                </a:cubicBezTo>
                <a:cubicBezTo>
                  <a:pt x="1800" y="2220"/>
                  <a:pt x="1800" y="2220"/>
                  <a:pt x="1800" y="2220"/>
                </a:cubicBezTo>
                <a:cubicBezTo>
                  <a:pt x="1240" y="2220"/>
                  <a:pt x="1240" y="2220"/>
                  <a:pt x="1240" y="2220"/>
                </a:cubicBezTo>
                <a:cubicBezTo>
                  <a:pt x="1240" y="0"/>
                  <a:pt x="1240" y="0"/>
                  <a:pt x="1240" y="0"/>
                </a:cubicBezTo>
                <a:close/>
                <a:moveTo>
                  <a:pt x="1840" y="0"/>
                </a:moveTo>
                <a:cubicBezTo>
                  <a:pt x="2400" y="0"/>
                  <a:pt x="2400" y="0"/>
                  <a:pt x="2400" y="0"/>
                </a:cubicBezTo>
                <a:cubicBezTo>
                  <a:pt x="2400" y="2220"/>
                  <a:pt x="2400" y="2220"/>
                  <a:pt x="2400" y="2220"/>
                </a:cubicBezTo>
                <a:cubicBezTo>
                  <a:pt x="1840" y="2220"/>
                  <a:pt x="1840" y="2220"/>
                  <a:pt x="1840" y="2220"/>
                </a:cubicBezTo>
                <a:cubicBezTo>
                  <a:pt x="1840" y="0"/>
                  <a:pt x="1840" y="0"/>
                  <a:pt x="1840" y="0"/>
                </a:cubicBezTo>
                <a:close/>
                <a:moveTo>
                  <a:pt x="676" y="1424"/>
                </a:moveTo>
                <a:cubicBezTo>
                  <a:pt x="700" y="1400"/>
                  <a:pt x="700" y="1400"/>
                  <a:pt x="700" y="1400"/>
                </a:cubicBezTo>
                <a:cubicBezTo>
                  <a:pt x="500" y="1400"/>
                  <a:pt x="500" y="1400"/>
                  <a:pt x="500" y="1400"/>
                </a:cubicBezTo>
                <a:cubicBezTo>
                  <a:pt x="500" y="1600"/>
                  <a:pt x="500" y="1600"/>
                  <a:pt x="500" y="1600"/>
                </a:cubicBezTo>
                <a:cubicBezTo>
                  <a:pt x="524" y="1576"/>
                  <a:pt x="524" y="1576"/>
                  <a:pt x="524" y="1576"/>
                </a:cubicBezTo>
                <a:cubicBezTo>
                  <a:pt x="532" y="1568"/>
                  <a:pt x="532" y="1568"/>
                  <a:pt x="532" y="1568"/>
                </a:cubicBezTo>
                <a:cubicBezTo>
                  <a:pt x="532" y="1432"/>
                  <a:pt x="532" y="1432"/>
                  <a:pt x="532" y="1432"/>
                </a:cubicBezTo>
                <a:cubicBezTo>
                  <a:pt x="668" y="1432"/>
                  <a:pt x="668" y="1432"/>
                  <a:pt x="668" y="1432"/>
                </a:cubicBezTo>
                <a:cubicBezTo>
                  <a:pt x="676" y="1424"/>
                  <a:pt x="676" y="1424"/>
                  <a:pt x="676" y="1424"/>
                </a:cubicBezTo>
                <a:close/>
                <a:moveTo>
                  <a:pt x="1000" y="1200"/>
                </a:moveTo>
                <a:cubicBezTo>
                  <a:pt x="1000" y="200"/>
                  <a:pt x="1000" y="200"/>
                  <a:pt x="1000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00" y="1200"/>
                  <a:pt x="200" y="1200"/>
                  <a:pt x="200" y="1200"/>
                </a:cubicBezTo>
                <a:cubicBezTo>
                  <a:pt x="1000" y="1200"/>
                  <a:pt x="1000" y="1200"/>
                  <a:pt x="1000" y="1200"/>
                </a:cubicBezTo>
                <a:close/>
                <a:moveTo>
                  <a:pt x="436" y="1664"/>
                </a:moveTo>
                <a:cubicBezTo>
                  <a:pt x="460" y="1640"/>
                  <a:pt x="460" y="1640"/>
                  <a:pt x="460" y="1640"/>
                </a:cubicBezTo>
                <a:cubicBezTo>
                  <a:pt x="260" y="1640"/>
                  <a:pt x="260" y="1640"/>
                  <a:pt x="260" y="1640"/>
                </a:cubicBezTo>
                <a:cubicBezTo>
                  <a:pt x="260" y="1840"/>
                  <a:pt x="260" y="1840"/>
                  <a:pt x="260" y="1840"/>
                </a:cubicBezTo>
                <a:cubicBezTo>
                  <a:pt x="284" y="1816"/>
                  <a:pt x="284" y="1816"/>
                  <a:pt x="284" y="1816"/>
                </a:cubicBezTo>
                <a:cubicBezTo>
                  <a:pt x="292" y="1808"/>
                  <a:pt x="292" y="1808"/>
                  <a:pt x="292" y="1808"/>
                </a:cubicBezTo>
                <a:cubicBezTo>
                  <a:pt x="292" y="1672"/>
                  <a:pt x="292" y="1672"/>
                  <a:pt x="292" y="1672"/>
                </a:cubicBezTo>
                <a:cubicBezTo>
                  <a:pt x="428" y="1672"/>
                  <a:pt x="428" y="1672"/>
                  <a:pt x="428" y="1672"/>
                </a:cubicBezTo>
                <a:cubicBezTo>
                  <a:pt x="436" y="1664"/>
                  <a:pt x="436" y="1664"/>
                  <a:pt x="436" y="1664"/>
                </a:cubicBezTo>
                <a:close/>
                <a:moveTo>
                  <a:pt x="676" y="1904"/>
                </a:moveTo>
                <a:cubicBezTo>
                  <a:pt x="700" y="1880"/>
                  <a:pt x="700" y="1880"/>
                  <a:pt x="700" y="1880"/>
                </a:cubicBezTo>
                <a:cubicBezTo>
                  <a:pt x="500" y="1880"/>
                  <a:pt x="500" y="1880"/>
                  <a:pt x="500" y="1880"/>
                </a:cubicBezTo>
                <a:cubicBezTo>
                  <a:pt x="500" y="2080"/>
                  <a:pt x="500" y="2080"/>
                  <a:pt x="500" y="2080"/>
                </a:cubicBezTo>
                <a:cubicBezTo>
                  <a:pt x="524" y="2056"/>
                  <a:pt x="524" y="2056"/>
                  <a:pt x="524" y="2056"/>
                </a:cubicBezTo>
                <a:cubicBezTo>
                  <a:pt x="532" y="2048"/>
                  <a:pt x="532" y="2048"/>
                  <a:pt x="532" y="2048"/>
                </a:cubicBezTo>
                <a:cubicBezTo>
                  <a:pt x="532" y="1912"/>
                  <a:pt x="532" y="1912"/>
                  <a:pt x="532" y="1912"/>
                </a:cubicBezTo>
                <a:cubicBezTo>
                  <a:pt x="668" y="1912"/>
                  <a:pt x="668" y="1912"/>
                  <a:pt x="668" y="1912"/>
                </a:cubicBezTo>
                <a:cubicBezTo>
                  <a:pt x="676" y="1904"/>
                  <a:pt x="676" y="1904"/>
                  <a:pt x="676" y="1904"/>
                </a:cubicBezTo>
                <a:close/>
                <a:moveTo>
                  <a:pt x="916" y="1664"/>
                </a:moveTo>
                <a:cubicBezTo>
                  <a:pt x="940" y="1640"/>
                  <a:pt x="940" y="1640"/>
                  <a:pt x="940" y="1640"/>
                </a:cubicBezTo>
                <a:cubicBezTo>
                  <a:pt x="740" y="1640"/>
                  <a:pt x="740" y="1640"/>
                  <a:pt x="740" y="1640"/>
                </a:cubicBezTo>
                <a:cubicBezTo>
                  <a:pt x="740" y="1840"/>
                  <a:pt x="740" y="1840"/>
                  <a:pt x="740" y="1840"/>
                </a:cubicBezTo>
                <a:cubicBezTo>
                  <a:pt x="764" y="1816"/>
                  <a:pt x="764" y="1816"/>
                  <a:pt x="764" y="1816"/>
                </a:cubicBezTo>
                <a:cubicBezTo>
                  <a:pt x="772" y="1808"/>
                  <a:pt x="772" y="1808"/>
                  <a:pt x="772" y="1808"/>
                </a:cubicBezTo>
                <a:cubicBezTo>
                  <a:pt x="772" y="1672"/>
                  <a:pt x="772" y="1672"/>
                  <a:pt x="772" y="1672"/>
                </a:cubicBezTo>
                <a:cubicBezTo>
                  <a:pt x="908" y="1672"/>
                  <a:pt x="908" y="1672"/>
                  <a:pt x="908" y="1672"/>
                </a:cubicBezTo>
                <a:cubicBezTo>
                  <a:pt x="916" y="1664"/>
                  <a:pt x="916" y="1664"/>
                  <a:pt x="916" y="1664"/>
                </a:cubicBezTo>
                <a:close/>
              </a:path>
            </a:pathLst>
          </a:custGeom>
          <a:solidFill>
            <a:srgbClr val="9BAF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endParaRPr lang="en-US" sz="1400" kern="1400" dirty="0">
              <a:solidFill>
                <a:srgbClr val="788791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67B1EDD8-5F9E-49A2-B31C-C6982C7B04B3}"/>
              </a:ext>
            </a:extLst>
          </p:cNvPr>
          <p:cNvSpPr txBox="1"/>
          <p:nvPr/>
        </p:nvSpPr>
        <p:spPr>
          <a:xfrm>
            <a:off x="6282713" y="5303660"/>
            <a:ext cx="3401789" cy="39060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7-Connection (S7-300/S7-1200/S7-1500)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PC UA (S7-1200*/S7-1500)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E72E767-DF5B-4FDB-9097-0A397E11FE42}"/>
              </a:ext>
            </a:extLst>
          </p:cNvPr>
          <p:cNvSpPr txBox="1"/>
          <p:nvPr/>
        </p:nvSpPr>
        <p:spPr>
          <a:xfrm>
            <a:off x="8314767" y="6165850"/>
            <a:ext cx="3401789" cy="14163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de-DE" sz="900" b="0" i="0" u="none" baseline="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*S7-1200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OPC UA </a:t>
            </a:r>
            <a:r>
              <a:rPr lang="de-DE" sz="900" b="0" i="0" u="none" dirty="0" err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900" b="0" i="0" u="none" dirty="0" err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new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FW release (</a:t>
            </a:r>
            <a:r>
              <a:rPr lang="de-DE" sz="900" b="0" i="0" u="none" dirty="0" err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lanned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2019/2020)</a:t>
            </a:r>
            <a:endParaRPr lang="de-DE" sz="900" b="0" i="0" u="none" baseline="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ADE5F40-E0DD-4D36-B3F0-5EFA13BD9237}"/>
              </a:ext>
            </a:extLst>
          </p:cNvPr>
          <p:cNvCxnSpPr>
            <a:cxnSpLocks/>
            <a:stCxn id="73" idx="0"/>
            <a:endCxn id="69" idx="2"/>
          </p:cNvCxnSpPr>
          <p:nvPr/>
        </p:nvCxnSpPr>
        <p:spPr bwMode="auto">
          <a:xfrm flipV="1">
            <a:off x="6211138" y="5192236"/>
            <a:ext cx="1653" cy="536876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F99C10A5-B395-4356-8A57-0A512C50DE91}"/>
              </a:ext>
            </a:extLst>
          </p:cNvPr>
          <p:cNvCxnSpPr>
            <a:cxnSpLocks/>
            <a:stCxn id="69" idx="0"/>
            <a:endCxn id="68" idx="2"/>
          </p:cNvCxnSpPr>
          <p:nvPr/>
        </p:nvCxnSpPr>
        <p:spPr bwMode="auto">
          <a:xfrm flipV="1">
            <a:off x="6212791" y="4547377"/>
            <a:ext cx="0" cy="283476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4FCBD72C-30DA-4917-B39D-30E34C3B05C0}"/>
              </a:ext>
            </a:extLst>
          </p:cNvPr>
          <p:cNvCxnSpPr>
            <a:stCxn id="71" idx="2"/>
          </p:cNvCxnSpPr>
          <p:nvPr/>
        </p:nvCxnSpPr>
        <p:spPr bwMode="auto">
          <a:xfrm>
            <a:off x="1811094" y="3911589"/>
            <a:ext cx="0" cy="275788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67F0B02C-61D6-4EA5-9B82-137B006A457B}"/>
              </a:ext>
            </a:extLst>
          </p:cNvPr>
          <p:cNvCxnSpPr>
            <a:stCxn id="72" idx="2"/>
          </p:cNvCxnSpPr>
          <p:nvPr/>
        </p:nvCxnSpPr>
        <p:spPr bwMode="auto">
          <a:xfrm>
            <a:off x="10614487" y="3901422"/>
            <a:ext cx="0" cy="285955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reeform 29">
            <a:extLst>
              <a:ext uri="{FF2B5EF4-FFF2-40B4-BE49-F238E27FC236}">
                <a16:creationId xmlns:a16="http://schemas.microsoft.com/office/drawing/2014/main" id="{3441730B-68E6-4415-869B-433FACE9B9D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750509" y="1619782"/>
            <a:ext cx="846209" cy="514183"/>
          </a:xfrm>
          <a:custGeom>
            <a:avLst/>
            <a:gdLst>
              <a:gd name="T0" fmla="*/ 537 w 5984"/>
              <a:gd name="T1" fmla="*/ 3672 h 3672"/>
              <a:gd name="T2" fmla="*/ 929 w 5984"/>
              <a:gd name="T3" fmla="*/ 3672 h 3672"/>
              <a:gd name="T4" fmla="*/ 929 w 5984"/>
              <a:gd name="T5" fmla="*/ 962 h 3672"/>
              <a:gd name="T6" fmla="*/ 537 w 5984"/>
              <a:gd name="T7" fmla="*/ 962 h 3672"/>
              <a:gd name="T8" fmla="*/ 537 w 5984"/>
              <a:gd name="T9" fmla="*/ 3672 h 3672"/>
              <a:gd name="T10" fmla="*/ 0 w 5984"/>
              <a:gd name="T11" fmla="*/ 3672 h 3672"/>
              <a:gd name="T12" fmla="*/ 385 w 5984"/>
              <a:gd name="T13" fmla="*/ 3672 h 3672"/>
              <a:gd name="T14" fmla="*/ 385 w 5984"/>
              <a:gd name="T15" fmla="*/ 962 h 3672"/>
              <a:gd name="T16" fmla="*/ 0 w 5984"/>
              <a:gd name="T17" fmla="*/ 962 h 3672"/>
              <a:gd name="T18" fmla="*/ 0 w 5984"/>
              <a:gd name="T19" fmla="*/ 3672 h 3672"/>
              <a:gd name="T20" fmla="*/ 1081 w 5984"/>
              <a:gd name="T21" fmla="*/ 3672 h 3672"/>
              <a:gd name="T22" fmla="*/ 2091 w 5984"/>
              <a:gd name="T23" fmla="*/ 3672 h 3672"/>
              <a:gd name="T24" fmla="*/ 2091 w 5984"/>
              <a:gd name="T25" fmla="*/ 962 h 3672"/>
              <a:gd name="T26" fmla="*/ 1081 w 5984"/>
              <a:gd name="T27" fmla="*/ 962 h 3672"/>
              <a:gd name="T28" fmla="*/ 1081 w 5984"/>
              <a:gd name="T29" fmla="*/ 3672 h 3672"/>
              <a:gd name="T30" fmla="*/ 5023 w 5984"/>
              <a:gd name="T31" fmla="*/ 2221 h 3672"/>
              <a:gd name="T32" fmla="*/ 4871 w 5984"/>
              <a:gd name="T33" fmla="*/ 2069 h 3672"/>
              <a:gd name="T34" fmla="*/ 3909 w 5984"/>
              <a:gd name="T35" fmla="*/ 1106 h 3672"/>
              <a:gd name="T36" fmla="*/ 3757 w 5984"/>
              <a:gd name="T37" fmla="*/ 962 h 3672"/>
              <a:gd name="T38" fmla="*/ 2243 w 5984"/>
              <a:gd name="T39" fmla="*/ 962 h 3672"/>
              <a:gd name="T40" fmla="*/ 2243 w 5984"/>
              <a:gd name="T41" fmla="*/ 3672 h 3672"/>
              <a:gd name="T42" fmla="*/ 2403 w 5984"/>
              <a:gd name="T43" fmla="*/ 3672 h 3672"/>
              <a:gd name="T44" fmla="*/ 2403 w 5984"/>
              <a:gd name="T45" fmla="*/ 3455 h 3672"/>
              <a:gd name="T46" fmla="*/ 2612 w 5984"/>
              <a:gd name="T47" fmla="*/ 3455 h 3672"/>
              <a:gd name="T48" fmla="*/ 2612 w 5984"/>
              <a:gd name="T49" fmla="*/ 3672 h 3672"/>
              <a:gd name="T50" fmla="*/ 2772 w 5984"/>
              <a:gd name="T51" fmla="*/ 3672 h 3672"/>
              <a:gd name="T52" fmla="*/ 2772 w 5984"/>
              <a:gd name="T53" fmla="*/ 3455 h 3672"/>
              <a:gd name="T54" fmla="*/ 2980 w 5984"/>
              <a:gd name="T55" fmla="*/ 3455 h 3672"/>
              <a:gd name="T56" fmla="*/ 2980 w 5984"/>
              <a:gd name="T57" fmla="*/ 3672 h 3672"/>
              <a:gd name="T58" fmla="*/ 3140 w 5984"/>
              <a:gd name="T59" fmla="*/ 3672 h 3672"/>
              <a:gd name="T60" fmla="*/ 3140 w 5984"/>
              <a:gd name="T61" fmla="*/ 3455 h 3672"/>
              <a:gd name="T62" fmla="*/ 3348 w 5984"/>
              <a:gd name="T63" fmla="*/ 3455 h 3672"/>
              <a:gd name="T64" fmla="*/ 3348 w 5984"/>
              <a:gd name="T65" fmla="*/ 3672 h 3672"/>
              <a:gd name="T66" fmla="*/ 3509 w 5984"/>
              <a:gd name="T67" fmla="*/ 3672 h 3672"/>
              <a:gd name="T68" fmla="*/ 3509 w 5984"/>
              <a:gd name="T69" fmla="*/ 3455 h 3672"/>
              <a:gd name="T70" fmla="*/ 3717 w 5984"/>
              <a:gd name="T71" fmla="*/ 3455 h 3672"/>
              <a:gd name="T72" fmla="*/ 3717 w 5984"/>
              <a:gd name="T73" fmla="*/ 3672 h 3672"/>
              <a:gd name="T74" fmla="*/ 5031 w 5984"/>
              <a:gd name="T75" fmla="*/ 3672 h 3672"/>
              <a:gd name="T76" fmla="*/ 5031 w 5984"/>
              <a:gd name="T77" fmla="*/ 2221 h 3672"/>
              <a:gd name="T78" fmla="*/ 5023 w 5984"/>
              <a:gd name="T79" fmla="*/ 2221 h 3672"/>
              <a:gd name="T80" fmla="*/ 5984 w 5984"/>
              <a:gd name="T81" fmla="*/ 962 h 3672"/>
              <a:gd name="T82" fmla="*/ 5023 w 5984"/>
              <a:gd name="T83" fmla="*/ 0 h 3672"/>
              <a:gd name="T84" fmla="*/ 4061 w 5984"/>
              <a:gd name="T85" fmla="*/ 962 h 3672"/>
              <a:gd name="T86" fmla="*/ 5023 w 5984"/>
              <a:gd name="T87" fmla="*/ 1924 h 3672"/>
              <a:gd name="T88" fmla="*/ 5984 w 5984"/>
              <a:gd name="T89" fmla="*/ 962 h 3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984" h="3672">
                <a:moveTo>
                  <a:pt x="537" y="3672"/>
                </a:moveTo>
                <a:lnTo>
                  <a:pt x="929" y="3672"/>
                </a:lnTo>
                <a:lnTo>
                  <a:pt x="929" y="962"/>
                </a:lnTo>
                <a:lnTo>
                  <a:pt x="537" y="962"/>
                </a:lnTo>
                <a:lnTo>
                  <a:pt x="537" y="3672"/>
                </a:lnTo>
                <a:close/>
                <a:moveTo>
                  <a:pt x="0" y="3672"/>
                </a:moveTo>
                <a:lnTo>
                  <a:pt x="385" y="3672"/>
                </a:lnTo>
                <a:lnTo>
                  <a:pt x="385" y="962"/>
                </a:lnTo>
                <a:lnTo>
                  <a:pt x="0" y="962"/>
                </a:lnTo>
                <a:lnTo>
                  <a:pt x="0" y="3672"/>
                </a:lnTo>
                <a:close/>
                <a:moveTo>
                  <a:pt x="1081" y="3672"/>
                </a:moveTo>
                <a:lnTo>
                  <a:pt x="2091" y="3672"/>
                </a:lnTo>
                <a:lnTo>
                  <a:pt x="2091" y="962"/>
                </a:lnTo>
                <a:lnTo>
                  <a:pt x="1081" y="962"/>
                </a:lnTo>
                <a:lnTo>
                  <a:pt x="1081" y="3672"/>
                </a:lnTo>
                <a:close/>
                <a:moveTo>
                  <a:pt x="5023" y="2221"/>
                </a:moveTo>
                <a:lnTo>
                  <a:pt x="4871" y="2069"/>
                </a:lnTo>
                <a:lnTo>
                  <a:pt x="3909" y="1106"/>
                </a:lnTo>
                <a:lnTo>
                  <a:pt x="3757" y="962"/>
                </a:lnTo>
                <a:lnTo>
                  <a:pt x="2243" y="962"/>
                </a:lnTo>
                <a:lnTo>
                  <a:pt x="2243" y="3672"/>
                </a:lnTo>
                <a:lnTo>
                  <a:pt x="2403" y="3672"/>
                </a:lnTo>
                <a:lnTo>
                  <a:pt x="2403" y="3455"/>
                </a:lnTo>
                <a:lnTo>
                  <a:pt x="2612" y="3455"/>
                </a:lnTo>
                <a:lnTo>
                  <a:pt x="2612" y="3672"/>
                </a:lnTo>
                <a:lnTo>
                  <a:pt x="2772" y="3672"/>
                </a:lnTo>
                <a:lnTo>
                  <a:pt x="2772" y="3455"/>
                </a:lnTo>
                <a:lnTo>
                  <a:pt x="2980" y="3455"/>
                </a:lnTo>
                <a:lnTo>
                  <a:pt x="2980" y="3672"/>
                </a:lnTo>
                <a:lnTo>
                  <a:pt x="3140" y="3672"/>
                </a:lnTo>
                <a:lnTo>
                  <a:pt x="3140" y="3455"/>
                </a:lnTo>
                <a:lnTo>
                  <a:pt x="3348" y="3455"/>
                </a:lnTo>
                <a:lnTo>
                  <a:pt x="3348" y="3672"/>
                </a:lnTo>
                <a:lnTo>
                  <a:pt x="3509" y="3672"/>
                </a:lnTo>
                <a:lnTo>
                  <a:pt x="3509" y="3455"/>
                </a:lnTo>
                <a:lnTo>
                  <a:pt x="3717" y="3455"/>
                </a:lnTo>
                <a:lnTo>
                  <a:pt x="3717" y="3672"/>
                </a:lnTo>
                <a:lnTo>
                  <a:pt x="5031" y="3672"/>
                </a:lnTo>
                <a:lnTo>
                  <a:pt x="5031" y="2221"/>
                </a:lnTo>
                <a:lnTo>
                  <a:pt x="5023" y="2221"/>
                </a:lnTo>
                <a:close/>
                <a:moveTo>
                  <a:pt x="5984" y="962"/>
                </a:moveTo>
                <a:lnTo>
                  <a:pt x="5023" y="0"/>
                </a:lnTo>
                <a:lnTo>
                  <a:pt x="4061" y="962"/>
                </a:lnTo>
                <a:lnTo>
                  <a:pt x="5023" y="1924"/>
                </a:lnTo>
                <a:lnTo>
                  <a:pt x="5984" y="9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66076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58">
            <a:extLst>
              <a:ext uri="{FF2B5EF4-FFF2-40B4-BE49-F238E27FC236}">
                <a16:creationId xmlns:a16="http://schemas.microsoft.com/office/drawing/2014/main" id="{E0FC2D0F-D929-4E84-BCE2-F9231D4E455C}"/>
              </a:ext>
            </a:extLst>
          </p:cNvPr>
          <p:cNvSpPr/>
          <p:nvPr/>
        </p:nvSpPr>
        <p:spPr bwMode="auto">
          <a:xfrm>
            <a:off x="601632" y="1553828"/>
            <a:ext cx="11114923" cy="385696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t" anchorCtr="0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de-DE" sz="2400" b="1" i="0" u="none" baseline="0" dirty="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dge Device</a:t>
            </a:r>
            <a:endParaRPr lang="en-US" sz="2400" b="1" i="0" u="none" baseline="0" dirty="0">
              <a:solidFill>
                <a:schemeClr val="bg1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83EB4C4-1D67-4123-B168-4B674D61E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Edge</a:t>
            </a:r>
            <a:br>
              <a:rPr lang="de-DE" dirty="0"/>
            </a:br>
            <a:r>
              <a:rPr lang="de-DE" dirty="0"/>
              <a:t>Dashboard-</a:t>
            </a:r>
            <a:r>
              <a:rPr lang="de-DE" dirty="0" err="1"/>
              <a:t>Application</a:t>
            </a:r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F45E3DE-B2DE-4850-82AE-7981713E8165}"/>
              </a:ext>
            </a:extLst>
          </p:cNvPr>
          <p:cNvSpPr>
            <a:spLocks/>
          </p:cNvSpPr>
          <p:nvPr/>
        </p:nvSpPr>
        <p:spPr bwMode="gray">
          <a:xfrm>
            <a:off x="821094" y="4187377"/>
            <a:ext cx="10783393" cy="360000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0" rIns="144000" bIns="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 err="1">
                <a:solidFill>
                  <a:schemeClr val="bg1"/>
                </a:solidFill>
              </a:rPr>
              <a:t>Databus</a:t>
            </a:r>
            <a:r>
              <a:rPr lang="en-US" sz="1600" b="1" dirty="0">
                <a:solidFill>
                  <a:schemeClr val="bg1"/>
                </a:solidFill>
              </a:rPr>
              <a:t> (MQTT-Broker)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934CFAC-3FDB-43E6-8B53-97614BADB987}"/>
              </a:ext>
            </a:extLst>
          </p:cNvPr>
          <p:cNvSpPr>
            <a:spLocks/>
          </p:cNvSpPr>
          <p:nvPr/>
        </p:nvSpPr>
        <p:spPr bwMode="gray">
          <a:xfrm>
            <a:off x="821095" y="4830853"/>
            <a:ext cx="10783392" cy="361383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>
                <a:solidFill>
                  <a:schemeClr val="bg1"/>
                </a:solidFill>
              </a:rPr>
              <a:t>Southbound Connectivity App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C36B85-EC68-447D-96FE-9489D5692D76}"/>
              </a:ext>
            </a:extLst>
          </p:cNvPr>
          <p:cNvSpPr>
            <a:spLocks/>
          </p:cNvSpPr>
          <p:nvPr/>
        </p:nvSpPr>
        <p:spPr bwMode="gray">
          <a:xfrm>
            <a:off x="821094" y="2642103"/>
            <a:ext cx="1980000" cy="1269486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144000" rIns="144000" bIns="144000"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>
                <a:solidFill>
                  <a:schemeClr val="bg1"/>
                </a:solidFill>
              </a:rPr>
              <a:t>SIMATIC Flow Creato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CEAA006-AE8D-4C27-8629-65D404CE7103}"/>
              </a:ext>
            </a:extLst>
          </p:cNvPr>
          <p:cNvSpPr>
            <a:spLocks/>
          </p:cNvSpPr>
          <p:nvPr/>
        </p:nvSpPr>
        <p:spPr bwMode="gray">
          <a:xfrm>
            <a:off x="9624487" y="2631936"/>
            <a:ext cx="1980000" cy="1269486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4BB9B9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44000" tIns="144000" rIns="144000" bIns="144000"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3C464B"/>
              </a:buClr>
            </a:pPr>
            <a:r>
              <a:rPr lang="en-US" sz="1600" b="1" dirty="0">
                <a:solidFill>
                  <a:schemeClr val="bg1"/>
                </a:solidFill>
              </a:rPr>
              <a:t>Cloud Connector</a:t>
            </a:r>
          </a:p>
        </p:txBody>
      </p:sp>
      <p:sp>
        <p:nvSpPr>
          <p:cNvPr id="28" name="Freeform 31">
            <a:extLst>
              <a:ext uri="{FF2B5EF4-FFF2-40B4-BE49-F238E27FC236}">
                <a16:creationId xmlns:a16="http://schemas.microsoft.com/office/drawing/2014/main" id="{02842A98-0156-4911-9C66-4EAC61A9A8CE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5963201" y="5729112"/>
            <a:ext cx="495874" cy="495873"/>
          </a:xfrm>
          <a:custGeom>
            <a:avLst/>
            <a:gdLst>
              <a:gd name="T0" fmla="*/ 1200 w 2400"/>
              <a:gd name="T1" fmla="*/ 0 h 2400"/>
              <a:gd name="T2" fmla="*/ 840 w 2400"/>
              <a:gd name="T3" fmla="*/ 2220 h 2400"/>
              <a:gd name="T4" fmla="*/ 455 w 2400"/>
              <a:gd name="T5" fmla="*/ 2400 h 2400"/>
              <a:gd name="T6" fmla="*/ 0 w 2400"/>
              <a:gd name="T7" fmla="*/ 0 h 2400"/>
              <a:gd name="T8" fmla="*/ 2400 w 2400"/>
              <a:gd name="T9" fmla="*/ 2400 h 2400"/>
              <a:gd name="T10" fmla="*/ 631 w 2400"/>
              <a:gd name="T11" fmla="*/ 2329 h 2400"/>
              <a:gd name="T12" fmla="*/ 2400 w 2400"/>
              <a:gd name="T13" fmla="*/ 2260 h 2400"/>
              <a:gd name="T14" fmla="*/ 1800 w 2400"/>
              <a:gd name="T15" fmla="*/ 0 h 2400"/>
              <a:gd name="T16" fmla="*/ 1240 w 2400"/>
              <a:gd name="T17" fmla="*/ 2220 h 2400"/>
              <a:gd name="T18" fmla="*/ 1840 w 2400"/>
              <a:gd name="T19" fmla="*/ 0 h 2400"/>
              <a:gd name="T20" fmla="*/ 2400 w 2400"/>
              <a:gd name="T21" fmla="*/ 2220 h 2400"/>
              <a:gd name="T22" fmla="*/ 1840 w 2400"/>
              <a:gd name="T23" fmla="*/ 0 h 2400"/>
              <a:gd name="T24" fmla="*/ 700 w 2400"/>
              <a:gd name="T25" fmla="*/ 1400 h 2400"/>
              <a:gd name="T26" fmla="*/ 500 w 2400"/>
              <a:gd name="T27" fmla="*/ 1600 h 2400"/>
              <a:gd name="T28" fmla="*/ 532 w 2400"/>
              <a:gd name="T29" fmla="*/ 1568 h 2400"/>
              <a:gd name="T30" fmla="*/ 668 w 2400"/>
              <a:gd name="T31" fmla="*/ 1432 h 2400"/>
              <a:gd name="T32" fmla="*/ 1000 w 2400"/>
              <a:gd name="T33" fmla="*/ 1200 h 2400"/>
              <a:gd name="T34" fmla="*/ 200 w 2400"/>
              <a:gd name="T35" fmla="*/ 200 h 2400"/>
              <a:gd name="T36" fmla="*/ 1000 w 2400"/>
              <a:gd name="T37" fmla="*/ 1200 h 2400"/>
              <a:gd name="T38" fmla="*/ 460 w 2400"/>
              <a:gd name="T39" fmla="*/ 1640 h 2400"/>
              <a:gd name="T40" fmla="*/ 260 w 2400"/>
              <a:gd name="T41" fmla="*/ 1840 h 2400"/>
              <a:gd name="T42" fmla="*/ 292 w 2400"/>
              <a:gd name="T43" fmla="*/ 1808 h 2400"/>
              <a:gd name="T44" fmla="*/ 428 w 2400"/>
              <a:gd name="T45" fmla="*/ 1672 h 2400"/>
              <a:gd name="T46" fmla="*/ 676 w 2400"/>
              <a:gd name="T47" fmla="*/ 1904 h 2400"/>
              <a:gd name="T48" fmla="*/ 500 w 2400"/>
              <a:gd name="T49" fmla="*/ 1880 h 2400"/>
              <a:gd name="T50" fmla="*/ 524 w 2400"/>
              <a:gd name="T51" fmla="*/ 2056 h 2400"/>
              <a:gd name="T52" fmla="*/ 532 w 2400"/>
              <a:gd name="T53" fmla="*/ 1912 h 2400"/>
              <a:gd name="T54" fmla="*/ 676 w 2400"/>
              <a:gd name="T55" fmla="*/ 1904 h 2400"/>
              <a:gd name="T56" fmla="*/ 940 w 2400"/>
              <a:gd name="T57" fmla="*/ 1640 h 2400"/>
              <a:gd name="T58" fmla="*/ 740 w 2400"/>
              <a:gd name="T59" fmla="*/ 1840 h 2400"/>
              <a:gd name="T60" fmla="*/ 772 w 2400"/>
              <a:gd name="T61" fmla="*/ 1808 h 2400"/>
              <a:gd name="T62" fmla="*/ 908 w 2400"/>
              <a:gd name="T63" fmla="*/ 1672 h 2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00" h="2400">
                <a:moveTo>
                  <a:pt x="0" y="0"/>
                </a:moveTo>
                <a:cubicBezTo>
                  <a:pt x="1200" y="0"/>
                  <a:pt x="1200" y="0"/>
                  <a:pt x="1200" y="0"/>
                </a:cubicBezTo>
                <a:cubicBezTo>
                  <a:pt x="1200" y="2220"/>
                  <a:pt x="1200" y="2220"/>
                  <a:pt x="1200" y="2220"/>
                </a:cubicBezTo>
                <a:cubicBezTo>
                  <a:pt x="840" y="2220"/>
                  <a:pt x="840" y="2220"/>
                  <a:pt x="840" y="2220"/>
                </a:cubicBezTo>
                <a:cubicBezTo>
                  <a:pt x="726" y="2221"/>
                  <a:pt x="698" y="2242"/>
                  <a:pt x="609" y="2295"/>
                </a:cubicBezTo>
                <a:cubicBezTo>
                  <a:pt x="582" y="2313"/>
                  <a:pt x="516" y="2359"/>
                  <a:pt x="455" y="2400"/>
                </a:cubicBezTo>
                <a:cubicBezTo>
                  <a:pt x="0" y="2400"/>
                  <a:pt x="0" y="2400"/>
                  <a:pt x="0" y="240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400" y="2260"/>
                </a:moveTo>
                <a:cubicBezTo>
                  <a:pt x="2400" y="2400"/>
                  <a:pt x="2400" y="2400"/>
                  <a:pt x="2400" y="2400"/>
                </a:cubicBezTo>
                <a:cubicBezTo>
                  <a:pt x="526" y="2400"/>
                  <a:pt x="526" y="2400"/>
                  <a:pt x="526" y="2400"/>
                </a:cubicBezTo>
                <a:cubicBezTo>
                  <a:pt x="570" y="2370"/>
                  <a:pt x="611" y="2342"/>
                  <a:pt x="631" y="2329"/>
                </a:cubicBezTo>
                <a:cubicBezTo>
                  <a:pt x="715" y="2278"/>
                  <a:pt x="735" y="2260"/>
                  <a:pt x="848" y="2260"/>
                </a:cubicBezTo>
                <a:cubicBezTo>
                  <a:pt x="2400" y="2260"/>
                  <a:pt x="2400" y="2260"/>
                  <a:pt x="2400" y="2260"/>
                </a:cubicBezTo>
                <a:close/>
                <a:moveTo>
                  <a:pt x="1240" y="0"/>
                </a:moveTo>
                <a:cubicBezTo>
                  <a:pt x="1800" y="0"/>
                  <a:pt x="1800" y="0"/>
                  <a:pt x="1800" y="0"/>
                </a:cubicBezTo>
                <a:cubicBezTo>
                  <a:pt x="1800" y="2220"/>
                  <a:pt x="1800" y="2220"/>
                  <a:pt x="1800" y="2220"/>
                </a:cubicBezTo>
                <a:cubicBezTo>
                  <a:pt x="1240" y="2220"/>
                  <a:pt x="1240" y="2220"/>
                  <a:pt x="1240" y="2220"/>
                </a:cubicBezTo>
                <a:cubicBezTo>
                  <a:pt x="1240" y="0"/>
                  <a:pt x="1240" y="0"/>
                  <a:pt x="1240" y="0"/>
                </a:cubicBezTo>
                <a:close/>
                <a:moveTo>
                  <a:pt x="1840" y="0"/>
                </a:moveTo>
                <a:cubicBezTo>
                  <a:pt x="2400" y="0"/>
                  <a:pt x="2400" y="0"/>
                  <a:pt x="2400" y="0"/>
                </a:cubicBezTo>
                <a:cubicBezTo>
                  <a:pt x="2400" y="2220"/>
                  <a:pt x="2400" y="2220"/>
                  <a:pt x="2400" y="2220"/>
                </a:cubicBezTo>
                <a:cubicBezTo>
                  <a:pt x="1840" y="2220"/>
                  <a:pt x="1840" y="2220"/>
                  <a:pt x="1840" y="2220"/>
                </a:cubicBezTo>
                <a:cubicBezTo>
                  <a:pt x="1840" y="0"/>
                  <a:pt x="1840" y="0"/>
                  <a:pt x="1840" y="0"/>
                </a:cubicBezTo>
                <a:close/>
                <a:moveTo>
                  <a:pt x="676" y="1424"/>
                </a:moveTo>
                <a:cubicBezTo>
                  <a:pt x="700" y="1400"/>
                  <a:pt x="700" y="1400"/>
                  <a:pt x="700" y="1400"/>
                </a:cubicBezTo>
                <a:cubicBezTo>
                  <a:pt x="500" y="1400"/>
                  <a:pt x="500" y="1400"/>
                  <a:pt x="500" y="1400"/>
                </a:cubicBezTo>
                <a:cubicBezTo>
                  <a:pt x="500" y="1600"/>
                  <a:pt x="500" y="1600"/>
                  <a:pt x="500" y="1600"/>
                </a:cubicBezTo>
                <a:cubicBezTo>
                  <a:pt x="524" y="1576"/>
                  <a:pt x="524" y="1576"/>
                  <a:pt x="524" y="1576"/>
                </a:cubicBezTo>
                <a:cubicBezTo>
                  <a:pt x="532" y="1568"/>
                  <a:pt x="532" y="1568"/>
                  <a:pt x="532" y="1568"/>
                </a:cubicBezTo>
                <a:cubicBezTo>
                  <a:pt x="532" y="1432"/>
                  <a:pt x="532" y="1432"/>
                  <a:pt x="532" y="1432"/>
                </a:cubicBezTo>
                <a:cubicBezTo>
                  <a:pt x="668" y="1432"/>
                  <a:pt x="668" y="1432"/>
                  <a:pt x="668" y="1432"/>
                </a:cubicBezTo>
                <a:cubicBezTo>
                  <a:pt x="676" y="1424"/>
                  <a:pt x="676" y="1424"/>
                  <a:pt x="676" y="1424"/>
                </a:cubicBezTo>
                <a:close/>
                <a:moveTo>
                  <a:pt x="1000" y="1200"/>
                </a:moveTo>
                <a:cubicBezTo>
                  <a:pt x="1000" y="200"/>
                  <a:pt x="1000" y="200"/>
                  <a:pt x="1000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00" y="1200"/>
                  <a:pt x="200" y="1200"/>
                  <a:pt x="200" y="1200"/>
                </a:cubicBezTo>
                <a:cubicBezTo>
                  <a:pt x="1000" y="1200"/>
                  <a:pt x="1000" y="1200"/>
                  <a:pt x="1000" y="1200"/>
                </a:cubicBezTo>
                <a:close/>
                <a:moveTo>
                  <a:pt x="436" y="1664"/>
                </a:moveTo>
                <a:cubicBezTo>
                  <a:pt x="460" y="1640"/>
                  <a:pt x="460" y="1640"/>
                  <a:pt x="460" y="1640"/>
                </a:cubicBezTo>
                <a:cubicBezTo>
                  <a:pt x="260" y="1640"/>
                  <a:pt x="260" y="1640"/>
                  <a:pt x="260" y="1640"/>
                </a:cubicBezTo>
                <a:cubicBezTo>
                  <a:pt x="260" y="1840"/>
                  <a:pt x="260" y="1840"/>
                  <a:pt x="260" y="1840"/>
                </a:cubicBezTo>
                <a:cubicBezTo>
                  <a:pt x="284" y="1816"/>
                  <a:pt x="284" y="1816"/>
                  <a:pt x="284" y="1816"/>
                </a:cubicBezTo>
                <a:cubicBezTo>
                  <a:pt x="292" y="1808"/>
                  <a:pt x="292" y="1808"/>
                  <a:pt x="292" y="1808"/>
                </a:cubicBezTo>
                <a:cubicBezTo>
                  <a:pt x="292" y="1672"/>
                  <a:pt x="292" y="1672"/>
                  <a:pt x="292" y="1672"/>
                </a:cubicBezTo>
                <a:cubicBezTo>
                  <a:pt x="428" y="1672"/>
                  <a:pt x="428" y="1672"/>
                  <a:pt x="428" y="1672"/>
                </a:cubicBezTo>
                <a:cubicBezTo>
                  <a:pt x="436" y="1664"/>
                  <a:pt x="436" y="1664"/>
                  <a:pt x="436" y="1664"/>
                </a:cubicBezTo>
                <a:close/>
                <a:moveTo>
                  <a:pt x="676" y="1904"/>
                </a:moveTo>
                <a:cubicBezTo>
                  <a:pt x="700" y="1880"/>
                  <a:pt x="700" y="1880"/>
                  <a:pt x="700" y="1880"/>
                </a:cubicBezTo>
                <a:cubicBezTo>
                  <a:pt x="500" y="1880"/>
                  <a:pt x="500" y="1880"/>
                  <a:pt x="500" y="1880"/>
                </a:cubicBezTo>
                <a:cubicBezTo>
                  <a:pt x="500" y="2080"/>
                  <a:pt x="500" y="2080"/>
                  <a:pt x="500" y="2080"/>
                </a:cubicBezTo>
                <a:cubicBezTo>
                  <a:pt x="524" y="2056"/>
                  <a:pt x="524" y="2056"/>
                  <a:pt x="524" y="2056"/>
                </a:cubicBezTo>
                <a:cubicBezTo>
                  <a:pt x="532" y="2048"/>
                  <a:pt x="532" y="2048"/>
                  <a:pt x="532" y="2048"/>
                </a:cubicBezTo>
                <a:cubicBezTo>
                  <a:pt x="532" y="1912"/>
                  <a:pt x="532" y="1912"/>
                  <a:pt x="532" y="1912"/>
                </a:cubicBezTo>
                <a:cubicBezTo>
                  <a:pt x="668" y="1912"/>
                  <a:pt x="668" y="1912"/>
                  <a:pt x="668" y="1912"/>
                </a:cubicBezTo>
                <a:cubicBezTo>
                  <a:pt x="676" y="1904"/>
                  <a:pt x="676" y="1904"/>
                  <a:pt x="676" y="1904"/>
                </a:cubicBezTo>
                <a:close/>
                <a:moveTo>
                  <a:pt x="916" y="1664"/>
                </a:moveTo>
                <a:cubicBezTo>
                  <a:pt x="940" y="1640"/>
                  <a:pt x="940" y="1640"/>
                  <a:pt x="940" y="1640"/>
                </a:cubicBezTo>
                <a:cubicBezTo>
                  <a:pt x="740" y="1640"/>
                  <a:pt x="740" y="1640"/>
                  <a:pt x="740" y="1640"/>
                </a:cubicBezTo>
                <a:cubicBezTo>
                  <a:pt x="740" y="1840"/>
                  <a:pt x="740" y="1840"/>
                  <a:pt x="740" y="1840"/>
                </a:cubicBezTo>
                <a:cubicBezTo>
                  <a:pt x="764" y="1816"/>
                  <a:pt x="764" y="1816"/>
                  <a:pt x="764" y="1816"/>
                </a:cubicBezTo>
                <a:cubicBezTo>
                  <a:pt x="772" y="1808"/>
                  <a:pt x="772" y="1808"/>
                  <a:pt x="772" y="1808"/>
                </a:cubicBezTo>
                <a:cubicBezTo>
                  <a:pt x="772" y="1672"/>
                  <a:pt x="772" y="1672"/>
                  <a:pt x="772" y="1672"/>
                </a:cubicBezTo>
                <a:cubicBezTo>
                  <a:pt x="908" y="1672"/>
                  <a:pt x="908" y="1672"/>
                  <a:pt x="908" y="1672"/>
                </a:cubicBezTo>
                <a:cubicBezTo>
                  <a:pt x="916" y="1664"/>
                  <a:pt x="916" y="1664"/>
                  <a:pt x="916" y="1664"/>
                </a:cubicBezTo>
                <a:close/>
              </a:path>
            </a:pathLst>
          </a:custGeom>
          <a:solidFill>
            <a:srgbClr val="9BAF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endParaRPr lang="en-US" sz="1400" kern="1400" dirty="0">
              <a:solidFill>
                <a:srgbClr val="788791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5A71B33-6E7A-4787-8B35-C86CE44EA932}"/>
              </a:ext>
            </a:extLst>
          </p:cNvPr>
          <p:cNvSpPr txBox="1"/>
          <p:nvPr/>
        </p:nvSpPr>
        <p:spPr>
          <a:xfrm>
            <a:off x="6282713" y="5303660"/>
            <a:ext cx="3401789" cy="39060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7-Connection (S7-300/S7-1200/S7-1500)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PC UA (S7-1200*/S7-1500)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EAA62D4-3DC9-4CF5-A735-EF2560EBCF61}"/>
              </a:ext>
            </a:extLst>
          </p:cNvPr>
          <p:cNvSpPr txBox="1"/>
          <p:nvPr/>
        </p:nvSpPr>
        <p:spPr>
          <a:xfrm>
            <a:off x="8314767" y="6165850"/>
            <a:ext cx="3401789" cy="14163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de-DE" sz="900" b="0" i="0" u="none" baseline="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*S7-1200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OPC UA </a:t>
            </a:r>
            <a:r>
              <a:rPr lang="de-DE" sz="900" b="0" i="0" u="none" dirty="0" err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900" b="0" i="0" u="none" dirty="0" err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new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FW release (</a:t>
            </a:r>
            <a:r>
              <a:rPr lang="de-DE" sz="900" b="0" i="0" u="none" dirty="0" err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lanned</a:t>
            </a:r>
            <a:r>
              <a:rPr lang="de-DE" sz="900" b="0" i="0" u="non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2019/2020)</a:t>
            </a:r>
            <a:endParaRPr lang="de-DE" sz="900" b="0" i="0" u="none" baseline="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13F3696-002A-494E-9784-74D1A4375EEF}"/>
              </a:ext>
            </a:extLst>
          </p:cNvPr>
          <p:cNvCxnSpPr>
            <a:cxnSpLocks/>
            <a:stCxn id="28" idx="0"/>
            <a:endCxn id="20" idx="2"/>
          </p:cNvCxnSpPr>
          <p:nvPr/>
        </p:nvCxnSpPr>
        <p:spPr bwMode="auto">
          <a:xfrm flipV="1">
            <a:off x="6211138" y="5192236"/>
            <a:ext cx="1653" cy="536876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12FC478A-FFBB-467D-BDE9-2C875711639E}"/>
              </a:ext>
            </a:extLst>
          </p:cNvPr>
          <p:cNvCxnSpPr>
            <a:cxnSpLocks/>
            <a:stCxn id="20" idx="0"/>
            <a:endCxn id="19" idx="2"/>
          </p:cNvCxnSpPr>
          <p:nvPr/>
        </p:nvCxnSpPr>
        <p:spPr bwMode="auto">
          <a:xfrm flipV="1">
            <a:off x="6212791" y="4547377"/>
            <a:ext cx="0" cy="283476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221E67D3-91B8-4F7C-84BC-8681E19FA41B}"/>
              </a:ext>
            </a:extLst>
          </p:cNvPr>
          <p:cNvCxnSpPr>
            <a:stCxn id="21" idx="2"/>
          </p:cNvCxnSpPr>
          <p:nvPr/>
        </p:nvCxnSpPr>
        <p:spPr bwMode="auto">
          <a:xfrm>
            <a:off x="1811094" y="3911589"/>
            <a:ext cx="0" cy="275788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E646CFF8-7FF7-4DBF-9CDC-0056CF325A83}"/>
              </a:ext>
            </a:extLst>
          </p:cNvPr>
          <p:cNvCxnSpPr>
            <a:stCxn id="27" idx="2"/>
          </p:cNvCxnSpPr>
          <p:nvPr/>
        </p:nvCxnSpPr>
        <p:spPr bwMode="auto">
          <a:xfrm>
            <a:off x="10614487" y="3901422"/>
            <a:ext cx="0" cy="285955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41AAAA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C6AB3AA0-F50D-4F2B-AFF0-718EB1DE0CE0}"/>
              </a:ext>
            </a:extLst>
          </p:cNvPr>
          <p:cNvGrpSpPr/>
          <p:nvPr/>
        </p:nvGrpSpPr>
        <p:grpSpPr>
          <a:xfrm>
            <a:off x="2951364" y="2068628"/>
            <a:ext cx="6505495" cy="2118749"/>
            <a:chOff x="3020155" y="2088963"/>
            <a:chExt cx="6505495" cy="2118749"/>
          </a:xfrm>
        </p:grpSpPr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E7F227D0-0206-44FD-80F3-0EBB086205D4}"/>
                </a:ext>
              </a:extLst>
            </p:cNvPr>
            <p:cNvSpPr/>
            <p:nvPr/>
          </p:nvSpPr>
          <p:spPr bwMode="auto">
            <a:xfrm>
              <a:off x="3020155" y="2088963"/>
              <a:ext cx="6505495" cy="1955034"/>
            </a:xfrm>
            <a:prstGeom prst="rect">
              <a:avLst/>
            </a:prstGeom>
            <a:solidFill>
              <a:srgbClr val="FFB900"/>
            </a:solidFill>
            <a:ln w="38100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>
                  <a:solidFill>
                    <a:srgbClr val="3C464B"/>
                  </a:solidFill>
                </a:rPr>
                <a:t>Custom-</a:t>
              </a:r>
              <a:r>
                <a:rPr lang="de-DE" b="1" dirty="0" err="1">
                  <a:solidFill>
                    <a:srgbClr val="3C464B"/>
                  </a:solidFill>
                </a:rPr>
                <a:t>Application</a:t>
              </a:r>
              <a:endParaRPr lang="en-US" b="1" dirty="0" err="1">
                <a:solidFill>
                  <a:srgbClr val="3C464B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1EA14A51-A5AE-487C-A557-7F5B9DBBF812}"/>
                </a:ext>
              </a:extLst>
            </p:cNvPr>
            <p:cNvSpPr/>
            <p:nvPr/>
          </p:nvSpPr>
          <p:spPr bwMode="auto">
            <a:xfrm>
              <a:off x="3290561" y="2642103"/>
              <a:ext cx="1295400" cy="1258514"/>
            </a:xfrm>
            <a:prstGeom prst="rect">
              <a:avLst/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 typeface="Wingdings" charset="0"/>
                <a:buNone/>
              </a:pPr>
              <a:r>
                <a:rPr lang="de-DE" sz="1800" b="0" i="0" u="none" baseline="0" dirty="0">
                  <a:solidFill>
                    <a:schemeClr val="bg1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a-</a:t>
              </a:r>
              <a:r>
                <a:rPr lang="de-DE" sz="1800" b="0" i="0" u="none" baseline="0" dirty="0" err="1">
                  <a:solidFill>
                    <a:schemeClr val="bg1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llector</a:t>
              </a:r>
              <a:endParaRPr lang="de-DE" sz="1800" b="0" i="0" u="none" baseline="0" dirty="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73E831BC-70E0-41CE-9D61-E029293F5010}"/>
                </a:ext>
              </a:extLst>
            </p:cNvPr>
            <p:cNvGrpSpPr/>
            <p:nvPr/>
          </p:nvGrpSpPr>
          <p:grpSpPr>
            <a:xfrm>
              <a:off x="5547398" y="2616874"/>
              <a:ext cx="1305458" cy="1299610"/>
              <a:chOff x="4241107" y="2616874"/>
              <a:chExt cx="1305458" cy="1299610"/>
            </a:xfrm>
          </p:grpSpPr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DB2E3413-1998-4DFD-B988-5A5AB1B3D6FE}"/>
                  </a:ext>
                </a:extLst>
              </p:cNvPr>
              <p:cNvSpPr/>
              <p:nvPr/>
            </p:nvSpPr>
            <p:spPr bwMode="auto">
              <a:xfrm>
                <a:off x="4241107" y="2616874"/>
                <a:ext cx="1305458" cy="1299610"/>
              </a:xfrm>
              <a:prstGeom prst="rect">
                <a:avLst/>
              </a:prstGeom>
              <a:gradFill>
                <a:gsLst>
                  <a:gs pos="0">
                    <a:srgbClr val="13002D"/>
                  </a:gs>
                  <a:gs pos="100000">
                    <a:srgbClr val="3F0C3D"/>
                  </a:gs>
                </a:gsLst>
                <a:lin ang="0" scaled="0"/>
              </a:gradFill>
              <a:ln>
                <a:noFill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 rtl="0" eaLnBrk="1" fontAlgn="base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Font typeface="Wingdings" charset="0"/>
                  <a:buNone/>
                </a:pPr>
                <a:endParaRPr lang="de-DE" sz="1800" b="0" i="0" u="none" baseline="0" dirty="0">
                  <a:solidFill>
                    <a:schemeClr val="bg1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139266" name="Picture 2" descr="Bildergebnis fÃ¼r influxdb">
                <a:extLst>
                  <a:ext uri="{FF2B5EF4-FFF2-40B4-BE49-F238E27FC236}">
                    <a16:creationId xmlns:a16="http://schemas.microsoft.com/office/drawing/2014/main" id="{4A539F4E-8FF4-4464-B14F-7F06A46381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667" r="24317"/>
              <a:stretch/>
            </p:blipFill>
            <p:spPr bwMode="auto">
              <a:xfrm>
                <a:off x="4289850" y="2836085"/>
                <a:ext cx="1207972" cy="8611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71A92CE7-0E98-4D4C-8279-E9C71371E6F6}"/>
                </a:ext>
              </a:extLst>
            </p:cNvPr>
            <p:cNvGrpSpPr/>
            <p:nvPr/>
          </p:nvGrpSpPr>
          <p:grpSpPr>
            <a:xfrm>
              <a:off x="7920339" y="2611069"/>
              <a:ext cx="1306800" cy="1299610"/>
              <a:chOff x="6211139" y="2512248"/>
              <a:chExt cx="1306800" cy="1299610"/>
            </a:xfrm>
          </p:grpSpPr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BAB4077B-5B10-434A-A8B3-A051F42B3DD8}"/>
                  </a:ext>
                </a:extLst>
              </p:cNvPr>
              <p:cNvSpPr/>
              <p:nvPr/>
            </p:nvSpPr>
            <p:spPr bwMode="auto">
              <a:xfrm>
                <a:off x="6211139" y="2512248"/>
                <a:ext cx="1306800" cy="129961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 rtl="0" eaLnBrk="1" fontAlgn="base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Font typeface="Wingdings" charset="0"/>
                  <a:buNone/>
                </a:pPr>
                <a:endParaRPr lang="de-DE" sz="1800" b="0" i="0" u="none" baseline="0" dirty="0">
                  <a:solidFill>
                    <a:srgbClr val="00000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139268" name="Picture 4" descr="Bildergebnis fÃ¼r grafana icon">
                <a:extLst>
                  <a:ext uri="{FF2B5EF4-FFF2-40B4-BE49-F238E27FC236}">
                    <a16:creationId xmlns:a16="http://schemas.microsoft.com/office/drawing/2014/main" id="{4C8FCABC-3BF4-4351-A0A2-7F2223853A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91" r="7151"/>
              <a:stretch/>
            </p:blipFill>
            <p:spPr bwMode="auto">
              <a:xfrm>
                <a:off x="6274408" y="2860089"/>
                <a:ext cx="1180261" cy="6039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9A6786B8-CC35-4A42-8E98-01FB50ADB18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956984" y="3883801"/>
              <a:ext cx="1" cy="323911"/>
            </a:xfrm>
            <a:prstGeom prst="straightConnector1">
              <a:avLst/>
            </a:prstGeom>
            <a:solidFill>
              <a:schemeClr val="tx2"/>
            </a:solidFill>
            <a:ln w="38100" cap="flat" cmpd="sng" algn="ctr">
              <a:solidFill>
                <a:srgbClr val="41AAAA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EF521464-5EE7-41A6-839C-2E51142E5EA1}"/>
                </a:ext>
              </a:extLst>
            </p:cNvPr>
            <p:cNvCxnSpPr>
              <a:cxnSpLocks/>
              <a:stCxn id="24" idx="3"/>
              <a:endCxn id="25" idx="1"/>
            </p:cNvCxnSpPr>
            <p:nvPr/>
          </p:nvCxnSpPr>
          <p:spPr bwMode="auto">
            <a:xfrm flipV="1">
              <a:off x="4585961" y="3266679"/>
              <a:ext cx="961437" cy="0"/>
            </a:xfrm>
            <a:prstGeom prst="straightConnector1">
              <a:avLst/>
            </a:prstGeom>
            <a:solidFill>
              <a:schemeClr val="tx2"/>
            </a:solidFill>
            <a:ln w="38100" cap="flat" cmpd="sng" algn="ctr">
              <a:solidFill>
                <a:srgbClr val="41AAAA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0A4C828C-7E7C-4B1E-9445-448DDEF6EEDD}"/>
                </a:ext>
              </a:extLst>
            </p:cNvPr>
            <p:cNvCxnSpPr>
              <a:cxnSpLocks/>
              <a:stCxn id="25" idx="3"/>
              <a:endCxn id="26" idx="1"/>
            </p:cNvCxnSpPr>
            <p:nvPr/>
          </p:nvCxnSpPr>
          <p:spPr bwMode="auto">
            <a:xfrm flipV="1">
              <a:off x="6852856" y="3260874"/>
              <a:ext cx="1067483" cy="0"/>
            </a:xfrm>
            <a:prstGeom prst="straightConnector1">
              <a:avLst/>
            </a:prstGeom>
            <a:solidFill>
              <a:schemeClr val="tx2"/>
            </a:solidFill>
            <a:ln w="38100" cap="flat" cmpd="sng" algn="ctr">
              <a:solidFill>
                <a:srgbClr val="41AAAA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7F0DDFA3-F7D8-4580-AB54-722419177756}"/>
                </a:ext>
              </a:extLst>
            </p:cNvPr>
            <p:cNvSpPr txBox="1"/>
            <p:nvPr/>
          </p:nvSpPr>
          <p:spPr>
            <a:xfrm>
              <a:off x="4813682" y="3064743"/>
              <a:ext cx="570143" cy="25922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base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</a:pPr>
              <a:r>
                <a:rPr lang="de-DE" sz="1200" b="0" i="0" u="none" baseline="0" dirty="0">
                  <a:solidFill>
                    <a:srgbClr val="00000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CP/IP</a:t>
              </a: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7CC841A2-17A9-4822-88F8-6870E1ADDB0E}"/>
                </a:ext>
              </a:extLst>
            </p:cNvPr>
            <p:cNvSpPr txBox="1"/>
            <p:nvPr/>
          </p:nvSpPr>
          <p:spPr>
            <a:xfrm>
              <a:off x="7096759" y="3064743"/>
              <a:ext cx="570143" cy="25922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l" rtl="0" eaLnBrk="1" fontAlgn="base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</a:pPr>
              <a:r>
                <a:rPr lang="de-DE" sz="1200" b="0" i="0" u="none" baseline="0" dirty="0">
                  <a:solidFill>
                    <a:srgbClr val="00000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CP/IP</a:t>
              </a:r>
            </a:p>
          </p:txBody>
        </p:sp>
      </p:grpSp>
      <p:sp>
        <p:nvSpPr>
          <p:cNvPr id="39" name="Freeform 29">
            <a:extLst>
              <a:ext uri="{FF2B5EF4-FFF2-40B4-BE49-F238E27FC236}">
                <a16:creationId xmlns:a16="http://schemas.microsoft.com/office/drawing/2014/main" id="{322CD94F-B02D-4F40-81B2-17BC644058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750509" y="1619782"/>
            <a:ext cx="846209" cy="514183"/>
          </a:xfrm>
          <a:custGeom>
            <a:avLst/>
            <a:gdLst>
              <a:gd name="T0" fmla="*/ 537 w 5984"/>
              <a:gd name="T1" fmla="*/ 3672 h 3672"/>
              <a:gd name="T2" fmla="*/ 929 w 5984"/>
              <a:gd name="T3" fmla="*/ 3672 h 3672"/>
              <a:gd name="T4" fmla="*/ 929 w 5984"/>
              <a:gd name="T5" fmla="*/ 962 h 3672"/>
              <a:gd name="T6" fmla="*/ 537 w 5984"/>
              <a:gd name="T7" fmla="*/ 962 h 3672"/>
              <a:gd name="T8" fmla="*/ 537 w 5984"/>
              <a:gd name="T9" fmla="*/ 3672 h 3672"/>
              <a:gd name="T10" fmla="*/ 0 w 5984"/>
              <a:gd name="T11" fmla="*/ 3672 h 3672"/>
              <a:gd name="T12" fmla="*/ 385 w 5984"/>
              <a:gd name="T13" fmla="*/ 3672 h 3672"/>
              <a:gd name="T14" fmla="*/ 385 w 5984"/>
              <a:gd name="T15" fmla="*/ 962 h 3672"/>
              <a:gd name="T16" fmla="*/ 0 w 5984"/>
              <a:gd name="T17" fmla="*/ 962 h 3672"/>
              <a:gd name="T18" fmla="*/ 0 w 5984"/>
              <a:gd name="T19" fmla="*/ 3672 h 3672"/>
              <a:gd name="T20" fmla="*/ 1081 w 5984"/>
              <a:gd name="T21" fmla="*/ 3672 h 3672"/>
              <a:gd name="T22" fmla="*/ 2091 w 5984"/>
              <a:gd name="T23" fmla="*/ 3672 h 3672"/>
              <a:gd name="T24" fmla="*/ 2091 w 5984"/>
              <a:gd name="T25" fmla="*/ 962 h 3672"/>
              <a:gd name="T26" fmla="*/ 1081 w 5984"/>
              <a:gd name="T27" fmla="*/ 962 h 3672"/>
              <a:gd name="T28" fmla="*/ 1081 w 5984"/>
              <a:gd name="T29" fmla="*/ 3672 h 3672"/>
              <a:gd name="T30" fmla="*/ 5023 w 5984"/>
              <a:gd name="T31" fmla="*/ 2221 h 3672"/>
              <a:gd name="T32" fmla="*/ 4871 w 5984"/>
              <a:gd name="T33" fmla="*/ 2069 h 3672"/>
              <a:gd name="T34" fmla="*/ 3909 w 5984"/>
              <a:gd name="T35" fmla="*/ 1106 h 3672"/>
              <a:gd name="T36" fmla="*/ 3757 w 5984"/>
              <a:gd name="T37" fmla="*/ 962 h 3672"/>
              <a:gd name="T38" fmla="*/ 2243 w 5984"/>
              <a:gd name="T39" fmla="*/ 962 h 3672"/>
              <a:gd name="T40" fmla="*/ 2243 w 5984"/>
              <a:gd name="T41" fmla="*/ 3672 h 3672"/>
              <a:gd name="T42" fmla="*/ 2403 w 5984"/>
              <a:gd name="T43" fmla="*/ 3672 h 3672"/>
              <a:gd name="T44" fmla="*/ 2403 w 5984"/>
              <a:gd name="T45" fmla="*/ 3455 h 3672"/>
              <a:gd name="T46" fmla="*/ 2612 w 5984"/>
              <a:gd name="T47" fmla="*/ 3455 h 3672"/>
              <a:gd name="T48" fmla="*/ 2612 w 5984"/>
              <a:gd name="T49" fmla="*/ 3672 h 3672"/>
              <a:gd name="T50" fmla="*/ 2772 w 5984"/>
              <a:gd name="T51" fmla="*/ 3672 h 3672"/>
              <a:gd name="T52" fmla="*/ 2772 w 5984"/>
              <a:gd name="T53" fmla="*/ 3455 h 3672"/>
              <a:gd name="T54" fmla="*/ 2980 w 5984"/>
              <a:gd name="T55" fmla="*/ 3455 h 3672"/>
              <a:gd name="T56" fmla="*/ 2980 w 5984"/>
              <a:gd name="T57" fmla="*/ 3672 h 3672"/>
              <a:gd name="T58" fmla="*/ 3140 w 5984"/>
              <a:gd name="T59" fmla="*/ 3672 h 3672"/>
              <a:gd name="T60" fmla="*/ 3140 w 5984"/>
              <a:gd name="T61" fmla="*/ 3455 h 3672"/>
              <a:gd name="T62" fmla="*/ 3348 w 5984"/>
              <a:gd name="T63" fmla="*/ 3455 h 3672"/>
              <a:gd name="T64" fmla="*/ 3348 w 5984"/>
              <a:gd name="T65" fmla="*/ 3672 h 3672"/>
              <a:gd name="T66" fmla="*/ 3509 w 5984"/>
              <a:gd name="T67" fmla="*/ 3672 h 3672"/>
              <a:gd name="T68" fmla="*/ 3509 w 5984"/>
              <a:gd name="T69" fmla="*/ 3455 h 3672"/>
              <a:gd name="T70" fmla="*/ 3717 w 5984"/>
              <a:gd name="T71" fmla="*/ 3455 h 3672"/>
              <a:gd name="T72" fmla="*/ 3717 w 5984"/>
              <a:gd name="T73" fmla="*/ 3672 h 3672"/>
              <a:gd name="T74" fmla="*/ 5031 w 5984"/>
              <a:gd name="T75" fmla="*/ 3672 h 3672"/>
              <a:gd name="T76" fmla="*/ 5031 w 5984"/>
              <a:gd name="T77" fmla="*/ 2221 h 3672"/>
              <a:gd name="T78" fmla="*/ 5023 w 5984"/>
              <a:gd name="T79" fmla="*/ 2221 h 3672"/>
              <a:gd name="T80" fmla="*/ 5984 w 5984"/>
              <a:gd name="T81" fmla="*/ 962 h 3672"/>
              <a:gd name="T82" fmla="*/ 5023 w 5984"/>
              <a:gd name="T83" fmla="*/ 0 h 3672"/>
              <a:gd name="T84" fmla="*/ 4061 w 5984"/>
              <a:gd name="T85" fmla="*/ 962 h 3672"/>
              <a:gd name="T86" fmla="*/ 5023 w 5984"/>
              <a:gd name="T87" fmla="*/ 1924 h 3672"/>
              <a:gd name="T88" fmla="*/ 5984 w 5984"/>
              <a:gd name="T89" fmla="*/ 962 h 3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984" h="3672">
                <a:moveTo>
                  <a:pt x="537" y="3672"/>
                </a:moveTo>
                <a:lnTo>
                  <a:pt x="929" y="3672"/>
                </a:lnTo>
                <a:lnTo>
                  <a:pt x="929" y="962"/>
                </a:lnTo>
                <a:lnTo>
                  <a:pt x="537" y="962"/>
                </a:lnTo>
                <a:lnTo>
                  <a:pt x="537" y="3672"/>
                </a:lnTo>
                <a:close/>
                <a:moveTo>
                  <a:pt x="0" y="3672"/>
                </a:moveTo>
                <a:lnTo>
                  <a:pt x="385" y="3672"/>
                </a:lnTo>
                <a:lnTo>
                  <a:pt x="385" y="962"/>
                </a:lnTo>
                <a:lnTo>
                  <a:pt x="0" y="962"/>
                </a:lnTo>
                <a:lnTo>
                  <a:pt x="0" y="3672"/>
                </a:lnTo>
                <a:close/>
                <a:moveTo>
                  <a:pt x="1081" y="3672"/>
                </a:moveTo>
                <a:lnTo>
                  <a:pt x="2091" y="3672"/>
                </a:lnTo>
                <a:lnTo>
                  <a:pt x="2091" y="962"/>
                </a:lnTo>
                <a:lnTo>
                  <a:pt x="1081" y="962"/>
                </a:lnTo>
                <a:lnTo>
                  <a:pt x="1081" y="3672"/>
                </a:lnTo>
                <a:close/>
                <a:moveTo>
                  <a:pt x="5023" y="2221"/>
                </a:moveTo>
                <a:lnTo>
                  <a:pt x="4871" y="2069"/>
                </a:lnTo>
                <a:lnTo>
                  <a:pt x="3909" y="1106"/>
                </a:lnTo>
                <a:lnTo>
                  <a:pt x="3757" y="962"/>
                </a:lnTo>
                <a:lnTo>
                  <a:pt x="2243" y="962"/>
                </a:lnTo>
                <a:lnTo>
                  <a:pt x="2243" y="3672"/>
                </a:lnTo>
                <a:lnTo>
                  <a:pt x="2403" y="3672"/>
                </a:lnTo>
                <a:lnTo>
                  <a:pt x="2403" y="3455"/>
                </a:lnTo>
                <a:lnTo>
                  <a:pt x="2612" y="3455"/>
                </a:lnTo>
                <a:lnTo>
                  <a:pt x="2612" y="3672"/>
                </a:lnTo>
                <a:lnTo>
                  <a:pt x="2772" y="3672"/>
                </a:lnTo>
                <a:lnTo>
                  <a:pt x="2772" y="3455"/>
                </a:lnTo>
                <a:lnTo>
                  <a:pt x="2980" y="3455"/>
                </a:lnTo>
                <a:lnTo>
                  <a:pt x="2980" y="3672"/>
                </a:lnTo>
                <a:lnTo>
                  <a:pt x="3140" y="3672"/>
                </a:lnTo>
                <a:lnTo>
                  <a:pt x="3140" y="3455"/>
                </a:lnTo>
                <a:lnTo>
                  <a:pt x="3348" y="3455"/>
                </a:lnTo>
                <a:lnTo>
                  <a:pt x="3348" y="3672"/>
                </a:lnTo>
                <a:lnTo>
                  <a:pt x="3509" y="3672"/>
                </a:lnTo>
                <a:lnTo>
                  <a:pt x="3509" y="3455"/>
                </a:lnTo>
                <a:lnTo>
                  <a:pt x="3717" y="3455"/>
                </a:lnTo>
                <a:lnTo>
                  <a:pt x="3717" y="3672"/>
                </a:lnTo>
                <a:lnTo>
                  <a:pt x="5031" y="3672"/>
                </a:lnTo>
                <a:lnTo>
                  <a:pt x="5031" y="2221"/>
                </a:lnTo>
                <a:lnTo>
                  <a:pt x="5023" y="2221"/>
                </a:lnTo>
                <a:close/>
                <a:moveTo>
                  <a:pt x="5984" y="962"/>
                </a:moveTo>
                <a:lnTo>
                  <a:pt x="5023" y="0"/>
                </a:lnTo>
                <a:lnTo>
                  <a:pt x="4061" y="962"/>
                </a:lnTo>
                <a:lnTo>
                  <a:pt x="5023" y="1924"/>
                </a:lnTo>
                <a:lnTo>
                  <a:pt x="5984" y="9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19016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21"/>
  <p:tag name="ARTICULATE_PROJECT_OPEN" val="0"/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EE4P_STYLE_ID" val="040887b0-086c-4ff4-2016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RNsaUYdwsCCMjAhJmY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ubML3QvCkPQnYdnHm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rJTpqYRVSeLNV9QBD6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FE6ED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76213" indent="-176213">
          <a:spcBef>
            <a:spcPts val="300"/>
          </a:spcBef>
          <a:buClr>
            <a:schemeClr val="accent1"/>
          </a:buClr>
          <a:buFont typeface="Arial" panose="020B0604020202020204" pitchFamily="34" charset="0"/>
          <a:buChar char="•"/>
          <a:defRPr sz="1400" dirty="0" err="1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2010-16x9-standard-eng-v2-1.pptx  -  Schreibgeschützt" id="{182967AB-1BF3-4DBE-828B-88E71BBD688D}" vid="{A64EFA35-5589-4889-8DEB-549EC3214B0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Four objects</Name>
  <PpLayout>24</PpLayout>
  <Index>15</Index>
</p4ppTags>
</file>

<file path=customXml/item15.xml><?xml version="1.0" encoding="utf-8"?>
<p4ppTags>
  <Name>One object (small) + Navigation</Name>
  <PpLayout>32</PpLayout>
  <Index>18</Index>
</p4ppTags>
</file>

<file path=customXml/item16.xml><?xml version="1.0" encoding="utf-8"?>
<p4ppTags>
  <Name>Free Content</Name>
  <PpLayout>11</PpLayout>
  <Index>9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Two columns</Name>
  <PpLayout>29</PpLayout>
  <Index>12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Two rows + Navigation</Name>
  <PpLayout>32</PpLayout>
  <Index>21</Index>
</p4ppTags>
</file>

<file path=customXml/item6.xml><?xml version="1.0" encoding="utf-8"?>
<p4ppTags>
  <Name>Four objects + Navigation</Name>
  <PpLayout>32</PpLayout>
  <Index>22</Index>
</p4ppTags>
</file>

<file path=customXml/item7.xml><?xml version="1.0" encoding="utf-8"?>
<p4ppTags/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One object (large) + Navigation</Name>
  <PpLayout>32</PpLayout>
  <Index>17</Index>
</p4ppTags>
</file>

<file path=customXml/itemProps1.xml><?xml version="1.0" encoding="utf-8"?>
<ds:datastoreItem xmlns:ds="http://schemas.openxmlformats.org/officeDocument/2006/customXml" ds:itemID="{7CC5F709-E74B-4E5F-A728-923D5062EBEF}">
  <ds:schemaRefs/>
</ds:datastoreItem>
</file>

<file path=customXml/itemProps10.xml><?xml version="1.0" encoding="utf-8"?>
<ds:datastoreItem xmlns:ds="http://schemas.openxmlformats.org/officeDocument/2006/customXml" ds:itemID="{38AB8DE4-FD9B-4166-BEC3-3F1753596133}">
  <ds:schemaRefs/>
</ds:datastoreItem>
</file>

<file path=customXml/itemProps11.xml><?xml version="1.0" encoding="utf-8"?>
<ds:datastoreItem xmlns:ds="http://schemas.openxmlformats.org/officeDocument/2006/customXml" ds:itemID="{D7BABA95-BFFE-422B-8591-3271669EEA88}">
  <ds:schemaRefs/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1581BFFB-B4CE-47A8-BE77-DC1339B1E5A7}">
  <ds:schemaRefs/>
</ds:datastoreItem>
</file>

<file path=customXml/itemProps15.xml><?xml version="1.0" encoding="utf-8"?>
<ds:datastoreItem xmlns:ds="http://schemas.openxmlformats.org/officeDocument/2006/customXml" ds:itemID="{D9FE249F-833E-4CF0-BECB-552D01D7DC9E}">
  <ds:schemaRefs/>
</ds:datastoreItem>
</file>

<file path=customXml/itemProps16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1618AA06-B22E-4D19-9680-0D7830426729}">
  <ds:schemaRefs/>
</ds:datastoreItem>
</file>

<file path=customXml/itemProps3.xml><?xml version="1.0" encoding="utf-8"?>
<ds:datastoreItem xmlns:ds="http://schemas.openxmlformats.org/officeDocument/2006/customXml" ds:itemID="{1666F4C2-68F5-4840-A44A-1A646C0925A1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6C79E4F8-DCFB-483C-880A-AEEC6AAFC838}">
  <ds:schemaRefs/>
</ds:datastoreItem>
</file>

<file path=customXml/itemProps6.xml><?xml version="1.0" encoding="utf-8"?>
<ds:datastoreItem xmlns:ds="http://schemas.openxmlformats.org/officeDocument/2006/customXml" ds:itemID="{EAB520BC-C6EC-457E-8AB5-55DB67C86858}">
  <ds:schemaRefs/>
</ds:datastoreItem>
</file>

<file path=customXml/itemProps7.xml><?xml version="1.0" encoding="utf-8"?>
<ds:datastoreItem xmlns:ds="http://schemas.openxmlformats.org/officeDocument/2006/customXml" ds:itemID="{572FBA73-6DBF-45DA-8282-9342320CFAB0}">
  <ds:schemaRefs/>
</ds:datastoreItem>
</file>

<file path=customXml/itemProps8.xml><?xml version="1.0" encoding="utf-8"?>
<ds:datastoreItem xmlns:ds="http://schemas.openxmlformats.org/officeDocument/2006/customXml" ds:itemID="{85D77EE6-52B7-48BE-9EDB-748F1EBB53DE}">
  <ds:schemaRefs/>
</ds:datastoreItem>
</file>

<file path=customXml/itemProps9.xml><?xml version="1.0" encoding="utf-8"?>
<ds:datastoreItem xmlns:ds="http://schemas.openxmlformats.org/officeDocument/2006/customXml" ds:itemID="{B27F640E-84DF-4F97-BC70-D045F1E6594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0</TotalTime>
  <Words>379</Words>
  <Application>Microsoft Office PowerPoint</Application>
  <PresentationFormat>Benutzerdefiniert</PresentationFormat>
  <Paragraphs>38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Wingdings</vt:lpstr>
      <vt:lpstr>Siemens 2017 – 16:9</vt:lpstr>
      <vt:lpstr>think-cell Slide</vt:lpstr>
      <vt:lpstr>think-cell Folie</vt:lpstr>
      <vt:lpstr>Industrial Edge Dashboard Application</vt:lpstr>
      <vt:lpstr>Industrial Edge System Apps – Device Overview</vt:lpstr>
      <vt:lpstr>Industrial Edge Dashboard-Applic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Industrial Edge For Machines and Plants</dc:title>
  <dc:creator/>
  <cp:keywords>C_Restricted</cp:keywords>
  <dc:description>Siemens Industrial Edge Sales Slides</dc:description>
  <cp:lastModifiedBy/>
  <cp:revision>1</cp:revision>
  <dcterms:created xsi:type="dcterms:W3CDTF">2018-11-15T08:11:42Z</dcterms:created>
  <dcterms:modified xsi:type="dcterms:W3CDTF">2020-05-12T06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sodocoClasLang">
    <vt:lpwstr>Unrestricted</vt:lpwstr>
  </property>
  <property fmtid="{D5CDD505-2E9C-101B-9397-08002B2CF9AE}" pid="4" name="sodocoClasLangId">
    <vt:i4>0</vt:i4>
  </property>
  <property fmtid="{D5CDD505-2E9C-101B-9397-08002B2CF9AE}" pid="5" name="sodocoClasId">
    <vt:i4>0</vt:i4>
  </property>
  <property fmtid="{D5CDD505-2E9C-101B-9397-08002B2CF9AE}" pid="6" name="Language">
    <vt:lpwstr>en_EN</vt:lpwstr>
  </property>
  <property fmtid="{D5CDD505-2E9C-101B-9397-08002B2CF9AE}" pid="7" name="DateIssued">
    <vt:lpwstr>2019-03-19</vt:lpwstr>
  </property>
  <property fmtid="{D5CDD505-2E9C-101B-9397-08002B2CF9AE}" pid="8" name="MPM_Visible_From">
    <vt:lpwstr>2019-03-19</vt:lpwstr>
  </property>
  <property fmtid="{D5CDD505-2E9C-101B-9397-08002B2CF9AE}" pid="9" name="MPM_Visible_To">
    <vt:lpwstr>2021-05-27</vt:lpwstr>
  </property>
  <property fmtid="{D5CDD505-2E9C-101B-9397-08002B2CF9AE}" pid="10" name="MPM_Product">
    <vt:lpwstr>key_9178043;Automation software</vt:lpwstr>
  </property>
  <property fmtid="{D5CDD505-2E9C-101B-9397-08002B2CF9AE}" pid="11" name="MPM_Topic">
    <vt:lpwstr>key_9179761;Totally Integrated Automation</vt:lpwstr>
  </property>
  <property fmtid="{D5CDD505-2E9C-101B-9397-08002B2CF9AE}" pid="12" name="MPM_InfoType">
    <vt:lpwstr>inf_50710;Sales Slides</vt:lpwstr>
  </property>
  <property fmtid="{D5CDD505-2E9C-101B-9397-08002B2CF9AE}" pid="13" name="MPM_Source">
    <vt:lpwstr>src23010100;DF FA</vt:lpwstr>
  </property>
  <property fmtid="{D5CDD505-2E9C-101B-9397-08002B2CF9AE}" pid="14" name="MPM_Keyword">
    <vt:lpwstr>Edge Computing, Edge, Industrial Edge, MindSphere, C++, C, Java, Python, Apps, Devices, IPC227E, Edge Management, Edge Apps, Edge Devices, Artificial Intelligence, Future of Automation</vt:lpwstr>
  </property>
  <property fmtid="{D5CDD505-2E9C-101B-9397-08002B2CF9AE}" pid="15" name="MPMID">
    <vt:lpwstr>4023b161dd6a45c180fddd9160c61ee4</vt:lpwstr>
  </property>
</Properties>
</file>